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Override1.xml" ContentType="application/vnd.openxmlformats-officedocument.themeOverrid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heme/themeOverride2.xml" ContentType="application/vnd.openxmlformats-officedocument.themeOverrid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heme/themeOverride3.xml" ContentType="application/vnd.openxmlformats-officedocument.themeOverrid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45.xml" ContentType="application/vnd.openxmlformats-officedocument.presentationml.tags+xml"/>
  <Override PartName="/ppt/notesSlides/notesSlide12.xml" ContentType="application/vnd.openxmlformats-officedocument.presentationml.notesSlide+xml"/>
  <Override PartName="/ppt/tags/tag14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47.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media/media1.gif" ContentType="video/unknown"/>
  <Override PartName="/ppt/media/media2.gif" ContentType="video/unknown"/>
  <Override PartName="/ppt/notesSlides/notesSlide41.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notesSlides/notesSlide42.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169.xml" ContentType="application/vnd.openxmlformats-officedocument.presentationml.tags+xml"/>
  <Override PartName="/ppt/notesSlides/notesSlide46.xml" ContentType="application/vnd.openxmlformats-officedocument.presentationml.notesSlide+xml"/>
  <Override PartName="/ppt/tags/tag170.xml" ContentType="application/vnd.openxmlformats-officedocument.presentationml.tags+xml"/>
  <Override PartName="/ppt/notesSlides/notesSlide47.xml" ContentType="application/vnd.openxmlformats-officedocument.presentationml.notesSlide+xml"/>
  <Override PartName="/ppt/tags/tag171.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tags/tag172.xml" ContentType="application/vnd.openxmlformats-officedocument.presentationml.tags+xml"/>
  <Override PartName="/ppt/tags/tag173.xml" ContentType="application/vnd.openxmlformats-officedocument.presentationml.tags+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68" r:id="rId5"/>
    <p:sldMasterId id="2147483675" r:id="rId6"/>
    <p:sldMasterId id="2147483872" r:id="rId7"/>
  </p:sldMasterIdLst>
  <p:notesMasterIdLst>
    <p:notesMasterId r:id="rId206"/>
  </p:notesMasterIdLst>
  <p:sldIdLst>
    <p:sldId id="373" r:id="rId8"/>
    <p:sldId id="465" r:id="rId9"/>
    <p:sldId id="466" r:id="rId10"/>
    <p:sldId id="467" r:id="rId11"/>
    <p:sldId id="468" r:id="rId12"/>
    <p:sldId id="257" r:id="rId13"/>
    <p:sldId id="258" r:id="rId14"/>
    <p:sldId id="268" r:id="rId15"/>
    <p:sldId id="269" r:id="rId16"/>
    <p:sldId id="270" r:id="rId17"/>
    <p:sldId id="259" r:id="rId18"/>
    <p:sldId id="271" r:id="rId19"/>
    <p:sldId id="272" r:id="rId20"/>
    <p:sldId id="260" r:id="rId21"/>
    <p:sldId id="261" r:id="rId22"/>
    <p:sldId id="276" r:id="rId23"/>
    <p:sldId id="277" r:id="rId24"/>
    <p:sldId id="278" r:id="rId25"/>
    <p:sldId id="279" r:id="rId26"/>
    <p:sldId id="374" r:id="rId27"/>
    <p:sldId id="280" r:id="rId28"/>
    <p:sldId id="281" r:id="rId29"/>
    <p:sldId id="282" r:id="rId30"/>
    <p:sldId id="283" r:id="rId31"/>
    <p:sldId id="284" r:id="rId32"/>
    <p:sldId id="285" r:id="rId33"/>
    <p:sldId id="375" r:id="rId34"/>
    <p:sldId id="262" r:id="rId35"/>
    <p:sldId id="287" r:id="rId36"/>
    <p:sldId id="464" r:id="rId37"/>
    <p:sldId id="288" r:id="rId38"/>
    <p:sldId id="289" r:id="rId39"/>
    <p:sldId id="290" r:id="rId40"/>
    <p:sldId id="291" r:id="rId41"/>
    <p:sldId id="292" r:id="rId42"/>
    <p:sldId id="376" r:id="rId43"/>
    <p:sldId id="377" r:id="rId44"/>
    <p:sldId id="293" r:id="rId45"/>
    <p:sldId id="294" r:id="rId46"/>
    <p:sldId id="295" r:id="rId47"/>
    <p:sldId id="296" r:id="rId48"/>
    <p:sldId id="297" r:id="rId49"/>
    <p:sldId id="298" r:id="rId50"/>
    <p:sldId id="299" r:id="rId51"/>
    <p:sldId id="378" r:id="rId52"/>
    <p:sldId id="301" r:id="rId53"/>
    <p:sldId id="302" r:id="rId54"/>
    <p:sldId id="303" r:id="rId55"/>
    <p:sldId id="304" r:id="rId56"/>
    <p:sldId id="305" r:id="rId57"/>
    <p:sldId id="306" r:id="rId58"/>
    <p:sldId id="380" r:id="rId59"/>
    <p:sldId id="307" r:id="rId60"/>
    <p:sldId id="308" r:id="rId61"/>
    <p:sldId id="309" r:id="rId62"/>
    <p:sldId id="310" r:id="rId63"/>
    <p:sldId id="311" r:id="rId64"/>
    <p:sldId id="312" r:id="rId65"/>
    <p:sldId id="313" r:id="rId66"/>
    <p:sldId id="314" r:id="rId67"/>
    <p:sldId id="379" r:id="rId68"/>
    <p:sldId id="315" r:id="rId69"/>
    <p:sldId id="382" r:id="rId70"/>
    <p:sldId id="384" r:id="rId71"/>
    <p:sldId id="386" r:id="rId72"/>
    <p:sldId id="385" r:id="rId73"/>
    <p:sldId id="387" r:id="rId74"/>
    <p:sldId id="316" r:id="rId75"/>
    <p:sldId id="317" r:id="rId76"/>
    <p:sldId id="318" r:id="rId77"/>
    <p:sldId id="319" r:id="rId78"/>
    <p:sldId id="457" r:id="rId79"/>
    <p:sldId id="320" r:id="rId80"/>
    <p:sldId id="321" r:id="rId81"/>
    <p:sldId id="322" r:id="rId82"/>
    <p:sldId id="323" r:id="rId83"/>
    <p:sldId id="324" r:id="rId84"/>
    <p:sldId id="325" r:id="rId85"/>
    <p:sldId id="326" r:id="rId86"/>
    <p:sldId id="327" r:id="rId87"/>
    <p:sldId id="328" r:id="rId88"/>
    <p:sldId id="388" r:id="rId89"/>
    <p:sldId id="389" r:id="rId90"/>
    <p:sldId id="329" r:id="rId91"/>
    <p:sldId id="330" r:id="rId92"/>
    <p:sldId id="331" r:id="rId93"/>
    <p:sldId id="332" r:id="rId94"/>
    <p:sldId id="333" r:id="rId95"/>
    <p:sldId id="334" r:id="rId96"/>
    <p:sldId id="335" r:id="rId97"/>
    <p:sldId id="336" r:id="rId98"/>
    <p:sldId id="337" r:id="rId99"/>
    <p:sldId id="338" r:id="rId100"/>
    <p:sldId id="339" r:id="rId101"/>
    <p:sldId id="340" r:id="rId102"/>
    <p:sldId id="401" r:id="rId103"/>
    <p:sldId id="402" r:id="rId104"/>
    <p:sldId id="403" r:id="rId105"/>
    <p:sldId id="400" r:id="rId106"/>
    <p:sldId id="404" r:id="rId107"/>
    <p:sldId id="405" r:id="rId108"/>
    <p:sldId id="406" r:id="rId109"/>
    <p:sldId id="407" r:id="rId110"/>
    <p:sldId id="390" r:id="rId111"/>
    <p:sldId id="391" r:id="rId112"/>
    <p:sldId id="392" r:id="rId113"/>
    <p:sldId id="393" r:id="rId114"/>
    <p:sldId id="394" r:id="rId115"/>
    <p:sldId id="395" r:id="rId116"/>
    <p:sldId id="396" r:id="rId117"/>
    <p:sldId id="397" r:id="rId118"/>
    <p:sldId id="399" r:id="rId119"/>
    <p:sldId id="398" r:id="rId120"/>
    <p:sldId id="460" r:id="rId121"/>
    <p:sldId id="341" r:id="rId122"/>
    <p:sldId id="342" r:id="rId123"/>
    <p:sldId id="343" r:id="rId124"/>
    <p:sldId id="409" r:id="rId125"/>
    <p:sldId id="410" r:id="rId126"/>
    <p:sldId id="408" r:id="rId127"/>
    <p:sldId id="344" r:id="rId128"/>
    <p:sldId id="345" r:id="rId129"/>
    <p:sldId id="411" r:id="rId130"/>
    <p:sldId id="346" r:id="rId131"/>
    <p:sldId id="412" r:id="rId132"/>
    <p:sldId id="347" r:id="rId133"/>
    <p:sldId id="348" r:id="rId134"/>
    <p:sldId id="349" r:id="rId135"/>
    <p:sldId id="350" r:id="rId136"/>
    <p:sldId id="414" r:id="rId137"/>
    <p:sldId id="415" r:id="rId138"/>
    <p:sldId id="417" r:id="rId139"/>
    <p:sldId id="351" r:id="rId140"/>
    <p:sldId id="352" r:id="rId141"/>
    <p:sldId id="353" r:id="rId142"/>
    <p:sldId id="445" r:id="rId143"/>
    <p:sldId id="446" r:id="rId144"/>
    <p:sldId id="448" r:id="rId145"/>
    <p:sldId id="447" r:id="rId146"/>
    <p:sldId id="449" r:id="rId147"/>
    <p:sldId id="450" r:id="rId148"/>
    <p:sldId id="451" r:id="rId149"/>
    <p:sldId id="452" r:id="rId150"/>
    <p:sldId id="453" r:id="rId151"/>
    <p:sldId id="454" r:id="rId152"/>
    <p:sldId id="455" r:id="rId153"/>
    <p:sldId id="456" r:id="rId154"/>
    <p:sldId id="354" r:id="rId155"/>
    <p:sldId id="355" r:id="rId156"/>
    <p:sldId id="356" r:id="rId157"/>
    <p:sldId id="357" r:id="rId158"/>
    <p:sldId id="358" r:id="rId159"/>
    <p:sldId id="359" r:id="rId160"/>
    <p:sldId id="360" r:id="rId161"/>
    <p:sldId id="361" r:id="rId162"/>
    <p:sldId id="362" r:id="rId163"/>
    <p:sldId id="363" r:id="rId164"/>
    <p:sldId id="364" r:id="rId165"/>
    <p:sldId id="365" r:id="rId166"/>
    <p:sldId id="366" r:id="rId167"/>
    <p:sldId id="367" r:id="rId168"/>
    <p:sldId id="368" r:id="rId169"/>
    <p:sldId id="369" r:id="rId170"/>
    <p:sldId id="370" r:id="rId171"/>
    <p:sldId id="371" r:id="rId172"/>
    <p:sldId id="372" r:id="rId173"/>
    <p:sldId id="418" r:id="rId174"/>
    <p:sldId id="419" r:id="rId175"/>
    <p:sldId id="420" r:id="rId176"/>
    <p:sldId id="421" r:id="rId177"/>
    <p:sldId id="440" r:id="rId178"/>
    <p:sldId id="441" r:id="rId179"/>
    <p:sldId id="422" r:id="rId180"/>
    <p:sldId id="436" r:id="rId181"/>
    <p:sldId id="425" r:id="rId182"/>
    <p:sldId id="426" r:id="rId183"/>
    <p:sldId id="428" r:id="rId184"/>
    <p:sldId id="429" r:id="rId185"/>
    <p:sldId id="472" r:id="rId186"/>
    <p:sldId id="471" r:id="rId187"/>
    <p:sldId id="437" r:id="rId188"/>
    <p:sldId id="438" r:id="rId189"/>
    <p:sldId id="439" r:id="rId190"/>
    <p:sldId id="442" r:id="rId191"/>
    <p:sldId id="443" r:id="rId192"/>
    <p:sldId id="444" r:id="rId193"/>
    <p:sldId id="473" r:id="rId194"/>
    <p:sldId id="430" r:id="rId195"/>
    <p:sldId id="431" r:id="rId196"/>
    <p:sldId id="432" r:id="rId197"/>
    <p:sldId id="433" r:id="rId198"/>
    <p:sldId id="434" r:id="rId199"/>
    <p:sldId id="435" r:id="rId200"/>
    <p:sldId id="479" r:id="rId201"/>
    <p:sldId id="475" r:id="rId202"/>
    <p:sldId id="476" r:id="rId203"/>
    <p:sldId id="477" r:id="rId204"/>
    <p:sldId id="478" r:id="rId20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758F9"/>
    <a:srgbClr val="FFFFFF"/>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343" autoAdjust="0"/>
  </p:normalViewPr>
  <p:slideViewPr>
    <p:cSldViewPr snapToGrid="0">
      <p:cViewPr varScale="1">
        <p:scale>
          <a:sx n="74" d="100"/>
          <a:sy n="74" d="100"/>
        </p:scale>
        <p:origin x="-546" y="-9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0.xml"/><Relationship Id="rId21" Type="http://schemas.openxmlformats.org/officeDocument/2006/relationships/slide" Target="slides/slide14.xml"/><Relationship Id="rId42" Type="http://schemas.openxmlformats.org/officeDocument/2006/relationships/slide" Target="slides/slide35.xml"/><Relationship Id="rId63" Type="http://schemas.openxmlformats.org/officeDocument/2006/relationships/slide" Target="slides/slide56.xml"/><Relationship Id="rId84" Type="http://schemas.openxmlformats.org/officeDocument/2006/relationships/slide" Target="slides/slide77.xml"/><Relationship Id="rId138" Type="http://schemas.openxmlformats.org/officeDocument/2006/relationships/slide" Target="slides/slide131.xml"/><Relationship Id="rId159" Type="http://schemas.openxmlformats.org/officeDocument/2006/relationships/slide" Target="slides/slide152.xml"/><Relationship Id="rId170" Type="http://schemas.openxmlformats.org/officeDocument/2006/relationships/slide" Target="slides/slide163.xml"/><Relationship Id="rId191" Type="http://schemas.openxmlformats.org/officeDocument/2006/relationships/slide" Target="slides/slide184.xml"/><Relationship Id="rId205" Type="http://schemas.openxmlformats.org/officeDocument/2006/relationships/slide" Target="slides/slide198.xml"/><Relationship Id="rId107" Type="http://schemas.openxmlformats.org/officeDocument/2006/relationships/slide" Target="slides/slide100.xml"/><Relationship Id="rId11" Type="http://schemas.openxmlformats.org/officeDocument/2006/relationships/slide" Target="slides/slide4.xml"/><Relationship Id="rId32" Type="http://schemas.openxmlformats.org/officeDocument/2006/relationships/slide" Target="slides/slide25.xml"/><Relationship Id="rId53" Type="http://schemas.openxmlformats.org/officeDocument/2006/relationships/slide" Target="slides/slide46.xml"/><Relationship Id="rId74" Type="http://schemas.openxmlformats.org/officeDocument/2006/relationships/slide" Target="slides/slide67.xml"/><Relationship Id="rId128" Type="http://schemas.openxmlformats.org/officeDocument/2006/relationships/slide" Target="slides/slide121.xml"/><Relationship Id="rId149" Type="http://schemas.openxmlformats.org/officeDocument/2006/relationships/slide" Target="slides/slide142.xml"/><Relationship Id="rId5" Type="http://schemas.openxmlformats.org/officeDocument/2006/relationships/slideMaster" Target="slideMasters/slideMaster2.xml"/><Relationship Id="rId95" Type="http://schemas.openxmlformats.org/officeDocument/2006/relationships/slide" Target="slides/slide88.xml"/><Relationship Id="rId160" Type="http://schemas.openxmlformats.org/officeDocument/2006/relationships/slide" Target="slides/slide153.xml"/><Relationship Id="rId181" Type="http://schemas.openxmlformats.org/officeDocument/2006/relationships/slide" Target="slides/slide174.xml"/><Relationship Id="rId22" Type="http://schemas.openxmlformats.org/officeDocument/2006/relationships/slide" Target="slides/slide15.xml"/><Relationship Id="rId43" Type="http://schemas.openxmlformats.org/officeDocument/2006/relationships/slide" Target="slides/slide36.xml"/><Relationship Id="rId64" Type="http://schemas.openxmlformats.org/officeDocument/2006/relationships/slide" Target="slides/slide57.xml"/><Relationship Id="rId118" Type="http://schemas.openxmlformats.org/officeDocument/2006/relationships/slide" Target="slides/slide111.xml"/><Relationship Id="rId139" Type="http://schemas.openxmlformats.org/officeDocument/2006/relationships/slide" Target="slides/slide132.xml"/><Relationship Id="rId85" Type="http://schemas.openxmlformats.org/officeDocument/2006/relationships/slide" Target="slides/slide78.xml"/><Relationship Id="rId150" Type="http://schemas.openxmlformats.org/officeDocument/2006/relationships/slide" Target="slides/slide143.xml"/><Relationship Id="rId171" Type="http://schemas.openxmlformats.org/officeDocument/2006/relationships/slide" Target="slides/slide164.xml"/><Relationship Id="rId192" Type="http://schemas.openxmlformats.org/officeDocument/2006/relationships/slide" Target="slides/slide185.xml"/><Relationship Id="rId206" Type="http://schemas.openxmlformats.org/officeDocument/2006/relationships/notesMaster" Target="notesMasters/notesMaster1.xml"/><Relationship Id="rId12" Type="http://schemas.openxmlformats.org/officeDocument/2006/relationships/slide" Target="slides/slide5.xml"/><Relationship Id="rId33" Type="http://schemas.openxmlformats.org/officeDocument/2006/relationships/slide" Target="slides/slide26.xml"/><Relationship Id="rId108" Type="http://schemas.openxmlformats.org/officeDocument/2006/relationships/slide" Target="slides/slide101.xml"/><Relationship Id="rId129" Type="http://schemas.openxmlformats.org/officeDocument/2006/relationships/slide" Target="slides/slide122.xml"/><Relationship Id="rId54" Type="http://schemas.openxmlformats.org/officeDocument/2006/relationships/slide" Target="slides/slide47.xml"/><Relationship Id="rId75" Type="http://schemas.openxmlformats.org/officeDocument/2006/relationships/slide" Target="slides/slide68.xml"/><Relationship Id="rId96" Type="http://schemas.openxmlformats.org/officeDocument/2006/relationships/slide" Target="slides/slide89.xml"/><Relationship Id="rId140" Type="http://schemas.openxmlformats.org/officeDocument/2006/relationships/slide" Target="slides/slide133.xml"/><Relationship Id="rId161" Type="http://schemas.openxmlformats.org/officeDocument/2006/relationships/slide" Target="slides/slide154.xml"/><Relationship Id="rId182" Type="http://schemas.openxmlformats.org/officeDocument/2006/relationships/slide" Target="slides/slide175.xml"/><Relationship Id="rId6" Type="http://schemas.openxmlformats.org/officeDocument/2006/relationships/slideMaster" Target="slideMasters/slideMaster3.xml"/><Relationship Id="rId23" Type="http://schemas.openxmlformats.org/officeDocument/2006/relationships/slide" Target="slides/slide16.xml"/><Relationship Id="rId119" Type="http://schemas.openxmlformats.org/officeDocument/2006/relationships/slide" Target="slides/slide112.xml"/><Relationship Id="rId44" Type="http://schemas.openxmlformats.org/officeDocument/2006/relationships/slide" Target="slides/slide37.xml"/><Relationship Id="rId65" Type="http://schemas.openxmlformats.org/officeDocument/2006/relationships/slide" Target="slides/slide58.xml"/><Relationship Id="rId86" Type="http://schemas.openxmlformats.org/officeDocument/2006/relationships/slide" Target="slides/slide79.xml"/><Relationship Id="rId130" Type="http://schemas.openxmlformats.org/officeDocument/2006/relationships/slide" Target="slides/slide123.xml"/><Relationship Id="rId151" Type="http://schemas.openxmlformats.org/officeDocument/2006/relationships/slide" Target="slides/slide144.xml"/><Relationship Id="rId172" Type="http://schemas.openxmlformats.org/officeDocument/2006/relationships/slide" Target="slides/slide165.xml"/><Relationship Id="rId193" Type="http://schemas.openxmlformats.org/officeDocument/2006/relationships/slide" Target="slides/slide186.xml"/><Relationship Id="rId207" Type="http://schemas.openxmlformats.org/officeDocument/2006/relationships/presProps" Target="presProps.xml"/><Relationship Id="rId13" Type="http://schemas.openxmlformats.org/officeDocument/2006/relationships/slide" Target="slides/slide6.xml"/><Relationship Id="rId109" Type="http://schemas.openxmlformats.org/officeDocument/2006/relationships/slide" Target="slides/slide102.xml"/><Relationship Id="rId34" Type="http://schemas.openxmlformats.org/officeDocument/2006/relationships/slide" Target="slides/slide27.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20" Type="http://schemas.openxmlformats.org/officeDocument/2006/relationships/slide" Target="slides/slide113.xml"/><Relationship Id="rId141" Type="http://schemas.openxmlformats.org/officeDocument/2006/relationships/slide" Target="slides/slide134.xml"/><Relationship Id="rId7" Type="http://schemas.openxmlformats.org/officeDocument/2006/relationships/slideMaster" Target="slideMasters/slideMaster4.xml"/><Relationship Id="rId162" Type="http://schemas.openxmlformats.org/officeDocument/2006/relationships/slide" Target="slides/slide155.xml"/><Relationship Id="rId183" Type="http://schemas.openxmlformats.org/officeDocument/2006/relationships/slide" Target="slides/slide176.xml"/><Relationship Id="rId24" Type="http://schemas.openxmlformats.org/officeDocument/2006/relationships/slide" Target="slides/slide17.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slide" Target="slides/slide103.xml"/><Relationship Id="rId131" Type="http://schemas.openxmlformats.org/officeDocument/2006/relationships/slide" Target="slides/slide124.xml"/><Relationship Id="rId61" Type="http://schemas.openxmlformats.org/officeDocument/2006/relationships/slide" Target="slides/slide54.xml"/><Relationship Id="rId82" Type="http://schemas.openxmlformats.org/officeDocument/2006/relationships/slide" Target="slides/slide75.xml"/><Relationship Id="rId152" Type="http://schemas.openxmlformats.org/officeDocument/2006/relationships/slide" Target="slides/slide145.xml"/><Relationship Id="rId173" Type="http://schemas.openxmlformats.org/officeDocument/2006/relationships/slide" Target="slides/slide166.xml"/><Relationship Id="rId194" Type="http://schemas.openxmlformats.org/officeDocument/2006/relationships/slide" Target="slides/slide187.xml"/><Relationship Id="rId199" Type="http://schemas.openxmlformats.org/officeDocument/2006/relationships/slide" Target="slides/slide192.xml"/><Relationship Id="rId203" Type="http://schemas.openxmlformats.org/officeDocument/2006/relationships/slide" Target="slides/slide196.xml"/><Relationship Id="rId208" Type="http://schemas.openxmlformats.org/officeDocument/2006/relationships/viewProps" Target="viewProps.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126" Type="http://schemas.openxmlformats.org/officeDocument/2006/relationships/slide" Target="slides/slide119.xml"/><Relationship Id="rId147" Type="http://schemas.openxmlformats.org/officeDocument/2006/relationships/slide" Target="slides/slide140.xml"/><Relationship Id="rId168" Type="http://schemas.openxmlformats.org/officeDocument/2006/relationships/slide" Target="slides/slide16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98" Type="http://schemas.openxmlformats.org/officeDocument/2006/relationships/slide" Target="slides/slide91.xml"/><Relationship Id="rId121" Type="http://schemas.openxmlformats.org/officeDocument/2006/relationships/slide" Target="slides/slide114.xml"/><Relationship Id="rId142" Type="http://schemas.openxmlformats.org/officeDocument/2006/relationships/slide" Target="slides/slide135.xml"/><Relationship Id="rId163" Type="http://schemas.openxmlformats.org/officeDocument/2006/relationships/slide" Target="slides/slide156.xml"/><Relationship Id="rId184" Type="http://schemas.openxmlformats.org/officeDocument/2006/relationships/slide" Target="slides/slide177.xml"/><Relationship Id="rId189" Type="http://schemas.openxmlformats.org/officeDocument/2006/relationships/slide" Target="slides/slide182.xml"/><Relationship Id="rId3" Type="http://schemas.openxmlformats.org/officeDocument/2006/relationships/customXml" Target="../customXml/item3.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 Id="rId116" Type="http://schemas.openxmlformats.org/officeDocument/2006/relationships/slide" Target="slides/slide109.xml"/><Relationship Id="rId137" Type="http://schemas.openxmlformats.org/officeDocument/2006/relationships/slide" Target="slides/slide130.xml"/><Relationship Id="rId158" Type="http://schemas.openxmlformats.org/officeDocument/2006/relationships/slide" Target="slides/slide151.xml"/><Relationship Id="rId20" Type="http://schemas.openxmlformats.org/officeDocument/2006/relationships/slide" Target="slides/slide13.xml"/><Relationship Id="rId41" Type="http://schemas.openxmlformats.org/officeDocument/2006/relationships/slide" Target="slides/slide34.xml"/><Relationship Id="rId62" Type="http://schemas.openxmlformats.org/officeDocument/2006/relationships/slide" Target="slides/slide55.xml"/><Relationship Id="rId83" Type="http://schemas.openxmlformats.org/officeDocument/2006/relationships/slide" Target="slides/slide76.xml"/><Relationship Id="rId88" Type="http://schemas.openxmlformats.org/officeDocument/2006/relationships/slide" Target="slides/slide81.xml"/><Relationship Id="rId111" Type="http://schemas.openxmlformats.org/officeDocument/2006/relationships/slide" Target="slides/slide104.xml"/><Relationship Id="rId132" Type="http://schemas.openxmlformats.org/officeDocument/2006/relationships/slide" Target="slides/slide125.xml"/><Relationship Id="rId153" Type="http://schemas.openxmlformats.org/officeDocument/2006/relationships/slide" Target="slides/slide146.xml"/><Relationship Id="rId174" Type="http://schemas.openxmlformats.org/officeDocument/2006/relationships/slide" Target="slides/slide167.xml"/><Relationship Id="rId179" Type="http://schemas.openxmlformats.org/officeDocument/2006/relationships/slide" Target="slides/slide172.xml"/><Relationship Id="rId195" Type="http://schemas.openxmlformats.org/officeDocument/2006/relationships/slide" Target="slides/slide188.xml"/><Relationship Id="rId209" Type="http://schemas.openxmlformats.org/officeDocument/2006/relationships/theme" Target="theme/theme1.xml"/><Relationship Id="rId190" Type="http://schemas.openxmlformats.org/officeDocument/2006/relationships/slide" Target="slides/slide183.xml"/><Relationship Id="rId204" Type="http://schemas.openxmlformats.org/officeDocument/2006/relationships/slide" Target="slides/slide197.xml"/><Relationship Id="rId15" Type="http://schemas.openxmlformats.org/officeDocument/2006/relationships/slide" Target="slides/slide8.xml"/><Relationship Id="rId36" Type="http://schemas.openxmlformats.org/officeDocument/2006/relationships/slide" Target="slides/slide29.xml"/><Relationship Id="rId57" Type="http://schemas.openxmlformats.org/officeDocument/2006/relationships/slide" Target="slides/slide50.xml"/><Relationship Id="rId106" Type="http://schemas.openxmlformats.org/officeDocument/2006/relationships/slide" Target="slides/slide99.xml"/><Relationship Id="rId127" Type="http://schemas.openxmlformats.org/officeDocument/2006/relationships/slide" Target="slides/slide120.xml"/><Relationship Id="rId10" Type="http://schemas.openxmlformats.org/officeDocument/2006/relationships/slide" Target="slides/slide3.xml"/><Relationship Id="rId31" Type="http://schemas.openxmlformats.org/officeDocument/2006/relationships/slide" Target="slides/slide24.xml"/><Relationship Id="rId52" Type="http://schemas.openxmlformats.org/officeDocument/2006/relationships/slide" Target="slides/slide45.xml"/><Relationship Id="rId73" Type="http://schemas.openxmlformats.org/officeDocument/2006/relationships/slide" Target="slides/slide66.xml"/><Relationship Id="rId78" Type="http://schemas.openxmlformats.org/officeDocument/2006/relationships/slide" Target="slides/slide71.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122" Type="http://schemas.openxmlformats.org/officeDocument/2006/relationships/slide" Target="slides/slide115.xml"/><Relationship Id="rId143" Type="http://schemas.openxmlformats.org/officeDocument/2006/relationships/slide" Target="slides/slide136.xml"/><Relationship Id="rId148" Type="http://schemas.openxmlformats.org/officeDocument/2006/relationships/slide" Target="slides/slide141.xml"/><Relationship Id="rId164" Type="http://schemas.openxmlformats.org/officeDocument/2006/relationships/slide" Target="slides/slide157.xml"/><Relationship Id="rId169" Type="http://schemas.openxmlformats.org/officeDocument/2006/relationships/slide" Target="slides/slide162.xml"/><Relationship Id="rId185" Type="http://schemas.openxmlformats.org/officeDocument/2006/relationships/slide" Target="slides/slide178.xml"/><Relationship Id="rId4" Type="http://schemas.openxmlformats.org/officeDocument/2006/relationships/slideMaster" Target="slideMasters/slideMaster1.xml"/><Relationship Id="rId9" Type="http://schemas.openxmlformats.org/officeDocument/2006/relationships/slide" Target="slides/slide2.xml"/><Relationship Id="rId180" Type="http://schemas.openxmlformats.org/officeDocument/2006/relationships/slide" Target="slides/slide173.xml"/><Relationship Id="rId210" Type="http://schemas.openxmlformats.org/officeDocument/2006/relationships/tableStyles" Target="tableStyles.xml"/><Relationship Id="rId26" Type="http://schemas.openxmlformats.org/officeDocument/2006/relationships/slide" Target="slides/slide19.xml"/><Relationship Id="rId47" Type="http://schemas.openxmlformats.org/officeDocument/2006/relationships/slide" Target="slides/slide40.xml"/><Relationship Id="rId68" Type="http://schemas.openxmlformats.org/officeDocument/2006/relationships/slide" Target="slides/slide61.xml"/><Relationship Id="rId89" Type="http://schemas.openxmlformats.org/officeDocument/2006/relationships/slide" Target="slides/slide82.xml"/><Relationship Id="rId112" Type="http://schemas.openxmlformats.org/officeDocument/2006/relationships/slide" Target="slides/slide105.xml"/><Relationship Id="rId133" Type="http://schemas.openxmlformats.org/officeDocument/2006/relationships/slide" Target="slides/slide126.xml"/><Relationship Id="rId154" Type="http://schemas.openxmlformats.org/officeDocument/2006/relationships/slide" Target="slides/slide147.xml"/><Relationship Id="rId175" Type="http://schemas.openxmlformats.org/officeDocument/2006/relationships/slide" Target="slides/slide168.xml"/><Relationship Id="rId196" Type="http://schemas.openxmlformats.org/officeDocument/2006/relationships/slide" Target="slides/slide189.xml"/><Relationship Id="rId200" Type="http://schemas.openxmlformats.org/officeDocument/2006/relationships/slide" Target="slides/slide193.xml"/><Relationship Id="rId16" Type="http://schemas.openxmlformats.org/officeDocument/2006/relationships/slide" Target="slides/slide9.xml"/><Relationship Id="rId37" Type="http://schemas.openxmlformats.org/officeDocument/2006/relationships/slide" Target="slides/slide30.xml"/><Relationship Id="rId58" Type="http://schemas.openxmlformats.org/officeDocument/2006/relationships/slide" Target="slides/slide51.xml"/><Relationship Id="rId79" Type="http://schemas.openxmlformats.org/officeDocument/2006/relationships/slide" Target="slides/slide72.xml"/><Relationship Id="rId102" Type="http://schemas.openxmlformats.org/officeDocument/2006/relationships/slide" Target="slides/slide95.xml"/><Relationship Id="rId123" Type="http://schemas.openxmlformats.org/officeDocument/2006/relationships/slide" Target="slides/slide116.xml"/><Relationship Id="rId144" Type="http://schemas.openxmlformats.org/officeDocument/2006/relationships/slide" Target="slides/slide137.xml"/><Relationship Id="rId90" Type="http://schemas.openxmlformats.org/officeDocument/2006/relationships/slide" Target="slides/slide83.xml"/><Relationship Id="rId165" Type="http://schemas.openxmlformats.org/officeDocument/2006/relationships/slide" Target="slides/slide158.xml"/><Relationship Id="rId186" Type="http://schemas.openxmlformats.org/officeDocument/2006/relationships/slide" Target="slides/slide179.xml"/><Relationship Id="rId27" Type="http://schemas.openxmlformats.org/officeDocument/2006/relationships/slide" Target="slides/slide20.xml"/><Relationship Id="rId48" Type="http://schemas.openxmlformats.org/officeDocument/2006/relationships/slide" Target="slides/slide41.xml"/><Relationship Id="rId69" Type="http://schemas.openxmlformats.org/officeDocument/2006/relationships/slide" Target="slides/slide62.xml"/><Relationship Id="rId113" Type="http://schemas.openxmlformats.org/officeDocument/2006/relationships/slide" Target="slides/slide106.xml"/><Relationship Id="rId134" Type="http://schemas.openxmlformats.org/officeDocument/2006/relationships/slide" Target="slides/slide127.xml"/><Relationship Id="rId80" Type="http://schemas.openxmlformats.org/officeDocument/2006/relationships/slide" Target="slides/slide73.xml"/><Relationship Id="rId155" Type="http://schemas.openxmlformats.org/officeDocument/2006/relationships/slide" Target="slides/slide148.xml"/><Relationship Id="rId176" Type="http://schemas.openxmlformats.org/officeDocument/2006/relationships/slide" Target="slides/slide169.xml"/><Relationship Id="rId197" Type="http://schemas.openxmlformats.org/officeDocument/2006/relationships/slide" Target="slides/slide190.xml"/><Relationship Id="rId201" Type="http://schemas.openxmlformats.org/officeDocument/2006/relationships/slide" Target="slides/slide194.xml"/><Relationship Id="rId17" Type="http://schemas.openxmlformats.org/officeDocument/2006/relationships/slide" Target="slides/slide10.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slide" Target="slides/slide96.xml"/><Relationship Id="rId124" Type="http://schemas.openxmlformats.org/officeDocument/2006/relationships/slide" Target="slides/slide117.xml"/><Relationship Id="rId70" Type="http://schemas.openxmlformats.org/officeDocument/2006/relationships/slide" Target="slides/slide63.xml"/><Relationship Id="rId91" Type="http://schemas.openxmlformats.org/officeDocument/2006/relationships/slide" Target="slides/slide84.xml"/><Relationship Id="rId145" Type="http://schemas.openxmlformats.org/officeDocument/2006/relationships/slide" Target="slides/slide138.xml"/><Relationship Id="rId166" Type="http://schemas.openxmlformats.org/officeDocument/2006/relationships/slide" Target="slides/slide159.xml"/><Relationship Id="rId187" Type="http://schemas.openxmlformats.org/officeDocument/2006/relationships/slide" Target="slides/slide180.xml"/><Relationship Id="rId1" Type="http://schemas.openxmlformats.org/officeDocument/2006/relationships/customXml" Target="../customXml/item1.xml"/><Relationship Id="rId28" Type="http://schemas.openxmlformats.org/officeDocument/2006/relationships/slide" Target="slides/slide21.xml"/><Relationship Id="rId49" Type="http://schemas.openxmlformats.org/officeDocument/2006/relationships/slide" Target="slides/slide42.xml"/><Relationship Id="rId114" Type="http://schemas.openxmlformats.org/officeDocument/2006/relationships/slide" Target="slides/slide107.xml"/><Relationship Id="rId60" Type="http://schemas.openxmlformats.org/officeDocument/2006/relationships/slide" Target="slides/slide53.xml"/><Relationship Id="rId81" Type="http://schemas.openxmlformats.org/officeDocument/2006/relationships/slide" Target="slides/slide74.xml"/><Relationship Id="rId135" Type="http://schemas.openxmlformats.org/officeDocument/2006/relationships/slide" Target="slides/slide128.xml"/><Relationship Id="rId156" Type="http://schemas.openxmlformats.org/officeDocument/2006/relationships/slide" Target="slides/slide149.xml"/><Relationship Id="rId177" Type="http://schemas.openxmlformats.org/officeDocument/2006/relationships/slide" Target="slides/slide170.xml"/><Relationship Id="rId198" Type="http://schemas.openxmlformats.org/officeDocument/2006/relationships/slide" Target="slides/slide191.xml"/><Relationship Id="rId202" Type="http://schemas.openxmlformats.org/officeDocument/2006/relationships/slide" Target="slides/slide195.xml"/><Relationship Id="rId18" Type="http://schemas.openxmlformats.org/officeDocument/2006/relationships/slide" Target="slides/slide11.xml"/><Relationship Id="rId39" Type="http://schemas.openxmlformats.org/officeDocument/2006/relationships/slide" Target="slides/slide32.xml"/><Relationship Id="rId50" Type="http://schemas.openxmlformats.org/officeDocument/2006/relationships/slide" Target="slides/slide43.xml"/><Relationship Id="rId104" Type="http://schemas.openxmlformats.org/officeDocument/2006/relationships/slide" Target="slides/slide97.xml"/><Relationship Id="rId125" Type="http://schemas.openxmlformats.org/officeDocument/2006/relationships/slide" Target="slides/slide118.xml"/><Relationship Id="rId146" Type="http://schemas.openxmlformats.org/officeDocument/2006/relationships/slide" Target="slides/slide139.xml"/><Relationship Id="rId167" Type="http://schemas.openxmlformats.org/officeDocument/2006/relationships/slide" Target="slides/slide160.xml"/><Relationship Id="rId188" Type="http://schemas.openxmlformats.org/officeDocument/2006/relationships/slide" Target="slides/slide181.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customXml" Target="../customXml/item2.xml"/><Relationship Id="rId29" Type="http://schemas.openxmlformats.org/officeDocument/2006/relationships/slide" Target="slides/slide22.xml"/><Relationship Id="rId40" Type="http://schemas.openxmlformats.org/officeDocument/2006/relationships/slide" Target="slides/slide33.xml"/><Relationship Id="rId115" Type="http://schemas.openxmlformats.org/officeDocument/2006/relationships/slide" Target="slides/slide108.xml"/><Relationship Id="rId136" Type="http://schemas.openxmlformats.org/officeDocument/2006/relationships/slide" Target="slides/slide129.xml"/><Relationship Id="rId157" Type="http://schemas.openxmlformats.org/officeDocument/2006/relationships/slide" Target="slides/slide150.xml"/><Relationship Id="rId178" Type="http://schemas.openxmlformats.org/officeDocument/2006/relationships/slide" Target="slides/slide171.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96C7E2E-0740-4B97-8171-0D618FAE464E}" type="doc">
      <dgm:prSet loTypeId="urn:microsoft.com/office/officeart/2005/8/layout/lProcess2" loCatId="relationship" qsTypeId="urn:microsoft.com/office/officeart/2005/8/quickstyle/simple1" qsCatId="simple" csTypeId="urn:microsoft.com/office/officeart/2005/8/colors/accent1_1" csCatId="accent1" phldr="1"/>
      <dgm:spPr/>
      <dgm:t>
        <a:bodyPr/>
        <a:lstStyle/>
        <a:p>
          <a:endParaRPr lang="en-GB"/>
        </a:p>
      </dgm:t>
    </dgm:pt>
    <dgm:pt modelId="{9B4B243E-4C0C-4B44-886A-12B8D0348B08}">
      <dgm:prSet phldrT="[Text]" custT="1"/>
      <dgm:spPr/>
      <dgm:t>
        <a:bodyPr/>
        <a:lstStyle/>
        <a:p>
          <a:r>
            <a:rPr lang="en-US" sz="2400" dirty="0" smtClean="0"/>
            <a:t>5-Characteristics</a:t>
          </a:r>
          <a:endParaRPr lang="en-GB" sz="2400" dirty="0"/>
        </a:p>
      </dgm:t>
    </dgm:pt>
    <dgm:pt modelId="{2285FD99-A2A8-4FBE-962E-6A408A9F4796}" type="parTrans" cxnId="{9E3F806A-C1A6-4679-B64B-3B004B0A5010}">
      <dgm:prSet/>
      <dgm:spPr/>
      <dgm:t>
        <a:bodyPr/>
        <a:lstStyle/>
        <a:p>
          <a:endParaRPr lang="en-GB"/>
        </a:p>
      </dgm:t>
    </dgm:pt>
    <dgm:pt modelId="{31FC0DAB-3F4A-493D-B356-94CB422A5482}" type="sibTrans" cxnId="{9E3F806A-C1A6-4679-B64B-3B004B0A5010}">
      <dgm:prSet/>
      <dgm:spPr/>
      <dgm:t>
        <a:bodyPr/>
        <a:lstStyle/>
        <a:p>
          <a:endParaRPr lang="en-GB"/>
        </a:p>
      </dgm:t>
    </dgm:pt>
    <dgm:pt modelId="{5AEAB2CE-6811-493B-A4B4-630A82D39696}">
      <dgm:prSet phldrT="[Text]"/>
      <dgm:spPr/>
      <dgm:t>
        <a:bodyPr/>
        <a:lstStyle/>
        <a:p>
          <a:r>
            <a:rPr lang="en-US" dirty="0" smtClean="0"/>
            <a:t>On-Demand Self- Service</a:t>
          </a:r>
          <a:endParaRPr lang="en-GB" dirty="0"/>
        </a:p>
      </dgm:t>
    </dgm:pt>
    <dgm:pt modelId="{E1A6ABC3-1A87-4545-8618-AA5DCE41B204}" type="parTrans" cxnId="{D35F2933-3E66-4AF7-82B3-E6E0E70722AB}">
      <dgm:prSet/>
      <dgm:spPr/>
      <dgm:t>
        <a:bodyPr/>
        <a:lstStyle/>
        <a:p>
          <a:endParaRPr lang="en-GB"/>
        </a:p>
      </dgm:t>
    </dgm:pt>
    <dgm:pt modelId="{7CA0C3DE-B67E-460C-BD8B-8DDF1B63331B}" type="sibTrans" cxnId="{D35F2933-3E66-4AF7-82B3-E6E0E70722AB}">
      <dgm:prSet/>
      <dgm:spPr/>
      <dgm:t>
        <a:bodyPr/>
        <a:lstStyle/>
        <a:p>
          <a:endParaRPr lang="en-GB"/>
        </a:p>
      </dgm:t>
    </dgm:pt>
    <dgm:pt modelId="{B8DD36BE-A68B-4DE2-9754-BB3B2DA34627}">
      <dgm:prSet phldrT="[Text]"/>
      <dgm:spPr/>
      <dgm:t>
        <a:bodyPr/>
        <a:lstStyle/>
        <a:p>
          <a:r>
            <a:rPr lang="en-US" dirty="0" smtClean="0"/>
            <a:t>Broad Network Access</a:t>
          </a:r>
          <a:endParaRPr lang="en-GB" dirty="0"/>
        </a:p>
      </dgm:t>
    </dgm:pt>
    <dgm:pt modelId="{46CB48C8-7481-4328-9A99-82936F185A9A}" type="parTrans" cxnId="{24413640-AC38-451B-A40B-113CE45DD4EB}">
      <dgm:prSet/>
      <dgm:spPr/>
      <dgm:t>
        <a:bodyPr/>
        <a:lstStyle/>
        <a:p>
          <a:endParaRPr lang="en-GB"/>
        </a:p>
      </dgm:t>
    </dgm:pt>
    <dgm:pt modelId="{11270103-4D4E-4854-9A20-4E5352ABAAD7}" type="sibTrans" cxnId="{24413640-AC38-451B-A40B-113CE45DD4EB}">
      <dgm:prSet/>
      <dgm:spPr/>
      <dgm:t>
        <a:bodyPr/>
        <a:lstStyle/>
        <a:p>
          <a:endParaRPr lang="en-GB"/>
        </a:p>
      </dgm:t>
    </dgm:pt>
    <dgm:pt modelId="{34C2C478-AE84-4198-85FD-C2739712518B}">
      <dgm:prSet phldrT="[Text]" custT="1"/>
      <dgm:spPr/>
      <dgm:t>
        <a:bodyPr/>
        <a:lstStyle/>
        <a:p>
          <a:r>
            <a:rPr lang="en-US" sz="2400" dirty="0" smtClean="0"/>
            <a:t>3- Service Models</a:t>
          </a:r>
          <a:endParaRPr lang="en-GB" sz="2400" dirty="0"/>
        </a:p>
      </dgm:t>
    </dgm:pt>
    <dgm:pt modelId="{6B70D1CF-F75E-46C3-B442-157B0921B1FE}" type="parTrans" cxnId="{F04CC9F2-B494-4F74-B632-6F1A98240F89}">
      <dgm:prSet/>
      <dgm:spPr/>
      <dgm:t>
        <a:bodyPr/>
        <a:lstStyle/>
        <a:p>
          <a:endParaRPr lang="en-GB"/>
        </a:p>
      </dgm:t>
    </dgm:pt>
    <dgm:pt modelId="{B49729CC-114F-4B51-B1CC-36FFE2285D19}" type="sibTrans" cxnId="{F04CC9F2-B494-4F74-B632-6F1A98240F89}">
      <dgm:prSet/>
      <dgm:spPr/>
      <dgm:t>
        <a:bodyPr/>
        <a:lstStyle/>
        <a:p>
          <a:endParaRPr lang="en-GB"/>
        </a:p>
      </dgm:t>
    </dgm:pt>
    <dgm:pt modelId="{9E908EDE-9555-42FD-8B26-46B560947638}">
      <dgm:prSet phldrT="[Text]"/>
      <dgm:spPr/>
      <dgm:t>
        <a:bodyPr/>
        <a:lstStyle/>
        <a:p>
          <a:r>
            <a:rPr lang="en-US" dirty="0" smtClean="0"/>
            <a:t>Infrastructure as a Service (IaaS)</a:t>
          </a:r>
          <a:endParaRPr lang="en-GB" dirty="0"/>
        </a:p>
      </dgm:t>
    </dgm:pt>
    <dgm:pt modelId="{F87E9405-5AB8-4758-B29F-AEE20CBDC090}" type="parTrans" cxnId="{D07A911B-3087-4E11-BA5A-37AD4462F0E7}">
      <dgm:prSet/>
      <dgm:spPr/>
      <dgm:t>
        <a:bodyPr/>
        <a:lstStyle/>
        <a:p>
          <a:endParaRPr lang="en-GB"/>
        </a:p>
      </dgm:t>
    </dgm:pt>
    <dgm:pt modelId="{4FFAF8F5-0D5A-40D3-8ADE-4C87B47FEBB7}" type="sibTrans" cxnId="{D07A911B-3087-4E11-BA5A-37AD4462F0E7}">
      <dgm:prSet/>
      <dgm:spPr/>
      <dgm:t>
        <a:bodyPr/>
        <a:lstStyle/>
        <a:p>
          <a:endParaRPr lang="en-GB"/>
        </a:p>
      </dgm:t>
    </dgm:pt>
    <dgm:pt modelId="{79759308-FA5C-44AF-B1F6-3C776FAE7D01}">
      <dgm:prSet phldrT="[Text]"/>
      <dgm:spPr/>
      <dgm:t>
        <a:bodyPr/>
        <a:lstStyle/>
        <a:p>
          <a:r>
            <a:rPr lang="en-US" dirty="0" smtClean="0"/>
            <a:t>Platform as a Service (PaaS)</a:t>
          </a:r>
          <a:endParaRPr lang="en-GB" dirty="0"/>
        </a:p>
      </dgm:t>
    </dgm:pt>
    <dgm:pt modelId="{BEE16E4D-9534-443C-B6DA-554360FAF6E7}" type="parTrans" cxnId="{41EE8C93-E889-4827-8936-92E2C392E920}">
      <dgm:prSet/>
      <dgm:spPr/>
      <dgm:t>
        <a:bodyPr/>
        <a:lstStyle/>
        <a:p>
          <a:endParaRPr lang="en-GB"/>
        </a:p>
      </dgm:t>
    </dgm:pt>
    <dgm:pt modelId="{066B90C7-8D19-4F1F-8E8D-D67D14623D2D}" type="sibTrans" cxnId="{41EE8C93-E889-4827-8936-92E2C392E920}">
      <dgm:prSet/>
      <dgm:spPr/>
      <dgm:t>
        <a:bodyPr/>
        <a:lstStyle/>
        <a:p>
          <a:endParaRPr lang="en-GB"/>
        </a:p>
      </dgm:t>
    </dgm:pt>
    <dgm:pt modelId="{CAF045F6-2E52-440C-9FD8-F26A763AA572}">
      <dgm:prSet phldrT="[Text]" custT="1"/>
      <dgm:spPr/>
      <dgm:t>
        <a:bodyPr/>
        <a:lstStyle/>
        <a:p>
          <a:r>
            <a:rPr lang="en-US" sz="2400" dirty="0" smtClean="0"/>
            <a:t>4- Deployment Models</a:t>
          </a:r>
          <a:endParaRPr lang="en-GB" sz="2400" dirty="0"/>
        </a:p>
      </dgm:t>
    </dgm:pt>
    <dgm:pt modelId="{CC7D3B8F-D67E-4C85-A6C1-A7613AF354CC}" type="parTrans" cxnId="{7154F4AC-E75F-4657-BCE3-E386F6C7EC50}">
      <dgm:prSet/>
      <dgm:spPr/>
      <dgm:t>
        <a:bodyPr/>
        <a:lstStyle/>
        <a:p>
          <a:endParaRPr lang="en-GB"/>
        </a:p>
      </dgm:t>
    </dgm:pt>
    <dgm:pt modelId="{8518FF6D-025E-4064-BAED-3AE38E878D76}" type="sibTrans" cxnId="{7154F4AC-E75F-4657-BCE3-E386F6C7EC50}">
      <dgm:prSet/>
      <dgm:spPr/>
      <dgm:t>
        <a:bodyPr/>
        <a:lstStyle/>
        <a:p>
          <a:endParaRPr lang="en-GB"/>
        </a:p>
      </dgm:t>
    </dgm:pt>
    <dgm:pt modelId="{AB2996E5-6104-4A38-9DED-86F174F305AA}">
      <dgm:prSet phldrT="[Text]"/>
      <dgm:spPr/>
      <dgm:t>
        <a:bodyPr/>
        <a:lstStyle/>
        <a:p>
          <a:r>
            <a:rPr lang="en-US" dirty="0" smtClean="0"/>
            <a:t>Private Cloud</a:t>
          </a:r>
          <a:endParaRPr lang="en-GB" dirty="0"/>
        </a:p>
      </dgm:t>
    </dgm:pt>
    <dgm:pt modelId="{C0D7FC03-CF9A-4ACB-BF29-25A673AC7E53}" type="parTrans" cxnId="{7D39D15E-54E0-4502-8988-7D014DD54DFE}">
      <dgm:prSet/>
      <dgm:spPr/>
      <dgm:t>
        <a:bodyPr/>
        <a:lstStyle/>
        <a:p>
          <a:endParaRPr lang="en-GB"/>
        </a:p>
      </dgm:t>
    </dgm:pt>
    <dgm:pt modelId="{7800B049-D9C3-42DE-80B6-701DACBFE2BB}" type="sibTrans" cxnId="{7D39D15E-54E0-4502-8988-7D014DD54DFE}">
      <dgm:prSet/>
      <dgm:spPr/>
      <dgm:t>
        <a:bodyPr/>
        <a:lstStyle/>
        <a:p>
          <a:endParaRPr lang="en-GB"/>
        </a:p>
      </dgm:t>
    </dgm:pt>
    <dgm:pt modelId="{C7603CF5-E22B-4694-827B-0AAEF32CA6A0}">
      <dgm:prSet phldrT="[Text]"/>
      <dgm:spPr/>
      <dgm:t>
        <a:bodyPr/>
        <a:lstStyle/>
        <a:p>
          <a:r>
            <a:rPr lang="en-US" dirty="0" smtClean="0"/>
            <a:t>Community Cloud</a:t>
          </a:r>
          <a:endParaRPr lang="en-GB" dirty="0"/>
        </a:p>
      </dgm:t>
    </dgm:pt>
    <dgm:pt modelId="{A68462EA-8CAC-4DEA-98D5-9CC045A7A99C}" type="parTrans" cxnId="{C80FFF5E-8912-45D0-9AB9-C575EAB4C4FD}">
      <dgm:prSet/>
      <dgm:spPr/>
      <dgm:t>
        <a:bodyPr/>
        <a:lstStyle/>
        <a:p>
          <a:endParaRPr lang="en-GB"/>
        </a:p>
      </dgm:t>
    </dgm:pt>
    <dgm:pt modelId="{933EA748-108E-454A-B7B0-323352EB352A}" type="sibTrans" cxnId="{C80FFF5E-8912-45D0-9AB9-C575EAB4C4FD}">
      <dgm:prSet/>
      <dgm:spPr/>
      <dgm:t>
        <a:bodyPr/>
        <a:lstStyle/>
        <a:p>
          <a:endParaRPr lang="en-GB"/>
        </a:p>
      </dgm:t>
    </dgm:pt>
    <dgm:pt modelId="{88D7735B-6070-459D-8C79-5FA14711530D}">
      <dgm:prSet/>
      <dgm:spPr/>
      <dgm:t>
        <a:bodyPr/>
        <a:lstStyle/>
        <a:p>
          <a:r>
            <a:rPr lang="en-US" dirty="0" smtClean="0"/>
            <a:t>Resource Pooling</a:t>
          </a:r>
          <a:endParaRPr lang="en-GB" dirty="0"/>
        </a:p>
      </dgm:t>
    </dgm:pt>
    <dgm:pt modelId="{CA196A4F-1948-4D35-90AD-1FB3E8AEDEC9}" type="parTrans" cxnId="{1491A593-D58F-4E87-8649-9E8E7A8AEF98}">
      <dgm:prSet/>
      <dgm:spPr/>
      <dgm:t>
        <a:bodyPr/>
        <a:lstStyle/>
        <a:p>
          <a:endParaRPr lang="en-GB"/>
        </a:p>
      </dgm:t>
    </dgm:pt>
    <dgm:pt modelId="{4560AA51-CC9D-498D-B8A8-283AA548921C}" type="sibTrans" cxnId="{1491A593-D58F-4E87-8649-9E8E7A8AEF98}">
      <dgm:prSet/>
      <dgm:spPr/>
      <dgm:t>
        <a:bodyPr/>
        <a:lstStyle/>
        <a:p>
          <a:endParaRPr lang="en-GB"/>
        </a:p>
      </dgm:t>
    </dgm:pt>
    <dgm:pt modelId="{C42F6F3A-D800-4F9C-916A-E2B797CE8DC2}">
      <dgm:prSet/>
      <dgm:spPr/>
      <dgm:t>
        <a:bodyPr/>
        <a:lstStyle/>
        <a:p>
          <a:r>
            <a:rPr lang="en-US" dirty="0" smtClean="0"/>
            <a:t>Rapid elasticity</a:t>
          </a:r>
          <a:endParaRPr lang="en-GB" dirty="0"/>
        </a:p>
      </dgm:t>
    </dgm:pt>
    <dgm:pt modelId="{A095F601-39AF-4D46-AE3F-AC3E1BC01757}" type="parTrans" cxnId="{65803F5A-E8C7-4F79-BDE0-27B795BE9D3E}">
      <dgm:prSet/>
      <dgm:spPr/>
      <dgm:t>
        <a:bodyPr/>
        <a:lstStyle/>
        <a:p>
          <a:endParaRPr lang="en-GB"/>
        </a:p>
      </dgm:t>
    </dgm:pt>
    <dgm:pt modelId="{A945BF94-6A3F-431D-8646-A5321F7C02B1}" type="sibTrans" cxnId="{65803F5A-E8C7-4F79-BDE0-27B795BE9D3E}">
      <dgm:prSet/>
      <dgm:spPr/>
      <dgm:t>
        <a:bodyPr/>
        <a:lstStyle/>
        <a:p>
          <a:endParaRPr lang="en-GB"/>
        </a:p>
      </dgm:t>
    </dgm:pt>
    <dgm:pt modelId="{7808CB09-C93F-4F4B-BA63-2C7DF3F48673}">
      <dgm:prSet/>
      <dgm:spPr/>
      <dgm:t>
        <a:bodyPr/>
        <a:lstStyle/>
        <a:p>
          <a:r>
            <a:rPr lang="en-US" dirty="0" smtClean="0"/>
            <a:t>Measured Service/Reliability</a:t>
          </a:r>
          <a:endParaRPr lang="en-GB" dirty="0"/>
        </a:p>
      </dgm:t>
    </dgm:pt>
    <dgm:pt modelId="{FB83D3C1-642C-4D0F-9135-A396C4ED3C91}" type="parTrans" cxnId="{5E105BB0-BBE3-4A11-B9FB-20F8FA7981DD}">
      <dgm:prSet/>
      <dgm:spPr/>
      <dgm:t>
        <a:bodyPr/>
        <a:lstStyle/>
        <a:p>
          <a:endParaRPr lang="en-GB"/>
        </a:p>
      </dgm:t>
    </dgm:pt>
    <dgm:pt modelId="{C17F4AD1-5B7F-48DB-8FC1-7C851DD3F652}" type="sibTrans" cxnId="{5E105BB0-BBE3-4A11-B9FB-20F8FA7981DD}">
      <dgm:prSet/>
      <dgm:spPr/>
      <dgm:t>
        <a:bodyPr/>
        <a:lstStyle/>
        <a:p>
          <a:endParaRPr lang="en-GB"/>
        </a:p>
      </dgm:t>
    </dgm:pt>
    <dgm:pt modelId="{C14E0CD0-3233-4D2D-AD3A-27EB70A4F0EA}">
      <dgm:prSet/>
      <dgm:spPr/>
      <dgm:t>
        <a:bodyPr/>
        <a:lstStyle/>
        <a:p>
          <a:r>
            <a:rPr lang="en-US" dirty="0" smtClean="0"/>
            <a:t>Software as a Service (SaaS)</a:t>
          </a:r>
          <a:endParaRPr lang="en-GB" dirty="0"/>
        </a:p>
      </dgm:t>
    </dgm:pt>
    <dgm:pt modelId="{F2CE8968-DA0B-40AF-A078-3F42C08BEC02}" type="parTrans" cxnId="{24430A8A-45B4-4839-B329-D4BF8C36AF60}">
      <dgm:prSet/>
      <dgm:spPr/>
      <dgm:t>
        <a:bodyPr/>
        <a:lstStyle/>
        <a:p>
          <a:endParaRPr lang="en-GB"/>
        </a:p>
      </dgm:t>
    </dgm:pt>
    <dgm:pt modelId="{E3B90DB7-C344-4225-8284-E8DCDA31D32D}" type="sibTrans" cxnId="{24430A8A-45B4-4839-B329-D4BF8C36AF60}">
      <dgm:prSet/>
      <dgm:spPr/>
      <dgm:t>
        <a:bodyPr/>
        <a:lstStyle/>
        <a:p>
          <a:endParaRPr lang="en-GB"/>
        </a:p>
      </dgm:t>
    </dgm:pt>
    <dgm:pt modelId="{84383103-0AD3-47A2-BEEA-493AE9233417}">
      <dgm:prSet/>
      <dgm:spPr/>
      <dgm:t>
        <a:bodyPr/>
        <a:lstStyle/>
        <a:p>
          <a:r>
            <a:rPr lang="en-US" dirty="0" smtClean="0"/>
            <a:t>Public Cloud</a:t>
          </a:r>
          <a:endParaRPr lang="en-GB" dirty="0"/>
        </a:p>
      </dgm:t>
    </dgm:pt>
    <dgm:pt modelId="{9A959D64-17EF-43AE-A3ED-A6EECF14D45C}" type="parTrans" cxnId="{F63CBFA1-1A0B-4D3E-AEA8-ADBEC9DA7B3A}">
      <dgm:prSet/>
      <dgm:spPr/>
      <dgm:t>
        <a:bodyPr/>
        <a:lstStyle/>
        <a:p>
          <a:endParaRPr lang="en-GB"/>
        </a:p>
      </dgm:t>
    </dgm:pt>
    <dgm:pt modelId="{E8FBC56F-5A37-433A-A53F-3674339A557E}" type="sibTrans" cxnId="{F63CBFA1-1A0B-4D3E-AEA8-ADBEC9DA7B3A}">
      <dgm:prSet/>
      <dgm:spPr/>
      <dgm:t>
        <a:bodyPr/>
        <a:lstStyle/>
        <a:p>
          <a:endParaRPr lang="en-GB"/>
        </a:p>
      </dgm:t>
    </dgm:pt>
    <dgm:pt modelId="{4D1DDEBA-6764-43BC-8DE1-7C1C355DF984}">
      <dgm:prSet/>
      <dgm:spPr/>
      <dgm:t>
        <a:bodyPr/>
        <a:lstStyle/>
        <a:p>
          <a:r>
            <a:rPr lang="en-US" dirty="0" smtClean="0"/>
            <a:t>Hybrid Cloud</a:t>
          </a:r>
          <a:endParaRPr lang="en-GB" dirty="0"/>
        </a:p>
      </dgm:t>
    </dgm:pt>
    <dgm:pt modelId="{0B274E24-B261-454D-A979-A388A9966258}" type="parTrans" cxnId="{966A7C76-A272-43A1-A168-CDD0D93EEAAA}">
      <dgm:prSet/>
      <dgm:spPr/>
      <dgm:t>
        <a:bodyPr/>
        <a:lstStyle/>
        <a:p>
          <a:endParaRPr lang="en-GB"/>
        </a:p>
      </dgm:t>
    </dgm:pt>
    <dgm:pt modelId="{9FBD2C3F-1604-40A0-AA53-65C0845BC4EB}" type="sibTrans" cxnId="{966A7C76-A272-43A1-A168-CDD0D93EEAAA}">
      <dgm:prSet/>
      <dgm:spPr/>
      <dgm:t>
        <a:bodyPr/>
        <a:lstStyle/>
        <a:p>
          <a:endParaRPr lang="en-GB"/>
        </a:p>
      </dgm:t>
    </dgm:pt>
    <dgm:pt modelId="{413FB6AD-950F-423F-A4D5-A11AFA1FC6AF}" type="pres">
      <dgm:prSet presAssocID="{E96C7E2E-0740-4B97-8171-0D618FAE464E}" presName="theList" presStyleCnt="0">
        <dgm:presLayoutVars>
          <dgm:dir/>
          <dgm:animLvl val="lvl"/>
          <dgm:resizeHandles val="exact"/>
        </dgm:presLayoutVars>
      </dgm:prSet>
      <dgm:spPr/>
      <dgm:t>
        <a:bodyPr/>
        <a:lstStyle/>
        <a:p>
          <a:endParaRPr lang="en-GB"/>
        </a:p>
      </dgm:t>
    </dgm:pt>
    <dgm:pt modelId="{C5672FB5-F9B1-460F-9E07-73AE7A6B8552}" type="pres">
      <dgm:prSet presAssocID="{9B4B243E-4C0C-4B44-886A-12B8D0348B08}" presName="compNode" presStyleCnt="0"/>
      <dgm:spPr/>
    </dgm:pt>
    <dgm:pt modelId="{81A58E10-767B-4ACD-8A60-4AA9249900CB}" type="pres">
      <dgm:prSet presAssocID="{9B4B243E-4C0C-4B44-886A-12B8D0348B08}" presName="aNode" presStyleLbl="bgShp" presStyleIdx="0" presStyleCnt="3"/>
      <dgm:spPr/>
      <dgm:t>
        <a:bodyPr/>
        <a:lstStyle/>
        <a:p>
          <a:endParaRPr lang="en-GB"/>
        </a:p>
      </dgm:t>
    </dgm:pt>
    <dgm:pt modelId="{627A0962-3B0C-4452-8022-1246C27748E2}" type="pres">
      <dgm:prSet presAssocID="{9B4B243E-4C0C-4B44-886A-12B8D0348B08}" presName="textNode" presStyleLbl="bgShp" presStyleIdx="0" presStyleCnt="3"/>
      <dgm:spPr/>
      <dgm:t>
        <a:bodyPr/>
        <a:lstStyle/>
        <a:p>
          <a:endParaRPr lang="en-GB"/>
        </a:p>
      </dgm:t>
    </dgm:pt>
    <dgm:pt modelId="{AC4C50E5-5F3C-4AEA-A375-09EFD3F69F14}" type="pres">
      <dgm:prSet presAssocID="{9B4B243E-4C0C-4B44-886A-12B8D0348B08}" presName="compChildNode" presStyleCnt="0"/>
      <dgm:spPr/>
    </dgm:pt>
    <dgm:pt modelId="{8BC664D2-F3B0-4E97-82E7-8C28BC700612}" type="pres">
      <dgm:prSet presAssocID="{9B4B243E-4C0C-4B44-886A-12B8D0348B08}" presName="theInnerList" presStyleCnt="0"/>
      <dgm:spPr/>
    </dgm:pt>
    <dgm:pt modelId="{E6322F15-6CF7-4CDA-ADCA-A25E5E89A71C}" type="pres">
      <dgm:prSet presAssocID="{5AEAB2CE-6811-493B-A4B4-630A82D39696}" presName="childNode" presStyleLbl="node1" presStyleIdx="0" presStyleCnt="12" custScaleX="110475">
        <dgm:presLayoutVars>
          <dgm:bulletEnabled val="1"/>
        </dgm:presLayoutVars>
      </dgm:prSet>
      <dgm:spPr/>
      <dgm:t>
        <a:bodyPr/>
        <a:lstStyle/>
        <a:p>
          <a:endParaRPr lang="en-GB"/>
        </a:p>
      </dgm:t>
    </dgm:pt>
    <dgm:pt modelId="{5DCB2487-ED21-4FE3-A348-34823E10E410}" type="pres">
      <dgm:prSet presAssocID="{5AEAB2CE-6811-493B-A4B4-630A82D39696}" presName="aSpace2" presStyleCnt="0"/>
      <dgm:spPr/>
    </dgm:pt>
    <dgm:pt modelId="{51AA7E8E-8AAC-4013-B375-A9310274AC64}" type="pres">
      <dgm:prSet presAssocID="{B8DD36BE-A68B-4DE2-9754-BB3B2DA34627}" presName="childNode" presStyleLbl="node1" presStyleIdx="1" presStyleCnt="12" custScaleX="110475">
        <dgm:presLayoutVars>
          <dgm:bulletEnabled val="1"/>
        </dgm:presLayoutVars>
      </dgm:prSet>
      <dgm:spPr/>
      <dgm:t>
        <a:bodyPr/>
        <a:lstStyle/>
        <a:p>
          <a:endParaRPr lang="en-GB"/>
        </a:p>
      </dgm:t>
    </dgm:pt>
    <dgm:pt modelId="{3DB726CB-A8FC-4A75-BF24-2F2A638C7FBA}" type="pres">
      <dgm:prSet presAssocID="{B8DD36BE-A68B-4DE2-9754-BB3B2DA34627}" presName="aSpace2" presStyleCnt="0"/>
      <dgm:spPr/>
    </dgm:pt>
    <dgm:pt modelId="{C314AA19-B99B-4F20-8A72-9BE79A107241}" type="pres">
      <dgm:prSet presAssocID="{88D7735B-6070-459D-8C79-5FA14711530D}" presName="childNode" presStyleLbl="node1" presStyleIdx="2" presStyleCnt="12" custScaleX="110475">
        <dgm:presLayoutVars>
          <dgm:bulletEnabled val="1"/>
        </dgm:presLayoutVars>
      </dgm:prSet>
      <dgm:spPr/>
      <dgm:t>
        <a:bodyPr/>
        <a:lstStyle/>
        <a:p>
          <a:endParaRPr lang="en-GB"/>
        </a:p>
      </dgm:t>
    </dgm:pt>
    <dgm:pt modelId="{50C8D439-21AA-4CE9-A527-A0FEF5DACAAC}" type="pres">
      <dgm:prSet presAssocID="{88D7735B-6070-459D-8C79-5FA14711530D}" presName="aSpace2" presStyleCnt="0"/>
      <dgm:spPr/>
    </dgm:pt>
    <dgm:pt modelId="{E4B5E672-A49D-4A23-9B3D-EC942CBFE683}" type="pres">
      <dgm:prSet presAssocID="{C42F6F3A-D800-4F9C-916A-E2B797CE8DC2}" presName="childNode" presStyleLbl="node1" presStyleIdx="3" presStyleCnt="12" custScaleX="110475">
        <dgm:presLayoutVars>
          <dgm:bulletEnabled val="1"/>
        </dgm:presLayoutVars>
      </dgm:prSet>
      <dgm:spPr/>
      <dgm:t>
        <a:bodyPr/>
        <a:lstStyle/>
        <a:p>
          <a:endParaRPr lang="en-GB"/>
        </a:p>
      </dgm:t>
    </dgm:pt>
    <dgm:pt modelId="{3A6A5A32-40BD-4397-876E-F01256166FA6}" type="pres">
      <dgm:prSet presAssocID="{C42F6F3A-D800-4F9C-916A-E2B797CE8DC2}" presName="aSpace2" presStyleCnt="0"/>
      <dgm:spPr/>
    </dgm:pt>
    <dgm:pt modelId="{78AFBDE3-0DEE-48A0-989B-833D2CA33323}" type="pres">
      <dgm:prSet presAssocID="{7808CB09-C93F-4F4B-BA63-2C7DF3F48673}" presName="childNode" presStyleLbl="node1" presStyleIdx="4" presStyleCnt="12" custScaleX="110475">
        <dgm:presLayoutVars>
          <dgm:bulletEnabled val="1"/>
        </dgm:presLayoutVars>
      </dgm:prSet>
      <dgm:spPr/>
      <dgm:t>
        <a:bodyPr/>
        <a:lstStyle/>
        <a:p>
          <a:endParaRPr lang="en-GB"/>
        </a:p>
      </dgm:t>
    </dgm:pt>
    <dgm:pt modelId="{68B47625-4C66-4AAF-BA4A-0001F8075341}" type="pres">
      <dgm:prSet presAssocID="{9B4B243E-4C0C-4B44-886A-12B8D0348B08}" presName="aSpace" presStyleCnt="0"/>
      <dgm:spPr/>
    </dgm:pt>
    <dgm:pt modelId="{72D083DF-7B04-4BB0-9CD1-9004FF80BC88}" type="pres">
      <dgm:prSet presAssocID="{34C2C478-AE84-4198-85FD-C2739712518B}" presName="compNode" presStyleCnt="0"/>
      <dgm:spPr/>
    </dgm:pt>
    <dgm:pt modelId="{5C60077A-38A9-4DDD-A43A-CC7338C07A09}" type="pres">
      <dgm:prSet presAssocID="{34C2C478-AE84-4198-85FD-C2739712518B}" presName="aNode" presStyleLbl="bgShp" presStyleIdx="1" presStyleCnt="3"/>
      <dgm:spPr/>
      <dgm:t>
        <a:bodyPr/>
        <a:lstStyle/>
        <a:p>
          <a:endParaRPr lang="en-GB"/>
        </a:p>
      </dgm:t>
    </dgm:pt>
    <dgm:pt modelId="{909F27A4-16B9-4823-BA72-E3B2BDA4AB71}" type="pres">
      <dgm:prSet presAssocID="{34C2C478-AE84-4198-85FD-C2739712518B}" presName="textNode" presStyleLbl="bgShp" presStyleIdx="1" presStyleCnt="3"/>
      <dgm:spPr/>
      <dgm:t>
        <a:bodyPr/>
        <a:lstStyle/>
        <a:p>
          <a:endParaRPr lang="en-GB"/>
        </a:p>
      </dgm:t>
    </dgm:pt>
    <dgm:pt modelId="{758942D2-E801-404D-8389-B36796690E2F}" type="pres">
      <dgm:prSet presAssocID="{34C2C478-AE84-4198-85FD-C2739712518B}" presName="compChildNode" presStyleCnt="0"/>
      <dgm:spPr/>
    </dgm:pt>
    <dgm:pt modelId="{DBB88399-E62B-4F3D-8EA9-2B4A5D24EFD0}" type="pres">
      <dgm:prSet presAssocID="{34C2C478-AE84-4198-85FD-C2739712518B}" presName="theInnerList" presStyleCnt="0"/>
      <dgm:spPr/>
    </dgm:pt>
    <dgm:pt modelId="{87670BE1-CC48-453B-8C09-46BC1CFE3C0C}" type="pres">
      <dgm:prSet presAssocID="{9E908EDE-9555-42FD-8B26-46B560947638}" presName="childNode" presStyleLbl="node1" presStyleIdx="5" presStyleCnt="12">
        <dgm:presLayoutVars>
          <dgm:bulletEnabled val="1"/>
        </dgm:presLayoutVars>
      </dgm:prSet>
      <dgm:spPr/>
      <dgm:t>
        <a:bodyPr/>
        <a:lstStyle/>
        <a:p>
          <a:endParaRPr lang="en-GB"/>
        </a:p>
      </dgm:t>
    </dgm:pt>
    <dgm:pt modelId="{070F0FC9-E2DC-4CCF-95A6-402E8EA8BB09}" type="pres">
      <dgm:prSet presAssocID="{9E908EDE-9555-42FD-8B26-46B560947638}" presName="aSpace2" presStyleCnt="0"/>
      <dgm:spPr/>
    </dgm:pt>
    <dgm:pt modelId="{8B81487C-3984-4ECA-9826-D510A3917154}" type="pres">
      <dgm:prSet presAssocID="{79759308-FA5C-44AF-B1F6-3C776FAE7D01}" presName="childNode" presStyleLbl="node1" presStyleIdx="6" presStyleCnt="12">
        <dgm:presLayoutVars>
          <dgm:bulletEnabled val="1"/>
        </dgm:presLayoutVars>
      </dgm:prSet>
      <dgm:spPr/>
      <dgm:t>
        <a:bodyPr/>
        <a:lstStyle/>
        <a:p>
          <a:endParaRPr lang="en-GB"/>
        </a:p>
      </dgm:t>
    </dgm:pt>
    <dgm:pt modelId="{54D56F09-4DE0-44AE-898D-44B01B4F976A}" type="pres">
      <dgm:prSet presAssocID="{79759308-FA5C-44AF-B1F6-3C776FAE7D01}" presName="aSpace2" presStyleCnt="0"/>
      <dgm:spPr/>
    </dgm:pt>
    <dgm:pt modelId="{886FCA5C-4441-4966-B653-711D3FE9B987}" type="pres">
      <dgm:prSet presAssocID="{C14E0CD0-3233-4D2D-AD3A-27EB70A4F0EA}" presName="childNode" presStyleLbl="node1" presStyleIdx="7" presStyleCnt="12">
        <dgm:presLayoutVars>
          <dgm:bulletEnabled val="1"/>
        </dgm:presLayoutVars>
      </dgm:prSet>
      <dgm:spPr/>
      <dgm:t>
        <a:bodyPr/>
        <a:lstStyle/>
        <a:p>
          <a:endParaRPr lang="en-GB"/>
        </a:p>
      </dgm:t>
    </dgm:pt>
    <dgm:pt modelId="{F991E133-7EAE-4C71-82FC-7A7B0E69C09A}" type="pres">
      <dgm:prSet presAssocID="{34C2C478-AE84-4198-85FD-C2739712518B}" presName="aSpace" presStyleCnt="0"/>
      <dgm:spPr/>
    </dgm:pt>
    <dgm:pt modelId="{C2741170-11AD-4683-9946-D193BBFB9766}" type="pres">
      <dgm:prSet presAssocID="{CAF045F6-2E52-440C-9FD8-F26A763AA572}" presName="compNode" presStyleCnt="0"/>
      <dgm:spPr/>
    </dgm:pt>
    <dgm:pt modelId="{138FC964-6115-4C4E-BFFF-21CA4E0206C2}" type="pres">
      <dgm:prSet presAssocID="{CAF045F6-2E52-440C-9FD8-F26A763AA572}" presName="aNode" presStyleLbl="bgShp" presStyleIdx="2" presStyleCnt="3"/>
      <dgm:spPr/>
      <dgm:t>
        <a:bodyPr/>
        <a:lstStyle/>
        <a:p>
          <a:endParaRPr lang="en-GB"/>
        </a:p>
      </dgm:t>
    </dgm:pt>
    <dgm:pt modelId="{B732BEBD-6B19-40FE-980C-08476169C698}" type="pres">
      <dgm:prSet presAssocID="{CAF045F6-2E52-440C-9FD8-F26A763AA572}" presName="textNode" presStyleLbl="bgShp" presStyleIdx="2" presStyleCnt="3"/>
      <dgm:spPr/>
      <dgm:t>
        <a:bodyPr/>
        <a:lstStyle/>
        <a:p>
          <a:endParaRPr lang="en-GB"/>
        </a:p>
      </dgm:t>
    </dgm:pt>
    <dgm:pt modelId="{6C2875D2-1BEB-4D7B-844E-62B224696B46}" type="pres">
      <dgm:prSet presAssocID="{CAF045F6-2E52-440C-9FD8-F26A763AA572}" presName="compChildNode" presStyleCnt="0"/>
      <dgm:spPr/>
    </dgm:pt>
    <dgm:pt modelId="{8DF24730-5DC9-45FD-9C13-5E070466BEF3}" type="pres">
      <dgm:prSet presAssocID="{CAF045F6-2E52-440C-9FD8-F26A763AA572}" presName="theInnerList" presStyleCnt="0"/>
      <dgm:spPr/>
    </dgm:pt>
    <dgm:pt modelId="{4E439B8A-90AC-4F2F-86A4-B0444ABF14BC}" type="pres">
      <dgm:prSet presAssocID="{AB2996E5-6104-4A38-9DED-86F174F305AA}" presName="childNode" presStyleLbl="node1" presStyleIdx="8" presStyleCnt="12">
        <dgm:presLayoutVars>
          <dgm:bulletEnabled val="1"/>
        </dgm:presLayoutVars>
      </dgm:prSet>
      <dgm:spPr/>
      <dgm:t>
        <a:bodyPr/>
        <a:lstStyle/>
        <a:p>
          <a:endParaRPr lang="en-GB"/>
        </a:p>
      </dgm:t>
    </dgm:pt>
    <dgm:pt modelId="{A408B7D0-D6C2-413A-BBFD-4667A9553310}" type="pres">
      <dgm:prSet presAssocID="{AB2996E5-6104-4A38-9DED-86F174F305AA}" presName="aSpace2" presStyleCnt="0"/>
      <dgm:spPr/>
    </dgm:pt>
    <dgm:pt modelId="{1CFC70F4-3CC3-4A89-BE01-A6B75F1631CF}" type="pres">
      <dgm:prSet presAssocID="{C7603CF5-E22B-4694-827B-0AAEF32CA6A0}" presName="childNode" presStyleLbl="node1" presStyleIdx="9" presStyleCnt="12">
        <dgm:presLayoutVars>
          <dgm:bulletEnabled val="1"/>
        </dgm:presLayoutVars>
      </dgm:prSet>
      <dgm:spPr/>
      <dgm:t>
        <a:bodyPr/>
        <a:lstStyle/>
        <a:p>
          <a:endParaRPr lang="en-GB"/>
        </a:p>
      </dgm:t>
    </dgm:pt>
    <dgm:pt modelId="{1380EAAF-ABD5-4A21-A4FA-12D8E3E14174}" type="pres">
      <dgm:prSet presAssocID="{C7603CF5-E22B-4694-827B-0AAEF32CA6A0}" presName="aSpace2" presStyleCnt="0"/>
      <dgm:spPr/>
    </dgm:pt>
    <dgm:pt modelId="{9979181C-52CF-42E0-BFD5-4C5B48094DD8}" type="pres">
      <dgm:prSet presAssocID="{84383103-0AD3-47A2-BEEA-493AE9233417}" presName="childNode" presStyleLbl="node1" presStyleIdx="10" presStyleCnt="12">
        <dgm:presLayoutVars>
          <dgm:bulletEnabled val="1"/>
        </dgm:presLayoutVars>
      </dgm:prSet>
      <dgm:spPr/>
      <dgm:t>
        <a:bodyPr/>
        <a:lstStyle/>
        <a:p>
          <a:endParaRPr lang="en-GB"/>
        </a:p>
      </dgm:t>
    </dgm:pt>
    <dgm:pt modelId="{51387580-FE88-40CA-A50A-1603079ECE62}" type="pres">
      <dgm:prSet presAssocID="{84383103-0AD3-47A2-BEEA-493AE9233417}" presName="aSpace2" presStyleCnt="0"/>
      <dgm:spPr/>
    </dgm:pt>
    <dgm:pt modelId="{82703778-A53D-46D4-854C-387126CAF9A5}" type="pres">
      <dgm:prSet presAssocID="{4D1DDEBA-6764-43BC-8DE1-7C1C355DF984}" presName="childNode" presStyleLbl="node1" presStyleIdx="11" presStyleCnt="12">
        <dgm:presLayoutVars>
          <dgm:bulletEnabled val="1"/>
        </dgm:presLayoutVars>
      </dgm:prSet>
      <dgm:spPr/>
      <dgm:t>
        <a:bodyPr/>
        <a:lstStyle/>
        <a:p>
          <a:endParaRPr lang="en-GB"/>
        </a:p>
      </dgm:t>
    </dgm:pt>
  </dgm:ptLst>
  <dgm:cxnLst>
    <dgm:cxn modelId="{9E3F806A-C1A6-4679-B64B-3B004B0A5010}" srcId="{E96C7E2E-0740-4B97-8171-0D618FAE464E}" destId="{9B4B243E-4C0C-4B44-886A-12B8D0348B08}" srcOrd="0" destOrd="0" parTransId="{2285FD99-A2A8-4FBE-962E-6A408A9F4796}" sibTransId="{31FC0DAB-3F4A-493D-B356-94CB422A5482}"/>
    <dgm:cxn modelId="{4EE7E29B-EF6E-44F1-90A6-10FBA83F7016}" type="presOf" srcId="{88D7735B-6070-459D-8C79-5FA14711530D}" destId="{C314AA19-B99B-4F20-8A72-9BE79A107241}" srcOrd="0" destOrd="0" presId="urn:microsoft.com/office/officeart/2005/8/layout/lProcess2"/>
    <dgm:cxn modelId="{966A7C76-A272-43A1-A168-CDD0D93EEAAA}" srcId="{CAF045F6-2E52-440C-9FD8-F26A763AA572}" destId="{4D1DDEBA-6764-43BC-8DE1-7C1C355DF984}" srcOrd="3" destOrd="0" parTransId="{0B274E24-B261-454D-A979-A388A9966258}" sibTransId="{9FBD2C3F-1604-40A0-AA53-65C0845BC4EB}"/>
    <dgm:cxn modelId="{F04CC9F2-B494-4F74-B632-6F1A98240F89}" srcId="{E96C7E2E-0740-4B97-8171-0D618FAE464E}" destId="{34C2C478-AE84-4198-85FD-C2739712518B}" srcOrd="1" destOrd="0" parTransId="{6B70D1CF-F75E-46C3-B442-157B0921B1FE}" sibTransId="{B49729CC-114F-4B51-B1CC-36FFE2285D19}"/>
    <dgm:cxn modelId="{8AC8CEFE-36C6-46C3-BE2F-B4830032912C}" type="presOf" srcId="{CAF045F6-2E52-440C-9FD8-F26A763AA572}" destId="{B732BEBD-6B19-40FE-980C-08476169C698}" srcOrd="1" destOrd="0" presId="urn:microsoft.com/office/officeart/2005/8/layout/lProcess2"/>
    <dgm:cxn modelId="{D35F2933-3E66-4AF7-82B3-E6E0E70722AB}" srcId="{9B4B243E-4C0C-4B44-886A-12B8D0348B08}" destId="{5AEAB2CE-6811-493B-A4B4-630A82D39696}" srcOrd="0" destOrd="0" parTransId="{E1A6ABC3-1A87-4545-8618-AA5DCE41B204}" sibTransId="{7CA0C3DE-B67E-460C-BD8B-8DDF1B63331B}"/>
    <dgm:cxn modelId="{7CFED567-E8A7-410D-B079-C5241D78A1C4}" type="presOf" srcId="{9E908EDE-9555-42FD-8B26-46B560947638}" destId="{87670BE1-CC48-453B-8C09-46BC1CFE3C0C}" srcOrd="0" destOrd="0" presId="urn:microsoft.com/office/officeart/2005/8/layout/lProcess2"/>
    <dgm:cxn modelId="{65803F5A-E8C7-4F79-BDE0-27B795BE9D3E}" srcId="{9B4B243E-4C0C-4B44-886A-12B8D0348B08}" destId="{C42F6F3A-D800-4F9C-916A-E2B797CE8DC2}" srcOrd="3" destOrd="0" parTransId="{A095F601-39AF-4D46-AE3F-AC3E1BC01757}" sibTransId="{A945BF94-6A3F-431D-8646-A5321F7C02B1}"/>
    <dgm:cxn modelId="{BA351378-28EB-4A93-A729-F1C71ABB1177}" type="presOf" srcId="{AB2996E5-6104-4A38-9DED-86F174F305AA}" destId="{4E439B8A-90AC-4F2F-86A4-B0444ABF14BC}" srcOrd="0" destOrd="0" presId="urn:microsoft.com/office/officeart/2005/8/layout/lProcess2"/>
    <dgm:cxn modelId="{6EB319E8-CBFA-49D1-A481-AAE81F91CC54}" type="presOf" srcId="{C7603CF5-E22B-4694-827B-0AAEF32CA6A0}" destId="{1CFC70F4-3CC3-4A89-BE01-A6B75F1631CF}" srcOrd="0" destOrd="0" presId="urn:microsoft.com/office/officeart/2005/8/layout/lProcess2"/>
    <dgm:cxn modelId="{0EE48101-7071-4C45-8A95-863B0C547B99}" type="presOf" srcId="{34C2C478-AE84-4198-85FD-C2739712518B}" destId="{5C60077A-38A9-4DDD-A43A-CC7338C07A09}" srcOrd="0" destOrd="0" presId="urn:microsoft.com/office/officeart/2005/8/layout/lProcess2"/>
    <dgm:cxn modelId="{24413640-AC38-451B-A40B-113CE45DD4EB}" srcId="{9B4B243E-4C0C-4B44-886A-12B8D0348B08}" destId="{B8DD36BE-A68B-4DE2-9754-BB3B2DA34627}" srcOrd="1" destOrd="0" parTransId="{46CB48C8-7481-4328-9A99-82936F185A9A}" sibTransId="{11270103-4D4E-4854-9A20-4E5352ABAAD7}"/>
    <dgm:cxn modelId="{E62B533C-E8B5-4C10-9638-BF081443ACB7}" type="presOf" srcId="{4D1DDEBA-6764-43BC-8DE1-7C1C355DF984}" destId="{82703778-A53D-46D4-854C-387126CAF9A5}" srcOrd="0" destOrd="0" presId="urn:microsoft.com/office/officeart/2005/8/layout/lProcess2"/>
    <dgm:cxn modelId="{F883026B-DC60-489C-AA17-7CA5257FBA47}" type="presOf" srcId="{C42F6F3A-D800-4F9C-916A-E2B797CE8DC2}" destId="{E4B5E672-A49D-4A23-9B3D-EC942CBFE683}" srcOrd="0" destOrd="0" presId="urn:microsoft.com/office/officeart/2005/8/layout/lProcess2"/>
    <dgm:cxn modelId="{F63CBFA1-1A0B-4D3E-AEA8-ADBEC9DA7B3A}" srcId="{CAF045F6-2E52-440C-9FD8-F26A763AA572}" destId="{84383103-0AD3-47A2-BEEA-493AE9233417}" srcOrd="2" destOrd="0" parTransId="{9A959D64-17EF-43AE-A3ED-A6EECF14D45C}" sibTransId="{E8FBC56F-5A37-433A-A53F-3674339A557E}"/>
    <dgm:cxn modelId="{5E105BB0-BBE3-4A11-B9FB-20F8FA7981DD}" srcId="{9B4B243E-4C0C-4B44-886A-12B8D0348B08}" destId="{7808CB09-C93F-4F4B-BA63-2C7DF3F48673}" srcOrd="4" destOrd="0" parTransId="{FB83D3C1-642C-4D0F-9135-A396C4ED3C91}" sibTransId="{C17F4AD1-5B7F-48DB-8FC1-7C851DD3F652}"/>
    <dgm:cxn modelId="{41EE8C93-E889-4827-8936-92E2C392E920}" srcId="{34C2C478-AE84-4198-85FD-C2739712518B}" destId="{79759308-FA5C-44AF-B1F6-3C776FAE7D01}" srcOrd="1" destOrd="0" parTransId="{BEE16E4D-9534-443C-B6DA-554360FAF6E7}" sibTransId="{066B90C7-8D19-4F1F-8E8D-D67D14623D2D}"/>
    <dgm:cxn modelId="{1491A593-D58F-4E87-8649-9E8E7A8AEF98}" srcId="{9B4B243E-4C0C-4B44-886A-12B8D0348B08}" destId="{88D7735B-6070-459D-8C79-5FA14711530D}" srcOrd="2" destOrd="0" parTransId="{CA196A4F-1948-4D35-90AD-1FB3E8AEDEC9}" sibTransId="{4560AA51-CC9D-498D-B8A8-283AA548921C}"/>
    <dgm:cxn modelId="{FDDEC443-F84D-4300-AD71-A8A26F0A33CB}" type="presOf" srcId="{5AEAB2CE-6811-493B-A4B4-630A82D39696}" destId="{E6322F15-6CF7-4CDA-ADCA-A25E5E89A71C}" srcOrd="0" destOrd="0" presId="urn:microsoft.com/office/officeart/2005/8/layout/lProcess2"/>
    <dgm:cxn modelId="{207768C4-E791-42A9-A127-703E357BFAF3}" type="presOf" srcId="{B8DD36BE-A68B-4DE2-9754-BB3B2DA34627}" destId="{51AA7E8E-8AAC-4013-B375-A9310274AC64}" srcOrd="0" destOrd="0" presId="urn:microsoft.com/office/officeart/2005/8/layout/lProcess2"/>
    <dgm:cxn modelId="{C80FFF5E-8912-45D0-9AB9-C575EAB4C4FD}" srcId="{CAF045F6-2E52-440C-9FD8-F26A763AA572}" destId="{C7603CF5-E22B-4694-827B-0AAEF32CA6A0}" srcOrd="1" destOrd="0" parTransId="{A68462EA-8CAC-4DEA-98D5-9CC045A7A99C}" sibTransId="{933EA748-108E-454A-B7B0-323352EB352A}"/>
    <dgm:cxn modelId="{0087C16B-FA7F-4817-94A4-85BFC9D3858E}" type="presOf" srcId="{79759308-FA5C-44AF-B1F6-3C776FAE7D01}" destId="{8B81487C-3984-4ECA-9826-D510A3917154}" srcOrd="0" destOrd="0" presId="urn:microsoft.com/office/officeart/2005/8/layout/lProcess2"/>
    <dgm:cxn modelId="{7154F4AC-E75F-4657-BCE3-E386F6C7EC50}" srcId="{E96C7E2E-0740-4B97-8171-0D618FAE464E}" destId="{CAF045F6-2E52-440C-9FD8-F26A763AA572}" srcOrd="2" destOrd="0" parTransId="{CC7D3B8F-D67E-4C85-A6C1-A7613AF354CC}" sibTransId="{8518FF6D-025E-4064-BAED-3AE38E878D76}"/>
    <dgm:cxn modelId="{52CCB2B3-C036-4D1C-A735-C8A8BB6649BE}" type="presOf" srcId="{34C2C478-AE84-4198-85FD-C2739712518B}" destId="{909F27A4-16B9-4823-BA72-E3B2BDA4AB71}" srcOrd="1" destOrd="0" presId="urn:microsoft.com/office/officeart/2005/8/layout/lProcess2"/>
    <dgm:cxn modelId="{7D39D15E-54E0-4502-8988-7D014DD54DFE}" srcId="{CAF045F6-2E52-440C-9FD8-F26A763AA572}" destId="{AB2996E5-6104-4A38-9DED-86F174F305AA}" srcOrd="0" destOrd="0" parTransId="{C0D7FC03-CF9A-4ACB-BF29-25A673AC7E53}" sibTransId="{7800B049-D9C3-42DE-80B6-701DACBFE2BB}"/>
    <dgm:cxn modelId="{C75FBAAD-6333-42C5-AC09-86D6DF19F544}" type="presOf" srcId="{CAF045F6-2E52-440C-9FD8-F26A763AA572}" destId="{138FC964-6115-4C4E-BFFF-21CA4E0206C2}" srcOrd="0" destOrd="0" presId="urn:microsoft.com/office/officeart/2005/8/layout/lProcess2"/>
    <dgm:cxn modelId="{AF3FBF9C-57CF-47F9-9BFE-E4EAF0510DC6}" type="presOf" srcId="{9B4B243E-4C0C-4B44-886A-12B8D0348B08}" destId="{81A58E10-767B-4ACD-8A60-4AA9249900CB}" srcOrd="0" destOrd="0" presId="urn:microsoft.com/office/officeart/2005/8/layout/lProcess2"/>
    <dgm:cxn modelId="{F416AFC0-9C14-44BF-BF55-B464D3826BF3}" type="presOf" srcId="{C14E0CD0-3233-4D2D-AD3A-27EB70A4F0EA}" destId="{886FCA5C-4441-4966-B653-711D3FE9B987}" srcOrd="0" destOrd="0" presId="urn:microsoft.com/office/officeart/2005/8/layout/lProcess2"/>
    <dgm:cxn modelId="{F57FE366-5C76-4887-87ED-E6E9FE7854A9}" type="presOf" srcId="{E96C7E2E-0740-4B97-8171-0D618FAE464E}" destId="{413FB6AD-950F-423F-A4D5-A11AFA1FC6AF}" srcOrd="0" destOrd="0" presId="urn:microsoft.com/office/officeart/2005/8/layout/lProcess2"/>
    <dgm:cxn modelId="{65FCE018-CC9A-4FDE-BD0A-918905EDD422}" type="presOf" srcId="{84383103-0AD3-47A2-BEEA-493AE9233417}" destId="{9979181C-52CF-42E0-BFD5-4C5B48094DD8}" srcOrd="0" destOrd="0" presId="urn:microsoft.com/office/officeart/2005/8/layout/lProcess2"/>
    <dgm:cxn modelId="{D07A911B-3087-4E11-BA5A-37AD4462F0E7}" srcId="{34C2C478-AE84-4198-85FD-C2739712518B}" destId="{9E908EDE-9555-42FD-8B26-46B560947638}" srcOrd="0" destOrd="0" parTransId="{F87E9405-5AB8-4758-B29F-AEE20CBDC090}" sibTransId="{4FFAF8F5-0D5A-40D3-8ADE-4C87B47FEBB7}"/>
    <dgm:cxn modelId="{98AE18E7-6966-4A75-BCAB-B23FDBA844CB}" type="presOf" srcId="{7808CB09-C93F-4F4B-BA63-2C7DF3F48673}" destId="{78AFBDE3-0DEE-48A0-989B-833D2CA33323}" srcOrd="0" destOrd="0" presId="urn:microsoft.com/office/officeart/2005/8/layout/lProcess2"/>
    <dgm:cxn modelId="{C9D0A1B8-B347-4F77-92AE-A55CFF0E0C31}" type="presOf" srcId="{9B4B243E-4C0C-4B44-886A-12B8D0348B08}" destId="{627A0962-3B0C-4452-8022-1246C27748E2}" srcOrd="1" destOrd="0" presId="urn:microsoft.com/office/officeart/2005/8/layout/lProcess2"/>
    <dgm:cxn modelId="{24430A8A-45B4-4839-B329-D4BF8C36AF60}" srcId="{34C2C478-AE84-4198-85FD-C2739712518B}" destId="{C14E0CD0-3233-4D2D-AD3A-27EB70A4F0EA}" srcOrd="2" destOrd="0" parTransId="{F2CE8968-DA0B-40AF-A078-3F42C08BEC02}" sibTransId="{E3B90DB7-C344-4225-8284-E8DCDA31D32D}"/>
    <dgm:cxn modelId="{D0C1F2EE-77A1-4017-9743-C79C1C200480}" type="presParOf" srcId="{413FB6AD-950F-423F-A4D5-A11AFA1FC6AF}" destId="{C5672FB5-F9B1-460F-9E07-73AE7A6B8552}" srcOrd="0" destOrd="0" presId="urn:microsoft.com/office/officeart/2005/8/layout/lProcess2"/>
    <dgm:cxn modelId="{70691458-B78F-4C21-87A2-7DCBE8B7AE96}" type="presParOf" srcId="{C5672FB5-F9B1-460F-9E07-73AE7A6B8552}" destId="{81A58E10-767B-4ACD-8A60-4AA9249900CB}" srcOrd="0" destOrd="0" presId="urn:microsoft.com/office/officeart/2005/8/layout/lProcess2"/>
    <dgm:cxn modelId="{F841E977-F7F1-4A82-AF32-CC4A873F76C7}" type="presParOf" srcId="{C5672FB5-F9B1-460F-9E07-73AE7A6B8552}" destId="{627A0962-3B0C-4452-8022-1246C27748E2}" srcOrd="1" destOrd="0" presId="urn:microsoft.com/office/officeart/2005/8/layout/lProcess2"/>
    <dgm:cxn modelId="{D4A4897D-FAF1-4357-B5ED-C688AF96F67F}" type="presParOf" srcId="{C5672FB5-F9B1-460F-9E07-73AE7A6B8552}" destId="{AC4C50E5-5F3C-4AEA-A375-09EFD3F69F14}" srcOrd="2" destOrd="0" presId="urn:microsoft.com/office/officeart/2005/8/layout/lProcess2"/>
    <dgm:cxn modelId="{6DBCB1E0-1803-4C52-8CAF-82574958277F}" type="presParOf" srcId="{AC4C50E5-5F3C-4AEA-A375-09EFD3F69F14}" destId="{8BC664D2-F3B0-4E97-82E7-8C28BC700612}" srcOrd="0" destOrd="0" presId="urn:microsoft.com/office/officeart/2005/8/layout/lProcess2"/>
    <dgm:cxn modelId="{E15DA3DD-958C-444E-AF1E-95D8CD0503F7}" type="presParOf" srcId="{8BC664D2-F3B0-4E97-82E7-8C28BC700612}" destId="{E6322F15-6CF7-4CDA-ADCA-A25E5E89A71C}" srcOrd="0" destOrd="0" presId="urn:microsoft.com/office/officeart/2005/8/layout/lProcess2"/>
    <dgm:cxn modelId="{C4E14AC4-32F4-43C8-8F4A-7C9805780060}" type="presParOf" srcId="{8BC664D2-F3B0-4E97-82E7-8C28BC700612}" destId="{5DCB2487-ED21-4FE3-A348-34823E10E410}" srcOrd="1" destOrd="0" presId="urn:microsoft.com/office/officeart/2005/8/layout/lProcess2"/>
    <dgm:cxn modelId="{5819B2CE-F0E7-4D91-A726-BCB4B0ABFF52}" type="presParOf" srcId="{8BC664D2-F3B0-4E97-82E7-8C28BC700612}" destId="{51AA7E8E-8AAC-4013-B375-A9310274AC64}" srcOrd="2" destOrd="0" presId="urn:microsoft.com/office/officeart/2005/8/layout/lProcess2"/>
    <dgm:cxn modelId="{B25439B8-3A89-4451-9F9D-041343A6FAF2}" type="presParOf" srcId="{8BC664D2-F3B0-4E97-82E7-8C28BC700612}" destId="{3DB726CB-A8FC-4A75-BF24-2F2A638C7FBA}" srcOrd="3" destOrd="0" presId="urn:microsoft.com/office/officeart/2005/8/layout/lProcess2"/>
    <dgm:cxn modelId="{16954212-34D8-4187-ABAC-FFDB3BAFD662}" type="presParOf" srcId="{8BC664D2-F3B0-4E97-82E7-8C28BC700612}" destId="{C314AA19-B99B-4F20-8A72-9BE79A107241}" srcOrd="4" destOrd="0" presId="urn:microsoft.com/office/officeart/2005/8/layout/lProcess2"/>
    <dgm:cxn modelId="{6EA6000B-B981-4644-A460-3117B1A37D13}" type="presParOf" srcId="{8BC664D2-F3B0-4E97-82E7-8C28BC700612}" destId="{50C8D439-21AA-4CE9-A527-A0FEF5DACAAC}" srcOrd="5" destOrd="0" presId="urn:microsoft.com/office/officeart/2005/8/layout/lProcess2"/>
    <dgm:cxn modelId="{0F438E74-97DC-426E-8C6E-F73DFD49A49B}" type="presParOf" srcId="{8BC664D2-F3B0-4E97-82E7-8C28BC700612}" destId="{E4B5E672-A49D-4A23-9B3D-EC942CBFE683}" srcOrd="6" destOrd="0" presId="urn:microsoft.com/office/officeart/2005/8/layout/lProcess2"/>
    <dgm:cxn modelId="{8A2B2A28-C935-467F-8C91-6D14371619F4}" type="presParOf" srcId="{8BC664D2-F3B0-4E97-82E7-8C28BC700612}" destId="{3A6A5A32-40BD-4397-876E-F01256166FA6}" srcOrd="7" destOrd="0" presId="urn:microsoft.com/office/officeart/2005/8/layout/lProcess2"/>
    <dgm:cxn modelId="{1B9068F8-F5C9-47CA-B2B9-8DF4EA566048}" type="presParOf" srcId="{8BC664D2-F3B0-4E97-82E7-8C28BC700612}" destId="{78AFBDE3-0DEE-48A0-989B-833D2CA33323}" srcOrd="8" destOrd="0" presId="urn:microsoft.com/office/officeart/2005/8/layout/lProcess2"/>
    <dgm:cxn modelId="{24EB699C-3B02-43D4-93AC-4F6D0D40A20D}" type="presParOf" srcId="{413FB6AD-950F-423F-A4D5-A11AFA1FC6AF}" destId="{68B47625-4C66-4AAF-BA4A-0001F8075341}" srcOrd="1" destOrd="0" presId="urn:microsoft.com/office/officeart/2005/8/layout/lProcess2"/>
    <dgm:cxn modelId="{0C11A66E-885A-4C91-A399-229406E0F6A9}" type="presParOf" srcId="{413FB6AD-950F-423F-A4D5-A11AFA1FC6AF}" destId="{72D083DF-7B04-4BB0-9CD1-9004FF80BC88}" srcOrd="2" destOrd="0" presId="urn:microsoft.com/office/officeart/2005/8/layout/lProcess2"/>
    <dgm:cxn modelId="{621D06DD-7C49-4B79-8566-674DB698DD1A}" type="presParOf" srcId="{72D083DF-7B04-4BB0-9CD1-9004FF80BC88}" destId="{5C60077A-38A9-4DDD-A43A-CC7338C07A09}" srcOrd="0" destOrd="0" presId="urn:microsoft.com/office/officeart/2005/8/layout/lProcess2"/>
    <dgm:cxn modelId="{DABFABAF-FFC6-4D3D-B099-619D1B5AB12C}" type="presParOf" srcId="{72D083DF-7B04-4BB0-9CD1-9004FF80BC88}" destId="{909F27A4-16B9-4823-BA72-E3B2BDA4AB71}" srcOrd="1" destOrd="0" presId="urn:microsoft.com/office/officeart/2005/8/layout/lProcess2"/>
    <dgm:cxn modelId="{7083F5FE-E95E-4B1C-B3EB-1CCF4F5758A9}" type="presParOf" srcId="{72D083DF-7B04-4BB0-9CD1-9004FF80BC88}" destId="{758942D2-E801-404D-8389-B36796690E2F}" srcOrd="2" destOrd="0" presId="urn:microsoft.com/office/officeart/2005/8/layout/lProcess2"/>
    <dgm:cxn modelId="{15B5BA45-99F3-4355-9F07-E8C0AA3AB011}" type="presParOf" srcId="{758942D2-E801-404D-8389-B36796690E2F}" destId="{DBB88399-E62B-4F3D-8EA9-2B4A5D24EFD0}" srcOrd="0" destOrd="0" presId="urn:microsoft.com/office/officeart/2005/8/layout/lProcess2"/>
    <dgm:cxn modelId="{12881440-B8AF-4284-B27D-DF34449ABE8E}" type="presParOf" srcId="{DBB88399-E62B-4F3D-8EA9-2B4A5D24EFD0}" destId="{87670BE1-CC48-453B-8C09-46BC1CFE3C0C}" srcOrd="0" destOrd="0" presId="urn:microsoft.com/office/officeart/2005/8/layout/lProcess2"/>
    <dgm:cxn modelId="{D80DCB4E-F6B6-4945-8CB9-1150BE6BF9C3}" type="presParOf" srcId="{DBB88399-E62B-4F3D-8EA9-2B4A5D24EFD0}" destId="{070F0FC9-E2DC-4CCF-95A6-402E8EA8BB09}" srcOrd="1" destOrd="0" presId="urn:microsoft.com/office/officeart/2005/8/layout/lProcess2"/>
    <dgm:cxn modelId="{BA878D79-6428-4AE9-BEC2-3BF348005048}" type="presParOf" srcId="{DBB88399-E62B-4F3D-8EA9-2B4A5D24EFD0}" destId="{8B81487C-3984-4ECA-9826-D510A3917154}" srcOrd="2" destOrd="0" presId="urn:microsoft.com/office/officeart/2005/8/layout/lProcess2"/>
    <dgm:cxn modelId="{99BAB275-0D6A-4EE9-A67C-06ACBDF5E2D1}" type="presParOf" srcId="{DBB88399-E62B-4F3D-8EA9-2B4A5D24EFD0}" destId="{54D56F09-4DE0-44AE-898D-44B01B4F976A}" srcOrd="3" destOrd="0" presId="urn:microsoft.com/office/officeart/2005/8/layout/lProcess2"/>
    <dgm:cxn modelId="{B1C5442D-A786-459A-8759-13802B34C2B3}" type="presParOf" srcId="{DBB88399-E62B-4F3D-8EA9-2B4A5D24EFD0}" destId="{886FCA5C-4441-4966-B653-711D3FE9B987}" srcOrd="4" destOrd="0" presId="urn:microsoft.com/office/officeart/2005/8/layout/lProcess2"/>
    <dgm:cxn modelId="{A4F866A8-ACE5-47F2-AB3E-E1AE70E8B9F3}" type="presParOf" srcId="{413FB6AD-950F-423F-A4D5-A11AFA1FC6AF}" destId="{F991E133-7EAE-4C71-82FC-7A7B0E69C09A}" srcOrd="3" destOrd="0" presId="urn:microsoft.com/office/officeart/2005/8/layout/lProcess2"/>
    <dgm:cxn modelId="{FF4260AC-7014-4AB3-AD3B-BED3796708E7}" type="presParOf" srcId="{413FB6AD-950F-423F-A4D5-A11AFA1FC6AF}" destId="{C2741170-11AD-4683-9946-D193BBFB9766}" srcOrd="4" destOrd="0" presId="urn:microsoft.com/office/officeart/2005/8/layout/lProcess2"/>
    <dgm:cxn modelId="{64B42E8D-AEDB-4772-9D94-DABE5B6D3C25}" type="presParOf" srcId="{C2741170-11AD-4683-9946-D193BBFB9766}" destId="{138FC964-6115-4C4E-BFFF-21CA4E0206C2}" srcOrd="0" destOrd="0" presId="urn:microsoft.com/office/officeart/2005/8/layout/lProcess2"/>
    <dgm:cxn modelId="{ADEF1021-7880-4AF4-8E4F-A4101C1F4E17}" type="presParOf" srcId="{C2741170-11AD-4683-9946-D193BBFB9766}" destId="{B732BEBD-6B19-40FE-980C-08476169C698}" srcOrd="1" destOrd="0" presId="urn:microsoft.com/office/officeart/2005/8/layout/lProcess2"/>
    <dgm:cxn modelId="{2D088F45-6B07-42CF-9D40-B86E898DD23C}" type="presParOf" srcId="{C2741170-11AD-4683-9946-D193BBFB9766}" destId="{6C2875D2-1BEB-4D7B-844E-62B224696B46}" srcOrd="2" destOrd="0" presId="urn:microsoft.com/office/officeart/2005/8/layout/lProcess2"/>
    <dgm:cxn modelId="{E06FC187-9FD3-402A-B60D-2033ABB6E89B}" type="presParOf" srcId="{6C2875D2-1BEB-4D7B-844E-62B224696B46}" destId="{8DF24730-5DC9-45FD-9C13-5E070466BEF3}" srcOrd="0" destOrd="0" presId="urn:microsoft.com/office/officeart/2005/8/layout/lProcess2"/>
    <dgm:cxn modelId="{E72E1C9D-6A2B-45B0-B9EE-4DCD9062C7D3}" type="presParOf" srcId="{8DF24730-5DC9-45FD-9C13-5E070466BEF3}" destId="{4E439B8A-90AC-4F2F-86A4-B0444ABF14BC}" srcOrd="0" destOrd="0" presId="urn:microsoft.com/office/officeart/2005/8/layout/lProcess2"/>
    <dgm:cxn modelId="{93CE2AEB-8384-4FB0-B761-6D4B82D292B2}" type="presParOf" srcId="{8DF24730-5DC9-45FD-9C13-5E070466BEF3}" destId="{A408B7D0-D6C2-413A-BBFD-4667A9553310}" srcOrd="1" destOrd="0" presId="urn:microsoft.com/office/officeart/2005/8/layout/lProcess2"/>
    <dgm:cxn modelId="{4D39C964-67BE-41D8-851D-06043A6CDE4B}" type="presParOf" srcId="{8DF24730-5DC9-45FD-9C13-5E070466BEF3}" destId="{1CFC70F4-3CC3-4A89-BE01-A6B75F1631CF}" srcOrd="2" destOrd="0" presId="urn:microsoft.com/office/officeart/2005/8/layout/lProcess2"/>
    <dgm:cxn modelId="{2DE07705-469B-4E2B-B574-6A5C9B281FAD}" type="presParOf" srcId="{8DF24730-5DC9-45FD-9C13-5E070466BEF3}" destId="{1380EAAF-ABD5-4A21-A4FA-12D8E3E14174}" srcOrd="3" destOrd="0" presId="urn:microsoft.com/office/officeart/2005/8/layout/lProcess2"/>
    <dgm:cxn modelId="{05372250-ECD0-4FD8-8DA0-0228A2D835B7}" type="presParOf" srcId="{8DF24730-5DC9-45FD-9C13-5E070466BEF3}" destId="{9979181C-52CF-42E0-BFD5-4C5B48094DD8}" srcOrd="4" destOrd="0" presId="urn:microsoft.com/office/officeart/2005/8/layout/lProcess2"/>
    <dgm:cxn modelId="{C507FBB7-C034-4E8C-8510-F5A16BCB2119}" type="presParOf" srcId="{8DF24730-5DC9-45FD-9C13-5E070466BEF3}" destId="{51387580-FE88-40CA-A50A-1603079ECE62}" srcOrd="5" destOrd="0" presId="urn:microsoft.com/office/officeart/2005/8/layout/lProcess2"/>
    <dgm:cxn modelId="{05119C34-C3D2-49ED-8256-E0D2CE33F9B4}" type="presParOf" srcId="{8DF24730-5DC9-45FD-9C13-5E070466BEF3}" destId="{82703778-A53D-46D4-854C-387126CAF9A5}" srcOrd="6"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96C7E2E-0740-4B97-8171-0D618FAE464E}" type="doc">
      <dgm:prSet loTypeId="urn:microsoft.com/office/officeart/2005/8/layout/lProcess2" loCatId="relationship" qsTypeId="urn:microsoft.com/office/officeart/2005/8/quickstyle/simple1" qsCatId="simple" csTypeId="urn:microsoft.com/office/officeart/2005/8/colors/accent1_1" csCatId="accent1" phldr="1"/>
      <dgm:spPr/>
      <dgm:t>
        <a:bodyPr/>
        <a:lstStyle/>
        <a:p>
          <a:endParaRPr lang="en-GB"/>
        </a:p>
      </dgm:t>
    </dgm:pt>
    <dgm:pt modelId="{AB2996E5-6104-4A38-9DED-86F174F305AA}">
      <dgm:prSet phldrT="[Text]"/>
      <dgm:spPr/>
      <dgm:t>
        <a:bodyPr/>
        <a:lstStyle/>
        <a:p>
          <a:r>
            <a:rPr lang="en-US" dirty="0" smtClean="0"/>
            <a:t>Private Cloud</a:t>
          </a:r>
          <a:endParaRPr lang="en-GB" dirty="0"/>
        </a:p>
      </dgm:t>
    </dgm:pt>
    <dgm:pt modelId="{C0D7FC03-CF9A-4ACB-BF29-25A673AC7E53}" type="parTrans" cxnId="{7D39D15E-54E0-4502-8988-7D014DD54DFE}">
      <dgm:prSet/>
      <dgm:spPr/>
      <dgm:t>
        <a:bodyPr/>
        <a:lstStyle/>
        <a:p>
          <a:endParaRPr lang="en-GB"/>
        </a:p>
      </dgm:t>
    </dgm:pt>
    <dgm:pt modelId="{7800B049-D9C3-42DE-80B6-701DACBFE2BB}" type="sibTrans" cxnId="{7D39D15E-54E0-4502-8988-7D014DD54DFE}">
      <dgm:prSet/>
      <dgm:spPr/>
      <dgm:t>
        <a:bodyPr/>
        <a:lstStyle/>
        <a:p>
          <a:endParaRPr lang="en-GB"/>
        </a:p>
      </dgm:t>
    </dgm:pt>
    <dgm:pt modelId="{C7603CF5-E22B-4694-827B-0AAEF32CA6A0}">
      <dgm:prSet phldrT="[Text]"/>
      <dgm:spPr/>
      <dgm:t>
        <a:bodyPr/>
        <a:lstStyle/>
        <a:p>
          <a:r>
            <a:rPr lang="en-US" dirty="0" smtClean="0"/>
            <a:t>Community Cloud</a:t>
          </a:r>
          <a:endParaRPr lang="en-GB" dirty="0"/>
        </a:p>
      </dgm:t>
    </dgm:pt>
    <dgm:pt modelId="{A68462EA-8CAC-4DEA-98D5-9CC045A7A99C}" type="parTrans" cxnId="{C80FFF5E-8912-45D0-9AB9-C575EAB4C4FD}">
      <dgm:prSet/>
      <dgm:spPr/>
      <dgm:t>
        <a:bodyPr/>
        <a:lstStyle/>
        <a:p>
          <a:endParaRPr lang="en-GB"/>
        </a:p>
      </dgm:t>
    </dgm:pt>
    <dgm:pt modelId="{933EA748-108E-454A-B7B0-323352EB352A}" type="sibTrans" cxnId="{C80FFF5E-8912-45D0-9AB9-C575EAB4C4FD}">
      <dgm:prSet/>
      <dgm:spPr/>
      <dgm:t>
        <a:bodyPr/>
        <a:lstStyle/>
        <a:p>
          <a:endParaRPr lang="en-GB"/>
        </a:p>
      </dgm:t>
    </dgm:pt>
    <dgm:pt modelId="{84383103-0AD3-47A2-BEEA-493AE9233417}">
      <dgm:prSet/>
      <dgm:spPr/>
      <dgm:t>
        <a:bodyPr/>
        <a:lstStyle/>
        <a:p>
          <a:r>
            <a:rPr lang="en-US" dirty="0" smtClean="0"/>
            <a:t>Public Cloud</a:t>
          </a:r>
          <a:endParaRPr lang="en-GB" dirty="0"/>
        </a:p>
      </dgm:t>
    </dgm:pt>
    <dgm:pt modelId="{9A959D64-17EF-43AE-A3ED-A6EECF14D45C}" type="parTrans" cxnId="{F63CBFA1-1A0B-4D3E-AEA8-ADBEC9DA7B3A}">
      <dgm:prSet/>
      <dgm:spPr/>
      <dgm:t>
        <a:bodyPr/>
        <a:lstStyle/>
        <a:p>
          <a:endParaRPr lang="en-GB"/>
        </a:p>
      </dgm:t>
    </dgm:pt>
    <dgm:pt modelId="{E8FBC56F-5A37-433A-A53F-3674339A557E}" type="sibTrans" cxnId="{F63CBFA1-1A0B-4D3E-AEA8-ADBEC9DA7B3A}">
      <dgm:prSet/>
      <dgm:spPr/>
      <dgm:t>
        <a:bodyPr/>
        <a:lstStyle/>
        <a:p>
          <a:endParaRPr lang="en-GB"/>
        </a:p>
      </dgm:t>
    </dgm:pt>
    <dgm:pt modelId="{4D1DDEBA-6764-43BC-8DE1-7C1C355DF984}">
      <dgm:prSet/>
      <dgm:spPr/>
      <dgm:t>
        <a:bodyPr/>
        <a:lstStyle/>
        <a:p>
          <a:r>
            <a:rPr lang="en-US" dirty="0" smtClean="0"/>
            <a:t>Hybrid Cloud</a:t>
          </a:r>
          <a:endParaRPr lang="en-GB" dirty="0"/>
        </a:p>
      </dgm:t>
    </dgm:pt>
    <dgm:pt modelId="{0B274E24-B261-454D-A979-A388A9966258}" type="parTrans" cxnId="{966A7C76-A272-43A1-A168-CDD0D93EEAAA}">
      <dgm:prSet/>
      <dgm:spPr/>
      <dgm:t>
        <a:bodyPr/>
        <a:lstStyle/>
        <a:p>
          <a:endParaRPr lang="en-GB"/>
        </a:p>
      </dgm:t>
    </dgm:pt>
    <dgm:pt modelId="{9FBD2C3F-1604-40A0-AA53-65C0845BC4EB}" type="sibTrans" cxnId="{966A7C76-A272-43A1-A168-CDD0D93EEAAA}">
      <dgm:prSet/>
      <dgm:spPr/>
      <dgm:t>
        <a:bodyPr/>
        <a:lstStyle/>
        <a:p>
          <a:endParaRPr lang="en-GB"/>
        </a:p>
      </dgm:t>
    </dgm:pt>
    <dgm:pt modelId="{CAF045F6-2E52-440C-9FD8-F26A763AA572}">
      <dgm:prSet phldrT="[Text]" custT="1"/>
      <dgm:spPr/>
      <dgm:t>
        <a:bodyPr/>
        <a:lstStyle/>
        <a:p>
          <a:r>
            <a:rPr lang="en-US" sz="2400" dirty="0" smtClean="0"/>
            <a:t>4- Deployment Models</a:t>
          </a:r>
          <a:endParaRPr lang="en-GB" sz="2400" dirty="0"/>
        </a:p>
      </dgm:t>
    </dgm:pt>
    <dgm:pt modelId="{8518FF6D-025E-4064-BAED-3AE38E878D76}" type="sibTrans" cxnId="{7154F4AC-E75F-4657-BCE3-E386F6C7EC50}">
      <dgm:prSet/>
      <dgm:spPr/>
      <dgm:t>
        <a:bodyPr/>
        <a:lstStyle/>
        <a:p>
          <a:endParaRPr lang="en-GB"/>
        </a:p>
      </dgm:t>
    </dgm:pt>
    <dgm:pt modelId="{CC7D3B8F-D67E-4C85-A6C1-A7613AF354CC}" type="parTrans" cxnId="{7154F4AC-E75F-4657-BCE3-E386F6C7EC50}">
      <dgm:prSet/>
      <dgm:spPr/>
      <dgm:t>
        <a:bodyPr/>
        <a:lstStyle/>
        <a:p>
          <a:endParaRPr lang="en-GB"/>
        </a:p>
      </dgm:t>
    </dgm:pt>
    <dgm:pt modelId="{413FB6AD-950F-423F-A4D5-A11AFA1FC6AF}" type="pres">
      <dgm:prSet presAssocID="{E96C7E2E-0740-4B97-8171-0D618FAE464E}" presName="theList" presStyleCnt="0">
        <dgm:presLayoutVars>
          <dgm:dir/>
          <dgm:animLvl val="lvl"/>
          <dgm:resizeHandles val="exact"/>
        </dgm:presLayoutVars>
      </dgm:prSet>
      <dgm:spPr/>
      <dgm:t>
        <a:bodyPr/>
        <a:lstStyle/>
        <a:p>
          <a:endParaRPr lang="en-GB"/>
        </a:p>
      </dgm:t>
    </dgm:pt>
    <dgm:pt modelId="{C2741170-11AD-4683-9946-D193BBFB9766}" type="pres">
      <dgm:prSet presAssocID="{CAF045F6-2E52-440C-9FD8-F26A763AA572}" presName="compNode" presStyleCnt="0"/>
      <dgm:spPr/>
    </dgm:pt>
    <dgm:pt modelId="{138FC964-6115-4C4E-BFFF-21CA4E0206C2}" type="pres">
      <dgm:prSet presAssocID="{CAF045F6-2E52-440C-9FD8-F26A763AA572}" presName="aNode" presStyleLbl="bgShp" presStyleIdx="0" presStyleCnt="1"/>
      <dgm:spPr/>
      <dgm:t>
        <a:bodyPr/>
        <a:lstStyle/>
        <a:p>
          <a:endParaRPr lang="en-GB"/>
        </a:p>
      </dgm:t>
    </dgm:pt>
    <dgm:pt modelId="{B732BEBD-6B19-40FE-980C-08476169C698}" type="pres">
      <dgm:prSet presAssocID="{CAF045F6-2E52-440C-9FD8-F26A763AA572}" presName="textNode" presStyleLbl="bgShp" presStyleIdx="0" presStyleCnt="1"/>
      <dgm:spPr/>
      <dgm:t>
        <a:bodyPr/>
        <a:lstStyle/>
        <a:p>
          <a:endParaRPr lang="en-GB"/>
        </a:p>
      </dgm:t>
    </dgm:pt>
    <dgm:pt modelId="{6C2875D2-1BEB-4D7B-844E-62B224696B46}" type="pres">
      <dgm:prSet presAssocID="{CAF045F6-2E52-440C-9FD8-F26A763AA572}" presName="compChildNode" presStyleCnt="0"/>
      <dgm:spPr/>
    </dgm:pt>
    <dgm:pt modelId="{8DF24730-5DC9-45FD-9C13-5E070466BEF3}" type="pres">
      <dgm:prSet presAssocID="{CAF045F6-2E52-440C-9FD8-F26A763AA572}" presName="theInnerList" presStyleCnt="0"/>
      <dgm:spPr/>
    </dgm:pt>
    <dgm:pt modelId="{4E439B8A-90AC-4F2F-86A4-B0444ABF14BC}" type="pres">
      <dgm:prSet presAssocID="{AB2996E5-6104-4A38-9DED-86F174F305AA}" presName="childNode" presStyleLbl="node1" presStyleIdx="0" presStyleCnt="4">
        <dgm:presLayoutVars>
          <dgm:bulletEnabled val="1"/>
        </dgm:presLayoutVars>
      </dgm:prSet>
      <dgm:spPr/>
      <dgm:t>
        <a:bodyPr/>
        <a:lstStyle/>
        <a:p>
          <a:endParaRPr lang="en-GB"/>
        </a:p>
      </dgm:t>
    </dgm:pt>
    <dgm:pt modelId="{A408B7D0-D6C2-413A-BBFD-4667A9553310}" type="pres">
      <dgm:prSet presAssocID="{AB2996E5-6104-4A38-9DED-86F174F305AA}" presName="aSpace2" presStyleCnt="0"/>
      <dgm:spPr/>
    </dgm:pt>
    <dgm:pt modelId="{1CFC70F4-3CC3-4A89-BE01-A6B75F1631CF}" type="pres">
      <dgm:prSet presAssocID="{C7603CF5-E22B-4694-827B-0AAEF32CA6A0}" presName="childNode" presStyleLbl="node1" presStyleIdx="1" presStyleCnt="4">
        <dgm:presLayoutVars>
          <dgm:bulletEnabled val="1"/>
        </dgm:presLayoutVars>
      </dgm:prSet>
      <dgm:spPr/>
      <dgm:t>
        <a:bodyPr/>
        <a:lstStyle/>
        <a:p>
          <a:endParaRPr lang="en-GB"/>
        </a:p>
      </dgm:t>
    </dgm:pt>
    <dgm:pt modelId="{1380EAAF-ABD5-4A21-A4FA-12D8E3E14174}" type="pres">
      <dgm:prSet presAssocID="{C7603CF5-E22B-4694-827B-0AAEF32CA6A0}" presName="aSpace2" presStyleCnt="0"/>
      <dgm:spPr/>
    </dgm:pt>
    <dgm:pt modelId="{9979181C-52CF-42E0-BFD5-4C5B48094DD8}" type="pres">
      <dgm:prSet presAssocID="{84383103-0AD3-47A2-BEEA-493AE9233417}" presName="childNode" presStyleLbl="node1" presStyleIdx="2" presStyleCnt="4">
        <dgm:presLayoutVars>
          <dgm:bulletEnabled val="1"/>
        </dgm:presLayoutVars>
      </dgm:prSet>
      <dgm:spPr/>
      <dgm:t>
        <a:bodyPr/>
        <a:lstStyle/>
        <a:p>
          <a:endParaRPr lang="en-GB"/>
        </a:p>
      </dgm:t>
    </dgm:pt>
    <dgm:pt modelId="{51387580-FE88-40CA-A50A-1603079ECE62}" type="pres">
      <dgm:prSet presAssocID="{84383103-0AD3-47A2-BEEA-493AE9233417}" presName="aSpace2" presStyleCnt="0"/>
      <dgm:spPr/>
    </dgm:pt>
    <dgm:pt modelId="{82703778-A53D-46D4-854C-387126CAF9A5}" type="pres">
      <dgm:prSet presAssocID="{4D1DDEBA-6764-43BC-8DE1-7C1C355DF984}" presName="childNode" presStyleLbl="node1" presStyleIdx="3" presStyleCnt="4">
        <dgm:presLayoutVars>
          <dgm:bulletEnabled val="1"/>
        </dgm:presLayoutVars>
      </dgm:prSet>
      <dgm:spPr/>
      <dgm:t>
        <a:bodyPr/>
        <a:lstStyle/>
        <a:p>
          <a:endParaRPr lang="en-GB"/>
        </a:p>
      </dgm:t>
    </dgm:pt>
  </dgm:ptLst>
  <dgm:cxnLst>
    <dgm:cxn modelId="{D398CFDB-1559-4074-BB74-0E36D51B5E7E}" type="presOf" srcId="{84383103-0AD3-47A2-BEEA-493AE9233417}" destId="{9979181C-52CF-42E0-BFD5-4C5B48094DD8}" srcOrd="0" destOrd="0" presId="urn:microsoft.com/office/officeart/2005/8/layout/lProcess2"/>
    <dgm:cxn modelId="{7154F4AC-E75F-4657-BCE3-E386F6C7EC50}" srcId="{E96C7E2E-0740-4B97-8171-0D618FAE464E}" destId="{CAF045F6-2E52-440C-9FD8-F26A763AA572}" srcOrd="0" destOrd="0" parTransId="{CC7D3B8F-D67E-4C85-A6C1-A7613AF354CC}" sibTransId="{8518FF6D-025E-4064-BAED-3AE38E878D76}"/>
    <dgm:cxn modelId="{A64578EC-1A30-4571-B22E-5E4A0CDD1AA8}" type="presOf" srcId="{CAF045F6-2E52-440C-9FD8-F26A763AA572}" destId="{138FC964-6115-4C4E-BFFF-21CA4E0206C2}" srcOrd="0" destOrd="0" presId="urn:microsoft.com/office/officeart/2005/8/layout/lProcess2"/>
    <dgm:cxn modelId="{C80FFF5E-8912-45D0-9AB9-C575EAB4C4FD}" srcId="{CAF045F6-2E52-440C-9FD8-F26A763AA572}" destId="{C7603CF5-E22B-4694-827B-0AAEF32CA6A0}" srcOrd="1" destOrd="0" parTransId="{A68462EA-8CAC-4DEA-98D5-9CC045A7A99C}" sibTransId="{933EA748-108E-454A-B7B0-323352EB352A}"/>
    <dgm:cxn modelId="{7D39D15E-54E0-4502-8988-7D014DD54DFE}" srcId="{CAF045F6-2E52-440C-9FD8-F26A763AA572}" destId="{AB2996E5-6104-4A38-9DED-86F174F305AA}" srcOrd="0" destOrd="0" parTransId="{C0D7FC03-CF9A-4ACB-BF29-25A673AC7E53}" sibTransId="{7800B049-D9C3-42DE-80B6-701DACBFE2BB}"/>
    <dgm:cxn modelId="{1D08150B-1606-4185-AE6D-8B81BF41CB8F}" type="presOf" srcId="{E96C7E2E-0740-4B97-8171-0D618FAE464E}" destId="{413FB6AD-950F-423F-A4D5-A11AFA1FC6AF}" srcOrd="0" destOrd="0" presId="urn:microsoft.com/office/officeart/2005/8/layout/lProcess2"/>
    <dgm:cxn modelId="{F63CBFA1-1A0B-4D3E-AEA8-ADBEC9DA7B3A}" srcId="{CAF045F6-2E52-440C-9FD8-F26A763AA572}" destId="{84383103-0AD3-47A2-BEEA-493AE9233417}" srcOrd="2" destOrd="0" parTransId="{9A959D64-17EF-43AE-A3ED-A6EECF14D45C}" sibTransId="{E8FBC56F-5A37-433A-A53F-3674339A557E}"/>
    <dgm:cxn modelId="{05F4E821-62D3-4E8D-A9B4-7F02FD565C61}" type="presOf" srcId="{4D1DDEBA-6764-43BC-8DE1-7C1C355DF984}" destId="{82703778-A53D-46D4-854C-387126CAF9A5}" srcOrd="0" destOrd="0" presId="urn:microsoft.com/office/officeart/2005/8/layout/lProcess2"/>
    <dgm:cxn modelId="{331DFCE4-B1FE-4DB6-81C6-665CFF012D73}" type="presOf" srcId="{CAF045F6-2E52-440C-9FD8-F26A763AA572}" destId="{B732BEBD-6B19-40FE-980C-08476169C698}" srcOrd="1" destOrd="0" presId="urn:microsoft.com/office/officeart/2005/8/layout/lProcess2"/>
    <dgm:cxn modelId="{70540586-62AB-4009-B906-0448F57AAF8E}" type="presOf" srcId="{AB2996E5-6104-4A38-9DED-86F174F305AA}" destId="{4E439B8A-90AC-4F2F-86A4-B0444ABF14BC}" srcOrd="0" destOrd="0" presId="urn:microsoft.com/office/officeart/2005/8/layout/lProcess2"/>
    <dgm:cxn modelId="{966A7C76-A272-43A1-A168-CDD0D93EEAAA}" srcId="{CAF045F6-2E52-440C-9FD8-F26A763AA572}" destId="{4D1DDEBA-6764-43BC-8DE1-7C1C355DF984}" srcOrd="3" destOrd="0" parTransId="{0B274E24-B261-454D-A979-A388A9966258}" sibTransId="{9FBD2C3F-1604-40A0-AA53-65C0845BC4EB}"/>
    <dgm:cxn modelId="{7258D8D9-C557-492E-AE78-110C21E9AD9E}" type="presOf" srcId="{C7603CF5-E22B-4694-827B-0AAEF32CA6A0}" destId="{1CFC70F4-3CC3-4A89-BE01-A6B75F1631CF}" srcOrd="0" destOrd="0" presId="urn:microsoft.com/office/officeart/2005/8/layout/lProcess2"/>
    <dgm:cxn modelId="{F97A3149-BB73-404B-86E6-80CFF590752F}" type="presParOf" srcId="{413FB6AD-950F-423F-A4D5-A11AFA1FC6AF}" destId="{C2741170-11AD-4683-9946-D193BBFB9766}" srcOrd="0" destOrd="0" presId="urn:microsoft.com/office/officeart/2005/8/layout/lProcess2"/>
    <dgm:cxn modelId="{4A65014B-2D61-43AB-ACD5-96226CB8C323}" type="presParOf" srcId="{C2741170-11AD-4683-9946-D193BBFB9766}" destId="{138FC964-6115-4C4E-BFFF-21CA4E0206C2}" srcOrd="0" destOrd="0" presId="urn:microsoft.com/office/officeart/2005/8/layout/lProcess2"/>
    <dgm:cxn modelId="{05ECEF2A-85A7-4B6B-812B-38DB913E04D5}" type="presParOf" srcId="{C2741170-11AD-4683-9946-D193BBFB9766}" destId="{B732BEBD-6B19-40FE-980C-08476169C698}" srcOrd="1" destOrd="0" presId="urn:microsoft.com/office/officeart/2005/8/layout/lProcess2"/>
    <dgm:cxn modelId="{EC9E6155-DB76-4A81-B317-B45436E3CE95}" type="presParOf" srcId="{C2741170-11AD-4683-9946-D193BBFB9766}" destId="{6C2875D2-1BEB-4D7B-844E-62B224696B46}" srcOrd="2" destOrd="0" presId="urn:microsoft.com/office/officeart/2005/8/layout/lProcess2"/>
    <dgm:cxn modelId="{C0AB68E2-6875-4301-AE3C-66DE47D4B6D1}" type="presParOf" srcId="{6C2875D2-1BEB-4D7B-844E-62B224696B46}" destId="{8DF24730-5DC9-45FD-9C13-5E070466BEF3}" srcOrd="0" destOrd="0" presId="urn:microsoft.com/office/officeart/2005/8/layout/lProcess2"/>
    <dgm:cxn modelId="{08ED5A04-ADEE-4FC7-8885-FB1C521D89A7}" type="presParOf" srcId="{8DF24730-5DC9-45FD-9C13-5E070466BEF3}" destId="{4E439B8A-90AC-4F2F-86A4-B0444ABF14BC}" srcOrd="0" destOrd="0" presId="urn:microsoft.com/office/officeart/2005/8/layout/lProcess2"/>
    <dgm:cxn modelId="{8E6DA772-5A9C-415C-B3A6-C75CEC1B1D2F}" type="presParOf" srcId="{8DF24730-5DC9-45FD-9C13-5E070466BEF3}" destId="{A408B7D0-D6C2-413A-BBFD-4667A9553310}" srcOrd="1" destOrd="0" presId="urn:microsoft.com/office/officeart/2005/8/layout/lProcess2"/>
    <dgm:cxn modelId="{A23F3AE5-C398-4543-9914-5E69C06B7203}" type="presParOf" srcId="{8DF24730-5DC9-45FD-9C13-5E070466BEF3}" destId="{1CFC70F4-3CC3-4A89-BE01-A6B75F1631CF}" srcOrd="2" destOrd="0" presId="urn:microsoft.com/office/officeart/2005/8/layout/lProcess2"/>
    <dgm:cxn modelId="{0F815820-2347-4651-A3DA-940302056080}" type="presParOf" srcId="{8DF24730-5DC9-45FD-9C13-5E070466BEF3}" destId="{1380EAAF-ABD5-4A21-A4FA-12D8E3E14174}" srcOrd="3" destOrd="0" presId="urn:microsoft.com/office/officeart/2005/8/layout/lProcess2"/>
    <dgm:cxn modelId="{24C9DF64-C50C-4FBF-BC94-2303CDC81F3E}" type="presParOf" srcId="{8DF24730-5DC9-45FD-9C13-5E070466BEF3}" destId="{9979181C-52CF-42E0-BFD5-4C5B48094DD8}" srcOrd="4" destOrd="0" presId="urn:microsoft.com/office/officeart/2005/8/layout/lProcess2"/>
    <dgm:cxn modelId="{7FCC6FF1-A66D-4993-8D0E-EEF85FE4CCD3}" type="presParOf" srcId="{8DF24730-5DC9-45FD-9C13-5E070466BEF3}" destId="{51387580-FE88-40CA-A50A-1603079ECE62}" srcOrd="5" destOrd="0" presId="urn:microsoft.com/office/officeart/2005/8/layout/lProcess2"/>
    <dgm:cxn modelId="{EBA101E3-726A-4D7B-A306-F75CCC051AC9}" type="presParOf" srcId="{8DF24730-5DC9-45FD-9C13-5E070466BEF3}" destId="{82703778-A53D-46D4-854C-387126CAF9A5}" srcOrd="6"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A58E10-767B-4ACD-8A60-4AA9249900CB}">
      <dsp:nvSpPr>
        <dsp:cNvPr id="0" name=""/>
        <dsp:cNvSpPr/>
      </dsp:nvSpPr>
      <dsp:spPr>
        <a:xfrm>
          <a:off x="1133" y="0"/>
          <a:ext cx="2948179" cy="3739192"/>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5-Characteristics</a:t>
          </a:r>
          <a:endParaRPr lang="en-GB" sz="2400" kern="1200" dirty="0"/>
        </a:p>
      </dsp:txBody>
      <dsp:txXfrm>
        <a:off x="1133" y="0"/>
        <a:ext cx="2948179" cy="1121757"/>
      </dsp:txXfrm>
    </dsp:sp>
    <dsp:sp modelId="{E6322F15-6CF7-4CDA-ADCA-A25E5E89A71C}">
      <dsp:nvSpPr>
        <dsp:cNvPr id="0" name=""/>
        <dsp:cNvSpPr/>
      </dsp:nvSpPr>
      <dsp:spPr>
        <a:xfrm>
          <a:off x="172423" y="1122465"/>
          <a:ext cx="2605600" cy="432572"/>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lvl="0" algn="ctr" defTabSz="711200">
            <a:lnSpc>
              <a:spcPct val="90000"/>
            </a:lnSpc>
            <a:spcBef>
              <a:spcPct val="0"/>
            </a:spcBef>
            <a:spcAft>
              <a:spcPct val="35000"/>
            </a:spcAft>
          </a:pPr>
          <a:r>
            <a:rPr lang="en-US" sz="1600" kern="1200" dirty="0" smtClean="0"/>
            <a:t>On-Demand Self- Service</a:t>
          </a:r>
          <a:endParaRPr lang="en-GB" sz="1600" kern="1200" dirty="0"/>
        </a:p>
      </dsp:txBody>
      <dsp:txXfrm>
        <a:off x="185093" y="1135135"/>
        <a:ext cx="2580260" cy="407232"/>
      </dsp:txXfrm>
    </dsp:sp>
    <dsp:sp modelId="{51AA7E8E-8AAC-4013-B375-A9310274AC64}">
      <dsp:nvSpPr>
        <dsp:cNvPr id="0" name=""/>
        <dsp:cNvSpPr/>
      </dsp:nvSpPr>
      <dsp:spPr>
        <a:xfrm>
          <a:off x="172423" y="1621586"/>
          <a:ext cx="2605600" cy="432572"/>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lvl="0" algn="ctr" defTabSz="711200">
            <a:lnSpc>
              <a:spcPct val="90000"/>
            </a:lnSpc>
            <a:spcBef>
              <a:spcPct val="0"/>
            </a:spcBef>
            <a:spcAft>
              <a:spcPct val="35000"/>
            </a:spcAft>
          </a:pPr>
          <a:r>
            <a:rPr lang="en-US" sz="1600" kern="1200" dirty="0" smtClean="0"/>
            <a:t>Broad Network Access</a:t>
          </a:r>
          <a:endParaRPr lang="en-GB" sz="1600" kern="1200" dirty="0"/>
        </a:p>
      </dsp:txBody>
      <dsp:txXfrm>
        <a:off x="185093" y="1634256"/>
        <a:ext cx="2580260" cy="407232"/>
      </dsp:txXfrm>
    </dsp:sp>
    <dsp:sp modelId="{C314AA19-B99B-4F20-8A72-9BE79A107241}">
      <dsp:nvSpPr>
        <dsp:cNvPr id="0" name=""/>
        <dsp:cNvSpPr/>
      </dsp:nvSpPr>
      <dsp:spPr>
        <a:xfrm>
          <a:off x="172423" y="2120708"/>
          <a:ext cx="2605600" cy="432572"/>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lvl="0" algn="ctr" defTabSz="711200">
            <a:lnSpc>
              <a:spcPct val="90000"/>
            </a:lnSpc>
            <a:spcBef>
              <a:spcPct val="0"/>
            </a:spcBef>
            <a:spcAft>
              <a:spcPct val="35000"/>
            </a:spcAft>
          </a:pPr>
          <a:r>
            <a:rPr lang="en-US" sz="1600" kern="1200" dirty="0" smtClean="0"/>
            <a:t>Resource Pooling</a:t>
          </a:r>
          <a:endParaRPr lang="en-GB" sz="1600" kern="1200" dirty="0"/>
        </a:p>
      </dsp:txBody>
      <dsp:txXfrm>
        <a:off x="185093" y="2133378"/>
        <a:ext cx="2580260" cy="407232"/>
      </dsp:txXfrm>
    </dsp:sp>
    <dsp:sp modelId="{E4B5E672-A49D-4A23-9B3D-EC942CBFE683}">
      <dsp:nvSpPr>
        <dsp:cNvPr id="0" name=""/>
        <dsp:cNvSpPr/>
      </dsp:nvSpPr>
      <dsp:spPr>
        <a:xfrm>
          <a:off x="172423" y="2619830"/>
          <a:ext cx="2605600" cy="432572"/>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lvl="0" algn="ctr" defTabSz="711200">
            <a:lnSpc>
              <a:spcPct val="90000"/>
            </a:lnSpc>
            <a:spcBef>
              <a:spcPct val="0"/>
            </a:spcBef>
            <a:spcAft>
              <a:spcPct val="35000"/>
            </a:spcAft>
          </a:pPr>
          <a:r>
            <a:rPr lang="en-US" sz="1600" kern="1200" dirty="0" smtClean="0"/>
            <a:t>Rapid elasticity</a:t>
          </a:r>
          <a:endParaRPr lang="en-GB" sz="1600" kern="1200" dirty="0"/>
        </a:p>
      </dsp:txBody>
      <dsp:txXfrm>
        <a:off x="185093" y="2632500"/>
        <a:ext cx="2580260" cy="407232"/>
      </dsp:txXfrm>
    </dsp:sp>
    <dsp:sp modelId="{78AFBDE3-0DEE-48A0-989B-833D2CA33323}">
      <dsp:nvSpPr>
        <dsp:cNvPr id="0" name=""/>
        <dsp:cNvSpPr/>
      </dsp:nvSpPr>
      <dsp:spPr>
        <a:xfrm>
          <a:off x="172423" y="3118952"/>
          <a:ext cx="2605600" cy="432572"/>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lvl="0" algn="ctr" defTabSz="711200">
            <a:lnSpc>
              <a:spcPct val="90000"/>
            </a:lnSpc>
            <a:spcBef>
              <a:spcPct val="0"/>
            </a:spcBef>
            <a:spcAft>
              <a:spcPct val="35000"/>
            </a:spcAft>
          </a:pPr>
          <a:r>
            <a:rPr lang="en-US" sz="1600" kern="1200" dirty="0" smtClean="0"/>
            <a:t>Measured Service/Reliability</a:t>
          </a:r>
          <a:endParaRPr lang="en-GB" sz="1600" kern="1200" dirty="0"/>
        </a:p>
      </dsp:txBody>
      <dsp:txXfrm>
        <a:off x="185093" y="3131622"/>
        <a:ext cx="2580260" cy="407232"/>
      </dsp:txXfrm>
    </dsp:sp>
    <dsp:sp modelId="{5C60077A-38A9-4DDD-A43A-CC7338C07A09}">
      <dsp:nvSpPr>
        <dsp:cNvPr id="0" name=""/>
        <dsp:cNvSpPr/>
      </dsp:nvSpPr>
      <dsp:spPr>
        <a:xfrm>
          <a:off x="3170426" y="0"/>
          <a:ext cx="2948179" cy="3739192"/>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3- Service Models</a:t>
          </a:r>
          <a:endParaRPr lang="en-GB" sz="2400" kern="1200" dirty="0"/>
        </a:p>
      </dsp:txBody>
      <dsp:txXfrm>
        <a:off x="3170426" y="0"/>
        <a:ext cx="2948179" cy="1121757"/>
      </dsp:txXfrm>
    </dsp:sp>
    <dsp:sp modelId="{87670BE1-CC48-453B-8C09-46BC1CFE3C0C}">
      <dsp:nvSpPr>
        <dsp:cNvPr id="0" name=""/>
        <dsp:cNvSpPr/>
      </dsp:nvSpPr>
      <dsp:spPr>
        <a:xfrm>
          <a:off x="3465244" y="1122077"/>
          <a:ext cx="2358543" cy="734601"/>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lvl="0" algn="ctr" defTabSz="711200">
            <a:lnSpc>
              <a:spcPct val="90000"/>
            </a:lnSpc>
            <a:spcBef>
              <a:spcPct val="0"/>
            </a:spcBef>
            <a:spcAft>
              <a:spcPct val="35000"/>
            </a:spcAft>
          </a:pPr>
          <a:r>
            <a:rPr lang="en-US" sz="1600" kern="1200" dirty="0" smtClean="0"/>
            <a:t>Infrastructure as a Service (IaaS)</a:t>
          </a:r>
          <a:endParaRPr lang="en-GB" sz="1600" kern="1200" dirty="0"/>
        </a:p>
      </dsp:txBody>
      <dsp:txXfrm>
        <a:off x="3486760" y="1143593"/>
        <a:ext cx="2315511" cy="691569"/>
      </dsp:txXfrm>
    </dsp:sp>
    <dsp:sp modelId="{8B81487C-3984-4ECA-9826-D510A3917154}">
      <dsp:nvSpPr>
        <dsp:cNvPr id="0" name=""/>
        <dsp:cNvSpPr/>
      </dsp:nvSpPr>
      <dsp:spPr>
        <a:xfrm>
          <a:off x="3465244" y="1969694"/>
          <a:ext cx="2358543" cy="734601"/>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lvl="0" algn="ctr" defTabSz="711200">
            <a:lnSpc>
              <a:spcPct val="90000"/>
            </a:lnSpc>
            <a:spcBef>
              <a:spcPct val="0"/>
            </a:spcBef>
            <a:spcAft>
              <a:spcPct val="35000"/>
            </a:spcAft>
          </a:pPr>
          <a:r>
            <a:rPr lang="en-US" sz="1600" kern="1200" dirty="0" smtClean="0"/>
            <a:t>Platform as a Service (PaaS)</a:t>
          </a:r>
          <a:endParaRPr lang="en-GB" sz="1600" kern="1200" dirty="0"/>
        </a:p>
      </dsp:txBody>
      <dsp:txXfrm>
        <a:off x="3486760" y="1991210"/>
        <a:ext cx="2315511" cy="691569"/>
      </dsp:txXfrm>
    </dsp:sp>
    <dsp:sp modelId="{886FCA5C-4441-4966-B653-711D3FE9B987}">
      <dsp:nvSpPr>
        <dsp:cNvPr id="0" name=""/>
        <dsp:cNvSpPr/>
      </dsp:nvSpPr>
      <dsp:spPr>
        <a:xfrm>
          <a:off x="3465244" y="2817311"/>
          <a:ext cx="2358543" cy="734601"/>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lvl="0" algn="ctr" defTabSz="711200">
            <a:lnSpc>
              <a:spcPct val="90000"/>
            </a:lnSpc>
            <a:spcBef>
              <a:spcPct val="0"/>
            </a:spcBef>
            <a:spcAft>
              <a:spcPct val="35000"/>
            </a:spcAft>
          </a:pPr>
          <a:r>
            <a:rPr lang="en-US" sz="1600" kern="1200" dirty="0" smtClean="0"/>
            <a:t>Software as a Service (SaaS)</a:t>
          </a:r>
          <a:endParaRPr lang="en-GB" sz="1600" kern="1200" dirty="0"/>
        </a:p>
      </dsp:txBody>
      <dsp:txXfrm>
        <a:off x="3486760" y="2838827"/>
        <a:ext cx="2315511" cy="691569"/>
      </dsp:txXfrm>
    </dsp:sp>
    <dsp:sp modelId="{138FC964-6115-4C4E-BFFF-21CA4E0206C2}">
      <dsp:nvSpPr>
        <dsp:cNvPr id="0" name=""/>
        <dsp:cNvSpPr/>
      </dsp:nvSpPr>
      <dsp:spPr>
        <a:xfrm>
          <a:off x="6339718" y="0"/>
          <a:ext cx="2948179" cy="3739192"/>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4- Deployment Models</a:t>
          </a:r>
          <a:endParaRPr lang="en-GB" sz="2400" kern="1200" dirty="0"/>
        </a:p>
      </dsp:txBody>
      <dsp:txXfrm>
        <a:off x="6339718" y="0"/>
        <a:ext cx="2948179" cy="1121757"/>
      </dsp:txXfrm>
    </dsp:sp>
    <dsp:sp modelId="{4E439B8A-90AC-4F2F-86A4-B0444ABF14BC}">
      <dsp:nvSpPr>
        <dsp:cNvPr id="0" name=""/>
        <dsp:cNvSpPr/>
      </dsp:nvSpPr>
      <dsp:spPr>
        <a:xfrm>
          <a:off x="6634536" y="1121848"/>
          <a:ext cx="2358543" cy="544720"/>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lvl="0" algn="ctr" defTabSz="711200">
            <a:lnSpc>
              <a:spcPct val="90000"/>
            </a:lnSpc>
            <a:spcBef>
              <a:spcPct val="0"/>
            </a:spcBef>
            <a:spcAft>
              <a:spcPct val="35000"/>
            </a:spcAft>
          </a:pPr>
          <a:r>
            <a:rPr lang="en-US" sz="1600" kern="1200" dirty="0" smtClean="0"/>
            <a:t>Private Cloud</a:t>
          </a:r>
          <a:endParaRPr lang="en-GB" sz="1600" kern="1200" dirty="0"/>
        </a:p>
      </dsp:txBody>
      <dsp:txXfrm>
        <a:off x="6650490" y="1137802"/>
        <a:ext cx="2326635" cy="512812"/>
      </dsp:txXfrm>
    </dsp:sp>
    <dsp:sp modelId="{1CFC70F4-3CC3-4A89-BE01-A6B75F1631CF}">
      <dsp:nvSpPr>
        <dsp:cNvPr id="0" name=""/>
        <dsp:cNvSpPr/>
      </dsp:nvSpPr>
      <dsp:spPr>
        <a:xfrm>
          <a:off x="6634536" y="1750372"/>
          <a:ext cx="2358543" cy="544720"/>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lvl="0" algn="ctr" defTabSz="711200">
            <a:lnSpc>
              <a:spcPct val="90000"/>
            </a:lnSpc>
            <a:spcBef>
              <a:spcPct val="0"/>
            </a:spcBef>
            <a:spcAft>
              <a:spcPct val="35000"/>
            </a:spcAft>
          </a:pPr>
          <a:r>
            <a:rPr lang="en-US" sz="1600" kern="1200" dirty="0" smtClean="0"/>
            <a:t>Community Cloud</a:t>
          </a:r>
          <a:endParaRPr lang="en-GB" sz="1600" kern="1200" dirty="0"/>
        </a:p>
      </dsp:txBody>
      <dsp:txXfrm>
        <a:off x="6650490" y="1766326"/>
        <a:ext cx="2326635" cy="512812"/>
      </dsp:txXfrm>
    </dsp:sp>
    <dsp:sp modelId="{9979181C-52CF-42E0-BFD5-4C5B48094DD8}">
      <dsp:nvSpPr>
        <dsp:cNvPr id="0" name=""/>
        <dsp:cNvSpPr/>
      </dsp:nvSpPr>
      <dsp:spPr>
        <a:xfrm>
          <a:off x="6634536" y="2378896"/>
          <a:ext cx="2358543" cy="544720"/>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lvl="0" algn="ctr" defTabSz="711200">
            <a:lnSpc>
              <a:spcPct val="90000"/>
            </a:lnSpc>
            <a:spcBef>
              <a:spcPct val="0"/>
            </a:spcBef>
            <a:spcAft>
              <a:spcPct val="35000"/>
            </a:spcAft>
          </a:pPr>
          <a:r>
            <a:rPr lang="en-US" sz="1600" kern="1200" dirty="0" smtClean="0"/>
            <a:t>Public Cloud</a:t>
          </a:r>
          <a:endParaRPr lang="en-GB" sz="1600" kern="1200" dirty="0"/>
        </a:p>
      </dsp:txBody>
      <dsp:txXfrm>
        <a:off x="6650490" y="2394850"/>
        <a:ext cx="2326635" cy="512812"/>
      </dsp:txXfrm>
    </dsp:sp>
    <dsp:sp modelId="{82703778-A53D-46D4-854C-387126CAF9A5}">
      <dsp:nvSpPr>
        <dsp:cNvPr id="0" name=""/>
        <dsp:cNvSpPr/>
      </dsp:nvSpPr>
      <dsp:spPr>
        <a:xfrm>
          <a:off x="6634536" y="3007420"/>
          <a:ext cx="2358543" cy="544720"/>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lvl="0" algn="ctr" defTabSz="711200">
            <a:lnSpc>
              <a:spcPct val="90000"/>
            </a:lnSpc>
            <a:spcBef>
              <a:spcPct val="0"/>
            </a:spcBef>
            <a:spcAft>
              <a:spcPct val="35000"/>
            </a:spcAft>
          </a:pPr>
          <a:r>
            <a:rPr lang="en-US" sz="1600" kern="1200" dirty="0" smtClean="0"/>
            <a:t>Hybrid Cloud</a:t>
          </a:r>
          <a:endParaRPr lang="en-GB" sz="1600" kern="1200" dirty="0"/>
        </a:p>
      </dsp:txBody>
      <dsp:txXfrm>
        <a:off x="6650490" y="3023374"/>
        <a:ext cx="2326635" cy="5128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8FC964-6115-4C4E-BFFF-21CA4E0206C2}">
      <dsp:nvSpPr>
        <dsp:cNvPr id="0" name=""/>
        <dsp:cNvSpPr/>
      </dsp:nvSpPr>
      <dsp:spPr>
        <a:xfrm>
          <a:off x="0" y="0"/>
          <a:ext cx="2304256" cy="3739192"/>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4- Deployment Models</a:t>
          </a:r>
          <a:endParaRPr lang="en-GB" sz="2400" kern="1200" dirty="0"/>
        </a:p>
      </dsp:txBody>
      <dsp:txXfrm>
        <a:off x="0" y="0"/>
        <a:ext cx="2304256" cy="1121757"/>
      </dsp:txXfrm>
    </dsp:sp>
    <dsp:sp modelId="{4E439B8A-90AC-4F2F-86A4-B0444ABF14BC}">
      <dsp:nvSpPr>
        <dsp:cNvPr id="0" name=""/>
        <dsp:cNvSpPr/>
      </dsp:nvSpPr>
      <dsp:spPr>
        <a:xfrm>
          <a:off x="230425" y="1121848"/>
          <a:ext cx="1843404" cy="544720"/>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Private Cloud</a:t>
          </a:r>
          <a:endParaRPr lang="en-GB" sz="1800" kern="1200" dirty="0"/>
        </a:p>
      </dsp:txBody>
      <dsp:txXfrm>
        <a:off x="246379" y="1137802"/>
        <a:ext cx="1811496" cy="512812"/>
      </dsp:txXfrm>
    </dsp:sp>
    <dsp:sp modelId="{1CFC70F4-3CC3-4A89-BE01-A6B75F1631CF}">
      <dsp:nvSpPr>
        <dsp:cNvPr id="0" name=""/>
        <dsp:cNvSpPr/>
      </dsp:nvSpPr>
      <dsp:spPr>
        <a:xfrm>
          <a:off x="230425" y="1750372"/>
          <a:ext cx="1843404" cy="544720"/>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Community Cloud</a:t>
          </a:r>
          <a:endParaRPr lang="en-GB" sz="1800" kern="1200" dirty="0"/>
        </a:p>
      </dsp:txBody>
      <dsp:txXfrm>
        <a:off x="246379" y="1766326"/>
        <a:ext cx="1811496" cy="512812"/>
      </dsp:txXfrm>
    </dsp:sp>
    <dsp:sp modelId="{9979181C-52CF-42E0-BFD5-4C5B48094DD8}">
      <dsp:nvSpPr>
        <dsp:cNvPr id="0" name=""/>
        <dsp:cNvSpPr/>
      </dsp:nvSpPr>
      <dsp:spPr>
        <a:xfrm>
          <a:off x="230425" y="2378896"/>
          <a:ext cx="1843404" cy="544720"/>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Public Cloud</a:t>
          </a:r>
          <a:endParaRPr lang="en-GB" sz="1800" kern="1200" dirty="0"/>
        </a:p>
      </dsp:txBody>
      <dsp:txXfrm>
        <a:off x="246379" y="2394850"/>
        <a:ext cx="1811496" cy="512812"/>
      </dsp:txXfrm>
    </dsp:sp>
    <dsp:sp modelId="{82703778-A53D-46D4-854C-387126CAF9A5}">
      <dsp:nvSpPr>
        <dsp:cNvPr id="0" name=""/>
        <dsp:cNvSpPr/>
      </dsp:nvSpPr>
      <dsp:spPr>
        <a:xfrm>
          <a:off x="230425" y="3007420"/>
          <a:ext cx="1843404" cy="544720"/>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lvl="0" algn="ctr" defTabSz="800100">
            <a:lnSpc>
              <a:spcPct val="90000"/>
            </a:lnSpc>
            <a:spcBef>
              <a:spcPct val="0"/>
            </a:spcBef>
            <a:spcAft>
              <a:spcPct val="35000"/>
            </a:spcAft>
          </a:pPr>
          <a:r>
            <a:rPr lang="en-US" sz="1800" kern="1200" dirty="0" smtClean="0"/>
            <a:t>Hybrid Cloud</a:t>
          </a:r>
          <a:endParaRPr lang="en-GB" sz="1800" kern="1200" dirty="0"/>
        </a:p>
      </dsp:txBody>
      <dsp:txXfrm>
        <a:off x="246379" y="3023374"/>
        <a:ext cx="1811496" cy="51281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ACCA2C0-0B61-4676-9F80-97666348A86A}" type="datetimeFigureOut">
              <a:rPr lang="en-US" smtClean="0"/>
              <a:pPr/>
              <a:t>1/2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69C598-F2D0-46C6-8DF6-664FE00D6D74}" type="slidenum">
              <a:rPr lang="en-US" smtClean="0"/>
              <a:pPr/>
              <a:t>‹#›</a:t>
            </a:fld>
            <a:endParaRPr lang="en-US"/>
          </a:p>
        </p:txBody>
      </p:sp>
    </p:spTree>
    <p:extLst>
      <p:ext uri="{BB962C8B-B14F-4D97-AF65-F5344CB8AC3E}">
        <p14:creationId xmlns:p14="http://schemas.microsoft.com/office/powerpoint/2010/main" val="40488971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3" Type="http://schemas.openxmlformats.org/officeDocument/2006/relationships/hyperlink" Target="http://technet.microsoft.com/en-us/library/cc755994(v=WS.10).aspx" TargetMode="External"/><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github.com/Azure/azure-sdk-for-net/issues"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8" Type="http://schemas.openxmlformats.org/officeDocument/2006/relationships/hyperlink" Target="https://en.wikipedia.org/wiki/Microsoft" TargetMode="External"/><Relationship Id="rId3" Type="http://schemas.openxmlformats.org/officeDocument/2006/relationships/hyperlink" Target="https://en.wikipedia.org/wiki/ISCSI" TargetMode="External"/><Relationship Id="rId7" Type="http://schemas.openxmlformats.org/officeDocument/2006/relationships/hyperlink" Target="https://en.wikipedia.org/wiki/Protocol_(computing)" TargetMode="External"/><Relationship Id="rId2" Type="http://schemas.openxmlformats.org/officeDocument/2006/relationships/slide" Target="../slides/slide58.xml"/><Relationship Id="rId1" Type="http://schemas.openxmlformats.org/officeDocument/2006/relationships/notesMaster" Target="../notesMasters/notesMaster1.xml"/><Relationship Id="rId6" Type="http://schemas.openxmlformats.org/officeDocument/2006/relationships/hyperlink" Target="https://en.wikipedia.org/wiki/Peer-to-peer" TargetMode="External"/><Relationship Id="rId5" Type="http://schemas.openxmlformats.org/officeDocument/2006/relationships/hyperlink" Target="https://en.wikipedia.org/wiki/TCP/IP" TargetMode="External"/><Relationship Id="rId4" Type="http://schemas.openxmlformats.org/officeDocument/2006/relationships/hyperlink" Target="https://en.wikipedia.org/wiki/Fibre_channel" TargetMode="Externa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msdn.microsoft.com/en-us/library/aa363858(v=VS.85).aspx" TargetMode="External"/><Relationship Id="rId2" Type="http://schemas.openxmlformats.org/officeDocument/2006/relationships/slide" Target="../slides/slide78.xml"/><Relationship Id="rId1" Type="http://schemas.openxmlformats.org/officeDocument/2006/relationships/notesMaster" Target="../notesMasters/notesMaster1.xml"/><Relationship Id="rId5" Type="http://schemas.openxmlformats.org/officeDocument/2006/relationships/hyperlink" Target="http://msdn.microsoft.com/en-us/library/aa364439(v=vs.85).aspx" TargetMode="External"/><Relationship Id="rId4" Type="http://schemas.openxmlformats.org/officeDocument/2006/relationships/hyperlink" Target="http://msdn.microsoft.com/en-us/library/windows/desktop/dd979523(v=vs.85).aspx" TargetMode="Externa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msdn.microsoft.com/en-us/library/azure/dn690120.aspx" TargetMode="External"/><Relationship Id="rId2" Type="http://schemas.openxmlformats.org/officeDocument/2006/relationships/slide" Target="../slides/slide88.xml"/><Relationship Id="rId1" Type="http://schemas.openxmlformats.org/officeDocument/2006/relationships/notesMaster" Target="../notesMasters/notesMaster1.xml"/><Relationship Id="rId5" Type="http://schemas.openxmlformats.org/officeDocument/2006/relationships/hyperlink" Target="http://msdn.microsoft.com/en-us/library/azure/dn690118.aspx" TargetMode="External"/><Relationship Id="rId4" Type="http://schemas.openxmlformats.org/officeDocument/2006/relationships/hyperlink" Target="http://msdn.microsoft.com/en-us/library/azure/dn630228.aspx" TargetMode="Externa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azure.microsoft.com/en-us/documentation/articles/traffic-manager-load-balancing-methods/" TargetMode="External"/><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deployment-model?toc=/azure/virtual-network/toc.json" TargetMode="External"/><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3" Type="http://schemas.openxmlformats.org/officeDocument/2006/relationships/hyperlink" Target="https://azure.microsoft.com/en-us/documentation/articles/storage-scalability-targets/" TargetMode="External"/><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msdn.microsoft.com/en-us/library/azure/dd135733.aspx" TargetMode="External"/><Relationship Id="rId2" Type="http://schemas.openxmlformats.org/officeDocument/2006/relationships/slide" Target="../slides/slide122.xml"/><Relationship Id="rId1" Type="http://schemas.openxmlformats.org/officeDocument/2006/relationships/notesMaster" Target="../notesMasters/notesMaster1.xml"/><Relationship Id="rId4" Type="http://schemas.openxmlformats.org/officeDocument/2006/relationships/hyperlink" Target="https://msdn.microsoft.com/library/azure/mt163591.aspx" TargetMode="Externa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s://msdn.microsoft.com/en-us/library/azure/dn167006.aspx" TargetMode="External"/><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2</a:t>
            </a:fld>
            <a:endParaRPr lang="en-US"/>
          </a:p>
        </p:txBody>
      </p:sp>
    </p:spTree>
    <p:extLst>
      <p:ext uri="{BB962C8B-B14F-4D97-AF65-F5344CB8AC3E}">
        <p14:creationId xmlns:p14="http://schemas.microsoft.com/office/powerpoint/2010/main" val="36590363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321281534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489DB6A-E92B-415B-AFB4-9C72D4A9006D}" type="slidenum">
              <a:rPr lang="en-US" smtClean="0">
                <a:solidFill>
                  <a:prstClr val="black"/>
                </a:solidFill>
              </a:rPr>
              <a:pPr/>
              <a:t>150</a:t>
            </a:fld>
            <a:endParaRPr lang="en-US">
              <a:solidFill>
                <a:prstClr val="black"/>
              </a:solidFill>
            </a:endParaRPr>
          </a:p>
        </p:txBody>
      </p:sp>
      <p:sp>
        <p:nvSpPr>
          <p:cNvPr id="6" name="Slide Image Placeholder 5"/>
          <p:cNvSpPr>
            <a:spLocks noGrp="1" noRot="1" noChangeAspect="1"/>
          </p:cNvSpPr>
          <p:nvPr>
            <p:ph type="sldImg"/>
          </p:nvPr>
        </p:nvSpPr>
        <p:spPr>
          <a:xfrm>
            <a:off x="384175" y="484188"/>
            <a:ext cx="6096000" cy="3429000"/>
          </a:xfrm>
        </p:spPr>
      </p:sp>
      <p:sp>
        <p:nvSpPr>
          <p:cNvPr id="7" name="Notes Placeholder 6"/>
          <p:cNvSpPr>
            <a:spLocks noGrp="1"/>
          </p:cNvSpPr>
          <p:nvPr>
            <p:ph type="body" idx="1"/>
          </p:nvPr>
        </p:nvSpPr>
        <p:spPr/>
        <p:txBody>
          <a:bodyPr/>
          <a:lstStyle/>
          <a:p>
            <a:r>
              <a:rPr lang="en-US" dirty="0"/>
              <a:t>AD = Windows Azure Active</a:t>
            </a:r>
            <a:r>
              <a:rPr lang="en-US" baseline="0" dirty="0"/>
              <a:t> Directory</a:t>
            </a:r>
            <a:endParaRPr lang="en-US" dirty="0"/>
          </a:p>
        </p:txBody>
      </p:sp>
    </p:spTree>
    <p:extLst>
      <p:ext uri="{BB962C8B-B14F-4D97-AF65-F5344CB8AC3E}">
        <p14:creationId xmlns:p14="http://schemas.microsoft.com/office/powerpoint/2010/main" val="206264080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r>
              <a:rPr lang="en-US" dirty="0"/>
              <a:t>This slide gives</a:t>
            </a:r>
            <a:r>
              <a:rPr lang="en-US" baseline="0" dirty="0"/>
              <a:t> an overall view of the capabilities of AD in </a:t>
            </a:r>
            <a:r>
              <a:rPr lang="en-US" baseline="0" dirty="0" err="1"/>
              <a:t>IaaS</a:t>
            </a:r>
            <a:endParaRPr lang="en-US" baseline="0" dirty="0"/>
          </a:p>
          <a:p>
            <a:pPr marL="0" indent="0">
              <a:buNone/>
            </a:pPr>
            <a:endParaRPr lang="en-US" baseline="0" dirty="0"/>
          </a:p>
          <a:p>
            <a:pPr marL="0" indent="0">
              <a:buNone/>
            </a:pPr>
            <a:r>
              <a:rPr lang="en-US" baseline="0" dirty="0"/>
              <a:t>&lt;clockwise view&gt;</a:t>
            </a:r>
          </a:p>
          <a:p>
            <a:pPr marL="0" indent="0">
              <a:buNone/>
            </a:pPr>
            <a:endParaRPr lang="en-US" baseline="0" dirty="0"/>
          </a:p>
          <a:p>
            <a:pPr marL="228600" indent="-228600">
              <a:buAutoNum type="arabicPeriod"/>
            </a:pPr>
            <a:r>
              <a:rPr lang="en-US" baseline="0" dirty="0"/>
              <a:t>We have PowerShell capabilities that can be used to maintain AD on the </a:t>
            </a:r>
            <a:r>
              <a:rPr lang="en-US" baseline="0" dirty="0" err="1"/>
              <a:t>IaaS</a:t>
            </a:r>
            <a:r>
              <a:rPr lang="en-US" baseline="0" dirty="0"/>
              <a:t> machine</a:t>
            </a:r>
          </a:p>
          <a:p>
            <a:pPr marL="228600" indent="-228600">
              <a:buAutoNum type="arabicPeriod"/>
            </a:pPr>
            <a:r>
              <a:rPr lang="en-US" baseline="0" dirty="0"/>
              <a:t>Allow Cloud hosted apps that need to use Windows Authentication to have a local source for a Windows Domain</a:t>
            </a:r>
          </a:p>
          <a:p>
            <a:pPr marL="228600" indent="-228600">
              <a:buAutoNum type="arabicPeriod"/>
            </a:pPr>
            <a:r>
              <a:rPr lang="en-US" baseline="0" dirty="0"/>
              <a:t>Allow apps to be integrated for Single-sign on with Cloud apps</a:t>
            </a:r>
          </a:p>
          <a:p>
            <a:pPr marL="228600" indent="-228600">
              <a:buAutoNum type="arabicPeriod"/>
            </a:pPr>
            <a:r>
              <a:rPr lang="en-US" baseline="0" dirty="0"/>
              <a:t>Allow activation of Office clients (or Win8/Svr2012)</a:t>
            </a:r>
          </a:p>
          <a:p>
            <a:pPr marL="228600" indent="-228600">
              <a:buAutoNum type="arabicPeriod"/>
            </a:pPr>
            <a:r>
              <a:rPr lang="en-US" baseline="0" dirty="0"/>
              <a:t>Provides the ability to scale out Active directory using multiple </a:t>
            </a:r>
            <a:r>
              <a:rPr lang="en-US" baseline="0" dirty="0" err="1"/>
              <a:t>IaaS</a:t>
            </a:r>
            <a:r>
              <a:rPr lang="en-US" baseline="0" dirty="0"/>
              <a:t> machine</a:t>
            </a:r>
            <a:endParaRPr lang="en-US" dirty="0"/>
          </a:p>
        </p:txBody>
      </p:sp>
      <p:sp>
        <p:nvSpPr>
          <p:cNvPr id="4" name="Slide Number Placeholder 3"/>
          <p:cNvSpPr>
            <a:spLocks noGrp="1"/>
          </p:cNvSpPr>
          <p:nvPr>
            <p:ph type="sldNum" sz="quarter" idx="10"/>
          </p:nvPr>
        </p:nvSpPr>
        <p:spPr/>
        <p:txBody>
          <a:bodyPr/>
          <a:lstStyle/>
          <a:p>
            <a:fld id="{1489DB6A-E92B-415B-AFB4-9C72D4A9006D}" type="slidenum">
              <a:rPr lang="en-US" smtClean="0">
                <a:solidFill>
                  <a:prstClr val="black"/>
                </a:solidFill>
              </a:rPr>
              <a:pPr/>
              <a:t>151</a:t>
            </a:fld>
            <a:endParaRPr lang="en-US">
              <a:solidFill>
                <a:prstClr val="black"/>
              </a:solidFill>
            </a:endParaRPr>
          </a:p>
        </p:txBody>
      </p:sp>
    </p:spTree>
    <p:extLst>
      <p:ext uri="{BB962C8B-B14F-4D97-AF65-F5344CB8AC3E}">
        <p14:creationId xmlns:p14="http://schemas.microsoft.com/office/powerpoint/2010/main" val="216222302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489DB6A-E92B-415B-AFB4-9C72D4A9006D}" type="slidenum">
              <a:rPr lang="en-US" smtClean="0">
                <a:solidFill>
                  <a:prstClr val="black"/>
                </a:solidFill>
              </a:rPr>
              <a:pPr/>
              <a:t>152</a:t>
            </a:fld>
            <a:endParaRPr lang="en-US">
              <a:solidFill>
                <a:prstClr val="black"/>
              </a:solidFill>
            </a:endParaRPr>
          </a:p>
        </p:txBody>
      </p:sp>
      <p:sp>
        <p:nvSpPr>
          <p:cNvPr id="6" name="Slide Image Placeholder 5"/>
          <p:cNvSpPr>
            <a:spLocks noGrp="1" noRot="1" noChangeAspect="1"/>
          </p:cNvSpPr>
          <p:nvPr>
            <p:ph type="sldImg"/>
          </p:nvPr>
        </p:nvSpPr>
        <p:spPr>
          <a:xfrm>
            <a:off x="384175" y="484188"/>
            <a:ext cx="6096000" cy="34290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4374581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489DB6A-E92B-415B-AFB4-9C72D4A9006D}" type="slidenum">
              <a:rPr lang="en-US" smtClean="0">
                <a:solidFill>
                  <a:prstClr val="black"/>
                </a:solidFill>
              </a:rPr>
              <a:pPr/>
              <a:t>153</a:t>
            </a:fld>
            <a:endParaRPr lang="en-US">
              <a:solidFill>
                <a:prstClr val="black"/>
              </a:solidFill>
            </a:endParaRPr>
          </a:p>
        </p:txBody>
      </p:sp>
      <p:sp>
        <p:nvSpPr>
          <p:cNvPr id="6" name="Slide Image Placeholder 5"/>
          <p:cNvSpPr>
            <a:spLocks noGrp="1" noRot="1" noChangeAspect="1"/>
          </p:cNvSpPr>
          <p:nvPr>
            <p:ph type="sldImg"/>
          </p:nvPr>
        </p:nvSpPr>
        <p:spPr>
          <a:xfrm>
            <a:off x="384175" y="484188"/>
            <a:ext cx="6096000" cy="3429000"/>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329075220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489DB6A-E92B-415B-AFB4-9C72D4A9006D}" type="slidenum">
              <a:rPr lang="en-US" smtClean="0">
                <a:solidFill>
                  <a:prstClr val="black"/>
                </a:solidFill>
              </a:rPr>
              <a:pPr/>
              <a:t>154</a:t>
            </a:fld>
            <a:endParaRPr lang="en-US">
              <a:solidFill>
                <a:prstClr val="black"/>
              </a:solidFill>
            </a:endParaRPr>
          </a:p>
        </p:txBody>
      </p:sp>
      <p:sp>
        <p:nvSpPr>
          <p:cNvPr id="6" name="Slide Image Placeholder 5"/>
          <p:cNvSpPr>
            <a:spLocks noGrp="1" noRot="1" noChangeAspect="1"/>
          </p:cNvSpPr>
          <p:nvPr>
            <p:ph type="sldImg"/>
          </p:nvPr>
        </p:nvSpPr>
        <p:spPr>
          <a:xfrm>
            <a:off x="384175" y="484188"/>
            <a:ext cx="6096000" cy="3429000"/>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217396758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dirty="0"/>
              <a:t>Understanding Site link</a:t>
            </a:r>
            <a:r>
              <a:rPr lang="en-US" baseline="0" dirty="0"/>
              <a:t> cost</a:t>
            </a:r>
          </a:p>
          <a:p>
            <a:pPr marL="0" indent="0">
              <a:buNone/>
            </a:pPr>
            <a:r>
              <a:rPr lang="en-US" dirty="0"/>
              <a:t>http://technet.microsoft.com/en-us/library/cc784142(v=WS.10).aspx</a:t>
            </a:r>
          </a:p>
          <a:p>
            <a:pPr marL="0" indent="0">
              <a:buNone/>
            </a:pPr>
            <a:endParaRPr lang="en-US" dirty="0"/>
          </a:p>
          <a:p>
            <a:pPr marL="0" indent="0">
              <a:buNone/>
            </a:pPr>
            <a:r>
              <a:rPr lang="en-US" dirty="0"/>
              <a:t>Understanding AD sites</a:t>
            </a:r>
          </a:p>
          <a:p>
            <a:pPr marL="0" indent="0">
              <a:buNone/>
            </a:pPr>
            <a:r>
              <a:rPr lang="en-US" dirty="0"/>
              <a:t>http://technet.microsoft.com/en-us/library/cc782048(v=WS.10).aspx</a:t>
            </a:r>
          </a:p>
          <a:p>
            <a:pPr marL="0" indent="0">
              <a:buNone/>
            </a:pPr>
            <a:endParaRPr lang="en-US" dirty="0"/>
          </a:p>
          <a:p>
            <a:pPr marL="0" indent="0">
              <a:buNone/>
            </a:pPr>
            <a:r>
              <a:rPr lang="en-US" dirty="0"/>
              <a:t>Replication Between Sites</a:t>
            </a:r>
          </a:p>
          <a:p>
            <a:pPr marL="0" indent="0">
              <a:buNone/>
            </a:pPr>
            <a:r>
              <a:rPr lang="en-US" dirty="0"/>
              <a:t>http://technet.microsoft.com/en-us/library/cc759160(v=ws.10).aspx</a:t>
            </a:r>
          </a:p>
          <a:p>
            <a:pPr marL="0" indent="0">
              <a:buNone/>
            </a:pPr>
            <a:endParaRPr lang="en-US" dirty="0"/>
          </a:p>
          <a:p>
            <a:pPr marL="0" indent="0">
              <a:buNone/>
            </a:pPr>
            <a:r>
              <a:rPr lang="en-US" dirty="0"/>
              <a:t>Compression of Replication data</a:t>
            </a:r>
          </a:p>
          <a:p>
            <a:pPr marL="0" indent="0">
              <a:buNone/>
            </a:pPr>
            <a:r>
              <a:rPr lang="en-US" dirty="0"/>
              <a:t>http://technet.microsoft.com/en-us/library/cc755994(v=WS.10).aspx</a:t>
            </a:r>
          </a:p>
          <a:p>
            <a:pPr marL="0" indent="0">
              <a:buNone/>
            </a:pPr>
            <a:endParaRPr lang="en-US" dirty="0"/>
          </a:p>
          <a:p>
            <a:pPr marL="0" indent="0">
              <a:buNone/>
            </a:pPr>
            <a:endParaRPr lang="en-US" dirty="0"/>
          </a:p>
        </p:txBody>
      </p:sp>
      <p:sp>
        <p:nvSpPr>
          <p:cNvPr id="4" name="Slide Number Placeholder 3"/>
          <p:cNvSpPr>
            <a:spLocks noGrp="1"/>
          </p:cNvSpPr>
          <p:nvPr>
            <p:ph type="sldNum" sz="quarter" idx="10"/>
          </p:nvPr>
        </p:nvSpPr>
        <p:spPr/>
        <p:txBody>
          <a:bodyPr/>
          <a:lstStyle/>
          <a:p>
            <a:fld id="{6C8BB887-B83C-49F4-8E09-594343813C21}" type="slidenum">
              <a:rPr lang="en-US" smtClean="0">
                <a:solidFill>
                  <a:prstClr val="black"/>
                </a:solidFill>
              </a:rPr>
              <a:pPr/>
              <a:t>155</a:t>
            </a:fld>
            <a:endParaRPr lang="en-US">
              <a:solidFill>
                <a:prstClr val="black"/>
              </a:solidFill>
            </a:endParaRPr>
          </a:p>
        </p:txBody>
      </p:sp>
      <p:sp>
        <p:nvSpPr>
          <p:cNvPr id="7" name="Slide Image Placeholder 6"/>
          <p:cNvSpPr>
            <a:spLocks noGrp="1" noRot="1" noChangeAspect="1"/>
          </p:cNvSpPr>
          <p:nvPr>
            <p:ph type="sldImg"/>
          </p:nvPr>
        </p:nvSpPr>
        <p:spPr>
          <a:xfrm>
            <a:off x="384175" y="484188"/>
            <a:ext cx="6096000" cy="3429000"/>
          </a:xfrm>
        </p:spPr>
      </p:sp>
      <p:sp>
        <p:nvSpPr>
          <p:cNvPr id="2" name="Rectangle 1"/>
          <p:cNvSpPr/>
          <p:nvPr/>
        </p:nvSpPr>
        <p:spPr>
          <a:xfrm>
            <a:off x="501805" y="4012243"/>
            <a:ext cx="5876693" cy="433714"/>
          </a:xfrm>
          <a:prstGeom prst="rect">
            <a:avLst/>
          </a:prstGeom>
          <a:solidFill>
            <a:srgbClr val="B7DEE8"/>
          </a:solidFill>
          <a:ln w="3175">
            <a:solidFill>
              <a:srgbClr val="385D8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IN" sz="1100" dirty="0">
                <a:solidFill>
                  <a:srgbClr val="000000"/>
                </a:solidFill>
              </a:rPr>
              <a:t>For more information on compression of the replication traffic, see: </a:t>
            </a:r>
            <a:r>
              <a:rPr lang="en-IN" sz="1100" dirty="0">
                <a:solidFill>
                  <a:srgbClr val="000000"/>
                </a:solidFill>
                <a:hlinkClick r:id="rId3"/>
              </a:rPr>
              <a:t>http://technet.microsoft.com/en-us/library/cc755994(v=WS.10).aspx</a:t>
            </a:r>
            <a:endParaRPr lang="en-IN" sz="1100" dirty="0">
              <a:solidFill>
                <a:srgbClr val="000000"/>
              </a:solidFill>
            </a:endParaRPr>
          </a:p>
        </p:txBody>
      </p:sp>
      <p:sp>
        <p:nvSpPr>
          <p:cNvPr id="5" name="Rectangle 4"/>
          <p:cNvSpPr/>
          <p:nvPr/>
        </p:nvSpPr>
        <p:spPr>
          <a:xfrm>
            <a:off x="-2857500" y="4445957"/>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a:solidFill>
                  <a:prstClr val="black"/>
                </a:solidFill>
              </a:rPr>
              <a:t>[EDITOR] TWB_Trevor:</a:t>
            </a:r>
          </a:p>
          <a:p>
            <a:r>
              <a:rPr lang="en-US" sz="1100" i="1" dirty="0">
                <a:solidFill>
                  <a:prstClr val="black"/>
                </a:solidFill>
              </a:rPr>
              <a:t>09 October 2013
</a:t>
            </a:r>
            <a:r>
              <a:rPr lang="en-US" sz="1100" dirty="0">
                <a:solidFill>
                  <a:prstClr val="black"/>
                </a:solidFill>
              </a:rPr>
              <a:t>What are these numbers? Kindly delete if they have been added here by accident.</a:t>
            </a:r>
          </a:p>
        </p:txBody>
      </p:sp>
    </p:spTree>
    <p:extLst>
      <p:ext uri="{BB962C8B-B14F-4D97-AF65-F5344CB8AC3E}">
        <p14:creationId xmlns:p14="http://schemas.microsoft.com/office/powerpoint/2010/main" val="276531148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489DB6A-E92B-415B-AFB4-9C72D4A9006D}" type="slidenum">
              <a:rPr lang="en-US" smtClean="0">
                <a:solidFill>
                  <a:prstClr val="black"/>
                </a:solidFill>
              </a:rPr>
              <a:pPr/>
              <a:t>156</a:t>
            </a:fld>
            <a:endParaRPr lang="en-US">
              <a:solidFill>
                <a:prstClr val="black"/>
              </a:solidFill>
            </a:endParaRPr>
          </a:p>
        </p:txBody>
      </p:sp>
      <p:sp>
        <p:nvSpPr>
          <p:cNvPr id="6" name="Slide Image Placeholder 5"/>
          <p:cNvSpPr>
            <a:spLocks noGrp="1" noRot="1" noChangeAspect="1"/>
          </p:cNvSpPr>
          <p:nvPr>
            <p:ph type="sldImg"/>
          </p:nvPr>
        </p:nvSpPr>
        <p:spPr>
          <a:xfrm>
            <a:off x="384175" y="484188"/>
            <a:ext cx="6096000" cy="3429000"/>
          </a:xfrm>
        </p:spPr>
      </p:sp>
      <p:sp>
        <p:nvSpPr>
          <p:cNvPr id="7" name="Notes Placeholder 6"/>
          <p:cNvSpPr>
            <a:spLocks noGrp="1"/>
          </p:cNvSpPr>
          <p:nvPr>
            <p:ph type="body" idx="1"/>
          </p:nvPr>
        </p:nvSpPr>
        <p:spPr/>
        <p:txBody>
          <a:bodyPr/>
          <a:lstStyle/>
          <a:p>
            <a:pPr marL="0" indent="0">
              <a:buNone/>
            </a:pPr>
            <a:r>
              <a:rPr lang="en-US" dirty="0"/>
              <a:t>AAD</a:t>
            </a:r>
            <a:r>
              <a:rPr lang="en-US" baseline="0" dirty="0"/>
              <a:t> Device registration https://msdn.microsoft.com/en-us/library/azure/dn903763.aspx</a:t>
            </a:r>
            <a:endParaRPr lang="en-US" dirty="0"/>
          </a:p>
        </p:txBody>
      </p:sp>
    </p:spTree>
    <p:extLst>
      <p:ext uri="{BB962C8B-B14F-4D97-AF65-F5344CB8AC3E}">
        <p14:creationId xmlns:p14="http://schemas.microsoft.com/office/powerpoint/2010/main" val="335016836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r>
              <a:rPr lang="en-US" dirty="0"/>
              <a:t>This slide provides an overall view of Azure AD capabilities</a:t>
            </a:r>
          </a:p>
          <a:p>
            <a:pPr marL="0" indent="0">
              <a:buNone/>
            </a:pPr>
            <a:endParaRPr lang="en-US" dirty="0"/>
          </a:p>
          <a:p>
            <a:pPr marL="0" indent="0">
              <a:buNone/>
            </a:pPr>
            <a:r>
              <a:rPr lang="en-US" dirty="0"/>
              <a:t>&lt;clockwise view – beginning with</a:t>
            </a:r>
            <a:r>
              <a:rPr lang="en-US" baseline="0" dirty="0"/>
              <a:t> </a:t>
            </a:r>
            <a:r>
              <a:rPr lang="en-US" baseline="0" dirty="0" err="1"/>
              <a:t>Powershell</a:t>
            </a:r>
            <a:r>
              <a:rPr lang="en-US" baseline="0" dirty="0"/>
              <a:t>&gt;</a:t>
            </a:r>
          </a:p>
          <a:p>
            <a:pPr marL="0" indent="0">
              <a:buNone/>
            </a:pPr>
            <a:endParaRPr lang="en-US" baseline="0" dirty="0"/>
          </a:p>
          <a:p>
            <a:pPr marL="228600" indent="-228600">
              <a:buAutoNum type="arabicPeriod"/>
            </a:pPr>
            <a:r>
              <a:rPr lang="en-US" baseline="0" dirty="0"/>
              <a:t>Ability to administer AAD using PS</a:t>
            </a:r>
          </a:p>
          <a:p>
            <a:pPr marL="228600" indent="-228600">
              <a:buAutoNum type="arabicPeriod"/>
            </a:pPr>
            <a:r>
              <a:rPr lang="en-US" baseline="0" dirty="0"/>
              <a:t>Ability to sync identity or provide federated identity for SSO</a:t>
            </a:r>
          </a:p>
          <a:p>
            <a:pPr marL="228600" indent="-228600">
              <a:buAutoNum type="arabicPeriod"/>
            </a:pPr>
            <a:r>
              <a:rPr lang="en-US" baseline="0" dirty="0"/>
              <a:t>Add the additional capability, built in multi-factor authentication</a:t>
            </a:r>
          </a:p>
          <a:p>
            <a:pPr marL="228600" indent="-228600">
              <a:buAutoNum type="arabicPeriod"/>
            </a:pPr>
            <a:r>
              <a:rPr lang="en-US" baseline="0" dirty="0"/>
              <a:t>Ability to allow identity for true Cloud based apps</a:t>
            </a:r>
          </a:p>
          <a:p>
            <a:pPr marL="228600" indent="-228600">
              <a:buAutoNum type="arabicPeriod"/>
            </a:pPr>
            <a:r>
              <a:rPr lang="en-US" baseline="0" dirty="0"/>
              <a:t>Added security reporting for inconsistent access patterns, infected devices </a:t>
            </a:r>
            <a:r>
              <a:rPr lang="en-US" baseline="0" dirty="0" err="1"/>
              <a:t>etc</a:t>
            </a:r>
            <a:endParaRPr lang="en-US" baseline="0" dirty="0"/>
          </a:p>
          <a:p>
            <a:pPr marL="228600" indent="-228600">
              <a:buAutoNum type="arabicPeriod"/>
            </a:pPr>
            <a:r>
              <a:rPr lang="en-US" baseline="0" dirty="0"/>
              <a:t>Identity governance</a:t>
            </a:r>
          </a:p>
          <a:p>
            <a:pPr marL="228600" indent="-228600">
              <a:buAutoNum type="arabicPeriod"/>
            </a:pPr>
            <a:endParaRPr lang="en-US" baseline="0" dirty="0"/>
          </a:p>
          <a:p>
            <a:pPr marL="0" indent="0">
              <a:buNone/>
            </a:pPr>
            <a:r>
              <a:rPr lang="en-US" baseline="0" dirty="0"/>
              <a:t>Application Proxy - http://www.identityandcloud.com/2014/11/a-quick-intro-to-azure-ad-application-proxy/</a:t>
            </a:r>
          </a:p>
          <a:p>
            <a:pPr marL="0" indent="0">
              <a:buNone/>
            </a:pPr>
            <a:endParaRPr lang="en-US" dirty="0"/>
          </a:p>
        </p:txBody>
      </p:sp>
      <p:sp>
        <p:nvSpPr>
          <p:cNvPr id="4" name="Slide Number Placeholder 3"/>
          <p:cNvSpPr>
            <a:spLocks noGrp="1"/>
          </p:cNvSpPr>
          <p:nvPr>
            <p:ph type="sldNum" sz="quarter" idx="10"/>
          </p:nvPr>
        </p:nvSpPr>
        <p:spPr/>
        <p:txBody>
          <a:bodyPr/>
          <a:lstStyle/>
          <a:p>
            <a:fld id="{1489DB6A-E92B-415B-AFB4-9C72D4A9006D}" type="slidenum">
              <a:rPr lang="en-US" smtClean="0">
                <a:solidFill>
                  <a:prstClr val="black"/>
                </a:solidFill>
              </a:rPr>
              <a:pPr/>
              <a:t>157</a:t>
            </a:fld>
            <a:endParaRPr lang="en-US">
              <a:solidFill>
                <a:prstClr val="black"/>
              </a:solidFill>
            </a:endParaRPr>
          </a:p>
        </p:txBody>
      </p:sp>
    </p:spTree>
    <p:extLst>
      <p:ext uri="{BB962C8B-B14F-4D97-AF65-F5344CB8AC3E}">
        <p14:creationId xmlns:p14="http://schemas.microsoft.com/office/powerpoint/2010/main" val="79185631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dirty="0"/>
              <a:t>There is an obvious need for a widely interoperable authentication/authorization protocol (heterogeneous OS)</a:t>
            </a:r>
          </a:p>
          <a:p>
            <a:pPr marL="0" indent="0">
              <a:buNone/>
            </a:pPr>
            <a:r>
              <a:rPr lang="en-GB" dirty="0"/>
              <a:t>This comes from the fact that we have a heterogeneous OS (mainly because of IT </a:t>
            </a:r>
            <a:r>
              <a:rPr lang="en-GB" dirty="0" err="1"/>
              <a:t>consumerization</a:t>
            </a:r>
            <a:r>
              <a:rPr lang="en-GB" dirty="0"/>
              <a:t> and Bring Your Own Device (BYOD)) and a solution based on one OS is not suitable anymore. Therefore, a widely adopted standard is required, such as OAuth2 and</a:t>
            </a:r>
            <a:r>
              <a:rPr lang="en-GB" baseline="0" dirty="0"/>
              <a:t> </a:t>
            </a:r>
            <a:r>
              <a:rPr lang="en-GB" baseline="0" dirty="0" err="1"/>
              <a:t>OpenID</a:t>
            </a:r>
            <a:r>
              <a:rPr lang="en-GB" baseline="0" dirty="0"/>
              <a:t> Connect</a:t>
            </a:r>
            <a:r>
              <a:rPr lang="en-GB" dirty="0"/>
              <a:t>.</a:t>
            </a:r>
            <a:endParaRPr lang="en-US" dirty="0"/>
          </a:p>
          <a:p>
            <a:pPr marL="0" indent="0">
              <a:buNone/>
            </a:pPr>
            <a:r>
              <a:rPr lang="en-US" dirty="0"/>
              <a:t>The number of authentication systems that are built into applications themselves break the Single Sign On (SSO) consolidation that has taken place these last few years.</a:t>
            </a:r>
          </a:p>
          <a:p>
            <a:pPr marL="0" indent="0">
              <a:buNone/>
            </a:pPr>
            <a:r>
              <a:rPr lang="en-GB" dirty="0"/>
              <a:t>Applications in the cloud tend to implement their custom authentication mechanisms. This leads to a hassle for password management. More passwords mean a higher likelihood of weaknesses in the password management process.</a:t>
            </a:r>
            <a:endParaRPr 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solidFill>
                  <a:prstClr val="black"/>
                </a:solidFill>
              </a:rPr>
              <a:pPr/>
              <a:t>158</a:t>
            </a:fld>
            <a:endParaRPr lang="en-US">
              <a:solidFill>
                <a:prstClr val="black"/>
              </a:solidFill>
            </a:endParaRPr>
          </a:p>
        </p:txBody>
      </p:sp>
      <p:sp>
        <p:nvSpPr>
          <p:cNvPr id="7" name="Slide Image Placeholder 6"/>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219564188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489DB6A-E92B-415B-AFB4-9C72D4A9006D}" type="slidenum">
              <a:rPr lang="en-US" smtClean="0">
                <a:solidFill>
                  <a:prstClr val="black"/>
                </a:solidFill>
              </a:rPr>
              <a:pPr/>
              <a:t>159</a:t>
            </a:fld>
            <a:endParaRPr lang="en-US">
              <a:solidFill>
                <a:prstClr val="black"/>
              </a:solidFill>
            </a:endParaRPr>
          </a:p>
        </p:txBody>
      </p:sp>
      <p:sp>
        <p:nvSpPr>
          <p:cNvPr id="6" name="Slide Image Placeholder 5"/>
          <p:cNvSpPr>
            <a:spLocks noGrp="1" noRot="1" noChangeAspect="1"/>
          </p:cNvSpPr>
          <p:nvPr>
            <p:ph type="sldImg"/>
          </p:nvPr>
        </p:nvSpPr>
        <p:spPr>
          <a:xfrm>
            <a:off x="384175" y="484188"/>
            <a:ext cx="6096000" cy="34290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693763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fontScale="92500" lnSpcReduction="20000"/>
          </a:bodyPr>
          <a:lstStyle/>
          <a:p>
            <a:pPr lvl="0"/>
            <a:r>
              <a:rPr lang="en-US" sz="1200" b="1" kern="1200" dirty="0">
                <a:solidFill>
                  <a:schemeClr val="tx1"/>
                </a:solidFill>
                <a:effectLst/>
                <a:latin typeface="Segoe UI Light" pitchFamily="34" charset="0"/>
                <a:ea typeface="ＭＳ Ｐゴシック" charset="0"/>
                <a:cs typeface="ＭＳ Ｐゴシック" charset="0"/>
              </a:rPr>
              <a:t>This slide was taken from Azure EBC Deck FY16 v1.3.pptx</a:t>
            </a:r>
          </a:p>
          <a:p>
            <a:pPr marL="0" indent="0">
              <a:buNone/>
            </a:pPr>
            <a:r>
              <a:rPr lang="en-US" b="1" dirty="0"/>
              <a:t>Speaker Notes</a:t>
            </a:r>
            <a:endParaRPr lang="en-US" dirty="0"/>
          </a:p>
          <a:p>
            <a:pPr lvl="0"/>
            <a:r>
              <a:rPr lang="en-US" dirty="0"/>
              <a:t>Microsoft Azure itself is deployed around the world</a:t>
            </a:r>
          </a:p>
          <a:p>
            <a:pPr lvl="0"/>
            <a:r>
              <a:rPr lang="en-US" dirty="0"/>
              <a:t>Microsoft Azure involves the concept of regions, which is where you select to place and run your code</a:t>
            </a:r>
          </a:p>
          <a:p>
            <a:pPr lvl="0"/>
            <a:r>
              <a:rPr lang="en-US" dirty="0"/>
              <a:t>Each region has a </a:t>
            </a:r>
            <a:r>
              <a:rPr lang="en-US" dirty="0">
                <a:solidFill>
                  <a:srgbClr val="FF0000"/>
                </a:solidFill>
              </a:rPr>
              <a:t>Microsoft Azure data center</a:t>
            </a:r>
          </a:p>
          <a:p>
            <a:pPr lvl="0"/>
            <a:r>
              <a:rPr lang="en-US" dirty="0"/>
              <a:t>These data centers are massive facilities that host tens of thousands or, in some cases, hundreds of thousands of servers</a:t>
            </a:r>
          </a:p>
          <a:p>
            <a:pPr lvl="0"/>
            <a:r>
              <a:rPr lang="en-US" dirty="0"/>
              <a:t>As shown on this slide, we also have a number of Content Delivery Network (CDN) edge points. They can be used to cache your content and deliver it even faster to customers</a:t>
            </a:r>
          </a:p>
          <a:p>
            <a:pPr lvl="0"/>
            <a:r>
              <a:rPr lang="en-US" dirty="0">
                <a:solidFill>
                  <a:srgbClr val="FF0000"/>
                </a:solidFill>
              </a:rPr>
              <a:t>What you are</a:t>
            </a:r>
          </a:p>
          <a:p>
            <a:r>
              <a:rPr lang="en-US" sz="1100" dirty="0">
                <a:solidFill>
                  <a:srgbClr val="FF0000"/>
                </a:solidFill>
              </a:rPr>
              <a:t>Once you build an application, you can choose any location in the world where you want to run it and you can move your workloads from region to region.</a:t>
            </a:r>
          </a:p>
          <a:p>
            <a:pPr lvl="0"/>
            <a:r>
              <a:rPr lang="en-US" sz="1100" dirty="0"/>
              <a:t>You can also:</a:t>
            </a:r>
          </a:p>
          <a:p>
            <a:pPr lvl="1"/>
            <a:r>
              <a:rPr lang="en-US" sz="1100" dirty="0"/>
              <a:t>Run your application in multiple regions simultaneously</a:t>
            </a:r>
          </a:p>
          <a:p>
            <a:pPr lvl="1"/>
            <a:r>
              <a:rPr lang="en-US" sz="1100" dirty="0"/>
              <a:t>Just direct traffic and customers to whichever version of the app is closest to them</a:t>
            </a:r>
          </a:p>
          <a:p>
            <a:pPr lvl="0"/>
            <a:r>
              <a:rPr lang="en-US" sz="1100" dirty="0">
                <a:solidFill>
                  <a:srgbClr val="FF0000"/>
                </a:solidFill>
              </a:rPr>
              <a:t>That gives you a</a:t>
            </a:r>
          </a:p>
          <a:p>
            <a:pPr marL="0" indent="0">
              <a:buNone/>
            </a:pPr>
            <a:r>
              <a:rPr lang="en-US" sz="1100" b="1" dirty="0"/>
              <a:t>Notes</a:t>
            </a:r>
            <a:endParaRPr lang="en-US" sz="1100" dirty="0"/>
          </a:p>
          <a:p>
            <a:pPr lvl="0"/>
            <a:r>
              <a:rPr lang="en-US" sz="1100" dirty="0"/>
              <a:t>Microsoft Azure services, such as compute and storage are now available in eight worldwide data centers with an additional 24 CDN endpoints</a:t>
            </a:r>
          </a:p>
          <a:p>
            <a:pPr lvl="0"/>
            <a:r>
              <a:rPr lang="en-US" sz="1100" dirty="0"/>
              <a:t>You cannot have a real cloud without a data center global footprint and a chance to reach a bigger customer base or audience in new markets</a:t>
            </a:r>
          </a:p>
          <a:p>
            <a:pPr lvl="0"/>
            <a:r>
              <a:rPr lang="en-US" dirty="0">
                <a:solidFill>
                  <a:srgbClr val="FF0000"/>
                </a:solidFill>
              </a:rPr>
              <a:t> going to see in the next couple months and years is that</a:t>
            </a:r>
            <a:r>
              <a:rPr lang="en-US" dirty="0"/>
              <a:t> we will rapidly expand our data center footprint around the world. As a result, you will have more options for running your applications</a:t>
            </a:r>
          </a:p>
          <a:p>
            <a:pPr lvl="0"/>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4172745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489DB6A-E92B-415B-AFB4-9C72D4A9006D}" type="slidenum">
              <a:rPr lang="en-US" smtClean="0">
                <a:solidFill>
                  <a:prstClr val="black"/>
                </a:solidFill>
              </a:rPr>
              <a:pPr/>
              <a:t>160</a:t>
            </a:fld>
            <a:endParaRPr lang="en-US">
              <a:solidFill>
                <a:prstClr val="black"/>
              </a:solidFill>
            </a:endParaRPr>
          </a:p>
        </p:txBody>
      </p:sp>
      <p:sp>
        <p:nvSpPr>
          <p:cNvPr id="6" name="Slide Image Placeholder 5"/>
          <p:cNvSpPr>
            <a:spLocks noGrp="1" noRot="1" noChangeAspect="1"/>
          </p:cNvSpPr>
          <p:nvPr>
            <p:ph type="sldImg"/>
          </p:nvPr>
        </p:nvSpPr>
        <p:spPr>
          <a:xfrm>
            <a:off x="384175" y="484188"/>
            <a:ext cx="6096000" cy="34290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5503440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14000"/>
              </a:lnSpc>
              <a:spcBef>
                <a:spcPts val="300"/>
              </a:spcBef>
              <a:spcAft>
                <a:spcPts val="600"/>
              </a:spcAft>
              <a:buClrTx/>
              <a:buSzPct val="116000"/>
              <a:buFont typeface="Arial" panose="020B0604020202020204" pitchFamily="34" charset="0"/>
              <a:buChar char="•"/>
              <a:tabLst/>
              <a:defRPr/>
            </a:pPr>
            <a:r>
              <a:rPr lang="en-US" dirty="0"/>
              <a:t>Find more details at https://msdn.microsoft.com/en-us/library/azure/dn532272.aspx</a:t>
            </a:r>
          </a:p>
          <a:p>
            <a:endParaRPr lang="en-US" dirty="0"/>
          </a:p>
        </p:txBody>
      </p:sp>
      <p:sp>
        <p:nvSpPr>
          <p:cNvPr id="4" name="Slide Number Placeholder 3"/>
          <p:cNvSpPr>
            <a:spLocks noGrp="1"/>
          </p:cNvSpPr>
          <p:nvPr>
            <p:ph type="sldNum" sz="quarter" idx="10"/>
          </p:nvPr>
        </p:nvSpPr>
        <p:spPr/>
        <p:txBody>
          <a:bodyPr/>
          <a:lstStyle/>
          <a:p>
            <a:fld id="{1489DB6A-E92B-415B-AFB4-9C72D4A9006D}" type="slidenum">
              <a:rPr lang="en-US" smtClean="0">
                <a:solidFill>
                  <a:prstClr val="black"/>
                </a:solidFill>
              </a:rPr>
              <a:pPr/>
              <a:t>161</a:t>
            </a:fld>
            <a:endParaRPr lang="en-US">
              <a:solidFill>
                <a:prstClr val="black"/>
              </a:solidFill>
            </a:endParaRPr>
          </a:p>
        </p:txBody>
      </p:sp>
    </p:spTree>
    <p:extLst>
      <p:ext uri="{BB962C8B-B14F-4D97-AF65-F5344CB8AC3E}">
        <p14:creationId xmlns:p14="http://schemas.microsoft.com/office/powerpoint/2010/main" val="240792228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14000"/>
              </a:lnSpc>
              <a:spcBef>
                <a:spcPts val="300"/>
              </a:spcBef>
              <a:spcAft>
                <a:spcPts val="600"/>
              </a:spcAft>
              <a:buClrTx/>
              <a:buSzPct val="116000"/>
              <a:buFont typeface="Arial" panose="020B0604020202020204" pitchFamily="34" charset="0"/>
              <a:buChar char="•"/>
              <a:tabLst/>
              <a:defRPr/>
            </a:pPr>
            <a:r>
              <a:rPr lang="en-US" dirty="0"/>
              <a:t>Find more details at https://msdn.microsoft.com/en-us/library/azure/dn532272.aspx</a:t>
            </a:r>
          </a:p>
          <a:p>
            <a:endParaRPr lang="en-US" dirty="0"/>
          </a:p>
        </p:txBody>
      </p:sp>
      <p:sp>
        <p:nvSpPr>
          <p:cNvPr id="4" name="Slide Number Placeholder 3"/>
          <p:cNvSpPr>
            <a:spLocks noGrp="1"/>
          </p:cNvSpPr>
          <p:nvPr>
            <p:ph type="sldNum" sz="quarter" idx="10"/>
          </p:nvPr>
        </p:nvSpPr>
        <p:spPr/>
        <p:txBody>
          <a:bodyPr/>
          <a:lstStyle/>
          <a:p>
            <a:fld id="{1489DB6A-E92B-415B-AFB4-9C72D4A9006D}" type="slidenum">
              <a:rPr lang="en-US" smtClean="0">
                <a:solidFill>
                  <a:prstClr val="black"/>
                </a:solidFill>
              </a:rPr>
              <a:pPr/>
              <a:t>162</a:t>
            </a:fld>
            <a:endParaRPr lang="en-US">
              <a:solidFill>
                <a:prstClr val="black"/>
              </a:solidFill>
            </a:endParaRPr>
          </a:p>
        </p:txBody>
      </p:sp>
    </p:spTree>
    <p:extLst>
      <p:ext uri="{BB962C8B-B14F-4D97-AF65-F5344CB8AC3E}">
        <p14:creationId xmlns:p14="http://schemas.microsoft.com/office/powerpoint/2010/main" val="95067003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r>
              <a:rPr lang="en-US" dirty="0"/>
              <a:t>Find more details at https://msdn.microsoft.com/en-us/library/azure/dn532272.aspx</a:t>
            </a:r>
          </a:p>
        </p:txBody>
      </p:sp>
      <p:sp>
        <p:nvSpPr>
          <p:cNvPr id="4" name="Slide Number Placeholder 3"/>
          <p:cNvSpPr>
            <a:spLocks noGrp="1"/>
          </p:cNvSpPr>
          <p:nvPr>
            <p:ph type="sldNum" sz="quarter" idx="10"/>
          </p:nvPr>
        </p:nvSpPr>
        <p:spPr/>
        <p:txBody>
          <a:bodyPr/>
          <a:lstStyle/>
          <a:p>
            <a:fld id="{1489DB6A-E92B-415B-AFB4-9C72D4A9006D}" type="slidenum">
              <a:rPr lang="en-US" smtClean="0">
                <a:solidFill>
                  <a:prstClr val="black"/>
                </a:solidFill>
              </a:rPr>
              <a:pPr/>
              <a:t>163</a:t>
            </a:fld>
            <a:endParaRPr lang="en-US">
              <a:solidFill>
                <a:prstClr val="black"/>
              </a:solidFill>
            </a:endParaRPr>
          </a:p>
        </p:txBody>
      </p:sp>
    </p:spTree>
    <p:extLst>
      <p:ext uri="{BB962C8B-B14F-4D97-AF65-F5344CB8AC3E}">
        <p14:creationId xmlns:p14="http://schemas.microsoft.com/office/powerpoint/2010/main" val="381035134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489DB6A-E92B-415B-AFB4-9C72D4A9006D}" type="slidenum">
              <a:rPr lang="en-US" smtClean="0">
                <a:solidFill>
                  <a:prstClr val="black"/>
                </a:solidFill>
              </a:rPr>
              <a:pPr/>
              <a:t>164</a:t>
            </a:fld>
            <a:endParaRPr lang="en-US">
              <a:solidFill>
                <a:prstClr val="black"/>
              </a:solidFill>
            </a:endParaRPr>
          </a:p>
        </p:txBody>
      </p:sp>
      <p:sp>
        <p:nvSpPr>
          <p:cNvPr id="6" name="Slide Image Placeholder 5"/>
          <p:cNvSpPr>
            <a:spLocks noGrp="1" noRot="1" noChangeAspect="1"/>
          </p:cNvSpPr>
          <p:nvPr>
            <p:ph type="sldImg"/>
          </p:nvPr>
        </p:nvSpPr>
        <p:spPr>
          <a:xfrm>
            <a:off x="384175" y="484188"/>
            <a:ext cx="6096000" cy="3429000"/>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98596427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489DB6A-E92B-415B-AFB4-9C72D4A9006D}" type="slidenum">
              <a:rPr lang="en-US" smtClean="0">
                <a:solidFill>
                  <a:prstClr val="black"/>
                </a:solidFill>
              </a:rPr>
              <a:pPr/>
              <a:t>165</a:t>
            </a:fld>
            <a:endParaRPr lang="en-US">
              <a:solidFill>
                <a:prstClr val="black"/>
              </a:solidFill>
            </a:endParaRPr>
          </a:p>
        </p:txBody>
      </p:sp>
      <p:sp>
        <p:nvSpPr>
          <p:cNvPr id="6" name="Slide Image Placeholder 5"/>
          <p:cNvSpPr>
            <a:spLocks noGrp="1" noRot="1" noChangeAspect="1"/>
          </p:cNvSpPr>
          <p:nvPr>
            <p:ph type="sldImg"/>
          </p:nvPr>
        </p:nvSpPr>
        <p:spPr>
          <a:xfrm>
            <a:off x="384175" y="484188"/>
            <a:ext cx="6096000" cy="34290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7404518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r>
              <a:rPr lang="en-GB" dirty="0"/>
              <a:t>As you can see the protocols supported are standard</a:t>
            </a:r>
            <a:r>
              <a:rPr lang="en-GB" baseline="0" dirty="0"/>
              <a:t> opened protocol. Think WAAD as a shared infrastructure that make available multiple interfaces which are shared between tenants.</a:t>
            </a:r>
          </a:p>
          <a:p>
            <a:endParaRPr lang="en-GB" baseline="0" dirty="0"/>
          </a:p>
          <a:p>
            <a:endParaRPr lang="en-GB" dirty="0"/>
          </a:p>
        </p:txBody>
      </p:sp>
      <p:sp>
        <p:nvSpPr>
          <p:cNvPr id="4" name="Slide Number Placeholder 3"/>
          <p:cNvSpPr>
            <a:spLocks noGrp="1"/>
          </p:cNvSpPr>
          <p:nvPr>
            <p:ph type="sldNum" sz="quarter" idx="10"/>
          </p:nvPr>
        </p:nvSpPr>
        <p:spPr/>
        <p:txBody>
          <a:bodyPr/>
          <a:lstStyle/>
          <a:p>
            <a:fld id="{675416BA-65F7-274A-AD61-D0FA78F3AA6E}" type="slidenum">
              <a:rPr lang="en-US" smtClean="0">
                <a:solidFill>
                  <a:prstClr val="black"/>
                </a:solidFill>
              </a:rPr>
              <a:pPr/>
              <a:t>166</a:t>
            </a:fld>
            <a:endParaRPr lang="en-US">
              <a:solidFill>
                <a:prstClr val="black"/>
              </a:solidFill>
            </a:endParaRPr>
          </a:p>
        </p:txBody>
      </p:sp>
    </p:spTree>
    <p:extLst>
      <p:ext uri="{BB962C8B-B14F-4D97-AF65-F5344CB8AC3E}">
        <p14:creationId xmlns:p14="http://schemas.microsoft.com/office/powerpoint/2010/main" val="335363919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67</a:t>
            </a:fld>
            <a:endParaRPr lang="en-US"/>
          </a:p>
        </p:txBody>
      </p:sp>
    </p:spTree>
    <p:extLst>
      <p:ext uri="{BB962C8B-B14F-4D97-AF65-F5344CB8AC3E}">
        <p14:creationId xmlns:p14="http://schemas.microsoft.com/office/powerpoint/2010/main" val="76260275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efer Microsoft site for future changes: https://docs.microsoft.com/en-us/azure/sql-database/sql-database-service-tiers</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b="0" i="0" kern="1200" dirty="0" smtClean="0">
                <a:solidFill>
                  <a:schemeClr val="tx1"/>
                </a:solidFill>
                <a:effectLst/>
                <a:latin typeface="+mn-lt"/>
                <a:ea typeface="+mn-ea"/>
                <a:cs typeface="+mn-cs"/>
              </a:rPr>
              <a:t>Database Transaction Units: (</a:t>
            </a:r>
            <a:r>
              <a:rPr lang="en-IN" sz="1200" b="1" i="0" kern="1200" dirty="0" smtClean="0">
                <a:solidFill>
                  <a:schemeClr val="tx1"/>
                </a:solidFill>
                <a:effectLst/>
                <a:latin typeface="+mn-lt"/>
                <a:ea typeface="+mn-ea"/>
                <a:cs typeface="+mn-cs"/>
              </a:rPr>
              <a:t>DTU</a:t>
            </a:r>
            <a:r>
              <a:rPr lang="en-IN" sz="1200" b="0" i="0" kern="1200" dirty="0" smtClean="0">
                <a:solidFill>
                  <a:schemeClr val="tx1"/>
                </a:solidFill>
                <a:effectLst/>
                <a:latin typeface="+mn-lt"/>
                <a:ea typeface="+mn-ea"/>
                <a:cs typeface="+mn-cs"/>
              </a:rPr>
              <a:t>): How much power your server is.</a:t>
            </a:r>
            <a:r>
              <a:rPr lang="en-IN" sz="1200" b="0" i="0" kern="1200" baseline="0" dirty="0" smtClean="0">
                <a:solidFill>
                  <a:schemeClr val="tx1"/>
                </a:solidFill>
                <a:effectLst/>
                <a:latin typeface="+mn-lt"/>
                <a:ea typeface="+mn-ea"/>
                <a:cs typeface="+mn-cs"/>
              </a:rPr>
              <a:t> </a:t>
            </a:r>
            <a:r>
              <a:rPr lang="en-IN" sz="1200" b="0" i="0" kern="1200" dirty="0" smtClean="0">
                <a:solidFill>
                  <a:schemeClr val="tx1"/>
                </a:solidFill>
                <a:effectLst/>
                <a:latin typeface="+mn-lt"/>
                <a:ea typeface="+mn-ea"/>
                <a:cs typeface="+mn-cs"/>
              </a:rPr>
              <a:t>DTUs provide a way to describe the relative capacity of a performance level of Basic, Standard, and Premium databases. DTUs are based on a blended measure of CPU, memory, reads, and writes</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b="0" i="0" kern="1200" dirty="0" smtClean="0">
                <a:solidFill>
                  <a:schemeClr val="tx1"/>
                </a:solidFill>
                <a:effectLst/>
                <a:latin typeface="+mn-lt"/>
                <a:ea typeface="+mn-ea"/>
                <a:cs typeface="+mn-cs"/>
              </a:rPr>
              <a:t>Collation:</a:t>
            </a:r>
            <a:r>
              <a:rPr lang="en-IN" sz="1200" b="0" i="0" kern="1200" baseline="0" dirty="0" smtClean="0">
                <a:solidFill>
                  <a:schemeClr val="tx1"/>
                </a:solidFill>
                <a:effectLst/>
                <a:latin typeface="+mn-lt"/>
                <a:ea typeface="+mn-ea"/>
                <a:cs typeface="+mn-cs"/>
              </a:rPr>
              <a:t> </a:t>
            </a:r>
            <a:r>
              <a:rPr lang="en-IN" sz="1200" b="0" i="0" kern="1200" dirty="0" smtClean="0">
                <a:solidFill>
                  <a:schemeClr val="tx1"/>
                </a:solidFill>
                <a:effectLst/>
                <a:latin typeface="+mn-lt"/>
                <a:ea typeface="+mn-ea"/>
                <a:cs typeface="+mn-cs"/>
              </a:rPr>
              <a:t>Database collation defines the rules that sort and compare data, and cannot be changed after database creation</a:t>
            </a:r>
          </a:p>
          <a:p>
            <a:endParaRPr lang="en-IN" sz="1200" b="0" i="0" kern="1200" dirty="0" smtClean="0">
              <a:solidFill>
                <a:schemeClr val="tx1"/>
              </a:solidFill>
              <a:effectLst/>
              <a:latin typeface="+mn-lt"/>
              <a:ea typeface="+mn-ea"/>
              <a:cs typeface="+mn-cs"/>
            </a:endParaRPr>
          </a:p>
          <a:p>
            <a:r>
              <a:rPr lang="en-IN" sz="1200" b="0" i="0" kern="1200" dirty="0" smtClean="0">
                <a:solidFill>
                  <a:schemeClr val="tx1"/>
                </a:solidFill>
                <a:effectLst/>
                <a:latin typeface="+mn-lt"/>
                <a:ea typeface="+mn-ea"/>
                <a:cs typeface="+mn-cs"/>
              </a:rPr>
              <a:t>How</a:t>
            </a:r>
            <a:r>
              <a:rPr lang="en-IN" sz="1200" b="0" i="0" kern="1200" baseline="0" dirty="0" smtClean="0">
                <a:solidFill>
                  <a:schemeClr val="tx1"/>
                </a:solidFill>
                <a:effectLst/>
                <a:latin typeface="+mn-lt"/>
                <a:ea typeface="+mn-ea"/>
                <a:cs typeface="+mn-cs"/>
              </a:rPr>
              <a:t> to choose plan: for example, websites with 25000 page view per day and each page view generates 2 or 3 queries then S0 plan is more than enough. </a:t>
            </a:r>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68</a:t>
            </a:fld>
            <a:endParaRPr lang="en-US"/>
          </a:p>
        </p:txBody>
      </p:sp>
    </p:spTree>
    <p:extLst>
      <p:ext uri="{BB962C8B-B14F-4D97-AF65-F5344CB8AC3E}">
        <p14:creationId xmlns:p14="http://schemas.microsoft.com/office/powerpoint/2010/main" val="150601230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smtClean="0">
                <a:solidFill>
                  <a:schemeClr val="tx1"/>
                </a:solidFill>
                <a:effectLst/>
                <a:latin typeface="+mn-lt"/>
                <a:ea typeface="+mn-ea"/>
                <a:cs typeface="+mn-cs"/>
              </a:rPr>
              <a:t>SQL injection</a:t>
            </a:r>
            <a:r>
              <a:rPr lang="en-IN" sz="1200" b="0" i="0" kern="1200" dirty="0" smtClean="0">
                <a:solidFill>
                  <a:schemeClr val="tx1"/>
                </a:solidFill>
                <a:effectLst/>
                <a:latin typeface="+mn-lt"/>
                <a:ea typeface="+mn-ea"/>
                <a:cs typeface="+mn-cs"/>
              </a:rPr>
              <a:t> is a code </a:t>
            </a:r>
            <a:r>
              <a:rPr lang="en-IN" sz="1200" b="1" i="0" kern="1200" dirty="0" smtClean="0">
                <a:solidFill>
                  <a:schemeClr val="tx1"/>
                </a:solidFill>
                <a:effectLst/>
                <a:latin typeface="+mn-lt"/>
                <a:ea typeface="+mn-ea"/>
                <a:cs typeface="+mn-cs"/>
              </a:rPr>
              <a:t>injection</a:t>
            </a:r>
            <a:r>
              <a:rPr lang="en-IN" sz="1200" b="0" i="0" kern="1200" dirty="0" smtClean="0">
                <a:solidFill>
                  <a:schemeClr val="tx1"/>
                </a:solidFill>
                <a:effectLst/>
                <a:latin typeface="+mn-lt"/>
                <a:ea typeface="+mn-ea"/>
                <a:cs typeface="+mn-cs"/>
              </a:rPr>
              <a:t> technique, used to attack data-driven applications, in which </a:t>
            </a:r>
            <a:r>
              <a:rPr lang="en-IN" sz="1200" b="0" i="0" kern="1200" dirty="0" err="1" smtClean="0">
                <a:solidFill>
                  <a:schemeClr val="tx1"/>
                </a:solidFill>
                <a:effectLst/>
                <a:latin typeface="+mn-lt"/>
                <a:ea typeface="+mn-ea"/>
                <a:cs typeface="+mn-cs"/>
              </a:rPr>
              <a:t>nefarious</a:t>
            </a:r>
            <a:r>
              <a:rPr lang="en-IN" sz="1200" b="1" i="0" kern="1200" dirty="0" err="1" smtClean="0">
                <a:solidFill>
                  <a:schemeClr val="tx1"/>
                </a:solidFill>
                <a:effectLst/>
                <a:latin typeface="+mn-lt"/>
                <a:ea typeface="+mn-ea"/>
                <a:cs typeface="+mn-cs"/>
              </a:rPr>
              <a:t>SQL</a:t>
            </a:r>
            <a:r>
              <a:rPr lang="en-IN" sz="1200" b="0" i="0" kern="1200" dirty="0" smtClean="0">
                <a:solidFill>
                  <a:schemeClr val="tx1"/>
                </a:solidFill>
                <a:effectLst/>
                <a:latin typeface="+mn-lt"/>
                <a:ea typeface="+mn-ea"/>
                <a:cs typeface="+mn-cs"/>
              </a:rPr>
              <a:t> statements are inserted into an entry field for execution (e.g. to dump the database contents to the attacker)</a:t>
            </a:r>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69</a:t>
            </a:fld>
            <a:endParaRPr lang="en-US"/>
          </a:p>
        </p:txBody>
      </p:sp>
    </p:spTree>
    <p:extLst>
      <p:ext uri="{BB962C8B-B14F-4D97-AF65-F5344CB8AC3E}">
        <p14:creationId xmlns:p14="http://schemas.microsoft.com/office/powerpoint/2010/main" val="7690671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effectLst/>
                <a:latin typeface="Arial" panose="020B0604020202020204" pitchFamily="34" charset="0"/>
                <a:ea typeface="Calibri" panose="020F0502020204030204" pitchFamily="34" charset="0"/>
                <a:cs typeface="Times New Roman" panose="02020603050405020304" pitchFamily="18" charset="0"/>
              </a:rPr>
              <a:t>Provide a high-level overview of the Azure services, breaking them down by category. However, avoid discussing them in detail because it may take a long time.</a:t>
            </a:r>
          </a:p>
        </p:txBody>
      </p:sp>
      <p:sp>
        <p:nvSpPr>
          <p:cNvPr id="4" name="Slide Number Placeholder 3"/>
          <p:cNvSpPr>
            <a:spLocks noGrp="1"/>
          </p:cNvSpPr>
          <p:nvPr>
            <p:ph type="sldNum" sz="quarter" idx="10"/>
          </p:nvPr>
        </p:nvSpPr>
        <p:spPr/>
        <p:txBody>
          <a:bodyPr/>
          <a:lstStyle/>
          <a:p>
            <a:fld id="{9AE18B83-FD81-4989-87DB-74F237DDC101}" type="slidenum">
              <a:rPr lang="en-US" smtClean="0"/>
              <a:pPr/>
              <a:t>18</a:t>
            </a:fld>
            <a:endParaRPr lang="en-US" dirty="0"/>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latin typeface="Arial" panose="020B0604020202020204" pitchFamily="34" charset="0"/>
              </a:rPr>
              <a:t>10979C</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336699"/>
                </a:solidFill>
                <a:latin typeface="Arial" panose="020B0604020202020204" pitchFamily="34" charset="0"/>
              </a:rPr>
              <a:t>1: Getting started with Microsoft Azure</a:t>
            </a:r>
          </a:p>
        </p:txBody>
      </p:sp>
    </p:spTree>
    <p:extLst>
      <p:ext uri="{BB962C8B-B14F-4D97-AF65-F5344CB8AC3E}">
        <p14:creationId xmlns:p14="http://schemas.microsoft.com/office/powerpoint/2010/main" val="38994888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CREATE TABLE dbo.test3(a </a:t>
            </a:r>
            <a:r>
              <a:rPr lang="en-IN" dirty="0" err="1" smtClean="0"/>
              <a:t>int</a:t>
            </a:r>
            <a:r>
              <a:rPr lang="en-IN" dirty="0" smtClean="0"/>
              <a:t>) ;</a:t>
            </a:r>
          </a:p>
          <a:p>
            <a:r>
              <a:rPr lang="en-IN" dirty="0" smtClean="0"/>
              <a:t>INSERT INTO dbo.test3 VALUES (1) ;</a:t>
            </a:r>
          </a:p>
          <a:p>
            <a:r>
              <a:rPr lang="en-IN" dirty="0" smtClean="0"/>
              <a:t>GO</a:t>
            </a:r>
          </a:p>
          <a:p>
            <a:endParaRPr lang="en-IN" dirty="0" smtClean="0"/>
          </a:p>
          <a:p>
            <a:r>
              <a:rPr lang="en-IN" dirty="0" smtClean="0"/>
              <a:t>SELECT * FROM dbo.test3 ;</a:t>
            </a:r>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70</a:t>
            </a:fld>
            <a:endParaRPr lang="en-US"/>
          </a:p>
        </p:txBody>
      </p:sp>
    </p:spTree>
    <p:extLst>
      <p:ext uri="{BB962C8B-B14F-4D97-AF65-F5344CB8AC3E}">
        <p14:creationId xmlns:p14="http://schemas.microsoft.com/office/powerpoint/2010/main" val="175062403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75</a:t>
            </a:fld>
            <a:endParaRPr lang="en-US"/>
          </a:p>
        </p:txBody>
      </p:sp>
    </p:spTree>
    <p:extLst>
      <p:ext uri="{BB962C8B-B14F-4D97-AF65-F5344CB8AC3E}">
        <p14:creationId xmlns:p14="http://schemas.microsoft.com/office/powerpoint/2010/main" val="3216701260"/>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smtClean="0">
                <a:solidFill>
                  <a:schemeClr val="tx1"/>
                </a:solidFill>
                <a:effectLst/>
                <a:latin typeface="+mn-lt"/>
                <a:ea typeface="+mn-ea"/>
                <a:cs typeface="+mn-cs"/>
              </a:rPr>
              <a:t>Web Apps</a:t>
            </a:r>
            <a:r>
              <a:rPr lang="en-IN" sz="1200" b="0" i="0" kern="1200" dirty="0" smtClean="0">
                <a:solidFill>
                  <a:schemeClr val="tx1"/>
                </a:solidFill>
                <a:effectLst/>
                <a:latin typeface="+mn-lt"/>
                <a:ea typeface="+mn-ea"/>
                <a:cs typeface="+mn-cs"/>
              </a:rPr>
              <a:t> is a fully managed compute platform that is optimized for hosting websites and </a:t>
            </a:r>
            <a:r>
              <a:rPr lang="en-IN" sz="1200" b="1" i="0" kern="1200" dirty="0" smtClean="0">
                <a:solidFill>
                  <a:schemeClr val="tx1"/>
                </a:solidFill>
                <a:effectLst/>
                <a:latin typeface="+mn-lt"/>
                <a:ea typeface="+mn-ea"/>
                <a:cs typeface="+mn-cs"/>
              </a:rPr>
              <a:t>web</a:t>
            </a:r>
            <a:r>
              <a:rPr lang="en-IN" sz="1200" b="0" i="0" kern="1200" dirty="0" smtClean="0">
                <a:solidFill>
                  <a:schemeClr val="tx1"/>
                </a:solidFill>
                <a:effectLst/>
                <a:latin typeface="+mn-lt"/>
                <a:ea typeface="+mn-ea"/>
                <a:cs typeface="+mn-cs"/>
              </a:rPr>
              <a:t> applications.</a:t>
            </a:r>
          </a:p>
          <a:p>
            <a:r>
              <a:rPr lang="en-IN" sz="1200" b="0" i="0" kern="1200" dirty="0" smtClean="0">
                <a:solidFill>
                  <a:schemeClr val="tx1"/>
                </a:solidFill>
                <a:effectLst/>
                <a:latin typeface="+mn-lt"/>
                <a:ea typeface="+mn-ea"/>
                <a:cs typeface="+mn-cs"/>
              </a:rPr>
              <a:t>Mobile App: Use the </a:t>
            </a:r>
            <a:r>
              <a:rPr lang="en-IN" sz="1200" b="1" i="0" kern="1200" dirty="0" smtClean="0">
                <a:solidFill>
                  <a:schemeClr val="tx1"/>
                </a:solidFill>
                <a:effectLst/>
                <a:latin typeface="+mn-lt"/>
                <a:ea typeface="+mn-ea"/>
                <a:cs typeface="+mn-cs"/>
              </a:rPr>
              <a:t>Mobile Apps</a:t>
            </a:r>
            <a:r>
              <a:rPr lang="en-IN" sz="1200" b="0" i="0" kern="1200" dirty="0" smtClean="0">
                <a:solidFill>
                  <a:schemeClr val="tx1"/>
                </a:solidFill>
                <a:effectLst/>
                <a:latin typeface="+mn-lt"/>
                <a:ea typeface="+mn-ea"/>
                <a:cs typeface="+mn-cs"/>
              </a:rPr>
              <a:t> feature of </a:t>
            </a:r>
            <a:r>
              <a:rPr lang="en-IN" sz="1200" b="1" i="0" kern="1200" dirty="0" smtClean="0">
                <a:solidFill>
                  <a:schemeClr val="tx1"/>
                </a:solidFill>
                <a:effectLst/>
                <a:latin typeface="+mn-lt"/>
                <a:ea typeface="+mn-ea"/>
                <a:cs typeface="+mn-cs"/>
              </a:rPr>
              <a:t>Azure App</a:t>
            </a:r>
            <a:r>
              <a:rPr lang="en-IN" sz="1200" b="0" i="0" kern="1200" dirty="0" smtClean="0">
                <a:solidFill>
                  <a:schemeClr val="tx1"/>
                </a:solidFill>
                <a:effectLst/>
                <a:latin typeface="+mn-lt"/>
                <a:ea typeface="+mn-ea"/>
                <a:cs typeface="+mn-cs"/>
              </a:rPr>
              <a:t> Service to rapidly build engaging cross-platform and native </a:t>
            </a:r>
            <a:r>
              <a:rPr lang="en-IN" sz="1200" b="1" i="0" kern="1200" dirty="0" smtClean="0">
                <a:solidFill>
                  <a:schemeClr val="tx1"/>
                </a:solidFill>
                <a:effectLst/>
                <a:latin typeface="+mn-lt"/>
                <a:ea typeface="+mn-ea"/>
                <a:cs typeface="+mn-cs"/>
              </a:rPr>
              <a:t>apps</a:t>
            </a:r>
            <a:r>
              <a:rPr lang="en-IN" sz="1200" b="0" i="0" kern="1200" dirty="0" smtClean="0">
                <a:solidFill>
                  <a:schemeClr val="tx1"/>
                </a:solidFill>
                <a:effectLst/>
                <a:latin typeface="+mn-lt"/>
                <a:ea typeface="+mn-ea"/>
                <a:cs typeface="+mn-cs"/>
              </a:rPr>
              <a:t> for iOS, Android, Windows or Mac; store </a:t>
            </a:r>
            <a:r>
              <a:rPr lang="en-IN" sz="1200" b="1" i="0" kern="1200" dirty="0" smtClean="0">
                <a:solidFill>
                  <a:schemeClr val="tx1"/>
                </a:solidFill>
                <a:effectLst/>
                <a:latin typeface="+mn-lt"/>
                <a:ea typeface="+mn-ea"/>
                <a:cs typeface="+mn-cs"/>
              </a:rPr>
              <a:t>app</a:t>
            </a:r>
            <a:r>
              <a:rPr lang="en-IN" sz="1200" b="0" i="0" kern="1200" dirty="0" smtClean="0">
                <a:solidFill>
                  <a:schemeClr val="tx1"/>
                </a:solidFill>
                <a:effectLst/>
                <a:latin typeface="+mn-lt"/>
                <a:ea typeface="+mn-ea"/>
                <a:cs typeface="+mn-cs"/>
              </a:rPr>
              <a:t> data in the cloud or on-premises; authenticate customers; send push notifications; or add your custom back-end logic in C# or Node.js.</a:t>
            </a:r>
          </a:p>
          <a:p>
            <a:r>
              <a:rPr lang="en-IN" sz="1200" b="0" i="0" kern="1200" dirty="0" smtClean="0">
                <a:solidFill>
                  <a:schemeClr val="tx1"/>
                </a:solidFill>
                <a:effectLst/>
                <a:latin typeface="+mn-lt"/>
                <a:ea typeface="+mn-ea"/>
                <a:cs typeface="+mn-cs"/>
              </a:rPr>
              <a:t>Logic App: </a:t>
            </a:r>
            <a:r>
              <a:rPr lang="en-IN" sz="1200" b="0" i="0" kern="1200" dirty="0" err="1" smtClean="0">
                <a:solidFill>
                  <a:schemeClr val="tx1"/>
                </a:solidFill>
                <a:effectLst/>
                <a:latin typeface="+mn-lt"/>
                <a:ea typeface="+mn-ea"/>
                <a:cs typeface="+mn-cs"/>
              </a:rPr>
              <a:t>LogicApps</a:t>
            </a:r>
            <a:r>
              <a:rPr lang="en-IN" sz="1200" b="0" i="0" kern="1200" dirty="0" smtClean="0">
                <a:solidFill>
                  <a:schemeClr val="tx1"/>
                </a:solidFill>
                <a:effectLst/>
                <a:latin typeface="+mn-lt"/>
                <a:ea typeface="+mn-ea"/>
                <a:cs typeface="+mn-cs"/>
              </a:rPr>
              <a:t> are a managed service that provides the Lego blocks of </a:t>
            </a:r>
            <a:r>
              <a:rPr lang="en-IN" sz="1200" b="1" i="0" kern="1200" dirty="0" smtClean="0">
                <a:solidFill>
                  <a:schemeClr val="tx1"/>
                </a:solidFill>
                <a:effectLst/>
                <a:latin typeface="+mn-lt"/>
                <a:ea typeface="+mn-ea"/>
                <a:cs typeface="+mn-cs"/>
              </a:rPr>
              <a:t>Azure</a:t>
            </a:r>
            <a:r>
              <a:rPr lang="en-IN" sz="1200" b="0" i="0" kern="1200" dirty="0" smtClean="0">
                <a:solidFill>
                  <a:schemeClr val="tx1"/>
                </a:solidFill>
                <a:effectLst/>
                <a:latin typeface="+mn-lt"/>
                <a:ea typeface="+mn-ea"/>
                <a:cs typeface="+mn-cs"/>
              </a:rPr>
              <a:t> </a:t>
            </a:r>
            <a:r>
              <a:rPr lang="en-IN" sz="1200" b="0" i="0" kern="1200" dirty="0" err="1" smtClean="0">
                <a:solidFill>
                  <a:schemeClr val="tx1"/>
                </a:solidFill>
                <a:effectLst/>
                <a:latin typeface="+mn-lt"/>
                <a:ea typeface="+mn-ea"/>
                <a:cs typeface="+mn-cs"/>
              </a:rPr>
              <a:t>serverless</a:t>
            </a:r>
            <a:r>
              <a:rPr lang="en-IN" sz="1200" b="0" i="0" kern="1200" dirty="0" smtClean="0">
                <a:solidFill>
                  <a:schemeClr val="tx1"/>
                </a:solidFill>
                <a:effectLst/>
                <a:latin typeface="+mn-lt"/>
                <a:ea typeface="+mn-ea"/>
                <a:cs typeface="+mn-cs"/>
              </a:rPr>
              <a:t> architecture that you can use to create, develop and deploy cloud-based integrations and workflows</a:t>
            </a:r>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76</a:t>
            </a:fld>
            <a:endParaRPr lang="en-US"/>
          </a:p>
        </p:txBody>
      </p:sp>
    </p:spTree>
    <p:extLst>
      <p:ext uri="{BB962C8B-B14F-4D97-AF65-F5344CB8AC3E}">
        <p14:creationId xmlns:p14="http://schemas.microsoft.com/office/powerpoint/2010/main" val="404381945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79</a:t>
            </a:fld>
            <a:endParaRPr lang="en-US"/>
          </a:p>
        </p:txBody>
      </p:sp>
    </p:spTree>
    <p:extLst>
      <p:ext uri="{BB962C8B-B14F-4D97-AF65-F5344CB8AC3E}">
        <p14:creationId xmlns:p14="http://schemas.microsoft.com/office/powerpoint/2010/main" val="2688809130"/>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80</a:t>
            </a:fld>
            <a:endParaRPr lang="en-US"/>
          </a:p>
        </p:txBody>
      </p:sp>
    </p:spTree>
    <p:extLst>
      <p:ext uri="{BB962C8B-B14F-4D97-AF65-F5344CB8AC3E}">
        <p14:creationId xmlns:p14="http://schemas.microsoft.com/office/powerpoint/2010/main" val="2569912779"/>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Lab practice:</a:t>
            </a:r>
            <a:r>
              <a:rPr lang="en-US" sz="1200" b="0" i="0" kern="1200" baseline="0" dirty="0" smtClean="0">
                <a:solidFill>
                  <a:schemeClr val="tx1"/>
                </a:solidFill>
                <a:effectLst/>
                <a:latin typeface="+mn-lt"/>
                <a:ea typeface="+mn-ea"/>
                <a:cs typeface="+mn-cs"/>
              </a:rPr>
              <a:t> </a:t>
            </a:r>
          </a:p>
          <a:p>
            <a:endParaRPr lang="en-US" sz="1200" b="0" i="0" kern="1200" baseline="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Create a SQL Database in Azure</a:t>
            </a:r>
          </a:p>
          <a:p>
            <a:r>
              <a:rPr lang="en-US" sz="1200" b="0" i="0" kern="1200" dirty="0" smtClean="0">
                <a:solidFill>
                  <a:schemeClr val="tx1"/>
                </a:solidFill>
                <a:effectLst/>
                <a:latin typeface="+mn-lt"/>
                <a:ea typeface="+mn-ea"/>
                <a:cs typeface="+mn-cs"/>
              </a:rPr>
              <a:t>Connect an ASP.NET app to SQL Database</a:t>
            </a:r>
          </a:p>
          <a:p>
            <a:r>
              <a:rPr lang="en-US" sz="1200" b="0" i="0" kern="1200" dirty="0" smtClean="0">
                <a:solidFill>
                  <a:schemeClr val="tx1"/>
                </a:solidFill>
                <a:effectLst/>
                <a:latin typeface="+mn-lt"/>
                <a:ea typeface="+mn-ea"/>
                <a:cs typeface="+mn-cs"/>
              </a:rPr>
              <a:t>Deploy the app to Azure</a:t>
            </a:r>
          </a:p>
          <a:p>
            <a:r>
              <a:rPr lang="en-US" sz="1200" b="0" i="0" kern="1200" dirty="0" smtClean="0">
                <a:solidFill>
                  <a:schemeClr val="tx1"/>
                </a:solidFill>
                <a:effectLst/>
                <a:latin typeface="+mn-lt"/>
                <a:ea typeface="+mn-ea"/>
                <a:cs typeface="+mn-cs"/>
              </a:rPr>
              <a:t>Update the data model and redeploy the app</a:t>
            </a:r>
          </a:p>
          <a:p>
            <a:r>
              <a:rPr lang="en-US" sz="1200" b="0" i="0" kern="1200" dirty="0" smtClean="0">
                <a:solidFill>
                  <a:schemeClr val="tx1"/>
                </a:solidFill>
                <a:effectLst/>
                <a:latin typeface="+mn-lt"/>
                <a:ea typeface="+mn-ea"/>
                <a:cs typeface="+mn-cs"/>
              </a:rPr>
              <a:t>Stream logs from Azure to your terminal</a:t>
            </a:r>
          </a:p>
          <a:p>
            <a:r>
              <a:rPr lang="en-US" sz="1200" b="0" i="0" kern="1200" dirty="0" smtClean="0">
                <a:solidFill>
                  <a:schemeClr val="tx1"/>
                </a:solidFill>
                <a:effectLst/>
                <a:latin typeface="+mn-lt"/>
                <a:ea typeface="+mn-ea"/>
                <a:cs typeface="+mn-cs"/>
              </a:rPr>
              <a:t>Manage the app in the Azure portal</a:t>
            </a:r>
          </a:p>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81</a:t>
            </a:fld>
            <a:endParaRPr lang="en-US"/>
          </a:p>
        </p:txBody>
      </p:sp>
    </p:spTree>
    <p:extLst>
      <p:ext uri="{BB962C8B-B14F-4D97-AF65-F5344CB8AC3E}">
        <p14:creationId xmlns:p14="http://schemas.microsoft.com/office/powerpoint/2010/main" val="2247446109"/>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Website</a:t>
            </a:r>
            <a:r>
              <a:rPr lang="en-IN" baseline="0" dirty="0" smtClean="0"/>
              <a:t> is running , now you can download this html file and using any tool , you can modify this page.</a:t>
            </a:r>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83</a:t>
            </a:fld>
            <a:endParaRPr lang="en-US"/>
          </a:p>
        </p:txBody>
      </p:sp>
    </p:spTree>
    <p:extLst>
      <p:ext uri="{BB962C8B-B14F-4D97-AF65-F5344CB8AC3E}">
        <p14:creationId xmlns:p14="http://schemas.microsoft.com/office/powerpoint/2010/main" val="3773838572"/>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Once successful-press F5</a:t>
            </a:r>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85</a:t>
            </a:fld>
            <a:endParaRPr lang="en-US"/>
          </a:p>
        </p:txBody>
      </p:sp>
    </p:spTree>
    <p:extLst>
      <p:ext uri="{BB962C8B-B14F-4D97-AF65-F5344CB8AC3E}">
        <p14:creationId xmlns:p14="http://schemas.microsoft.com/office/powerpoint/2010/main" val="344292491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87</a:t>
            </a:fld>
            <a:endParaRPr lang="en-US"/>
          </a:p>
        </p:txBody>
      </p:sp>
    </p:spTree>
    <p:extLst>
      <p:ext uri="{BB962C8B-B14F-4D97-AF65-F5344CB8AC3E}">
        <p14:creationId xmlns:p14="http://schemas.microsoft.com/office/powerpoint/2010/main" val="93143910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88</a:t>
            </a:fld>
            <a:endParaRPr lang="en-US"/>
          </a:p>
        </p:txBody>
      </p:sp>
    </p:spTree>
    <p:extLst>
      <p:ext uri="{BB962C8B-B14F-4D97-AF65-F5344CB8AC3E}">
        <p14:creationId xmlns:p14="http://schemas.microsoft.com/office/powerpoint/2010/main" val="30505449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effectLst/>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9AE18B83-FD81-4989-87DB-74F237DDC101}" type="slidenum">
              <a:rPr lang="en-US" smtClean="0"/>
              <a:pPr/>
              <a:t>19</a:t>
            </a:fld>
            <a:endParaRPr lang="en-US" dirty="0"/>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latin typeface="Arial" panose="020B0604020202020204" pitchFamily="34" charset="0"/>
              </a:rPr>
              <a:t>10979C</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336699"/>
                </a:solidFill>
                <a:latin typeface="Arial" panose="020B0604020202020204" pitchFamily="34" charset="0"/>
              </a:rPr>
              <a:t>1: Getting started with Microsoft Azure</a:t>
            </a:r>
          </a:p>
        </p:txBody>
      </p:sp>
    </p:spTree>
    <p:extLst>
      <p:ext uri="{BB962C8B-B14F-4D97-AF65-F5344CB8AC3E}">
        <p14:creationId xmlns:p14="http://schemas.microsoft.com/office/powerpoint/2010/main" val="11271162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May change.. Please refer</a:t>
            </a:r>
            <a:r>
              <a:rPr lang="en-IN" baseline="0" dirty="0" smtClean="0"/>
              <a:t> Microsoft site</a:t>
            </a:r>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27</a:t>
            </a:fld>
            <a:endParaRPr lang="en-US"/>
          </a:p>
        </p:txBody>
      </p:sp>
    </p:spTree>
    <p:extLst>
      <p:ext uri="{BB962C8B-B14F-4D97-AF65-F5344CB8AC3E}">
        <p14:creationId xmlns:p14="http://schemas.microsoft.com/office/powerpoint/2010/main" val="22297020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REST API: </a:t>
            </a:r>
            <a:r>
              <a:rPr lang="en-IN" dirty="0" smtClean="0"/>
              <a:t>Representational State Transfer Application Program Interface</a:t>
            </a:r>
            <a:endParaRPr lang="en-US" sz="120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Azure Resource Management Library for .NET: </a:t>
            </a:r>
            <a:r>
              <a:rPr lang="en-IN" sz="1200" b="0" i="0" kern="1200" dirty="0" smtClean="0">
                <a:solidFill>
                  <a:schemeClr val="tx1"/>
                </a:solidFill>
                <a:effectLst/>
                <a:latin typeface="+mn-lt"/>
                <a:ea typeface="+mn-ea"/>
                <a:cs typeface="+mn-cs"/>
              </a:rPr>
              <a:t>developers can use these libraries in production with full support by Microsoft through </a:t>
            </a:r>
            <a:r>
              <a:rPr lang="en-IN" sz="1200" b="0" i="0" u="none" strike="noStrike" kern="1200" dirty="0" smtClean="0">
                <a:solidFill>
                  <a:schemeClr val="tx1"/>
                </a:solidFill>
                <a:effectLst/>
                <a:latin typeface="+mn-lt"/>
                <a:ea typeface="+mn-ea"/>
                <a:cs typeface="+mn-cs"/>
                <a:hlinkClick r:id="rId3"/>
              </a:rPr>
              <a:t>GitHub</a:t>
            </a:r>
            <a:r>
              <a:rPr lang="en-IN" sz="1200" b="0" i="0" kern="1200" dirty="0" smtClean="0">
                <a:solidFill>
                  <a:schemeClr val="tx1"/>
                </a:solidFill>
                <a:effectLst/>
                <a:latin typeface="+mn-lt"/>
                <a:ea typeface="+mn-ea"/>
                <a:cs typeface="+mn-cs"/>
              </a:rPr>
              <a:t> or Azure support channels</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b="0" i="0" kern="1200" dirty="0" smtClean="0">
                <a:solidFill>
                  <a:schemeClr val="tx1"/>
                </a:solidFill>
                <a:effectLst/>
                <a:latin typeface="+mn-lt"/>
                <a:ea typeface="+mn-ea"/>
                <a:cs typeface="+mn-cs"/>
              </a:rPr>
              <a:t>Refer</a:t>
            </a:r>
            <a:r>
              <a:rPr lang="en-IN" sz="1200" b="0" i="0" kern="1200" baseline="0" dirty="0" smtClean="0">
                <a:solidFill>
                  <a:schemeClr val="tx1"/>
                </a:solidFill>
                <a:effectLst/>
                <a:latin typeface="+mn-lt"/>
                <a:ea typeface="+mn-ea"/>
                <a:cs typeface="+mn-cs"/>
              </a:rPr>
              <a:t> https://azure.microsoft.com/en-us/blog/azure-management-libraries-for-net-generally-available-now/</a:t>
            </a:r>
            <a:endParaRPr lang="en-US"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032083-B353-4A72-A942-D0D1735169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45630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marL="0" marR="0" indent="0" algn="l" defTabSz="932623" rtl="0" eaLnBrk="1" fontAlgn="auto" latinLnBrk="0" hangingPunct="1">
              <a:lnSpc>
                <a:spcPct val="90000"/>
              </a:lnSpc>
              <a:spcBef>
                <a:spcPts val="0"/>
              </a:spcBef>
              <a:spcAft>
                <a:spcPts val="340"/>
              </a:spcAft>
              <a:buClrTx/>
              <a:buSzTx/>
              <a:buFontTx/>
              <a:buNone/>
              <a:tabLst/>
              <a:defRPr/>
            </a:pPr>
            <a:r>
              <a:rPr lang="en-US" b="1" dirty="0" smtClean="0"/>
              <a:t>Title</a:t>
            </a:r>
            <a:r>
              <a:rPr lang="en-US" dirty="0" smtClean="0"/>
              <a:t>: JSON templates</a:t>
            </a:r>
          </a:p>
          <a:p>
            <a:pPr marL="0" marR="0" indent="0" algn="l" defTabSz="932623" rtl="0" eaLnBrk="1" fontAlgn="auto" latinLnBrk="0" hangingPunct="1">
              <a:lnSpc>
                <a:spcPct val="90000"/>
              </a:lnSpc>
              <a:spcBef>
                <a:spcPts val="0"/>
              </a:spcBef>
              <a:spcAft>
                <a:spcPts val="340"/>
              </a:spcAft>
              <a:buClrTx/>
              <a:buSzTx/>
              <a:buFontTx/>
              <a:buNone/>
              <a:tabLst/>
              <a:defRPr/>
            </a:pPr>
            <a:endParaRPr lang="en-US" sz="1000" dirty="0" smtClean="0"/>
          </a:p>
          <a:p>
            <a:endParaRPr lang="en-US" dirty="0"/>
          </a:p>
        </p:txBody>
      </p:sp>
      <p:sp>
        <p:nvSpPr>
          <p:cNvPr id="4" name="Header Placeholder 3"/>
          <p:cNvSpPr>
            <a:spLocks noGrp="1"/>
          </p:cNvSpPr>
          <p:nvPr>
            <p:ph type="hdr" sz="quarter" idx="10"/>
          </p:nvPr>
        </p:nvSpPr>
        <p:spPr/>
        <p:txBody>
          <a:bodyPr/>
          <a:lstStyle/>
          <a:p>
            <a:pPr marL="0" marR="0" lvl="0" indent="0" algn="l" defTabSz="93262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23" rtl="0" eaLnBrk="1" fontAlgn="auto" latinLnBrk="0" hangingPunct="1">
              <a:lnSpc>
                <a:spcPct val="100000"/>
              </a:lnSpc>
              <a:spcBef>
                <a:spcPts val="0"/>
              </a:spcBef>
              <a:spcAft>
                <a:spcPts val="0"/>
              </a:spcAft>
              <a:buClrTx/>
              <a:buSzTx/>
              <a:buFontTx/>
              <a:buNone/>
              <a:tabLst/>
              <a:defRPr/>
            </a:pPr>
            <a:fld id="{95908D18-C59F-4937-A19B-E45B562F69AF}"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623" rtl="0" eaLnBrk="1" fontAlgn="auto" latinLnBrk="0" hangingPunct="1">
                <a:lnSpc>
                  <a:spcPct val="100000"/>
                </a:lnSpc>
                <a:spcBef>
                  <a:spcPts val="0"/>
                </a:spcBef>
                <a:spcAft>
                  <a:spcPts val="0"/>
                </a:spcAft>
                <a:buClrTx/>
                <a:buSzTx/>
                <a:buFontTx/>
                <a:buNone/>
                <a:tabLst/>
                <a:defRPr/>
              </a:pPr>
              <a:t>1/20/20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2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623"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68811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b="1" dirty="0" smtClean="0"/>
              <a:t>Title</a:t>
            </a:r>
            <a:r>
              <a:rPr lang="en-US" dirty="0" smtClean="0"/>
              <a:t>: ARM’s architecture and functionalities</a:t>
            </a:r>
          </a:p>
          <a:p>
            <a:endParaRPr lang="en-US" dirty="0" smtClean="0"/>
          </a:p>
          <a:p>
            <a:r>
              <a:rPr lang="en-IN" sz="1200" b="0" i="0" kern="1200" dirty="0" smtClean="0">
                <a:solidFill>
                  <a:schemeClr val="tx1"/>
                </a:solidFill>
                <a:effectLst/>
                <a:latin typeface="+mn-lt"/>
                <a:ea typeface="+mn-ea"/>
                <a:cs typeface="+mn-cs"/>
              </a:rPr>
              <a:t>For each subscription and tenant, Resource Manager limits read requests to 15,000 per hour and write requests to 1,200 per hour. These limits apply to each Azure Resource Manager instance; there are multiple instances in every Azure region, and Azure Resource Manager is deployed to all Azure regions. So, in practice, limits are effectively much higher than those listed above, as user requests are generally serviced by many different instances.</a:t>
            </a:r>
          </a:p>
          <a:p>
            <a:r>
              <a:rPr lang="en-IN" sz="1200" b="0" i="0" kern="1200" dirty="0" smtClean="0">
                <a:solidFill>
                  <a:schemeClr val="tx1"/>
                </a:solidFill>
                <a:effectLst/>
                <a:latin typeface="+mn-lt"/>
                <a:ea typeface="+mn-ea"/>
                <a:cs typeface="+mn-cs"/>
              </a:rPr>
              <a:t> </a:t>
            </a:r>
          </a:p>
          <a:p>
            <a:r>
              <a:rPr lang="en-IN" sz="1200" b="0" i="0" kern="1200" dirty="0" smtClean="0">
                <a:solidFill>
                  <a:schemeClr val="tx1"/>
                </a:solidFill>
                <a:effectLst/>
                <a:latin typeface="+mn-lt"/>
                <a:ea typeface="+mn-ea"/>
                <a:cs typeface="+mn-cs"/>
              </a:rPr>
              <a:t>How to throttling  : Auto-scaling, Kill multiple request from same user for same request. Deploy multiple instance in deferent region</a:t>
            </a:r>
          </a:p>
          <a:p>
            <a:r>
              <a:rPr lang="en-IN" sz="1200" b="0" i="0" kern="1200" dirty="0" smtClean="0">
                <a:solidFill>
                  <a:schemeClr val="tx1"/>
                </a:solidFill>
                <a:effectLst/>
                <a:latin typeface="+mn-lt"/>
                <a:ea typeface="+mn-ea"/>
                <a:cs typeface="+mn-cs"/>
              </a:rPr>
              <a:t> </a:t>
            </a:r>
          </a:p>
          <a:p>
            <a:r>
              <a:rPr lang="en-IN" sz="1200" b="0" i="0" kern="1200" dirty="0" smtClean="0">
                <a:solidFill>
                  <a:schemeClr val="tx1"/>
                </a:solidFill>
                <a:effectLst/>
                <a:latin typeface="+mn-lt"/>
                <a:ea typeface="+mn-ea"/>
                <a:cs typeface="+mn-cs"/>
              </a:rPr>
              <a:t> </a:t>
            </a:r>
          </a:p>
          <a:p>
            <a:r>
              <a:rPr lang="en-IN" sz="1200" b="0" i="0" kern="1200" dirty="0" smtClean="0">
                <a:solidFill>
                  <a:schemeClr val="tx1"/>
                </a:solidFill>
                <a:effectLst/>
                <a:latin typeface="+mn-lt"/>
                <a:ea typeface="+mn-ea"/>
                <a:cs typeface="+mn-cs"/>
              </a:rPr>
              <a:t>tags to your Azure resources to logically organize them by categories</a:t>
            </a:r>
          </a:p>
          <a:p>
            <a:endParaRPr lang="en-US" dirty="0"/>
          </a:p>
        </p:txBody>
      </p:sp>
      <p:sp>
        <p:nvSpPr>
          <p:cNvPr id="4" name="Header Placeholder 3"/>
          <p:cNvSpPr>
            <a:spLocks noGrp="1"/>
          </p:cNvSpPr>
          <p:nvPr>
            <p:ph type="hdr" sz="quarter" idx="10"/>
          </p:nvPr>
        </p:nvSpPr>
        <p:spPr/>
        <p:txBody>
          <a:bodyPr/>
          <a:lstStyle/>
          <a:p>
            <a:pPr marL="0" marR="0" lvl="0" indent="0" algn="l" defTabSz="93262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23" rtl="0" eaLnBrk="1" fontAlgn="auto" latinLnBrk="0" hangingPunct="1">
              <a:lnSpc>
                <a:spcPct val="100000"/>
              </a:lnSpc>
              <a:spcBef>
                <a:spcPts val="0"/>
              </a:spcBef>
              <a:spcAft>
                <a:spcPts val="0"/>
              </a:spcAft>
              <a:buClrTx/>
              <a:buSzTx/>
              <a:buFontTx/>
              <a:buNone/>
              <a:tabLst/>
              <a:defRPr/>
            </a:pPr>
            <a:fld id="{5674F7C8-8020-4F85-AE35-4CE3D6BF2940}"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623" rtl="0" eaLnBrk="1" fontAlgn="auto" latinLnBrk="0" hangingPunct="1">
                <a:lnSpc>
                  <a:spcPct val="100000"/>
                </a:lnSpc>
                <a:spcBef>
                  <a:spcPts val="0"/>
                </a:spcBef>
                <a:spcAft>
                  <a:spcPts val="0"/>
                </a:spcAft>
                <a:buClrTx/>
                <a:buSzTx/>
                <a:buFontTx/>
                <a:buNone/>
                <a:tabLst/>
                <a:defRPr/>
              </a:pPr>
              <a:t>1/20/20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2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623"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5797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b="1" dirty="0" smtClean="0"/>
              <a:t>Title</a:t>
            </a:r>
            <a:r>
              <a:rPr lang="en-US" dirty="0" smtClean="0"/>
              <a:t>: Resource Provider v2</a:t>
            </a:r>
            <a:endParaRPr lang="en-US" dirty="0"/>
          </a:p>
        </p:txBody>
      </p:sp>
      <p:sp>
        <p:nvSpPr>
          <p:cNvPr id="4" name="Header Placeholder 3"/>
          <p:cNvSpPr>
            <a:spLocks noGrp="1"/>
          </p:cNvSpPr>
          <p:nvPr>
            <p:ph type="hdr" sz="quarter" idx="10"/>
          </p:nvPr>
        </p:nvSpPr>
        <p:spPr/>
        <p:txBody>
          <a:bodyPr/>
          <a:lstStyle/>
          <a:p>
            <a:r>
              <a:rPr lang="en-US" dirty="0" smtClean="0"/>
              <a:t>SMSG Read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E77B2B4-D237-4BCC-95D9-1D4EDEE25D63}" type="datetime1">
              <a:rPr lang="en-US" smtClean="0"/>
              <a:pPr/>
              <a:t>1/20/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22803444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marL="0" marR="0" indent="0" algn="l" defTabSz="932623" rtl="0" eaLnBrk="1" fontAlgn="auto" latinLnBrk="0" hangingPunct="1">
              <a:lnSpc>
                <a:spcPct val="90000"/>
              </a:lnSpc>
              <a:spcBef>
                <a:spcPts val="0"/>
              </a:spcBef>
              <a:spcAft>
                <a:spcPts val="340"/>
              </a:spcAft>
              <a:buClrTx/>
              <a:buSzTx/>
              <a:buFontTx/>
              <a:buNone/>
              <a:tabLst/>
              <a:defRPr/>
            </a:pPr>
            <a:r>
              <a:rPr lang="en-US" b="1" dirty="0" smtClean="0"/>
              <a:t>Title</a:t>
            </a:r>
            <a:r>
              <a:rPr lang="en-US" dirty="0" smtClean="0"/>
              <a:t>: Differences between ASM and ARM</a:t>
            </a:r>
          </a:p>
          <a:p>
            <a:pPr marL="0" marR="0" indent="0" algn="l" defTabSz="932623" rtl="0" eaLnBrk="1" fontAlgn="auto" latinLnBrk="0" hangingPunct="1">
              <a:lnSpc>
                <a:spcPct val="90000"/>
              </a:lnSpc>
              <a:spcBef>
                <a:spcPts val="0"/>
              </a:spcBef>
              <a:spcAft>
                <a:spcPts val="340"/>
              </a:spcAft>
              <a:buClrTx/>
              <a:buSzTx/>
              <a:buFontTx/>
              <a:buNone/>
              <a:tabLst/>
              <a:defRPr/>
            </a:pPr>
            <a:endParaRPr lang="en-US" dirty="0" smtClean="0"/>
          </a:p>
          <a:p>
            <a:pPr marL="0" marR="0" indent="0" algn="l" defTabSz="932623" rtl="0" eaLnBrk="1" fontAlgn="auto" latinLnBrk="0" hangingPunct="1">
              <a:lnSpc>
                <a:spcPct val="90000"/>
              </a:lnSpc>
              <a:spcBef>
                <a:spcPts val="0"/>
              </a:spcBef>
              <a:spcAft>
                <a:spcPts val="340"/>
              </a:spcAft>
              <a:buClrTx/>
              <a:buSzTx/>
              <a:buFontTx/>
              <a:buNone/>
              <a:tabLst/>
              <a:defRPr/>
            </a:pPr>
            <a:r>
              <a:rPr lang="en-US" dirty="0" smtClean="0"/>
              <a:t>Export VM configuration </a:t>
            </a:r>
            <a:r>
              <a:rPr lang="en-US" smtClean="0"/>
              <a:t>in Classic</a:t>
            </a:r>
            <a:endParaRPr lang="en-US" dirty="0" smtClean="0"/>
          </a:p>
          <a:p>
            <a:pPr marL="0" marR="0" indent="0" algn="l" defTabSz="932623" rtl="0" eaLnBrk="1" fontAlgn="auto" latinLnBrk="0" hangingPunct="1">
              <a:lnSpc>
                <a:spcPct val="90000"/>
              </a:lnSpc>
              <a:spcBef>
                <a:spcPts val="0"/>
              </a:spcBef>
              <a:spcAft>
                <a:spcPts val="340"/>
              </a:spcAft>
              <a:buClrTx/>
              <a:buSzTx/>
              <a:buFontTx/>
              <a:buNone/>
              <a:tabLst/>
              <a:defRPr/>
            </a:pPr>
            <a:endParaRPr lang="en-US" dirty="0" smtClean="0"/>
          </a:p>
          <a:p>
            <a:pPr marL="0" marR="0" lvl="0" indent="0" algn="l" defTabSz="932623" rtl="0" eaLnBrk="1" fontAlgn="auto" latinLnBrk="0" hangingPunct="1">
              <a:lnSpc>
                <a:spcPct val="90000"/>
              </a:lnSpc>
              <a:spcBef>
                <a:spcPts val="0"/>
              </a:spcBef>
              <a:spcAft>
                <a:spcPts val="340"/>
              </a:spcAft>
              <a:buClrTx/>
              <a:buSzTx/>
              <a:buFontTx/>
              <a:buNone/>
              <a:tabLst/>
              <a:defRPr/>
            </a:pPr>
            <a:r>
              <a:rPr lang="en-IN" dirty="0" smtClean="0"/>
              <a:t> </a:t>
            </a:r>
            <a:r>
              <a:rPr lang="en-IN" sz="1200" kern="1200" dirty="0" smtClean="0">
                <a:solidFill>
                  <a:schemeClr val="tx1"/>
                </a:solidFill>
                <a:latin typeface="+mn-lt"/>
                <a:ea typeface="+mn-ea"/>
                <a:cs typeface="+mn-cs"/>
              </a:rPr>
              <a:t>Export-</a:t>
            </a:r>
            <a:r>
              <a:rPr lang="en-IN" sz="1200" kern="1200" dirty="0" err="1" smtClean="0">
                <a:solidFill>
                  <a:schemeClr val="tx1"/>
                </a:solidFill>
                <a:latin typeface="+mn-lt"/>
                <a:ea typeface="+mn-ea"/>
                <a:cs typeface="+mn-cs"/>
              </a:rPr>
              <a:t>AzureVM</a:t>
            </a:r>
            <a:r>
              <a:rPr lang="en-IN" sz="1200" kern="1200" dirty="0" smtClean="0">
                <a:solidFill>
                  <a:schemeClr val="tx1"/>
                </a:solidFill>
                <a:latin typeface="+mn-lt"/>
                <a:ea typeface="+mn-ea"/>
                <a:cs typeface="+mn-cs"/>
              </a:rPr>
              <a:t> -</a:t>
            </a:r>
            <a:r>
              <a:rPr lang="en-IN" sz="1200" kern="1200" dirty="0" err="1" smtClean="0">
                <a:solidFill>
                  <a:schemeClr val="tx1"/>
                </a:solidFill>
                <a:latin typeface="+mn-lt"/>
                <a:ea typeface="+mn-ea"/>
                <a:cs typeface="+mn-cs"/>
              </a:rPr>
              <a:t>ServiceName</a:t>
            </a:r>
            <a:r>
              <a:rPr lang="en-IN" sz="1200" kern="1200" dirty="0" smtClean="0">
                <a:solidFill>
                  <a:schemeClr val="tx1"/>
                </a:solidFill>
                <a:latin typeface="+mn-lt"/>
                <a:ea typeface="+mn-ea"/>
                <a:cs typeface="+mn-cs"/>
              </a:rPr>
              <a:t> &lt;</a:t>
            </a:r>
            <a:r>
              <a:rPr lang="en-IN" sz="1200" kern="1200" dirty="0" err="1" smtClean="0">
                <a:solidFill>
                  <a:schemeClr val="tx1"/>
                </a:solidFill>
                <a:latin typeface="+mn-lt"/>
                <a:ea typeface="+mn-ea"/>
                <a:cs typeface="+mn-cs"/>
              </a:rPr>
              <a:t>ServiceName</a:t>
            </a:r>
            <a:r>
              <a:rPr lang="en-IN" sz="1200" kern="1200" dirty="0" smtClean="0">
                <a:solidFill>
                  <a:schemeClr val="tx1"/>
                </a:solidFill>
                <a:latin typeface="+mn-lt"/>
                <a:ea typeface="+mn-ea"/>
                <a:cs typeface="+mn-cs"/>
              </a:rPr>
              <a:t>&gt; -Name &lt;</a:t>
            </a:r>
            <a:r>
              <a:rPr lang="en-IN" sz="1200" kern="1200" dirty="0" err="1" smtClean="0">
                <a:solidFill>
                  <a:schemeClr val="tx1"/>
                </a:solidFill>
                <a:latin typeface="+mn-lt"/>
                <a:ea typeface="+mn-ea"/>
                <a:cs typeface="+mn-cs"/>
              </a:rPr>
              <a:t>Server</a:t>
            </a:r>
            <a:r>
              <a:rPr lang="en-IN" sz="1200" kern="1200" baseline="0" dirty="0" err="1" smtClean="0">
                <a:solidFill>
                  <a:schemeClr val="tx1"/>
                </a:solidFill>
                <a:latin typeface="+mn-lt"/>
                <a:ea typeface="+mn-ea"/>
                <a:cs typeface="+mn-cs"/>
              </a:rPr>
              <a:t>Name</a:t>
            </a:r>
            <a:r>
              <a:rPr lang="en-IN" sz="1200" kern="1200" dirty="0" smtClean="0">
                <a:solidFill>
                  <a:schemeClr val="tx1"/>
                </a:solidFill>
                <a:latin typeface="+mn-lt"/>
                <a:ea typeface="+mn-ea"/>
                <a:cs typeface="+mn-cs"/>
              </a:rPr>
              <a:t>&gt; -Path C:\Users\“Prakash PC"\Desktop\xyz.xml </a:t>
            </a:r>
          </a:p>
          <a:p>
            <a:pPr marL="0" marR="0" indent="0" algn="l" defTabSz="932623" rtl="0" eaLnBrk="1" fontAlgn="auto" latinLnBrk="0" hangingPunct="1">
              <a:lnSpc>
                <a:spcPct val="90000"/>
              </a:lnSpc>
              <a:spcBef>
                <a:spcPts val="0"/>
              </a:spcBef>
              <a:spcAft>
                <a:spcPts val="340"/>
              </a:spcAft>
              <a:buClrTx/>
              <a:buSzTx/>
              <a:buFontTx/>
              <a:buNone/>
              <a:tabLst/>
              <a:defRPr/>
            </a:pPr>
            <a:endParaRPr lang="en-US" dirty="0" smtClean="0"/>
          </a:p>
          <a:p>
            <a:pPr marL="0" marR="0" indent="0" algn="l" defTabSz="932623" rtl="0" eaLnBrk="1" fontAlgn="auto" latinLnBrk="0" hangingPunct="1">
              <a:lnSpc>
                <a:spcPct val="90000"/>
              </a:lnSpc>
              <a:spcBef>
                <a:spcPts val="0"/>
              </a:spcBef>
              <a:spcAft>
                <a:spcPts val="340"/>
              </a:spcAft>
              <a:buClrTx/>
              <a:buSzTx/>
              <a:buFontTx/>
              <a:buNone/>
              <a:tabLst/>
              <a:defRPr/>
            </a:pPr>
            <a:endParaRPr lang="en-US" sz="1000" dirty="0" smtClean="0"/>
          </a:p>
          <a:p>
            <a:endParaRPr lang="en-US" dirty="0"/>
          </a:p>
        </p:txBody>
      </p:sp>
      <p:sp>
        <p:nvSpPr>
          <p:cNvPr id="4" name="Header Placeholder 3"/>
          <p:cNvSpPr>
            <a:spLocks noGrp="1"/>
          </p:cNvSpPr>
          <p:nvPr>
            <p:ph type="hdr" sz="quarter" idx="10"/>
          </p:nvPr>
        </p:nvSpPr>
        <p:spPr/>
        <p:txBody>
          <a:bodyPr/>
          <a:lstStyle/>
          <a:p>
            <a:pPr marL="0" marR="0" lvl="0" indent="0" algn="l" defTabSz="93262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23" rtl="0" eaLnBrk="1" fontAlgn="auto" latinLnBrk="0" hangingPunct="1">
              <a:lnSpc>
                <a:spcPct val="100000"/>
              </a:lnSpc>
              <a:spcBef>
                <a:spcPts val="0"/>
              </a:spcBef>
              <a:spcAft>
                <a:spcPts val="0"/>
              </a:spcAft>
              <a:buClrTx/>
              <a:buSzTx/>
              <a:buFontTx/>
              <a:buNone/>
              <a:tabLst/>
              <a:defRPr/>
            </a:pPr>
            <a:fld id="{95908D18-C59F-4937-A19B-E45B562F69AF}"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623" rtl="0" eaLnBrk="1" fontAlgn="auto" latinLnBrk="0" hangingPunct="1">
                <a:lnSpc>
                  <a:spcPct val="100000"/>
                </a:lnSpc>
                <a:spcBef>
                  <a:spcPts val="0"/>
                </a:spcBef>
                <a:spcAft>
                  <a:spcPts val="0"/>
                </a:spcAft>
                <a:buClrTx/>
                <a:buSzTx/>
                <a:buFontTx/>
                <a:buNone/>
                <a:tabLst/>
                <a:defRPr/>
              </a:pPr>
              <a:t>1/20/20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2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623"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662745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3</a:t>
            </a:fld>
            <a:endParaRPr lang="en-US"/>
          </a:p>
        </p:txBody>
      </p:sp>
    </p:spTree>
    <p:extLst>
      <p:ext uri="{BB962C8B-B14F-4D97-AF65-F5344CB8AC3E}">
        <p14:creationId xmlns:p14="http://schemas.microsoft.com/office/powerpoint/2010/main" val="31900508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smtClean="0"/>
          </a:p>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36</a:t>
            </a:fld>
            <a:endParaRPr lang="en-US"/>
          </a:p>
        </p:txBody>
      </p:sp>
    </p:spTree>
    <p:extLst>
      <p:ext uri="{BB962C8B-B14F-4D97-AF65-F5344CB8AC3E}">
        <p14:creationId xmlns:p14="http://schemas.microsoft.com/office/powerpoint/2010/main" val="1248938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err="1" smtClean="0">
                <a:solidFill>
                  <a:schemeClr val="tx1"/>
                </a:solidFill>
                <a:effectLst/>
                <a:latin typeface="+mn-lt"/>
                <a:ea typeface="+mn-ea"/>
                <a:cs typeface="+mn-cs"/>
              </a:rPr>
              <a:t>Microsoft.KeyVault</a:t>
            </a:r>
            <a:r>
              <a:rPr lang="en-IN" sz="1200" b="1" i="0" kern="1200" dirty="0" smtClean="0">
                <a:solidFill>
                  <a:schemeClr val="tx1"/>
                </a:solidFill>
                <a:effectLst/>
                <a:latin typeface="+mn-lt"/>
                <a:ea typeface="+mn-ea"/>
                <a:cs typeface="+mn-cs"/>
              </a:rPr>
              <a:t>/vaults: </a:t>
            </a:r>
            <a:r>
              <a:rPr lang="en-IN" sz="1200" b="0" i="0" kern="1200" dirty="0" smtClean="0">
                <a:solidFill>
                  <a:schemeClr val="tx1"/>
                </a:solidFill>
                <a:effectLst/>
                <a:latin typeface="+mn-lt"/>
                <a:ea typeface="+mn-ea"/>
                <a:cs typeface="+mn-cs"/>
              </a:rPr>
              <a:t>This resource provider offers a resource type called </a:t>
            </a:r>
            <a:r>
              <a:rPr lang="en-IN" sz="1200" b="1" i="0" kern="1200" dirty="0" smtClean="0">
                <a:solidFill>
                  <a:schemeClr val="tx1"/>
                </a:solidFill>
                <a:effectLst/>
                <a:latin typeface="+mn-lt"/>
                <a:ea typeface="+mn-ea"/>
                <a:cs typeface="+mn-cs"/>
              </a:rPr>
              <a:t>vaults</a:t>
            </a:r>
            <a:r>
              <a:rPr lang="en-IN" sz="1200" b="0" i="0" kern="1200" dirty="0" smtClean="0">
                <a:solidFill>
                  <a:schemeClr val="tx1"/>
                </a:solidFill>
                <a:effectLst/>
                <a:latin typeface="+mn-lt"/>
                <a:ea typeface="+mn-ea"/>
                <a:cs typeface="+mn-cs"/>
              </a:rPr>
              <a:t> for creating the key vault.</a:t>
            </a:r>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37</a:t>
            </a:fld>
            <a:endParaRPr lang="en-US"/>
          </a:p>
        </p:txBody>
      </p:sp>
    </p:spTree>
    <p:extLst>
      <p:ext uri="{BB962C8B-B14F-4D97-AF65-F5344CB8AC3E}">
        <p14:creationId xmlns:p14="http://schemas.microsoft.com/office/powerpoint/2010/main" val="16368811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b="1" dirty="0" smtClean="0"/>
              <a:t>Title</a:t>
            </a:r>
            <a:r>
              <a:rPr lang="en-US" dirty="0" smtClean="0"/>
              <a:t>: Resource Groups</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882112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b="1" dirty="0" smtClean="0"/>
              <a:t>Title</a:t>
            </a:r>
            <a:r>
              <a:rPr lang="en-US" dirty="0" smtClean="0"/>
              <a:t>: Coupling for resources</a:t>
            </a:r>
          </a:p>
          <a:p>
            <a:endParaRPr lang="en-US" dirty="0" smtClean="0"/>
          </a:p>
          <a:p>
            <a:r>
              <a:rPr lang="en-US" dirty="0" err="1" smtClean="0"/>
              <a:t>Meteting</a:t>
            </a:r>
            <a:r>
              <a:rPr lang="en-US" dirty="0" smtClean="0"/>
              <a:t>:</a:t>
            </a:r>
            <a:r>
              <a:rPr lang="en-IN" sz="1200" b="0" i="0" kern="1200" dirty="0" smtClean="0">
                <a:solidFill>
                  <a:schemeClr val="tx1"/>
                </a:solidFill>
                <a:effectLst/>
                <a:latin typeface="+mn-lt"/>
                <a:ea typeface="+mn-ea"/>
                <a:cs typeface="+mn-cs"/>
              </a:rPr>
              <a:t>Represents a usage event for plans</a:t>
            </a:r>
          </a:p>
          <a:p>
            <a:pPr fontAlgn="t"/>
            <a:r>
              <a:rPr lang="en-IN" sz="1200" kern="1200" dirty="0" err="1" smtClean="0">
                <a:solidFill>
                  <a:schemeClr val="tx1"/>
                </a:solidFill>
                <a:effectLst/>
                <a:latin typeface="+mn-lt"/>
                <a:ea typeface="+mn-ea"/>
                <a:cs typeface="+mn-cs"/>
              </a:rPr>
              <a:t>EventId</a:t>
            </a:r>
            <a:r>
              <a:rPr lang="en-IN" sz="1200" kern="1200" dirty="0" smtClean="0">
                <a:solidFill>
                  <a:schemeClr val="tx1"/>
                </a:solidFill>
                <a:effectLst/>
                <a:latin typeface="+mn-lt"/>
                <a:ea typeface="+mn-ea"/>
                <a:cs typeface="+mn-cs"/>
              </a:rPr>
              <a:t>	The event identifier of the record.</a:t>
            </a:r>
          </a:p>
          <a:p>
            <a:pPr fontAlgn="t"/>
            <a:r>
              <a:rPr lang="en-IN" sz="1200" kern="1200" dirty="0" smtClean="0">
                <a:solidFill>
                  <a:schemeClr val="tx1"/>
                </a:solidFill>
                <a:effectLst/>
                <a:latin typeface="+mn-lt"/>
                <a:ea typeface="+mn-ea"/>
                <a:cs typeface="+mn-cs"/>
              </a:rPr>
              <a:t>State	The State of the event. Possible values are:</a:t>
            </a:r>
          </a:p>
          <a:p>
            <a:pPr fontAlgn="t"/>
            <a:r>
              <a:rPr lang="en-IN" sz="1200" kern="1200" dirty="0" smtClean="0">
                <a:solidFill>
                  <a:schemeClr val="tx1"/>
                </a:solidFill>
                <a:effectLst/>
                <a:latin typeface="+mn-lt"/>
                <a:ea typeface="+mn-ea"/>
                <a:cs typeface="+mn-cs"/>
              </a:rPr>
              <a:t>	Value	Description</a:t>
            </a:r>
          </a:p>
          <a:p>
            <a:pPr fontAlgn="t"/>
            <a:r>
              <a:rPr lang="en-IN" sz="1200" kern="1200" dirty="0" smtClean="0">
                <a:solidFill>
                  <a:schemeClr val="tx1"/>
                </a:solidFill>
                <a:effectLst/>
                <a:latin typeface="+mn-lt"/>
                <a:ea typeface="+mn-ea"/>
                <a:cs typeface="+mn-cs"/>
              </a:rPr>
              <a:t>	0	Acknowledged</a:t>
            </a:r>
          </a:p>
          <a:p>
            <a:pPr fontAlgn="t"/>
            <a:r>
              <a:rPr lang="en-IN" sz="1200" kern="1200" dirty="0" smtClean="0">
                <a:solidFill>
                  <a:schemeClr val="tx1"/>
                </a:solidFill>
                <a:effectLst/>
                <a:latin typeface="+mn-lt"/>
                <a:ea typeface="+mn-ea"/>
                <a:cs typeface="+mn-cs"/>
              </a:rPr>
              <a:t>	1	Rejected</a:t>
            </a:r>
          </a:p>
          <a:p>
            <a:pPr fontAlgn="t"/>
            <a:r>
              <a:rPr lang="en-IN" sz="1200" kern="1200" dirty="0" smtClean="0">
                <a:solidFill>
                  <a:schemeClr val="tx1"/>
                </a:solidFill>
                <a:effectLst/>
                <a:latin typeface="+mn-lt"/>
                <a:ea typeface="+mn-ea"/>
                <a:cs typeface="+mn-cs"/>
              </a:rPr>
              <a:t>	2	Pending Approval</a:t>
            </a:r>
          </a:p>
          <a:p>
            <a:pPr fontAlgn="t"/>
            <a:r>
              <a:rPr lang="en-IN" sz="1200" kern="1200" dirty="0" smtClean="0">
                <a:solidFill>
                  <a:schemeClr val="tx1"/>
                </a:solidFill>
                <a:effectLst/>
                <a:latin typeface="+mn-lt"/>
                <a:ea typeface="+mn-ea"/>
                <a:cs typeface="+mn-cs"/>
              </a:rPr>
              <a:t>	3	Approved</a:t>
            </a:r>
          </a:p>
          <a:p>
            <a:pPr fontAlgn="t"/>
            <a:r>
              <a:rPr lang="en-IN" sz="1200" kern="1200" dirty="0" smtClean="0">
                <a:solidFill>
                  <a:schemeClr val="tx1"/>
                </a:solidFill>
                <a:effectLst/>
                <a:latin typeface="+mn-lt"/>
                <a:ea typeface="+mn-ea"/>
                <a:cs typeface="+mn-cs"/>
              </a:rPr>
              <a:t>Method:</a:t>
            </a:r>
            <a:r>
              <a:rPr lang="en-IN" sz="1200" kern="1200" baseline="0" dirty="0" smtClean="0">
                <a:solidFill>
                  <a:schemeClr val="tx1"/>
                </a:solidFill>
                <a:effectLst/>
                <a:latin typeface="+mn-lt"/>
                <a:ea typeface="+mn-ea"/>
                <a:cs typeface="+mn-cs"/>
              </a:rPr>
              <a:t> </a:t>
            </a:r>
            <a:r>
              <a:rPr lang="en-IN" sz="1200" kern="1200" dirty="0" smtClean="0">
                <a:solidFill>
                  <a:schemeClr val="tx1"/>
                </a:solidFill>
                <a:effectLst/>
                <a:latin typeface="+mn-lt"/>
                <a:ea typeface="+mn-ea"/>
                <a:cs typeface="+mn-cs"/>
              </a:rPr>
              <a:t>The HTTP method that was performed on the entity. Possible methods are Post, Put, Patch, and Delete. In a Patch call, only the updated properties are populated in the entity.</a:t>
            </a:r>
          </a:p>
          <a:p>
            <a:pPr fontAlgn="t"/>
            <a:r>
              <a:rPr lang="en-IN" sz="1200" kern="1200" dirty="0" smtClean="0">
                <a:solidFill>
                  <a:schemeClr val="tx1"/>
                </a:solidFill>
                <a:effectLst/>
                <a:latin typeface="+mn-lt"/>
                <a:ea typeface="+mn-ea"/>
                <a:cs typeface="+mn-cs"/>
              </a:rPr>
              <a:t>Entity: The object instance. The object instance type is determined by the REST call that retrieved the entity.</a:t>
            </a:r>
          </a:p>
          <a:p>
            <a:pPr fontAlgn="t"/>
            <a:r>
              <a:rPr lang="en-IN" sz="1200" kern="1200" dirty="0" err="1" smtClean="0">
                <a:solidFill>
                  <a:schemeClr val="tx1"/>
                </a:solidFill>
                <a:effectLst/>
                <a:latin typeface="+mn-lt"/>
                <a:ea typeface="+mn-ea"/>
                <a:cs typeface="+mn-cs"/>
              </a:rPr>
              <a:t>EntityParentId</a:t>
            </a:r>
            <a:r>
              <a:rPr lang="en-IN" sz="1200" kern="1200" dirty="0" smtClean="0">
                <a:solidFill>
                  <a:schemeClr val="tx1"/>
                </a:solidFill>
                <a:effectLst/>
                <a:latin typeface="+mn-lt"/>
                <a:ea typeface="+mn-ea"/>
                <a:cs typeface="+mn-cs"/>
              </a:rPr>
              <a:t>: The parent entity identifier.</a:t>
            </a:r>
          </a:p>
          <a:p>
            <a:pPr fontAlgn="t"/>
            <a:r>
              <a:rPr lang="en-IN" sz="1200" kern="1200" dirty="0" err="1" smtClean="0">
                <a:solidFill>
                  <a:schemeClr val="tx1"/>
                </a:solidFill>
                <a:effectLst/>
                <a:latin typeface="+mn-lt"/>
                <a:ea typeface="+mn-ea"/>
                <a:cs typeface="+mn-cs"/>
              </a:rPr>
              <a:t>NotificationEventTimeCreated</a:t>
            </a:r>
            <a:r>
              <a:rPr lang="en-IN" sz="1200" kern="1200" dirty="0" smtClean="0">
                <a:solidFill>
                  <a:schemeClr val="tx1"/>
                </a:solidFill>
                <a:effectLst/>
                <a:latin typeface="+mn-lt"/>
                <a:ea typeface="+mn-ea"/>
                <a:cs typeface="+mn-cs"/>
              </a:rPr>
              <a:t>: The time of the notification event.</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14816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b="1" dirty="0" smtClean="0"/>
              <a:t>Title</a:t>
            </a:r>
            <a:r>
              <a:rPr lang="en-US" dirty="0" smtClean="0"/>
              <a:t>: Resource Group: management container</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27235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b="1" dirty="0" smtClean="0"/>
              <a:t>Title</a:t>
            </a:r>
            <a:r>
              <a:rPr lang="en-US" dirty="0" smtClean="0"/>
              <a:t>: Resource Group lifecycle</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065413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Title</a:t>
            </a:r>
            <a:r>
              <a:rPr lang="en-US" dirty="0" smtClean="0"/>
              <a:t>: Resource characteristics</a:t>
            </a:r>
            <a:endParaRPr lang="en-US" dirty="0"/>
          </a:p>
        </p:txBody>
      </p:sp>
      <p:sp>
        <p:nvSpPr>
          <p:cNvPr id="4" name="Header Placeholder 3"/>
          <p:cNvSpPr>
            <a:spLocks noGrp="1"/>
          </p:cNvSpPr>
          <p:nvPr>
            <p:ph type="hdr" sz="quarter" idx="10"/>
          </p:nvPr>
        </p:nvSpPr>
        <p:spPr/>
        <p:txBody>
          <a:bodyPr/>
          <a:lstStyle/>
          <a:p>
            <a:r>
              <a:rPr lang="en-US" smtClean="0"/>
              <a:t>SMSG Read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pPr/>
              <a:t>1/20/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30338742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Title</a:t>
            </a:r>
            <a:r>
              <a:rPr lang="en-US" dirty="0" smtClean="0"/>
              <a:t>: Resource Group characteristics</a:t>
            </a:r>
            <a:endParaRPr lang="en-US" dirty="0"/>
          </a:p>
        </p:txBody>
      </p:sp>
      <p:sp>
        <p:nvSpPr>
          <p:cNvPr id="4" name="Header Placeholder 3"/>
          <p:cNvSpPr>
            <a:spLocks noGrp="1"/>
          </p:cNvSpPr>
          <p:nvPr>
            <p:ph type="hdr" sz="quarter" idx="10"/>
          </p:nvPr>
        </p:nvSpPr>
        <p:spPr/>
        <p:txBody>
          <a:bodyPr/>
          <a:lstStyle/>
          <a:p>
            <a:r>
              <a:rPr lang="en-US" smtClean="0"/>
              <a:t>SMSG Read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pPr/>
              <a:t>1/20/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29872588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 </a:t>
            </a:r>
          </a:p>
        </p:txBody>
      </p:sp>
      <p:sp>
        <p:nvSpPr>
          <p:cNvPr id="4" name="Slide Number Placeholder 3"/>
          <p:cNvSpPr>
            <a:spLocks noGrp="1"/>
          </p:cNvSpPr>
          <p:nvPr>
            <p:ph type="sldNum" sz="quarter" idx="10"/>
          </p:nvPr>
        </p:nvSpPr>
        <p:spPr/>
        <p:txBody>
          <a:bodyPr/>
          <a:lstStyle/>
          <a:p>
            <a:fld id="{CCB1A83D-93DD-4A9D-9575-C32E257C58DD}" type="slidenum">
              <a:rPr lang="en-US" smtClean="0"/>
              <a:pPr/>
              <a:t>46</a:t>
            </a:fld>
            <a:endParaRPr lang="en-US" dirty="0"/>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latin typeface="Arial"/>
              </a:rPr>
              <a:t>10979C</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336699"/>
                </a:solidFill>
                <a:latin typeface="Arial"/>
              </a:rPr>
              <a:t>2: Microsoft Azure management tools</a:t>
            </a:r>
          </a:p>
        </p:txBody>
      </p:sp>
    </p:spTree>
    <p:extLst>
      <p:ext uri="{BB962C8B-B14F-4D97-AF65-F5344CB8AC3E}">
        <p14:creationId xmlns:p14="http://schemas.microsoft.com/office/powerpoint/2010/main" val="20211412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 </a:t>
            </a:r>
          </a:p>
        </p:txBody>
      </p:sp>
      <p:sp>
        <p:nvSpPr>
          <p:cNvPr id="4" name="Slide Number Placeholder 3"/>
          <p:cNvSpPr>
            <a:spLocks noGrp="1"/>
          </p:cNvSpPr>
          <p:nvPr>
            <p:ph type="sldNum" sz="quarter" idx="10"/>
          </p:nvPr>
        </p:nvSpPr>
        <p:spPr/>
        <p:txBody>
          <a:bodyPr/>
          <a:lstStyle/>
          <a:p>
            <a:fld id="{CCB1A83D-93DD-4A9D-9575-C32E257C58DD}" type="slidenum">
              <a:rPr lang="en-US" smtClean="0"/>
              <a:pPr/>
              <a:t>47</a:t>
            </a:fld>
            <a:endParaRPr lang="en-US" dirty="0"/>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latin typeface="Arial"/>
              </a:rPr>
              <a:t>10979C</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336699"/>
                </a:solidFill>
                <a:latin typeface="Arial"/>
              </a:rPr>
              <a:t>2: Microsoft Azure management tools</a:t>
            </a:r>
          </a:p>
        </p:txBody>
      </p:sp>
    </p:spTree>
    <p:extLst>
      <p:ext uri="{BB962C8B-B14F-4D97-AF65-F5344CB8AC3E}">
        <p14:creationId xmlns:p14="http://schemas.microsoft.com/office/powerpoint/2010/main" val="6933479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5</a:t>
            </a:fld>
            <a:endParaRPr lang="en-US"/>
          </a:p>
        </p:txBody>
      </p:sp>
    </p:spTree>
    <p:extLst>
      <p:ext uri="{BB962C8B-B14F-4D97-AF65-F5344CB8AC3E}">
        <p14:creationId xmlns:p14="http://schemas.microsoft.com/office/powerpoint/2010/main" val="39990791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 </a:t>
            </a:r>
          </a:p>
        </p:txBody>
      </p:sp>
      <p:sp>
        <p:nvSpPr>
          <p:cNvPr id="4" name="Slide Number Placeholder 3"/>
          <p:cNvSpPr>
            <a:spLocks noGrp="1"/>
          </p:cNvSpPr>
          <p:nvPr>
            <p:ph type="sldNum" sz="quarter" idx="10"/>
          </p:nvPr>
        </p:nvSpPr>
        <p:spPr/>
        <p:txBody>
          <a:bodyPr/>
          <a:lstStyle/>
          <a:p>
            <a:fld id="{CCB1A83D-93DD-4A9D-9575-C32E257C58DD}" type="slidenum">
              <a:rPr lang="en-US" smtClean="0"/>
              <a:pPr/>
              <a:t>48</a:t>
            </a:fld>
            <a:endParaRPr lang="en-US" dirty="0"/>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latin typeface="Arial"/>
              </a:rPr>
              <a:t>10979C</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336699"/>
                </a:solidFill>
                <a:latin typeface="Arial"/>
              </a:rPr>
              <a:t>2: Microsoft Azure management tools</a:t>
            </a:r>
          </a:p>
        </p:txBody>
      </p:sp>
    </p:spTree>
    <p:extLst>
      <p:ext uri="{BB962C8B-B14F-4D97-AF65-F5344CB8AC3E}">
        <p14:creationId xmlns:p14="http://schemas.microsoft.com/office/powerpoint/2010/main" val="30477943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15000"/>
              </a:lnSpc>
            </a:pPr>
            <a:r>
              <a:rPr lang="en-US" sz="1000" dirty="0">
                <a:latin typeface="Arial"/>
                <a:ea typeface="Calibri"/>
                <a:cs typeface="Times New Roman"/>
              </a:rPr>
              <a:t>Explain the main benefits of deploying VMs in Azure. Discuss some common scenarios. In addition, explain the differences between on-premises Microsoft Hyper-V VMs and VMs in Azure. Lastly, mention the method of calculating Azure VM charges.</a:t>
            </a:r>
          </a:p>
          <a:p>
            <a:pPr>
              <a:lnSpc>
                <a:spcPct val="115000"/>
              </a:lnSpc>
              <a:spcBef>
                <a:spcPts val="600"/>
              </a:spcBef>
            </a:pPr>
            <a:r>
              <a:rPr lang="en-US" sz="1000" dirty="0">
                <a:latin typeface="Arial"/>
                <a:ea typeface="Calibri"/>
                <a:cs typeface="Times New Roman"/>
              </a:rPr>
              <a:t>There are additional slides for this topic.</a:t>
            </a:r>
          </a:p>
        </p:txBody>
      </p:sp>
      <p:sp>
        <p:nvSpPr>
          <p:cNvPr id="4" name="Slide Number Placeholder 3"/>
          <p:cNvSpPr>
            <a:spLocks noGrp="1"/>
          </p:cNvSpPr>
          <p:nvPr>
            <p:ph type="sldNum" sz="quarter" idx="10"/>
          </p:nvPr>
        </p:nvSpPr>
        <p:spPr/>
        <p:txBody>
          <a:bodyPr/>
          <a:lstStyle/>
          <a:p>
            <a:fld id="{4627A52F-1DE4-46C8-B96A-A55BE5398492}" type="slidenum">
              <a:rPr lang="en-US" smtClean="0"/>
              <a:pPr/>
              <a:t>50</a:t>
            </a:fld>
            <a:endParaRPr lang="en-US" dirty="0"/>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latin typeface="Arial"/>
              </a:rPr>
              <a:t>10979C</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336699"/>
                </a:solidFill>
                <a:latin typeface="Arial"/>
              </a:rPr>
              <a:t>3: Virtual machines in Microsoft Azure</a:t>
            </a:r>
          </a:p>
        </p:txBody>
      </p:sp>
    </p:spTree>
    <p:extLst>
      <p:ext uri="{BB962C8B-B14F-4D97-AF65-F5344CB8AC3E}">
        <p14:creationId xmlns:p14="http://schemas.microsoft.com/office/powerpoint/2010/main" val="80248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 </a:t>
            </a:r>
          </a:p>
        </p:txBody>
      </p:sp>
      <p:sp>
        <p:nvSpPr>
          <p:cNvPr id="4" name="Slide Number Placeholder 3"/>
          <p:cNvSpPr>
            <a:spLocks noGrp="1"/>
          </p:cNvSpPr>
          <p:nvPr>
            <p:ph type="sldNum" sz="quarter" idx="10"/>
          </p:nvPr>
        </p:nvSpPr>
        <p:spPr/>
        <p:txBody>
          <a:bodyPr/>
          <a:lstStyle/>
          <a:p>
            <a:fld id="{4627A52F-1DE4-46C8-B96A-A55BE5398492}" type="slidenum">
              <a:rPr lang="en-US" smtClean="0"/>
              <a:pPr/>
              <a:t>51</a:t>
            </a:fld>
            <a:endParaRPr lang="en-US" dirty="0"/>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latin typeface="Arial"/>
              </a:rPr>
              <a:t>10979C</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336699"/>
                </a:solidFill>
                <a:latin typeface="Arial"/>
              </a:rPr>
              <a:t>3: Virtual machines in Microsoft Azure</a:t>
            </a:r>
          </a:p>
        </p:txBody>
      </p:sp>
    </p:spTree>
    <p:extLst>
      <p:ext uri="{BB962C8B-B14F-4D97-AF65-F5344CB8AC3E}">
        <p14:creationId xmlns:p14="http://schemas.microsoft.com/office/powerpoint/2010/main" val="37017987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 </a:t>
            </a:r>
          </a:p>
        </p:txBody>
      </p:sp>
      <p:sp>
        <p:nvSpPr>
          <p:cNvPr id="4" name="Slide Number Placeholder 3"/>
          <p:cNvSpPr>
            <a:spLocks noGrp="1"/>
          </p:cNvSpPr>
          <p:nvPr>
            <p:ph type="sldNum" sz="quarter" idx="10"/>
          </p:nvPr>
        </p:nvSpPr>
        <p:spPr/>
        <p:txBody>
          <a:bodyPr/>
          <a:lstStyle/>
          <a:p>
            <a:fld id="{4627A52F-1DE4-46C8-B96A-A55BE5398492}" type="slidenum">
              <a:rPr lang="en-US" smtClean="0"/>
              <a:pPr/>
              <a:t>53</a:t>
            </a:fld>
            <a:endParaRPr lang="en-US" dirty="0"/>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latin typeface="Arial"/>
              </a:rPr>
              <a:t>10979C</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336699"/>
                </a:solidFill>
                <a:latin typeface="Arial"/>
              </a:rPr>
              <a:t>3: Virtual machines in Microsoft Azure</a:t>
            </a:r>
          </a:p>
        </p:txBody>
      </p:sp>
    </p:spTree>
    <p:extLst>
      <p:ext uri="{BB962C8B-B14F-4D97-AF65-F5344CB8AC3E}">
        <p14:creationId xmlns:p14="http://schemas.microsoft.com/office/powerpoint/2010/main" val="25730922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54</a:t>
            </a:fld>
            <a:endParaRPr lang="en-US"/>
          </a:p>
        </p:txBody>
      </p:sp>
      <p:sp>
        <p:nvSpPr>
          <p:cNvPr id="3" name="Slide Image Placeholder 2"/>
          <p:cNvSpPr>
            <a:spLocks noGrp="1" noRot="1" noChangeAspect="1"/>
          </p:cNvSpPr>
          <p:nvPr>
            <p:ph type="sldImg"/>
          </p:nvPr>
        </p:nvSpPr>
        <p:spPr>
          <a:xfrm>
            <a:off x="384175" y="484188"/>
            <a:ext cx="6096000" cy="3429000"/>
          </a:xfrm>
        </p:spPr>
      </p:sp>
      <p:sp>
        <p:nvSpPr>
          <p:cNvPr id="5" name="Notes Placeholder 4"/>
          <p:cNvSpPr>
            <a:spLocks noGrp="1"/>
          </p:cNvSpPr>
          <p:nvPr>
            <p:ph type="body" idx="1"/>
          </p:nvPr>
        </p:nvSpPr>
        <p:spPr/>
        <p:txBody>
          <a:bodyPr/>
          <a:lstStyle/>
          <a:p>
            <a:pPr marL="0" indent="0">
              <a:buNone/>
            </a:pPr>
            <a:r>
              <a:rPr lang="en-US" b="1" dirty="0"/>
              <a:t>Slide Objective</a:t>
            </a:r>
            <a:endParaRPr lang="en-US" dirty="0"/>
          </a:p>
          <a:p>
            <a:pPr marL="0" indent="0">
              <a:buNone/>
            </a:pPr>
            <a:r>
              <a:rPr lang="en-US" dirty="0"/>
              <a:t>Explain the workflow for provisioning VMs in the cloud.</a:t>
            </a:r>
          </a:p>
          <a:p>
            <a:pPr marL="0" indent="0">
              <a:buNone/>
            </a:pPr>
            <a:r>
              <a:rPr lang="en-US" b="1" dirty="0"/>
              <a:t>Notes</a:t>
            </a:r>
            <a:endParaRPr lang="en-US" dirty="0"/>
          </a:p>
          <a:p>
            <a:pPr marL="0" indent="0">
              <a:buNone/>
            </a:pPr>
            <a:r>
              <a:rPr lang="en-US" dirty="0"/>
              <a:t>Cloud First Provisioning means exactly what it says—building a VM in the cloud first.</a:t>
            </a:r>
          </a:p>
          <a:p>
            <a:pPr marL="0" indent="0">
              <a:buNone/>
            </a:pPr>
            <a:r>
              <a:rPr lang="en-US" dirty="0"/>
              <a:t>There are three methods of starting this process. Build a VM from:</a:t>
            </a:r>
          </a:p>
          <a:p>
            <a:pPr lvl="0"/>
            <a:r>
              <a:rPr lang="en-US" dirty="0"/>
              <a:t>The portal</a:t>
            </a:r>
          </a:p>
          <a:p>
            <a:pPr lvl="0"/>
            <a:r>
              <a:rPr lang="en-US" dirty="0"/>
              <a:t>Command line</a:t>
            </a:r>
          </a:p>
          <a:p>
            <a:pPr lvl="0"/>
            <a:r>
              <a:rPr lang="en-US" dirty="0"/>
              <a:t>Programmatically calling the Representational State Transfer Application Programming Interface (REST API)</a:t>
            </a:r>
          </a:p>
          <a:p>
            <a:pPr marL="0" indent="0">
              <a:buNone/>
            </a:pPr>
            <a:r>
              <a:rPr lang="en-US" dirty="0"/>
              <a:t>Once you choose your provisioning method, select the image and instance size to start.</a:t>
            </a:r>
          </a:p>
          <a:p>
            <a:pPr marL="0" indent="0">
              <a:buNone/>
            </a:pPr>
            <a:endParaRPr lang="en-US" dirty="0"/>
          </a:p>
          <a:p>
            <a:pPr marL="0" indent="0">
              <a:buNone/>
            </a:pPr>
            <a:r>
              <a:rPr lang="en-US" dirty="0"/>
              <a:t>ARM - http://blogs.msdn.com/b/scicoria/archive/2015/02/12/azure-resource-manager-creating-an-iaas-vm-within-a-vnet.aspx</a:t>
            </a:r>
          </a:p>
          <a:p>
            <a:pPr marL="0" indent="0">
              <a:buNone/>
            </a:pPr>
            <a:r>
              <a:rPr lang="en-US" dirty="0"/>
              <a:t>The new disk will be stored in blob storage and your machine will boot.</a:t>
            </a:r>
          </a:p>
        </p:txBody>
      </p:sp>
    </p:spTree>
    <p:extLst>
      <p:ext uri="{BB962C8B-B14F-4D97-AF65-F5344CB8AC3E}">
        <p14:creationId xmlns:p14="http://schemas.microsoft.com/office/powerpoint/2010/main" val="370693942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55</a:t>
            </a:fld>
            <a:endParaRPr lang="en-US" dirty="0"/>
          </a:p>
        </p:txBody>
      </p:sp>
      <p:sp>
        <p:nvSpPr>
          <p:cNvPr id="7" name="Notes Placeholder 6"/>
          <p:cNvSpPr>
            <a:spLocks noGrp="1"/>
          </p:cNvSpPr>
          <p:nvPr>
            <p:ph type="body" idx="1"/>
          </p:nvPr>
        </p:nvSpPr>
        <p:spPr/>
        <p:txBody>
          <a:bodyPr/>
          <a:lstStyle/>
          <a:p>
            <a:pPr marL="0" indent="0">
              <a:buNone/>
            </a:pPr>
            <a:r>
              <a:rPr lang="en-US" b="1" dirty="0"/>
              <a:t>http://support.microsoft.com/kb/2721672</a:t>
            </a:r>
          </a:p>
          <a:p>
            <a:pPr marL="0" indent="0">
              <a:buNone/>
            </a:pPr>
            <a:endParaRPr lang="en-US" b="1" dirty="0"/>
          </a:p>
          <a:p>
            <a:pPr marL="0" indent="0">
              <a:buNone/>
            </a:pPr>
            <a:r>
              <a:rPr lang="en-US" b="1" dirty="0"/>
              <a:t>Windows Server</a:t>
            </a:r>
            <a:endParaRPr lang="en-US" dirty="0"/>
          </a:p>
          <a:p>
            <a:pPr marL="0" indent="0">
              <a:buNone/>
            </a:pPr>
            <a:r>
              <a:rPr lang="en-US" dirty="0"/>
              <a:t>Windows Server 2008 R2 </a:t>
            </a:r>
            <a:r>
              <a:rPr lang="en-US" dirty="0">
                <a:solidFill>
                  <a:srgbClr val="FF0000"/>
                </a:solidFill>
              </a:rPr>
              <a:t>and later versions </a:t>
            </a:r>
            <a:r>
              <a:rPr lang="en-US" dirty="0"/>
              <a:t>are supported for the following roles:</a:t>
            </a:r>
          </a:p>
          <a:p>
            <a:pPr lvl="0"/>
            <a:r>
              <a:rPr lang="en-US" dirty="0"/>
              <a:t>AD Domain Services</a:t>
            </a:r>
          </a:p>
          <a:p>
            <a:pPr lvl="0"/>
            <a:r>
              <a:rPr lang="en-US" dirty="0"/>
              <a:t>AD Federation Services</a:t>
            </a:r>
          </a:p>
          <a:p>
            <a:pPr lvl="0"/>
            <a:r>
              <a:rPr lang="en-US" dirty="0"/>
              <a:t>AD Lightweight Directory Services</a:t>
            </a:r>
          </a:p>
          <a:p>
            <a:pPr lvl="0"/>
            <a:r>
              <a:rPr lang="en-US" dirty="0"/>
              <a:t>Application Server</a:t>
            </a:r>
          </a:p>
          <a:p>
            <a:pPr lvl="0"/>
            <a:r>
              <a:rPr lang="en-US" dirty="0"/>
              <a:t>DNS Server</a:t>
            </a:r>
          </a:p>
          <a:p>
            <a:pPr lvl="0"/>
            <a:r>
              <a:rPr lang="en-US" dirty="0"/>
              <a:t>Fax Server</a:t>
            </a:r>
          </a:p>
          <a:p>
            <a:pPr lvl="0"/>
            <a:r>
              <a:rPr lang="en-US" dirty="0"/>
              <a:t>Network Policy and Access Services</a:t>
            </a:r>
          </a:p>
          <a:p>
            <a:pPr lvl="0"/>
            <a:r>
              <a:rPr lang="en-US" dirty="0"/>
              <a:t>Print and Document Services</a:t>
            </a:r>
          </a:p>
          <a:p>
            <a:pPr lvl="0"/>
            <a:r>
              <a:rPr lang="en-US" dirty="0"/>
              <a:t>Web Server (that is to say., Internet Information Services - IIS)</a:t>
            </a:r>
          </a:p>
          <a:p>
            <a:pPr lvl="0"/>
            <a:r>
              <a:rPr lang="en-US" dirty="0"/>
              <a:t>Windows Deployment Services</a:t>
            </a:r>
          </a:p>
          <a:p>
            <a:pPr lvl="0"/>
            <a:r>
              <a:rPr lang="en-US" dirty="0"/>
              <a:t>Windows Server Update Services</a:t>
            </a:r>
          </a:p>
          <a:p>
            <a:pPr lvl="0"/>
            <a:r>
              <a:rPr lang="en-US" dirty="0"/>
              <a:t>File Services</a:t>
            </a:r>
          </a:p>
        </p:txBody>
      </p:sp>
      <p:sp>
        <p:nvSpPr>
          <p:cNvPr id="5" name="Slide Image Placeholder 4"/>
          <p:cNvSpPr>
            <a:spLocks noGrp="1" noRot="1" noChangeAspect="1"/>
          </p:cNvSpPr>
          <p:nvPr>
            <p:ph type="sldImg"/>
          </p:nvPr>
        </p:nvSpPr>
        <p:spPr>
          <a:xfrm>
            <a:off x="384175" y="484188"/>
            <a:ext cx="6096000" cy="3429000"/>
          </a:xfrm>
        </p:spPr>
      </p:sp>
      <p:sp>
        <p:nvSpPr>
          <p:cNvPr id="6" name="Rectangle 5"/>
          <p:cNvSpPr/>
          <p:nvPr/>
        </p:nvSpPr>
        <p:spPr>
          <a:xfrm>
            <a:off x="6480175" y="3913188"/>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Biju</a:t>
            </a:r>
          </a:p>
          <a:p>
            <a:r>
              <a:rPr lang="en-US" sz="1100" i="1" dirty="0">
                <a:latin typeface="Calibri"/>
              </a:rPr>
              <a:t>08 October 2013
</a:t>
            </a:r>
            <a:r>
              <a:rPr lang="en-US" sz="1100" dirty="0">
                <a:latin typeface="Calibri"/>
              </a:rPr>
              <a:t>Kindly list the versions as MS Style prohibits “or later” expressions.</a:t>
            </a:r>
          </a:p>
        </p:txBody>
      </p:sp>
    </p:spTree>
    <p:extLst>
      <p:ext uri="{BB962C8B-B14F-4D97-AF65-F5344CB8AC3E}">
        <p14:creationId xmlns:p14="http://schemas.microsoft.com/office/powerpoint/2010/main" val="34205160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r>
              <a:rPr lang="en-US" b="1" dirty="0"/>
              <a:t>https://azure.microsoft.com/en-us/documentation/articles/virtual-machines-linux-endorsed-distros/</a:t>
            </a:r>
          </a:p>
          <a:p>
            <a:pPr marL="0" indent="0">
              <a:buNone/>
            </a:pPr>
            <a:endParaRPr lang="en-US" b="1" dirty="0"/>
          </a:p>
          <a:p>
            <a:pPr marL="0" indent="0">
              <a:buNone/>
            </a:pPr>
            <a:r>
              <a:rPr lang="en-US" b="1" dirty="0"/>
              <a:t>The</a:t>
            </a:r>
            <a:r>
              <a:rPr lang="en-US" b="1" baseline="0" dirty="0"/>
              <a:t> list above is not meant to be an exhaustive list. See the link to get a complete list</a:t>
            </a:r>
            <a:endParaRPr lang="en-US" b="1" dirty="0"/>
          </a:p>
          <a:p>
            <a:pPr marL="0" indent="0">
              <a:buNone/>
            </a:pPr>
            <a:r>
              <a:rPr lang="en-US" b="1" dirty="0"/>
              <a:t>Change in</a:t>
            </a:r>
          </a:p>
          <a:p>
            <a:pPr marL="0" indent="0">
              <a:buNone/>
            </a:pPr>
            <a:r>
              <a:rPr lang="en-US" b="0" dirty="0"/>
              <a:t>M 02-IaaS - VirtualMachines.pptx,</a:t>
            </a:r>
            <a:r>
              <a:rPr lang="en-US" b="0" baseline="0" dirty="0"/>
              <a:t> Slide 11</a:t>
            </a:r>
            <a:endParaRPr lang="en-US" b="0" dirty="0"/>
          </a:p>
          <a:p>
            <a:pPr marL="0" indent="0">
              <a:buNone/>
            </a:pPr>
            <a:endParaRPr lang="en-US" b="1" dirty="0"/>
          </a:p>
          <a:p>
            <a:pPr marL="0" indent="0">
              <a:buNone/>
            </a:pPr>
            <a:r>
              <a:rPr lang="en-US" b="1" dirty="0"/>
              <a:t>Slide Objectives</a:t>
            </a:r>
            <a:endParaRPr lang="en-US" sz="1100" dirty="0"/>
          </a:p>
          <a:p>
            <a:pPr marL="0" indent="0">
              <a:buNone/>
            </a:pPr>
            <a:r>
              <a:rPr lang="en-US" dirty="0"/>
              <a:t>Provide an understanding of which distributions of Linux are offered in the Microsoft Azure</a:t>
            </a:r>
          </a:p>
          <a:p>
            <a:pPr marL="0" indent="0">
              <a:buNone/>
            </a:pPr>
            <a:endParaRPr lang="en-US" sz="1100" dirty="0"/>
          </a:p>
          <a:p>
            <a:pPr marL="0" indent="0">
              <a:buNone/>
            </a:pPr>
            <a:r>
              <a:rPr lang="en-US" b="1" dirty="0"/>
              <a:t>Speaker Notes</a:t>
            </a:r>
            <a:endParaRPr lang="en-US" sz="1100" dirty="0"/>
          </a:p>
          <a:p>
            <a:r>
              <a:rPr lang="de-DE" dirty="0"/>
              <a:t>On</a:t>
            </a:r>
            <a:r>
              <a:rPr lang="de-DE" baseline="0" dirty="0"/>
              <a:t> </a:t>
            </a:r>
            <a:r>
              <a:rPr lang="de-DE" baseline="0" dirty="0" err="1"/>
              <a:t>this</a:t>
            </a:r>
            <a:r>
              <a:rPr lang="de-DE" baseline="0" dirty="0"/>
              <a:t> </a:t>
            </a:r>
            <a:r>
              <a:rPr lang="de-DE" baseline="0" dirty="0" err="1"/>
              <a:t>page</a:t>
            </a:r>
            <a:r>
              <a:rPr lang="de-DE" baseline="0" dirty="0"/>
              <a:t> </a:t>
            </a:r>
            <a:r>
              <a:rPr lang="de-DE" baseline="0" dirty="0" err="1"/>
              <a:t>you</a:t>
            </a:r>
            <a:r>
              <a:rPr lang="de-DE" baseline="0" dirty="0"/>
              <a:t> will find </a:t>
            </a:r>
            <a:r>
              <a:rPr lang="de-DE" baseline="0" dirty="0" err="1"/>
              <a:t>the</a:t>
            </a:r>
            <a:r>
              <a:rPr lang="de-DE" baseline="0" dirty="0"/>
              <a:t> </a:t>
            </a:r>
            <a:r>
              <a:rPr lang="de-DE" baseline="0" dirty="0" err="1"/>
              <a:t>details</a:t>
            </a:r>
            <a:r>
              <a:rPr lang="de-DE" baseline="0" dirty="0"/>
              <a:t> </a:t>
            </a:r>
            <a:r>
              <a:rPr lang="de-DE" baseline="0" dirty="0" err="1"/>
              <a:t>about</a:t>
            </a:r>
            <a:r>
              <a:rPr lang="de-DE" dirty="0"/>
              <a:t> </a:t>
            </a:r>
            <a:r>
              <a:rPr lang="de-DE" dirty="0" err="1"/>
              <a:t>the</a:t>
            </a:r>
            <a:r>
              <a:rPr lang="de-DE" dirty="0"/>
              <a:t> </a:t>
            </a:r>
            <a:r>
              <a:rPr lang="de-DE" dirty="0" err="1"/>
              <a:t>support</a:t>
            </a:r>
            <a:r>
              <a:rPr lang="de-DE" dirty="0"/>
              <a:t> </a:t>
            </a:r>
            <a:r>
              <a:rPr lang="de-DE" dirty="0" err="1"/>
              <a:t>we</a:t>
            </a:r>
            <a:r>
              <a:rPr lang="de-DE" dirty="0"/>
              <a:t> </a:t>
            </a:r>
            <a:r>
              <a:rPr lang="de-DE" dirty="0" err="1"/>
              <a:t>provide</a:t>
            </a:r>
            <a:r>
              <a:rPr lang="de-DE" dirty="0"/>
              <a:t> </a:t>
            </a:r>
            <a:r>
              <a:rPr lang="de-DE" dirty="0" err="1"/>
              <a:t>for</a:t>
            </a:r>
            <a:r>
              <a:rPr lang="de-DE" dirty="0"/>
              <a:t> Linux</a:t>
            </a:r>
            <a:r>
              <a:rPr lang="de-DE" baseline="0" dirty="0"/>
              <a:t> </a:t>
            </a:r>
            <a:r>
              <a:rPr lang="de-DE" baseline="0" dirty="0" err="1"/>
              <a:t>images</a:t>
            </a:r>
            <a:r>
              <a:rPr lang="de-DE" baseline="0" dirty="0"/>
              <a:t>: </a:t>
            </a:r>
            <a:endParaRPr lang="de-DE" dirty="0"/>
          </a:p>
          <a:p>
            <a:pPr marL="0" marR="0" indent="0" algn="l" defTabSz="914400" rtl="0" eaLnBrk="1" fontAlgn="auto" latinLnBrk="0" hangingPunct="1">
              <a:lnSpc>
                <a:spcPct val="100000"/>
              </a:lnSpc>
              <a:spcBef>
                <a:spcPts val="0"/>
              </a:spcBef>
              <a:spcAft>
                <a:spcPts val="0"/>
              </a:spcAft>
              <a:buClrTx/>
              <a:buSzTx/>
              <a:buFontTx/>
              <a:buNone/>
              <a:tabLst/>
              <a:defRPr/>
            </a:pPr>
            <a:r>
              <a:rPr lang="fr-FR" sz="1200" b="1" kern="1200" dirty="0">
                <a:solidFill>
                  <a:srgbClr val="FF0000"/>
                </a:solidFill>
                <a:effectLst/>
                <a:latin typeface="+mn-lt"/>
                <a:ea typeface="+mn-ea"/>
                <a:cs typeface="+mn-cs"/>
              </a:rPr>
              <a:t>http://support.microsoft.com/kb/2941892/en-us</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b="1" kern="1200" dirty="0">
                <a:solidFill>
                  <a:srgbClr val="FF0000"/>
                </a:solidFill>
                <a:effectLst/>
                <a:latin typeface="+mn-lt"/>
                <a:ea typeface="+mn-ea"/>
                <a:cs typeface="+mn-cs"/>
              </a:rPr>
              <a:t>http://azure.microsoft.com/en-us/documentation/articles/virtual-machines-linux-endorsed-distributions/</a:t>
            </a:r>
          </a:p>
          <a:p>
            <a:pPr lvl="0"/>
            <a:endParaRPr lang="en-US" dirty="0"/>
          </a:p>
          <a:p>
            <a:pPr lvl="0"/>
            <a:r>
              <a:rPr lang="en-US" dirty="0"/>
              <a:t>VM images of these distributions are provided by partners who are experts in each distribution</a:t>
            </a:r>
            <a:endParaRPr lang="en-US" sz="1100" dirty="0"/>
          </a:p>
          <a:p>
            <a:r>
              <a:rPr lang="en-US" dirty="0"/>
              <a:t>Other distributions of Linux can be installed as </a:t>
            </a:r>
            <a:r>
              <a:rPr lang="en-US" b="1" dirty="0"/>
              <a:t>Bring-Your-Own-Linux</a:t>
            </a:r>
            <a:r>
              <a:rPr lang="en-US" dirty="0"/>
              <a:t>. However, some interoperation work will be needed </a:t>
            </a:r>
            <a:endParaRPr lang="en-US" sz="1000" dirty="0"/>
          </a:p>
          <a:p>
            <a:endParaRPr lang="de-DE" dirty="0"/>
          </a:p>
          <a:p>
            <a:r>
              <a:rPr lang="de-DE" dirty="0" err="1"/>
              <a:t>VMDepot</a:t>
            </a:r>
            <a:r>
              <a:rPr lang="de-DE" dirty="0"/>
              <a:t> (</a:t>
            </a:r>
            <a:r>
              <a:rPr lang="en-US" dirty="0">
                <a:effectLst/>
              </a:rPr>
              <a:t>The virtual machine images on this site are provided and licensed to you by community members. Microsoft Open Technologies does not screen these images for security, compatibility or performance, and does not provide any license rights or support for them.): </a:t>
            </a:r>
            <a:r>
              <a:rPr lang="de-DE" dirty="0"/>
              <a:t>http://vmdepot.msopentech.com/List/Index</a:t>
            </a:r>
          </a:p>
          <a:p>
            <a:endParaRPr lang="de-DE" dirty="0"/>
          </a:p>
        </p:txBody>
      </p:sp>
      <p:sp>
        <p:nvSpPr>
          <p:cNvPr id="4" name="Slide Number Placeholder 3"/>
          <p:cNvSpPr>
            <a:spLocks noGrp="1"/>
          </p:cNvSpPr>
          <p:nvPr>
            <p:ph type="sldNum" sz="quarter" idx="10"/>
          </p:nvPr>
        </p:nvSpPr>
        <p:spPr/>
        <p:txBody>
          <a:bodyPr/>
          <a:lstStyle/>
          <a:p>
            <a:fld id="{3914BC00-1402-49CF-9CEB-7C8FB383AFA3}" type="slidenum">
              <a:rPr lang="de-DE" smtClean="0">
                <a:solidFill>
                  <a:prstClr val="black"/>
                </a:solidFill>
              </a:rPr>
              <a:pPr/>
              <a:t>56</a:t>
            </a:fld>
            <a:endParaRPr lang="de-DE">
              <a:solidFill>
                <a:prstClr val="black"/>
              </a:solidFill>
            </a:endParaRPr>
          </a:p>
        </p:txBody>
      </p:sp>
    </p:spTree>
    <p:extLst>
      <p:ext uri="{BB962C8B-B14F-4D97-AF65-F5344CB8AC3E}">
        <p14:creationId xmlns:p14="http://schemas.microsoft.com/office/powerpoint/2010/main" val="264352531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57</a:t>
            </a:fld>
            <a:endParaRPr lang="en-US"/>
          </a:p>
        </p:txBody>
      </p:sp>
      <p:sp>
        <p:nvSpPr>
          <p:cNvPr id="3" name="Slide Image Placeholder 2"/>
          <p:cNvSpPr>
            <a:spLocks noGrp="1" noRot="1" noChangeAspect="1"/>
          </p:cNvSpPr>
          <p:nvPr>
            <p:ph type="sldImg"/>
          </p:nvPr>
        </p:nvSpPr>
        <p:spPr>
          <a:xfrm>
            <a:off x="384175" y="484188"/>
            <a:ext cx="6096000" cy="3429000"/>
          </a:xfrm>
        </p:spPr>
      </p:sp>
      <p:sp>
        <p:nvSpPr>
          <p:cNvPr id="5" name="Notes Placeholder 4"/>
          <p:cNvSpPr>
            <a:spLocks noGrp="1"/>
          </p:cNvSpPr>
          <p:nvPr>
            <p:ph type="body" idx="1"/>
          </p:nvPr>
        </p:nvSpPr>
        <p:spPr/>
        <p:txBody>
          <a:bodyPr/>
          <a:lstStyle/>
          <a:p>
            <a:pPr marL="0" indent="0">
              <a:buNone/>
            </a:pPr>
            <a:r>
              <a:rPr lang="en-US" dirty="0"/>
              <a:t>http://support.microsoft.com/kb/2721672</a:t>
            </a:r>
          </a:p>
          <a:p>
            <a:pPr marL="0" indent="0">
              <a:buNone/>
            </a:pPr>
            <a:endParaRPr lang="en-US" dirty="0"/>
          </a:p>
          <a:p>
            <a:pPr marL="0" indent="0">
              <a:buNone/>
            </a:pPr>
            <a:r>
              <a:rPr lang="en-US" dirty="0"/>
              <a:t>Every on-premises network/machine configuration is not supported in Microsoft Azure.</a:t>
            </a:r>
          </a:p>
          <a:p>
            <a:pPr lvl="0"/>
            <a:r>
              <a:rPr lang="en-US" dirty="0"/>
              <a:t>Hyper-V: It makes no sense to have Hyper-V capability on a machine that is </a:t>
            </a:r>
            <a:r>
              <a:rPr lang="en-US" dirty="0">
                <a:solidFill>
                  <a:srgbClr val="FF0000"/>
                </a:solidFill>
              </a:rPr>
              <a:t>hyper-vised</a:t>
            </a:r>
            <a:r>
              <a:rPr lang="en-US" dirty="0"/>
              <a:t> in Microsoft Azure, so this is not supported</a:t>
            </a:r>
          </a:p>
          <a:p>
            <a:pPr lvl="0"/>
            <a:r>
              <a:rPr lang="en-US" dirty="0"/>
              <a:t>Dynamic Host Configuration Protocol (DHCP)/Network Load Balancing (NLB): Both of these use broadcasting to work, which is very difficult to implement in any cloud </a:t>
            </a:r>
            <a:r>
              <a:rPr lang="en-US" dirty="0">
                <a:solidFill>
                  <a:srgbClr val="FF0000"/>
                </a:solidFill>
              </a:rPr>
              <a:t>(including competitors)</a:t>
            </a:r>
          </a:p>
          <a:p>
            <a:pPr lvl="0"/>
            <a:r>
              <a:rPr lang="en-US" dirty="0"/>
              <a:t>Failover Clustering: Requires a floating IP, but Microsoft Azure assigns a specific IP</a:t>
            </a:r>
          </a:p>
          <a:p>
            <a:pPr lvl="0"/>
            <a:r>
              <a:rPr lang="en-US" dirty="0"/>
              <a:t>BitLocker encryption: Requires Trusted Platform Module (TPM) chip compatibility and the Microsoft Azure commodity machines do not have this.  You can currently enable </a:t>
            </a:r>
            <a:r>
              <a:rPr lang="en-US" dirty="0" err="1"/>
              <a:t>bitlocker</a:t>
            </a:r>
            <a:r>
              <a:rPr lang="en-US" dirty="0"/>
              <a:t> on a data disk though</a:t>
            </a:r>
          </a:p>
          <a:p>
            <a:pPr lvl="0"/>
            <a:r>
              <a:rPr lang="en-US" dirty="0"/>
              <a:t>Client Operating System (OS): We support </a:t>
            </a:r>
            <a:r>
              <a:rPr lang="en-US" dirty="0">
                <a:solidFill>
                  <a:srgbClr val="FF0000"/>
                </a:solidFill>
              </a:rPr>
              <a:t>on server</a:t>
            </a:r>
            <a:r>
              <a:rPr lang="en-US" dirty="0"/>
              <a:t> operating systems at this point. In addition, the client OS license does not transfer to the cloud</a:t>
            </a:r>
          </a:p>
        </p:txBody>
      </p:sp>
      <p:sp>
        <p:nvSpPr>
          <p:cNvPr id="2" name="Rectangle 1"/>
          <p:cNvSpPr/>
          <p:nvPr/>
        </p:nvSpPr>
        <p:spPr>
          <a:xfrm>
            <a:off x="6553200" y="3359190"/>
            <a:ext cx="3175000" cy="1277273"/>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Biju:</a:t>
            </a:r>
          </a:p>
          <a:p>
            <a:r>
              <a:rPr lang="en-US" sz="1100" i="1" dirty="0">
                <a:latin typeface="Calibri"/>
              </a:rPr>
              <a:t>08 October 2013
</a:t>
            </a:r>
            <a:r>
              <a:rPr lang="en-US" sz="1100" dirty="0">
                <a:latin typeface="Calibri"/>
              </a:rPr>
              <a:t>“Hypervisor” is being used in verb form here. Kindly replace with the appropriate word. For example, “hypervisor enabled”</a:t>
            </a:r>
          </a:p>
          <a:p>
            <a:endParaRPr lang="en-US" sz="1100" dirty="0">
              <a:latin typeface="Calibri"/>
            </a:endParaRPr>
          </a:p>
        </p:txBody>
      </p:sp>
      <p:sp>
        <p:nvSpPr>
          <p:cNvPr id="6" name="Rectangle 5"/>
          <p:cNvSpPr/>
          <p:nvPr/>
        </p:nvSpPr>
        <p:spPr>
          <a:xfrm>
            <a:off x="6553200" y="4882142"/>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TWB_Trevor:</a:t>
            </a:r>
          </a:p>
          <a:p>
            <a:r>
              <a:rPr lang="en-US" sz="1100" i="1" dirty="0">
                <a:latin typeface="Calibri"/>
              </a:rPr>
              <a:t>08 October 2013
</a:t>
            </a:r>
            <a:r>
              <a:rPr lang="en-US" sz="1100" dirty="0">
                <a:latin typeface="Calibri"/>
              </a:rPr>
              <a:t>This claim needs to be validated or the expression “including competitors” can be removed.</a:t>
            </a:r>
          </a:p>
        </p:txBody>
      </p:sp>
      <p:sp>
        <p:nvSpPr>
          <p:cNvPr id="7" name="Rectangle 6"/>
          <p:cNvSpPr/>
          <p:nvPr/>
        </p:nvSpPr>
        <p:spPr>
          <a:xfrm>
            <a:off x="-2832100" y="4669338"/>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Biju</a:t>
            </a:r>
          </a:p>
          <a:p>
            <a:r>
              <a:rPr lang="en-US" sz="1100" i="1" dirty="0">
                <a:latin typeface="Calibri"/>
              </a:rPr>
              <a:t>08 October 2013
</a:t>
            </a:r>
            <a:r>
              <a:rPr lang="en-US" sz="1100" dirty="0">
                <a:latin typeface="Calibri"/>
              </a:rPr>
              <a:t>Should this be “ We support Microsoft Azure on server….”</a:t>
            </a:r>
          </a:p>
        </p:txBody>
      </p:sp>
      <p:sp>
        <p:nvSpPr>
          <p:cNvPr id="8" name="Rectangle 7"/>
          <p:cNvSpPr/>
          <p:nvPr/>
        </p:nvSpPr>
        <p:spPr>
          <a:xfrm>
            <a:off x="-2832100" y="5990138"/>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TWB_Trevor:</a:t>
            </a:r>
          </a:p>
          <a:p>
            <a:r>
              <a:rPr lang="en-US" sz="1100" i="1" dirty="0">
                <a:latin typeface="Calibri"/>
              </a:rPr>
              <a:t>08 October 2013
</a:t>
            </a:r>
            <a:r>
              <a:rPr lang="en-US" sz="1100" dirty="0">
                <a:latin typeface="Calibri"/>
              </a:rPr>
              <a:t>Has “Virtual Desktop Services” intentionally not been explained? </a:t>
            </a:r>
          </a:p>
        </p:txBody>
      </p:sp>
    </p:spTree>
    <p:extLst>
      <p:ext uri="{BB962C8B-B14F-4D97-AF65-F5344CB8AC3E}">
        <p14:creationId xmlns:p14="http://schemas.microsoft.com/office/powerpoint/2010/main" val="37916191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58</a:t>
            </a:fld>
            <a:endParaRPr lang="en-US"/>
          </a:p>
        </p:txBody>
      </p:sp>
      <p:sp>
        <p:nvSpPr>
          <p:cNvPr id="3" name="Slide Image Placeholder 2"/>
          <p:cNvSpPr>
            <a:spLocks noGrp="1" noRot="1" noChangeAspect="1"/>
          </p:cNvSpPr>
          <p:nvPr>
            <p:ph type="sldImg"/>
          </p:nvPr>
        </p:nvSpPr>
        <p:spPr>
          <a:xfrm>
            <a:off x="384175" y="484188"/>
            <a:ext cx="6096000" cy="3429000"/>
          </a:xfrm>
        </p:spPr>
      </p:sp>
      <p:sp>
        <p:nvSpPr>
          <p:cNvPr id="5" name="Notes Placeholder 4"/>
          <p:cNvSpPr>
            <a:spLocks noGrp="1"/>
          </p:cNvSpPr>
          <p:nvPr>
            <p:ph type="body" idx="1"/>
          </p:nvPr>
        </p:nvSpPr>
        <p:spPr/>
        <p:txBody>
          <a:bodyPr/>
          <a:lstStyle/>
          <a:p>
            <a:pPr marL="0" marR="0" indent="0" algn="l" defTabSz="914400" rtl="0" eaLnBrk="1" fontAlgn="auto" latinLnBrk="0" hangingPunct="1">
              <a:lnSpc>
                <a:spcPct val="100000"/>
              </a:lnSpc>
              <a:spcBef>
                <a:spcPts val="300"/>
              </a:spcBef>
              <a:spcAft>
                <a:spcPts val="400"/>
              </a:spcAft>
              <a:buClrTx/>
              <a:buSzPct val="116000"/>
              <a:buFont typeface="Arial" panose="020B0604020202020204" pitchFamily="34" charset="0"/>
              <a:buNone/>
              <a:tabLst/>
              <a:defRPr/>
            </a:pPr>
            <a:r>
              <a:rPr lang="en-US" dirty="0"/>
              <a:t>http://</a:t>
            </a:r>
            <a:r>
              <a:rPr lang="en-US" dirty="0" smtClean="0"/>
              <a:t>support.microsoft.com/kb/2721672</a:t>
            </a:r>
          </a:p>
          <a:p>
            <a:pPr marL="0" marR="0" indent="0" algn="l" defTabSz="914400" rtl="0" eaLnBrk="1" fontAlgn="auto" latinLnBrk="0" hangingPunct="1">
              <a:lnSpc>
                <a:spcPct val="100000"/>
              </a:lnSpc>
              <a:spcBef>
                <a:spcPts val="300"/>
              </a:spcBef>
              <a:spcAft>
                <a:spcPts val="400"/>
              </a:spcAft>
              <a:buClrTx/>
              <a:buSzPct val="116000"/>
              <a:buFont typeface="Arial" panose="020B0604020202020204" pitchFamily="34" charset="0"/>
              <a:buNone/>
              <a:tabLst/>
              <a:defRPr/>
            </a:pPr>
            <a:r>
              <a:rPr lang="en-US" dirty="0" err="1" smtClean="0"/>
              <a:t>Bitlocker</a:t>
            </a:r>
            <a:r>
              <a:rPr lang="en-US" dirty="0" smtClean="0"/>
              <a:t>: Locking the driver</a:t>
            </a:r>
          </a:p>
          <a:p>
            <a:pPr marL="0" marR="0" indent="0" algn="l" defTabSz="914400" rtl="0" eaLnBrk="1" fontAlgn="auto" latinLnBrk="0" hangingPunct="1">
              <a:lnSpc>
                <a:spcPct val="100000"/>
              </a:lnSpc>
              <a:spcBef>
                <a:spcPts val="300"/>
              </a:spcBef>
              <a:spcAft>
                <a:spcPts val="400"/>
              </a:spcAft>
              <a:buClrTx/>
              <a:buSzPct val="116000"/>
              <a:buFont typeface="Arial" panose="020B0604020202020204" pitchFamily="34" charset="0"/>
              <a:buNone/>
              <a:tabLst/>
              <a:defRPr/>
            </a:pPr>
            <a:r>
              <a:rPr lang="en-IN" sz="1200" b="1" i="0" kern="1200" dirty="0" smtClean="0">
                <a:solidFill>
                  <a:schemeClr val="tx1"/>
                </a:solidFill>
                <a:effectLst/>
                <a:latin typeface="+mn-lt"/>
                <a:ea typeface="+mn-ea"/>
                <a:cs typeface="+mn-cs"/>
              </a:rPr>
              <a:t>Internet Storage Name Service (</a:t>
            </a:r>
            <a:r>
              <a:rPr lang="en-IN" sz="1200" b="1" i="0" kern="1200" dirty="0" err="1" smtClean="0">
                <a:solidFill>
                  <a:schemeClr val="tx1"/>
                </a:solidFill>
                <a:effectLst/>
                <a:latin typeface="+mn-lt"/>
                <a:ea typeface="+mn-ea"/>
                <a:cs typeface="+mn-cs"/>
              </a:rPr>
              <a:t>iSNS</a:t>
            </a:r>
            <a:r>
              <a:rPr lang="en-IN" sz="1200" b="1" i="0" kern="1200" dirty="0" smtClean="0">
                <a:solidFill>
                  <a:schemeClr val="tx1"/>
                </a:solidFill>
                <a:effectLst/>
                <a:latin typeface="+mn-lt"/>
                <a:ea typeface="+mn-ea"/>
                <a:cs typeface="+mn-cs"/>
              </a:rPr>
              <a:t>)</a:t>
            </a:r>
            <a:r>
              <a:rPr lang="en-IN" sz="1200" b="0" i="0" kern="1200" dirty="0" smtClean="0">
                <a:solidFill>
                  <a:schemeClr val="tx1"/>
                </a:solidFill>
                <a:effectLst/>
                <a:latin typeface="+mn-lt"/>
                <a:ea typeface="+mn-ea"/>
                <a:cs typeface="+mn-cs"/>
              </a:rPr>
              <a:t> protocol allows automated discovery, management and configuration of </a:t>
            </a:r>
            <a:r>
              <a:rPr lang="en-IN" sz="1200" b="0" i="0" u="none" strike="noStrike" kern="1200" dirty="0" smtClean="0">
                <a:solidFill>
                  <a:schemeClr val="tx1"/>
                </a:solidFill>
                <a:effectLst/>
                <a:latin typeface="+mn-lt"/>
                <a:ea typeface="+mn-ea"/>
                <a:cs typeface="+mn-cs"/>
                <a:hlinkClick r:id="rId3" tooltip="ISCSI"/>
              </a:rPr>
              <a:t>iSCSI</a:t>
            </a:r>
            <a:r>
              <a:rPr lang="en-IN" sz="1200" b="0" i="0" kern="1200" dirty="0" smtClean="0">
                <a:solidFill>
                  <a:schemeClr val="tx1"/>
                </a:solidFill>
                <a:effectLst/>
                <a:latin typeface="+mn-lt"/>
                <a:ea typeface="+mn-ea"/>
                <a:cs typeface="+mn-cs"/>
              </a:rPr>
              <a:t> and </a:t>
            </a:r>
            <a:r>
              <a:rPr lang="en-IN" sz="1200" b="0" i="0" u="none" strike="noStrike" kern="1200" dirty="0" smtClean="0">
                <a:solidFill>
                  <a:schemeClr val="tx1"/>
                </a:solidFill>
                <a:effectLst/>
                <a:latin typeface="+mn-lt"/>
                <a:ea typeface="+mn-ea"/>
                <a:cs typeface="+mn-cs"/>
                <a:hlinkClick r:id="rId4" tooltip="Fibre channel"/>
              </a:rPr>
              <a:t>Fibre Channel</a:t>
            </a:r>
            <a:r>
              <a:rPr lang="en-IN" sz="1200" b="0" i="0" kern="1200" dirty="0" smtClean="0">
                <a:solidFill>
                  <a:schemeClr val="tx1"/>
                </a:solidFill>
                <a:effectLst/>
                <a:latin typeface="+mn-lt"/>
                <a:ea typeface="+mn-ea"/>
                <a:cs typeface="+mn-cs"/>
              </a:rPr>
              <a:t> devices on a </a:t>
            </a:r>
            <a:r>
              <a:rPr lang="en-IN" sz="1200" b="0" i="0" u="none" strike="noStrike" kern="1200" dirty="0" smtClean="0">
                <a:solidFill>
                  <a:schemeClr val="tx1"/>
                </a:solidFill>
                <a:effectLst/>
                <a:latin typeface="+mn-lt"/>
                <a:ea typeface="+mn-ea"/>
                <a:cs typeface="+mn-cs"/>
                <a:hlinkClick r:id="rId5" tooltip="TCP/IP"/>
              </a:rPr>
              <a:t>TCP/IP</a:t>
            </a:r>
            <a:r>
              <a:rPr lang="en-IN" sz="1200" b="0" i="0" kern="1200" dirty="0" smtClean="0">
                <a:solidFill>
                  <a:schemeClr val="tx1"/>
                </a:solidFill>
                <a:effectLst/>
                <a:latin typeface="+mn-lt"/>
                <a:ea typeface="+mn-ea"/>
                <a:cs typeface="+mn-cs"/>
              </a:rPr>
              <a:t> network.</a:t>
            </a:r>
          </a:p>
          <a:p>
            <a:pPr marL="0" marR="0" indent="0" algn="l" defTabSz="914400" rtl="0" eaLnBrk="1" fontAlgn="auto" latinLnBrk="0" hangingPunct="1">
              <a:lnSpc>
                <a:spcPct val="100000"/>
              </a:lnSpc>
              <a:spcBef>
                <a:spcPts val="300"/>
              </a:spcBef>
              <a:spcAft>
                <a:spcPts val="400"/>
              </a:spcAft>
              <a:buClrTx/>
              <a:buSzPct val="116000"/>
              <a:buFont typeface="Arial" panose="020B0604020202020204" pitchFamily="34" charset="0"/>
              <a:buNone/>
              <a:tabLst/>
              <a:defRPr/>
            </a:pPr>
            <a:r>
              <a:rPr lang="en-IN" sz="1200" b="0" i="0" kern="1200" dirty="0" smtClean="0">
                <a:solidFill>
                  <a:schemeClr val="tx1"/>
                </a:solidFill>
                <a:effectLst/>
                <a:latin typeface="+mn-lt"/>
                <a:ea typeface="+mn-ea"/>
                <a:cs typeface="+mn-cs"/>
              </a:rPr>
              <a:t>iSCSI</a:t>
            </a:r>
            <a:r>
              <a:rPr lang="en-IN" sz="1200" b="0" i="0" kern="1200" baseline="0" dirty="0" smtClean="0">
                <a:solidFill>
                  <a:schemeClr val="tx1"/>
                </a:solidFill>
                <a:effectLst/>
                <a:latin typeface="+mn-lt"/>
                <a:ea typeface="+mn-ea"/>
                <a:cs typeface="+mn-cs"/>
              </a:rPr>
              <a:t> and Fibre Channel: H</a:t>
            </a:r>
            <a:r>
              <a:rPr lang="en-IN" sz="1200" b="0" i="0" kern="1200" dirty="0" smtClean="0">
                <a:solidFill>
                  <a:schemeClr val="tx1"/>
                </a:solidFill>
                <a:effectLst/>
                <a:latin typeface="+mn-lt"/>
                <a:ea typeface="+mn-ea"/>
                <a:cs typeface="+mn-cs"/>
              </a:rPr>
              <a:t>igh-speed network technology</a:t>
            </a:r>
          </a:p>
          <a:p>
            <a:pPr marL="0" marR="0" indent="0" algn="l" defTabSz="914400" rtl="0" eaLnBrk="1" fontAlgn="auto" latinLnBrk="0" hangingPunct="1">
              <a:lnSpc>
                <a:spcPct val="100000"/>
              </a:lnSpc>
              <a:spcBef>
                <a:spcPts val="300"/>
              </a:spcBef>
              <a:spcAft>
                <a:spcPts val="400"/>
              </a:spcAft>
              <a:buClrTx/>
              <a:buSzPct val="116000"/>
              <a:buFont typeface="Arial" panose="020B0604020202020204" pitchFamily="34" charset="0"/>
              <a:buNone/>
              <a:tabLst/>
              <a:defRPr/>
            </a:pPr>
            <a:r>
              <a:rPr lang="en-IN" sz="1200" b="0" i="0" kern="1200" dirty="0" smtClean="0">
                <a:solidFill>
                  <a:schemeClr val="tx1"/>
                </a:solidFill>
                <a:effectLst/>
                <a:latin typeface="+mn-lt"/>
                <a:ea typeface="+mn-ea"/>
                <a:cs typeface="+mn-cs"/>
              </a:rPr>
              <a:t>Network</a:t>
            </a:r>
            <a:r>
              <a:rPr lang="en-IN" sz="1200" b="0" i="0" kern="1200" baseline="0" dirty="0" smtClean="0">
                <a:solidFill>
                  <a:schemeClr val="tx1"/>
                </a:solidFill>
                <a:effectLst/>
                <a:latin typeface="+mn-lt"/>
                <a:ea typeface="+mn-ea"/>
                <a:cs typeface="+mn-cs"/>
              </a:rPr>
              <a:t> Load Balancer: Balance load at network layer</a:t>
            </a:r>
          </a:p>
          <a:p>
            <a:pPr marL="0" marR="0" indent="0" algn="l" defTabSz="914400" rtl="0" eaLnBrk="1" fontAlgn="auto" latinLnBrk="0" hangingPunct="1">
              <a:lnSpc>
                <a:spcPct val="100000"/>
              </a:lnSpc>
              <a:spcBef>
                <a:spcPts val="300"/>
              </a:spcBef>
              <a:spcAft>
                <a:spcPts val="400"/>
              </a:spcAft>
              <a:buClrTx/>
              <a:buSzPct val="116000"/>
              <a:buFont typeface="Arial" panose="020B0604020202020204" pitchFamily="34" charset="0"/>
              <a:buNone/>
              <a:tabLst/>
              <a:defRPr/>
            </a:pPr>
            <a:r>
              <a:rPr lang="en-IN" sz="1200" b="1" i="0" kern="1200" dirty="0" smtClean="0">
                <a:solidFill>
                  <a:schemeClr val="tx1"/>
                </a:solidFill>
                <a:effectLst/>
                <a:latin typeface="+mn-lt"/>
                <a:ea typeface="+mn-ea"/>
                <a:cs typeface="+mn-cs"/>
              </a:rPr>
              <a:t>Peer Name Resolution Protocol</a:t>
            </a:r>
            <a:r>
              <a:rPr lang="en-IN" sz="1200" b="0" i="0" kern="1200" dirty="0" smtClean="0">
                <a:solidFill>
                  <a:schemeClr val="tx1"/>
                </a:solidFill>
                <a:effectLst/>
                <a:latin typeface="+mn-lt"/>
                <a:ea typeface="+mn-ea"/>
                <a:cs typeface="+mn-cs"/>
              </a:rPr>
              <a:t> (</a:t>
            </a:r>
            <a:r>
              <a:rPr lang="en-IN" sz="1200" b="1" i="0" kern="1200" dirty="0" smtClean="0">
                <a:solidFill>
                  <a:schemeClr val="tx1"/>
                </a:solidFill>
                <a:effectLst/>
                <a:latin typeface="+mn-lt"/>
                <a:ea typeface="+mn-ea"/>
                <a:cs typeface="+mn-cs"/>
              </a:rPr>
              <a:t>PNRP</a:t>
            </a:r>
            <a:r>
              <a:rPr lang="en-IN" sz="1200" b="0" i="0" kern="1200" dirty="0" smtClean="0">
                <a:solidFill>
                  <a:schemeClr val="tx1"/>
                </a:solidFill>
                <a:effectLst/>
                <a:latin typeface="+mn-lt"/>
                <a:ea typeface="+mn-ea"/>
                <a:cs typeface="+mn-cs"/>
              </a:rPr>
              <a:t>) is a </a:t>
            </a:r>
            <a:r>
              <a:rPr lang="en-IN" sz="1200" b="0" i="0" u="none" strike="noStrike" kern="1200" dirty="0" smtClean="0">
                <a:solidFill>
                  <a:schemeClr val="tx1"/>
                </a:solidFill>
                <a:effectLst/>
                <a:latin typeface="+mn-lt"/>
                <a:ea typeface="+mn-ea"/>
                <a:cs typeface="+mn-cs"/>
                <a:hlinkClick r:id="rId6" tooltip="Peer-to-peer"/>
              </a:rPr>
              <a:t>peer-to-peer</a:t>
            </a:r>
            <a:r>
              <a:rPr lang="en-IN" sz="1200" b="0" i="0" kern="1200" dirty="0" smtClean="0">
                <a:solidFill>
                  <a:schemeClr val="tx1"/>
                </a:solidFill>
                <a:effectLst/>
                <a:latin typeface="+mn-lt"/>
                <a:ea typeface="+mn-ea"/>
                <a:cs typeface="+mn-cs"/>
              </a:rPr>
              <a:t> </a:t>
            </a:r>
            <a:r>
              <a:rPr lang="en-IN" sz="1200" b="0" i="0" u="none" strike="noStrike" kern="1200" dirty="0" smtClean="0">
                <a:solidFill>
                  <a:schemeClr val="tx1"/>
                </a:solidFill>
                <a:effectLst/>
                <a:latin typeface="+mn-lt"/>
                <a:ea typeface="+mn-ea"/>
                <a:cs typeface="+mn-cs"/>
                <a:hlinkClick r:id="rId7" tooltip="Protocol (computing)"/>
              </a:rPr>
              <a:t>protocol</a:t>
            </a:r>
            <a:r>
              <a:rPr lang="en-IN" sz="1200" b="0" i="0" kern="1200" dirty="0" smtClean="0">
                <a:solidFill>
                  <a:schemeClr val="tx1"/>
                </a:solidFill>
                <a:effectLst/>
                <a:latin typeface="+mn-lt"/>
                <a:ea typeface="+mn-ea"/>
                <a:cs typeface="+mn-cs"/>
              </a:rPr>
              <a:t> designed by </a:t>
            </a:r>
            <a:r>
              <a:rPr lang="en-IN" sz="1200" b="0" i="0" u="none" strike="noStrike" kern="1200" dirty="0" smtClean="0">
                <a:solidFill>
                  <a:schemeClr val="tx1"/>
                </a:solidFill>
                <a:effectLst/>
                <a:latin typeface="+mn-lt"/>
                <a:ea typeface="+mn-ea"/>
                <a:cs typeface="+mn-cs"/>
                <a:hlinkClick r:id="rId8" tooltip="Microsoft"/>
              </a:rPr>
              <a:t>Microsoft</a:t>
            </a:r>
            <a:r>
              <a:rPr lang="en-IN" sz="1200" b="0" i="0" kern="1200" dirty="0" smtClean="0">
                <a:solidFill>
                  <a:schemeClr val="tx1"/>
                </a:solidFill>
                <a:effectLst/>
                <a:latin typeface="+mn-lt"/>
                <a:ea typeface="+mn-ea"/>
                <a:cs typeface="+mn-cs"/>
              </a:rPr>
              <a:t>. PNRP enables dynamic name publication and resolution</a:t>
            </a:r>
          </a:p>
          <a:p>
            <a:pPr marL="0" marR="0" indent="0" algn="l" defTabSz="914400" rtl="0" eaLnBrk="1" fontAlgn="auto" latinLnBrk="0" hangingPunct="1">
              <a:lnSpc>
                <a:spcPct val="100000"/>
              </a:lnSpc>
              <a:spcBef>
                <a:spcPts val="300"/>
              </a:spcBef>
              <a:spcAft>
                <a:spcPts val="400"/>
              </a:spcAft>
              <a:buClrTx/>
              <a:buSzPct val="116000"/>
              <a:buFont typeface="Arial" panose="020B0604020202020204" pitchFamily="34" charset="0"/>
              <a:buNone/>
              <a:tabLst/>
              <a:defRPr/>
            </a:pPr>
            <a:r>
              <a:rPr lang="en-IN" sz="1200" b="0" i="0" kern="1200" dirty="0" smtClean="0">
                <a:solidFill>
                  <a:schemeClr val="tx1"/>
                </a:solidFill>
                <a:effectLst/>
                <a:latin typeface="+mn-lt"/>
                <a:ea typeface="+mn-ea"/>
                <a:cs typeface="+mn-cs"/>
              </a:rPr>
              <a:t>SNMP Services: Simple Network Management Protocol (</a:t>
            </a:r>
            <a:r>
              <a:rPr lang="en-IN" sz="1200" b="1" i="0" kern="1200" dirty="0" smtClean="0">
                <a:solidFill>
                  <a:schemeClr val="tx1"/>
                </a:solidFill>
                <a:effectLst/>
                <a:latin typeface="+mn-lt"/>
                <a:ea typeface="+mn-ea"/>
                <a:cs typeface="+mn-cs"/>
              </a:rPr>
              <a:t>SNMP</a:t>
            </a:r>
            <a:r>
              <a:rPr lang="en-IN" sz="1200" b="0" i="0" kern="1200" dirty="0" smtClean="0">
                <a:solidFill>
                  <a:schemeClr val="tx1"/>
                </a:solidFill>
                <a:effectLst/>
                <a:latin typeface="+mn-lt"/>
                <a:ea typeface="+mn-ea"/>
                <a:cs typeface="+mn-cs"/>
              </a:rPr>
              <a:t>) is a protocol for network management</a:t>
            </a:r>
          </a:p>
          <a:p>
            <a:pPr marL="0" marR="0" indent="0" algn="l" defTabSz="914400" rtl="0" eaLnBrk="1" fontAlgn="auto" latinLnBrk="0" hangingPunct="1">
              <a:lnSpc>
                <a:spcPct val="100000"/>
              </a:lnSpc>
              <a:spcBef>
                <a:spcPts val="300"/>
              </a:spcBef>
              <a:spcAft>
                <a:spcPts val="400"/>
              </a:spcAft>
              <a:buClrTx/>
              <a:buSzPct val="116000"/>
              <a:buFont typeface="Arial" panose="020B0604020202020204" pitchFamily="34" charset="0"/>
              <a:buNone/>
              <a:tabLst/>
              <a:defRPr/>
            </a:pPr>
            <a:r>
              <a:rPr lang="en-IN" sz="1200" b="1" i="0" kern="1200" dirty="0" smtClean="0">
                <a:solidFill>
                  <a:schemeClr val="tx1"/>
                </a:solidFill>
                <a:effectLst/>
                <a:latin typeface="+mn-lt"/>
                <a:ea typeface="+mn-ea"/>
                <a:cs typeface="+mn-cs"/>
              </a:rPr>
              <a:t>Windows Internet Name Service</a:t>
            </a:r>
            <a:r>
              <a:rPr lang="en-IN" sz="1200" b="0" i="0" kern="1200" dirty="0" smtClean="0">
                <a:solidFill>
                  <a:schemeClr val="tx1"/>
                </a:solidFill>
                <a:effectLst/>
                <a:latin typeface="+mn-lt"/>
                <a:ea typeface="+mn-ea"/>
                <a:cs typeface="+mn-cs"/>
              </a:rPr>
              <a:t> (WINS) is Microsoft's implementation of NetBIOS</a:t>
            </a:r>
          </a:p>
          <a:p>
            <a:pPr marL="0" marR="0" indent="0" algn="l" defTabSz="914400" rtl="0" eaLnBrk="1" fontAlgn="auto" latinLnBrk="0" hangingPunct="1">
              <a:lnSpc>
                <a:spcPct val="100000"/>
              </a:lnSpc>
              <a:spcBef>
                <a:spcPts val="300"/>
              </a:spcBef>
              <a:spcAft>
                <a:spcPts val="400"/>
              </a:spcAft>
              <a:buClrTx/>
              <a:buSzPct val="116000"/>
              <a:buFont typeface="Arial" panose="020B0604020202020204" pitchFamily="34" charset="0"/>
              <a:buNone/>
              <a:tabLst/>
              <a:defRPr/>
            </a:pPr>
            <a:endParaRPr lang="en-IN"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300"/>
              </a:spcBef>
              <a:spcAft>
                <a:spcPts val="400"/>
              </a:spcAft>
              <a:buClrTx/>
              <a:buSzPct val="116000"/>
              <a:buFont typeface="Arial" panose="020B0604020202020204" pitchFamily="34" charset="0"/>
              <a:buNone/>
              <a:tabLst/>
              <a:defRPr/>
            </a:pPr>
            <a:endParaRPr lang="en-US" dirty="0"/>
          </a:p>
          <a:p>
            <a:pPr marL="0" indent="0">
              <a:buNone/>
            </a:pPr>
            <a:endParaRPr lang="en-US" dirty="0"/>
          </a:p>
        </p:txBody>
      </p:sp>
      <p:sp>
        <p:nvSpPr>
          <p:cNvPr id="2" name="Rectangle 1"/>
          <p:cNvSpPr/>
          <p:nvPr/>
        </p:nvSpPr>
        <p:spPr>
          <a:xfrm>
            <a:off x="6553200" y="3359190"/>
            <a:ext cx="3175000" cy="1277273"/>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Biju:</a:t>
            </a:r>
          </a:p>
          <a:p>
            <a:r>
              <a:rPr lang="en-US" sz="1100" i="1" dirty="0">
                <a:latin typeface="Calibri"/>
              </a:rPr>
              <a:t>08 October 2013
</a:t>
            </a:r>
            <a:r>
              <a:rPr lang="en-US" sz="1100" dirty="0">
                <a:latin typeface="Calibri"/>
              </a:rPr>
              <a:t>“Hypervisor” is being used in verb form here. Kindly replace with the appropriate word. For example, “hypervisor enabled”</a:t>
            </a:r>
          </a:p>
          <a:p>
            <a:endParaRPr lang="en-US" sz="1100" dirty="0">
              <a:latin typeface="Calibri"/>
            </a:endParaRPr>
          </a:p>
        </p:txBody>
      </p:sp>
      <p:sp>
        <p:nvSpPr>
          <p:cNvPr id="6" name="Rectangle 5"/>
          <p:cNvSpPr/>
          <p:nvPr/>
        </p:nvSpPr>
        <p:spPr>
          <a:xfrm>
            <a:off x="6553200" y="4882142"/>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TWB_Trevor:</a:t>
            </a:r>
          </a:p>
          <a:p>
            <a:r>
              <a:rPr lang="en-US" sz="1100" i="1" dirty="0">
                <a:latin typeface="Calibri"/>
              </a:rPr>
              <a:t>08 October 2013
</a:t>
            </a:r>
            <a:r>
              <a:rPr lang="en-US" sz="1100" dirty="0">
                <a:latin typeface="Calibri"/>
              </a:rPr>
              <a:t>This claim needs to be validated or the expression “including competitors” can be removed.</a:t>
            </a:r>
          </a:p>
        </p:txBody>
      </p:sp>
      <p:sp>
        <p:nvSpPr>
          <p:cNvPr id="7" name="Rectangle 6"/>
          <p:cNvSpPr/>
          <p:nvPr/>
        </p:nvSpPr>
        <p:spPr>
          <a:xfrm>
            <a:off x="-2832100" y="4669338"/>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Biju</a:t>
            </a:r>
          </a:p>
          <a:p>
            <a:r>
              <a:rPr lang="en-US" sz="1100" i="1" dirty="0">
                <a:latin typeface="Calibri"/>
              </a:rPr>
              <a:t>08 October 2013
</a:t>
            </a:r>
            <a:r>
              <a:rPr lang="en-US" sz="1100" dirty="0">
                <a:latin typeface="Calibri"/>
              </a:rPr>
              <a:t>Should this be “ We support Microsoft Azure on server….”</a:t>
            </a:r>
          </a:p>
        </p:txBody>
      </p:sp>
      <p:sp>
        <p:nvSpPr>
          <p:cNvPr id="8" name="Rectangle 7"/>
          <p:cNvSpPr/>
          <p:nvPr/>
        </p:nvSpPr>
        <p:spPr>
          <a:xfrm>
            <a:off x="-2832100" y="5990138"/>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TWB_Trevor:</a:t>
            </a:r>
          </a:p>
          <a:p>
            <a:r>
              <a:rPr lang="en-US" sz="1100" i="1" dirty="0">
                <a:latin typeface="Calibri"/>
              </a:rPr>
              <a:t>08 October 2013
</a:t>
            </a:r>
            <a:r>
              <a:rPr lang="en-US" sz="1100" dirty="0">
                <a:latin typeface="Calibri"/>
              </a:rPr>
              <a:t>Has “Virtual Desktop Services” intentionally not been explained? </a:t>
            </a:r>
          </a:p>
        </p:txBody>
      </p:sp>
    </p:spTree>
    <p:extLst>
      <p:ext uri="{BB962C8B-B14F-4D97-AF65-F5344CB8AC3E}">
        <p14:creationId xmlns:p14="http://schemas.microsoft.com/office/powerpoint/2010/main" val="19289455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endParaRPr lang="en-US" dirty="0"/>
          </a:p>
          <a:p>
            <a:pPr marL="0" indent="0">
              <a:buNone/>
            </a:pPr>
            <a:endParaRPr lang="en-US" dirty="0"/>
          </a:p>
          <a:p>
            <a:pPr marL="0" indent="0">
              <a:buNone/>
            </a:pPr>
            <a:endParaRPr lang="en-US" dirty="0"/>
          </a:p>
          <a:p>
            <a:pPr marL="0" indent="0">
              <a:buNone/>
            </a:pPr>
            <a:r>
              <a:rPr lang="en-US" dirty="0">
                <a:solidFill>
                  <a:srgbClr val="000000"/>
                </a:solidFill>
                <a:effectLst/>
              </a:rPr>
              <a:t>$</a:t>
            </a:r>
            <a:r>
              <a:rPr lang="en-US" dirty="0" err="1">
                <a:solidFill>
                  <a:srgbClr val="000000"/>
                </a:solidFill>
                <a:effectLst/>
              </a:rPr>
              <a:t>vm</a:t>
            </a:r>
            <a:r>
              <a:rPr lang="en-US" dirty="0">
                <a:solidFill>
                  <a:srgbClr val="000000"/>
                </a:solidFill>
                <a:effectLst/>
              </a:rPr>
              <a:t> = Get-</a:t>
            </a:r>
            <a:r>
              <a:rPr lang="en-US" dirty="0" err="1">
                <a:solidFill>
                  <a:srgbClr val="000000"/>
                </a:solidFill>
                <a:effectLst/>
              </a:rPr>
              <a:t>AzureVM</a:t>
            </a:r>
            <a:r>
              <a:rPr lang="en-US" dirty="0">
                <a:solidFill>
                  <a:srgbClr val="000000"/>
                </a:solidFill>
                <a:effectLst/>
              </a:rPr>
              <a:t> –</a:t>
            </a:r>
            <a:r>
              <a:rPr lang="en-US" dirty="0" err="1">
                <a:solidFill>
                  <a:srgbClr val="000000"/>
                </a:solidFill>
                <a:effectLst/>
              </a:rPr>
              <a:t>serviceName</a:t>
            </a:r>
            <a:endParaRPr lang="en-US" dirty="0">
              <a:solidFill>
                <a:srgbClr val="000000"/>
              </a:solidFill>
              <a:effectLst/>
            </a:endParaRPr>
          </a:p>
          <a:p>
            <a:pPr marL="0" indent="0">
              <a:buNone/>
            </a:pPr>
            <a:r>
              <a:rPr lang="en-US" dirty="0">
                <a:solidFill>
                  <a:srgbClr val="000000"/>
                </a:solidFill>
                <a:effectLst/>
              </a:rPr>
              <a:t>$svc –Name $name $</a:t>
            </a:r>
            <a:r>
              <a:rPr lang="en-US" dirty="0" err="1">
                <a:solidFill>
                  <a:srgbClr val="000000"/>
                </a:solidFill>
                <a:effectLst/>
              </a:rPr>
              <a:t>vm.VM.ProvisionGuestAgent</a:t>
            </a:r>
            <a:r>
              <a:rPr lang="en-US" dirty="0">
                <a:solidFill>
                  <a:srgbClr val="000000"/>
                </a:solidFill>
                <a:effectLst/>
              </a:rPr>
              <a:t> = $TRUE</a:t>
            </a:r>
          </a:p>
          <a:p>
            <a:pPr marL="0" indent="0">
              <a:buNone/>
            </a:pPr>
            <a:r>
              <a:rPr lang="en-US" dirty="0">
                <a:solidFill>
                  <a:srgbClr val="000000"/>
                </a:solidFill>
                <a:effectLst/>
              </a:rPr>
              <a:t>Update-</a:t>
            </a:r>
            <a:r>
              <a:rPr lang="en-US" dirty="0" err="1">
                <a:solidFill>
                  <a:srgbClr val="000000"/>
                </a:solidFill>
                <a:effectLst/>
              </a:rPr>
              <a:t>AzureVM</a:t>
            </a:r>
            <a:r>
              <a:rPr lang="en-US" dirty="0">
                <a:solidFill>
                  <a:srgbClr val="000000"/>
                </a:solidFill>
                <a:effectLst/>
              </a:rPr>
              <a:t> –Name $name –VM $vm.VM –</a:t>
            </a:r>
            <a:r>
              <a:rPr lang="en-US" dirty="0" err="1">
                <a:solidFill>
                  <a:srgbClr val="000000"/>
                </a:solidFill>
                <a:effectLst/>
              </a:rPr>
              <a:t>ServiceName</a:t>
            </a:r>
            <a:r>
              <a:rPr lang="en-US" dirty="0">
                <a:solidFill>
                  <a:srgbClr val="000000"/>
                </a:solidFill>
                <a:effectLst/>
              </a:rPr>
              <a:t> $svc</a:t>
            </a:r>
            <a:endParaRPr lang="en-US" dirty="0"/>
          </a:p>
          <a:p>
            <a:pPr marL="0" indent="0">
              <a:buNone/>
            </a:pPr>
            <a:endParaRPr lang="en-US" dirty="0"/>
          </a:p>
          <a:p>
            <a:pPr marL="0" indent="0">
              <a:buNone/>
            </a:pPr>
            <a:r>
              <a:rPr lang="en-US" dirty="0"/>
              <a:t>Azure VM Extensions and Features</a:t>
            </a:r>
          </a:p>
          <a:p>
            <a:pPr marL="0" indent="0">
              <a:buNone/>
            </a:pPr>
            <a:r>
              <a:rPr lang="en-US" dirty="0"/>
              <a:t>https://azure.microsoft.com/en-in/documentation/articles/virtual-machines-windows-extensions-features/</a:t>
            </a:r>
          </a:p>
        </p:txBody>
      </p:sp>
      <p:sp>
        <p:nvSpPr>
          <p:cNvPr id="4" name="Slide Number Placeholder 3"/>
          <p:cNvSpPr>
            <a:spLocks noGrp="1"/>
          </p:cNvSpPr>
          <p:nvPr>
            <p:ph type="sldNum" sz="quarter" idx="10"/>
          </p:nvPr>
        </p:nvSpPr>
        <p:spPr/>
        <p:txBody>
          <a:bodyPr/>
          <a:lstStyle/>
          <a:p>
            <a:fld id="{1489DB6A-E92B-415B-AFB4-9C72D4A9006D}" type="slidenum">
              <a:rPr lang="en-US" smtClean="0"/>
              <a:pPr/>
              <a:t>59</a:t>
            </a:fld>
            <a:endParaRPr lang="en-US"/>
          </a:p>
        </p:txBody>
      </p:sp>
    </p:spTree>
    <p:extLst>
      <p:ext uri="{BB962C8B-B14F-4D97-AF65-F5344CB8AC3E}">
        <p14:creationId xmlns:p14="http://schemas.microsoft.com/office/powerpoint/2010/main" val="4603071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pPr marL="0" indent="0">
              <a:buNone/>
            </a:pPr>
            <a:r>
              <a:rPr lang="en-US" dirty="0"/>
              <a:t>The cloud computing patterns about why someone would want to shift from on-premises solutions into Microsoft Azure are self-explanatory. Have customers think about the applications that they currently have, to determine if they fit into this picture.</a:t>
            </a:r>
          </a:p>
          <a:p>
            <a:pPr marL="0" indent="0">
              <a:buNone/>
            </a:pPr>
            <a:r>
              <a:rPr lang="en-US" dirty="0"/>
              <a:t>Understand, though, that just because a customer wants elasticity, it does not mean that their app is built for it.</a:t>
            </a:r>
          </a:p>
        </p:txBody>
      </p:sp>
    </p:spTree>
    <p:extLst>
      <p:ext uri="{BB962C8B-B14F-4D97-AF65-F5344CB8AC3E}">
        <p14:creationId xmlns:p14="http://schemas.microsoft.com/office/powerpoint/2010/main" val="171440007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r>
              <a:rPr lang="en-US" b="1" dirty="0" smtClean="0"/>
              <a:t>https://azure.microsoft.com/en-in/support/legal/sla/virtual-machines/v1_6/</a:t>
            </a:r>
          </a:p>
          <a:p>
            <a:pPr marL="0" indent="0">
              <a:buNone/>
            </a:pPr>
            <a:r>
              <a:rPr lang="en-US" b="1" dirty="0" smtClean="0"/>
              <a:t>Slide </a:t>
            </a:r>
            <a:r>
              <a:rPr lang="en-US" b="1" dirty="0"/>
              <a:t>Objectives</a:t>
            </a:r>
          </a:p>
          <a:p>
            <a:pPr marL="0" indent="0">
              <a:buNone/>
            </a:pPr>
            <a:r>
              <a:rPr lang="en-US" dirty="0"/>
              <a:t>You need an Availability Set (AS) for a 99.95% Service Level Agreement (SLA).</a:t>
            </a:r>
          </a:p>
          <a:p>
            <a:pPr marL="0" indent="0">
              <a:buNone/>
            </a:pPr>
            <a:endParaRPr lang="en-US" b="1" dirty="0"/>
          </a:p>
          <a:p>
            <a:pPr marL="0" indent="0">
              <a:buNone/>
            </a:pPr>
            <a:r>
              <a:rPr lang="en-US" b="1" dirty="0"/>
              <a:t>Speaker</a:t>
            </a:r>
            <a:r>
              <a:rPr lang="en-US" b="1" baseline="0" dirty="0"/>
              <a:t> </a:t>
            </a:r>
            <a:r>
              <a:rPr lang="en-US" b="1" dirty="0"/>
              <a:t>Notes</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Microsoft will provide at least 90 days' notice for adverse material changes to any of the SLAs listed above (content from</a:t>
            </a:r>
            <a:r>
              <a:rPr lang="en-US" baseline="0" dirty="0"/>
              <a:t>: </a:t>
            </a:r>
            <a:r>
              <a:rPr lang="de-DE" sz="1200" kern="1200" dirty="0">
                <a:solidFill>
                  <a:schemeClr val="tx1"/>
                </a:solidFill>
                <a:effectLst/>
                <a:latin typeface="+mn-lt"/>
                <a:ea typeface="+mn-ea"/>
                <a:cs typeface="+mn-cs"/>
              </a:rPr>
              <a:t>http://azure.microsoft.com/en-us/support/legal/sla/</a:t>
            </a:r>
            <a:r>
              <a:rPr lang="en-US" dirty="0"/>
              <a:t>).</a:t>
            </a:r>
            <a:endParaRPr lang="en-US" b="1" dirty="0"/>
          </a:p>
          <a:p>
            <a:pPr marL="0" indent="0">
              <a:buNone/>
            </a:pPr>
            <a:endParaRPr lang="en-US" b="1" dirty="0"/>
          </a:p>
          <a:p>
            <a:pPr marL="0" marR="0" lvl="1" indent="0" algn="l" defTabSz="914400" rtl="0" eaLnBrk="1" fontAlgn="auto" latinLnBrk="0" hangingPunct="1">
              <a:lnSpc>
                <a:spcPct val="100000"/>
              </a:lnSpc>
              <a:spcBef>
                <a:spcPts val="0"/>
              </a:spcBef>
              <a:spcAft>
                <a:spcPts val="0"/>
              </a:spcAft>
              <a:buClrTx/>
              <a:buSzTx/>
              <a:buFontTx/>
              <a:buNone/>
              <a:tabLst/>
              <a:defRPr/>
            </a:pPr>
            <a:r>
              <a:rPr lang="en-US" dirty="0"/>
              <a:t>A cloud service must have at least two instances of every role to qualify for the Azure Service Level Agreement, which guarantees external connectivity to your Internet-facing roles at least 99.95 percent of the time. With at least two VMs performing the same workload grouped into an </a:t>
            </a:r>
            <a:r>
              <a:rPr lang="en-US" sz="1200" dirty="0"/>
              <a:t>Availability Set</a:t>
            </a:r>
            <a:r>
              <a:rPr lang="en-US" dirty="0"/>
              <a:t>, you get a 99.95% SLA.</a:t>
            </a:r>
          </a:p>
          <a:p>
            <a:pPr marL="0" indent="0">
              <a:buNone/>
            </a:pPr>
            <a:endParaRPr lang="de-DE" sz="1200" kern="1200" dirty="0">
              <a:solidFill>
                <a:schemeClr val="tx1"/>
              </a:solidFill>
              <a:effectLst/>
              <a:latin typeface="+mn-lt"/>
              <a:ea typeface="+mn-ea"/>
              <a:cs typeface="+mn-cs"/>
            </a:endParaRPr>
          </a:p>
          <a:p>
            <a:pPr marL="0" indent="0">
              <a:buNone/>
            </a:pPr>
            <a:r>
              <a:rPr lang="de-DE" sz="1200" kern="1200" dirty="0">
                <a:solidFill>
                  <a:schemeClr val="tx1"/>
                </a:solidFill>
                <a:effectLst/>
                <a:latin typeface="+mn-lt"/>
                <a:ea typeface="+mn-ea"/>
                <a:cs typeface="+mn-cs"/>
              </a:rPr>
              <a:t>More </a:t>
            </a:r>
            <a:r>
              <a:rPr lang="de-DE" sz="1200" kern="1200" dirty="0" err="1">
                <a:solidFill>
                  <a:schemeClr val="tx1"/>
                </a:solidFill>
                <a:effectLst/>
                <a:latin typeface="+mn-lt"/>
                <a:ea typeface="+mn-ea"/>
                <a:cs typeface="+mn-cs"/>
              </a:rPr>
              <a:t>information</a:t>
            </a:r>
            <a:r>
              <a:rPr lang="de-DE" sz="1200" kern="1200" dirty="0">
                <a:solidFill>
                  <a:schemeClr val="tx1"/>
                </a:solidFill>
                <a:effectLst/>
                <a:latin typeface="+mn-lt"/>
                <a:ea typeface="+mn-ea"/>
                <a:cs typeface="+mn-cs"/>
              </a:rPr>
              <a:t>:</a:t>
            </a:r>
          </a:p>
          <a:p>
            <a:r>
              <a:rPr lang="it-IT" sz="1200" kern="1200" dirty="0" err="1">
                <a:solidFill>
                  <a:schemeClr val="tx1"/>
                </a:solidFill>
                <a:effectLst/>
                <a:latin typeface="+mn-lt"/>
                <a:ea typeface="+mn-ea"/>
                <a:cs typeface="+mn-cs"/>
              </a:rPr>
              <a:t>It's</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better</a:t>
            </a:r>
            <a:r>
              <a:rPr lang="it-IT" sz="1200" kern="1200" dirty="0">
                <a:solidFill>
                  <a:schemeClr val="tx1"/>
                </a:solidFill>
                <a:effectLst/>
                <a:latin typeface="+mn-lt"/>
                <a:ea typeface="+mn-ea"/>
                <a:cs typeface="+mn-cs"/>
              </a:rPr>
              <a:t> to report the SLA per </a:t>
            </a:r>
            <a:r>
              <a:rPr lang="it-IT" sz="1200" kern="1200" dirty="0" err="1">
                <a:solidFill>
                  <a:schemeClr val="tx1"/>
                </a:solidFill>
                <a:effectLst/>
                <a:latin typeface="+mn-lt"/>
                <a:ea typeface="+mn-ea"/>
                <a:cs typeface="+mn-cs"/>
              </a:rPr>
              <a:t>month</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as</a:t>
            </a:r>
            <a:r>
              <a:rPr lang="it-IT" sz="1200" kern="1200" dirty="0">
                <a:solidFill>
                  <a:schemeClr val="tx1"/>
                </a:solidFill>
                <a:effectLst/>
                <a:latin typeface="+mn-lt"/>
                <a:ea typeface="+mn-ea"/>
                <a:cs typeface="+mn-cs"/>
              </a:rPr>
              <a:t> the billing </a:t>
            </a:r>
            <a:r>
              <a:rPr lang="it-IT" sz="1200" kern="1200" dirty="0" err="1">
                <a:solidFill>
                  <a:schemeClr val="tx1"/>
                </a:solidFill>
                <a:effectLst/>
                <a:latin typeface="+mn-lt"/>
                <a:ea typeface="+mn-ea"/>
                <a:cs typeface="+mn-cs"/>
              </a:rPr>
              <a:t>cycle</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is</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monthly</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based</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which</a:t>
            </a:r>
            <a:r>
              <a:rPr lang="it-IT" sz="1200" kern="1200" dirty="0">
                <a:solidFill>
                  <a:schemeClr val="tx1"/>
                </a:solidFill>
                <a:effectLst/>
                <a:latin typeface="+mn-lt"/>
                <a:ea typeface="+mn-ea"/>
                <a:cs typeface="+mn-cs"/>
              </a:rPr>
              <a:t> </a:t>
            </a:r>
            <a:r>
              <a:rPr lang="it-IT" sz="1200" kern="1200" dirty="0" err="1">
                <a:solidFill>
                  <a:schemeClr val="tx1"/>
                </a:solidFill>
                <a:effectLst/>
                <a:latin typeface="+mn-lt"/>
                <a:ea typeface="+mn-ea"/>
                <a:cs typeface="+mn-cs"/>
              </a:rPr>
              <a:t>is</a:t>
            </a:r>
            <a:r>
              <a:rPr lang="it-IT" sz="1200" kern="1200" dirty="0">
                <a:solidFill>
                  <a:schemeClr val="tx1"/>
                </a:solidFill>
                <a:effectLst/>
                <a:latin typeface="+mn-lt"/>
                <a:ea typeface="+mn-ea"/>
                <a:cs typeface="+mn-cs"/>
              </a:rPr>
              <a:t> 20 minutes / </a:t>
            </a:r>
            <a:r>
              <a:rPr lang="it-IT" sz="1200" kern="1200" dirty="0" err="1">
                <a:solidFill>
                  <a:schemeClr val="tx1"/>
                </a:solidFill>
                <a:effectLst/>
                <a:latin typeface="+mn-lt"/>
                <a:ea typeface="+mn-ea"/>
                <a:cs typeface="+mn-cs"/>
              </a:rPr>
              <a:t>month</a:t>
            </a:r>
            <a:r>
              <a:rPr lang="it-IT" sz="1200" kern="1200" dirty="0">
                <a:solidFill>
                  <a:schemeClr val="tx1"/>
                </a:solidFill>
                <a:effectLst/>
                <a:latin typeface="+mn-lt"/>
                <a:ea typeface="+mn-ea"/>
                <a:cs typeface="+mn-cs"/>
              </a:rPr>
              <a:t> per VM</a:t>
            </a:r>
            <a:endParaRPr lang="de-DE"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http://azure.microsoft.com/en-us/support/legal/sla/</a:t>
            </a:r>
          </a:p>
          <a:p>
            <a:endParaRPr lang="de-DE" sz="1200" kern="1200" dirty="0">
              <a:solidFill>
                <a:schemeClr val="tx1"/>
              </a:solidFill>
              <a:effectLst/>
              <a:latin typeface="+mn-lt"/>
              <a:ea typeface="+mn-ea"/>
              <a:cs typeface="+mn-cs"/>
            </a:endParaRPr>
          </a:p>
          <a:p>
            <a:r>
              <a:rPr lang="de-DE" sz="1200" kern="1200" dirty="0" err="1">
                <a:solidFill>
                  <a:schemeClr val="tx1"/>
                </a:solidFill>
                <a:effectLst/>
                <a:latin typeface="+mn-lt"/>
                <a:ea typeface="+mn-ea"/>
                <a:cs typeface="+mn-cs"/>
              </a:rPr>
              <a:t>No</a:t>
            </a:r>
            <a:r>
              <a:rPr lang="de-DE" sz="1200" kern="1200" baseline="0" dirty="0">
                <a:solidFill>
                  <a:schemeClr val="tx1"/>
                </a:solidFill>
                <a:effectLst/>
                <a:latin typeface="+mn-lt"/>
                <a:ea typeface="+mn-ea"/>
                <a:cs typeface="+mn-cs"/>
              </a:rPr>
              <a:t> SLA </a:t>
            </a:r>
            <a:r>
              <a:rPr lang="de-DE" sz="1200" kern="1200" baseline="0" dirty="0" err="1">
                <a:solidFill>
                  <a:schemeClr val="tx1"/>
                </a:solidFill>
                <a:effectLst/>
                <a:latin typeface="+mn-lt"/>
                <a:ea typeface="+mn-ea"/>
                <a:cs typeface="+mn-cs"/>
              </a:rPr>
              <a:t>for</a:t>
            </a:r>
            <a:r>
              <a:rPr lang="de-DE" sz="1200" kern="1200" baseline="0" dirty="0">
                <a:solidFill>
                  <a:schemeClr val="tx1"/>
                </a:solidFill>
                <a:effectLst/>
                <a:latin typeface="+mn-lt"/>
                <a:ea typeface="+mn-ea"/>
                <a:cs typeface="+mn-cs"/>
              </a:rPr>
              <a:t> </a:t>
            </a:r>
            <a:r>
              <a:rPr lang="de-DE" sz="1200" kern="1200" baseline="0" dirty="0" err="1">
                <a:solidFill>
                  <a:schemeClr val="tx1"/>
                </a:solidFill>
                <a:effectLst/>
                <a:latin typeface="+mn-lt"/>
                <a:ea typeface="+mn-ea"/>
                <a:cs typeface="+mn-cs"/>
              </a:rPr>
              <a:t>single</a:t>
            </a:r>
            <a:r>
              <a:rPr lang="de-DE" sz="1200" kern="1200" baseline="0" dirty="0">
                <a:solidFill>
                  <a:schemeClr val="tx1"/>
                </a:solidFill>
                <a:effectLst/>
                <a:latin typeface="+mn-lt"/>
                <a:ea typeface="+mn-ea"/>
                <a:cs typeface="+mn-cs"/>
              </a:rPr>
              <a:t> VM </a:t>
            </a:r>
            <a:r>
              <a:rPr lang="de-DE" sz="1200" kern="1200" baseline="0" dirty="0" err="1">
                <a:solidFill>
                  <a:schemeClr val="tx1"/>
                </a:solidFill>
                <a:effectLst/>
                <a:latin typeface="+mn-lt"/>
                <a:ea typeface="+mn-ea"/>
                <a:cs typeface="+mn-cs"/>
              </a:rPr>
              <a:t>see</a:t>
            </a:r>
            <a:r>
              <a:rPr lang="de-DE" sz="1200" kern="1200" baseline="0" dirty="0">
                <a:solidFill>
                  <a:schemeClr val="tx1"/>
                </a:solidFill>
                <a:effectLst/>
                <a:latin typeface="+mn-lt"/>
                <a:ea typeface="+mn-ea"/>
                <a:cs typeface="+mn-cs"/>
              </a:rPr>
              <a:t>:</a:t>
            </a:r>
            <a:endParaRPr lang="de-DE" sz="1200" kern="1200" dirty="0">
              <a:solidFill>
                <a:schemeClr val="tx1"/>
              </a:solidFill>
              <a:effectLst/>
              <a:latin typeface="+mn-lt"/>
              <a:ea typeface="+mn-ea"/>
              <a:cs typeface="+mn-cs"/>
            </a:endParaRPr>
          </a:p>
          <a:p>
            <a:r>
              <a:rPr lang="de-DE" dirty="0"/>
              <a:t>https://tr19.techreadytv.com/sessions/AZR326.aspx</a:t>
            </a:r>
          </a:p>
        </p:txBody>
      </p:sp>
      <p:sp>
        <p:nvSpPr>
          <p:cNvPr id="4" name="Slide Number Placeholder 3"/>
          <p:cNvSpPr>
            <a:spLocks noGrp="1"/>
          </p:cNvSpPr>
          <p:nvPr>
            <p:ph type="sldNum" sz="quarter" idx="10"/>
          </p:nvPr>
        </p:nvSpPr>
        <p:spPr/>
        <p:txBody>
          <a:bodyPr/>
          <a:lstStyle/>
          <a:p>
            <a:fld id="{3914BC00-1402-49CF-9CEB-7C8FB383AFA3}" type="slidenum">
              <a:rPr lang="de-DE" smtClean="0">
                <a:solidFill>
                  <a:prstClr val="black"/>
                </a:solidFill>
              </a:rPr>
              <a:pPr/>
              <a:t>62</a:t>
            </a:fld>
            <a:endParaRPr lang="de-DE">
              <a:solidFill>
                <a:prstClr val="black"/>
              </a:solidFill>
            </a:endParaRPr>
          </a:p>
        </p:txBody>
      </p:sp>
    </p:spTree>
    <p:extLst>
      <p:ext uri="{BB962C8B-B14F-4D97-AF65-F5344CB8AC3E}">
        <p14:creationId xmlns:p14="http://schemas.microsoft.com/office/powerpoint/2010/main" val="27482591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68</a:t>
            </a:fld>
            <a:endParaRPr lang="en-US"/>
          </a:p>
        </p:txBody>
      </p:sp>
      <p:sp>
        <p:nvSpPr>
          <p:cNvPr id="7" name="Notes Placeholder 6"/>
          <p:cNvSpPr>
            <a:spLocks noGrp="1"/>
          </p:cNvSpPr>
          <p:nvPr>
            <p:ph type="body" idx="1"/>
          </p:nvPr>
        </p:nvSpPr>
        <p:spPr/>
        <p:txBody>
          <a:bodyPr/>
          <a:lstStyle/>
          <a:p>
            <a:pPr marL="0" indent="0">
              <a:buNone/>
            </a:pPr>
            <a:r>
              <a:rPr lang="en-NZ" b="1" dirty="0"/>
              <a:t>Slide Objective</a:t>
            </a:r>
            <a:endParaRPr lang="en-US" b="1" dirty="0"/>
          </a:p>
          <a:p>
            <a:pPr marL="0" indent="0">
              <a:buNone/>
            </a:pPr>
            <a:r>
              <a:rPr lang="en-NZ" dirty="0"/>
              <a:t>Discuss achieving very high availability with Microsoft Azure</a:t>
            </a:r>
            <a:endParaRPr lang="en-US" dirty="0"/>
          </a:p>
          <a:p>
            <a:pPr marL="0" indent="0">
              <a:buNone/>
            </a:pPr>
            <a:r>
              <a:rPr lang="en-US" b="1" dirty="0"/>
              <a:t>Notes</a:t>
            </a:r>
          </a:p>
          <a:p>
            <a:pPr marL="0" indent="0">
              <a:buNone/>
            </a:pPr>
            <a:r>
              <a:rPr lang="en-US" dirty="0"/>
              <a:t>To achieve high availability and fault tolerance, we have adopted fault and upgrade domains for deploying and upgrading applications. A fault domain is essentially a single point of failure. Thus, a rack of hardware in a data center can be a fault domain, since a power outage of the rack will take out the collection of hardware. Under this assumption, Microsoft Azure deploys role instances of an application into at least two fault domains </a:t>
            </a:r>
            <a:r>
              <a:rPr lang="en-US" dirty="0" smtClean="0"/>
              <a:t>by </a:t>
            </a:r>
            <a:r>
              <a:rPr lang="en-US" dirty="0"/>
              <a:t>default, which ensures fault tolerance.</a:t>
            </a:r>
          </a:p>
          <a:p>
            <a:pPr marL="0" indent="0">
              <a:buNone/>
            </a:pPr>
            <a:r>
              <a:rPr lang="en-US" dirty="0"/>
              <a:t>When possible, Microsoft Azure distributes role instances of an application evenly into multiple update domains, with each update domain as a logical unit of the application’s deployment. This means that host updates honor those update domains, ensuring the least possible impact to the running service. You can control many update domains using an attribute in the service definition.</a:t>
            </a:r>
          </a:p>
          <a:p>
            <a:pPr marL="0" indent="0">
              <a:buNone/>
            </a:pPr>
            <a:r>
              <a:rPr lang="en-NZ" b="1" dirty="0"/>
              <a:t>Points to Remember</a:t>
            </a:r>
            <a:endParaRPr lang="en-US" b="1" dirty="0"/>
          </a:p>
          <a:p>
            <a:pPr lvl="0"/>
            <a:r>
              <a:rPr lang="en-NZ" dirty="0"/>
              <a:t>A fault domain is a physical unit of failure, and is closely related to the physical infrastructure in the data </a:t>
            </a:r>
            <a:r>
              <a:rPr lang="en-US" dirty="0"/>
              <a:t>centers</a:t>
            </a:r>
          </a:p>
          <a:p>
            <a:pPr lvl="1"/>
            <a:r>
              <a:rPr lang="en-NZ" dirty="0"/>
              <a:t>In Microsoft Azure, the rack can be considered a fault domain. However, there is no 1:1 mapping between fault domain and rack</a:t>
            </a:r>
            <a:endParaRPr lang="en-US" dirty="0"/>
          </a:p>
          <a:p>
            <a:pPr lvl="0"/>
            <a:r>
              <a:rPr lang="en-NZ" dirty="0">
                <a:solidFill>
                  <a:srgbClr val="FF0000"/>
                </a:solidFill>
              </a:rPr>
              <a:t>Microsoft Azure </a:t>
            </a:r>
            <a:r>
              <a:rPr lang="en-NZ" dirty="0"/>
              <a:t>is responsible for deploying the instances of your application in different fault domains</a:t>
            </a:r>
            <a:endParaRPr lang="en-US" dirty="0"/>
          </a:p>
          <a:p>
            <a:pPr lvl="1"/>
            <a:r>
              <a:rPr lang="en-NZ" dirty="0"/>
              <a:t>This only applies if you run more than one instance</a:t>
            </a:r>
          </a:p>
          <a:p>
            <a:pPr marL="171450" lvl="0" indent="-171450">
              <a:buFont typeface="Arial" pitchFamily="34" charset="0"/>
              <a:buChar char="•"/>
            </a:pPr>
            <a:r>
              <a:rPr lang="en-NZ" dirty="0"/>
              <a:t>Now, Microsoft Azure ensures that your application uses at least two fault domains. However, depending on capacity and VM availability, your application may be spread across more than two fault domains</a:t>
            </a:r>
            <a:endParaRPr lang="en-US" sz="1100" dirty="0"/>
          </a:p>
          <a:p>
            <a:pPr marL="171450" lvl="0" indent="-171450">
              <a:buFont typeface="Arial" pitchFamily="34" charset="0"/>
              <a:buChar char="•"/>
            </a:pPr>
            <a:r>
              <a:rPr lang="en-NZ" dirty="0"/>
              <a:t>As a developer, you have no direct control over how many fault domains your application will use, but the way you configure it may impact your availability</a:t>
            </a:r>
            <a:endParaRPr lang="en-US" sz="1100" dirty="0"/>
          </a:p>
          <a:p>
            <a:pPr marL="171450" lvl="0" indent="-171450">
              <a:buFont typeface="Arial" pitchFamily="34" charset="0"/>
              <a:buChar char="•"/>
            </a:pPr>
            <a:r>
              <a:rPr lang="en-NZ" dirty="0"/>
              <a:t>You can have up to 5 Update domains. Cannot adjust past this.</a:t>
            </a:r>
            <a:endParaRPr lang="en-US" dirty="0"/>
          </a:p>
        </p:txBody>
      </p:sp>
      <p:sp>
        <p:nvSpPr>
          <p:cNvPr id="5" name="Slide Image Placeholder 4"/>
          <p:cNvSpPr>
            <a:spLocks noGrp="1" noRot="1" noChangeAspect="1"/>
          </p:cNvSpPr>
          <p:nvPr>
            <p:ph type="sldImg"/>
          </p:nvPr>
        </p:nvSpPr>
        <p:spPr>
          <a:xfrm>
            <a:off x="384175" y="484188"/>
            <a:ext cx="6096000" cy="3429000"/>
          </a:xfrm>
        </p:spPr>
      </p:sp>
      <p:sp>
        <p:nvSpPr>
          <p:cNvPr id="2" name="Rectangle 1"/>
          <p:cNvSpPr/>
          <p:nvPr/>
        </p:nvSpPr>
        <p:spPr>
          <a:xfrm>
            <a:off x="-2895600" y="6301382"/>
            <a:ext cx="3175000" cy="2123658"/>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TWB_Trevor:</a:t>
            </a:r>
          </a:p>
          <a:p>
            <a:r>
              <a:rPr lang="en-US" sz="1100" i="1" dirty="0">
                <a:latin typeface="Calibri"/>
              </a:rPr>
              <a:t>08 October 2013
</a:t>
            </a:r>
            <a:r>
              <a:rPr lang="en-US" sz="1100" dirty="0">
                <a:latin typeface="Calibri"/>
              </a:rPr>
              <a:t>Microsoft Azure Fabric was changed to just “Microsoft Azure” because </a:t>
            </a:r>
            <a:r>
              <a:rPr lang="en-US" sz="1100" dirty="0" err="1">
                <a:latin typeface="Calibri"/>
              </a:rPr>
              <a:t>MSStyle</a:t>
            </a:r>
            <a:r>
              <a:rPr lang="en-US" sz="1100" dirty="0">
                <a:latin typeface="Calibri"/>
              </a:rPr>
              <a:t> recommends that “fabric” be used sparingly in customer-facing content.</a:t>
            </a:r>
          </a:p>
          <a:p>
            <a:endParaRPr lang="en-US" sz="1100" dirty="0">
              <a:latin typeface="Calibri"/>
            </a:endParaRPr>
          </a:p>
          <a:p>
            <a:r>
              <a:rPr lang="en-US" sz="1100" dirty="0">
                <a:latin typeface="Calibri"/>
              </a:rPr>
              <a:t>In other slides/notes pages of this PPT, Fabric has been changed to “Microsoft Azure” as applicable to the context. Where the context was not clear, a comment has been added.</a:t>
            </a:r>
          </a:p>
        </p:txBody>
      </p:sp>
    </p:spTree>
    <p:extLst>
      <p:ext uri="{BB962C8B-B14F-4D97-AF65-F5344CB8AC3E}">
        <p14:creationId xmlns:p14="http://schemas.microsoft.com/office/powerpoint/2010/main" val="20517411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69</a:t>
            </a:fld>
            <a:endParaRPr lang="en-US"/>
          </a:p>
        </p:txBody>
      </p:sp>
      <p:sp>
        <p:nvSpPr>
          <p:cNvPr id="7" name="Notes Placeholder 6"/>
          <p:cNvSpPr>
            <a:spLocks noGrp="1"/>
          </p:cNvSpPr>
          <p:nvPr>
            <p:ph type="body" idx="1"/>
          </p:nvPr>
        </p:nvSpPr>
        <p:spPr/>
        <p:txBody>
          <a:bodyPr/>
          <a:lstStyle/>
          <a:p>
            <a:pPr marL="0" indent="0">
              <a:buNone/>
            </a:pPr>
            <a:r>
              <a:rPr lang="en-US" b="1" dirty="0"/>
              <a:t>Slide Objective</a:t>
            </a:r>
          </a:p>
          <a:p>
            <a:pPr marL="0" indent="0">
              <a:buNone/>
            </a:pPr>
            <a:r>
              <a:rPr lang="en-NZ" dirty="0"/>
              <a:t>Explain Availability Sets</a:t>
            </a:r>
            <a:endParaRPr lang="en-US" dirty="0"/>
          </a:p>
          <a:p>
            <a:pPr marL="0" indent="0">
              <a:buNone/>
            </a:pPr>
            <a:r>
              <a:rPr lang="en-NZ" b="1" dirty="0"/>
              <a:t>Notes</a:t>
            </a:r>
            <a:endParaRPr lang="en-US" b="1" dirty="0"/>
          </a:p>
          <a:p>
            <a:pPr marL="0" indent="0">
              <a:buNone/>
            </a:pPr>
            <a:r>
              <a:rPr lang="en-NZ" dirty="0"/>
              <a:t>Availability Sets tell the Fabric Controller (FC) to place VMs in the same set on different racks for faults and in separate upgrade domains for updates.</a:t>
            </a:r>
            <a:endParaRPr lang="en-US" dirty="0"/>
          </a:p>
          <a:p>
            <a:pPr marL="0" indent="0">
              <a:buNone/>
            </a:pPr>
            <a:r>
              <a:rPr lang="en-NZ" dirty="0"/>
              <a:t>This essentially tells the FC not to </a:t>
            </a:r>
            <a:r>
              <a:rPr lang="en-NZ" dirty="0">
                <a:solidFill>
                  <a:srgbClr val="FF0000"/>
                </a:solidFill>
              </a:rPr>
              <a:t>take down the guest OS </a:t>
            </a:r>
            <a:r>
              <a:rPr lang="en-NZ" dirty="0"/>
              <a:t>of all VMs in the same set for host updates.</a:t>
            </a:r>
            <a:endParaRPr lang="en-US" dirty="0"/>
          </a:p>
          <a:p>
            <a:pPr marL="0" indent="0">
              <a:buNone/>
            </a:pPr>
            <a:r>
              <a:rPr lang="en-US" dirty="0"/>
              <a:t>When you first come into the slide, you will see four separate VMs.</a:t>
            </a:r>
          </a:p>
          <a:p>
            <a:pPr lvl="0"/>
            <a:r>
              <a:rPr lang="en-US" dirty="0"/>
              <a:t>&lt;Click&gt; the VMs with IIS (1 and 2) are grouped into an AS. It is up to you to find out how these machines are grouped</a:t>
            </a:r>
          </a:p>
          <a:p>
            <a:pPr lvl="0"/>
            <a:r>
              <a:rPr lang="en-US" dirty="0"/>
              <a:t>&lt;Click&gt;&lt;Click&gt;, as in the previous slide, it shows machines being separated into fault domains even though they may belong to a different AS</a:t>
            </a:r>
          </a:p>
          <a:p>
            <a:pPr lvl="0"/>
            <a:r>
              <a:rPr lang="en-US" dirty="0"/>
              <a:t>&lt;Click&gt;&lt;Click&gt;, shows how the machines within an AS are separated within update domains</a:t>
            </a:r>
          </a:p>
        </p:txBody>
      </p:sp>
      <p:sp>
        <p:nvSpPr>
          <p:cNvPr id="5" name="Slide Image Placeholder 4"/>
          <p:cNvSpPr>
            <a:spLocks noGrp="1" noRot="1" noChangeAspect="1"/>
          </p:cNvSpPr>
          <p:nvPr>
            <p:ph type="sldImg"/>
          </p:nvPr>
        </p:nvSpPr>
        <p:spPr>
          <a:xfrm>
            <a:off x="384175" y="484188"/>
            <a:ext cx="6096000" cy="3429000"/>
          </a:xfrm>
        </p:spPr>
      </p:sp>
      <p:sp>
        <p:nvSpPr>
          <p:cNvPr id="9" name="Rectangle 8"/>
          <p:cNvSpPr/>
          <p:nvPr/>
        </p:nvSpPr>
        <p:spPr>
          <a:xfrm>
            <a:off x="-2971800" y="4588420"/>
            <a:ext cx="3175000" cy="1107996"/>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TWB_Trevor:</a:t>
            </a:r>
          </a:p>
          <a:p>
            <a:r>
              <a:rPr lang="en-US" sz="1100" i="1" dirty="0">
                <a:latin typeface="Calibri"/>
              </a:rPr>
              <a:t>08 October 2013
</a:t>
            </a:r>
            <a:r>
              <a:rPr lang="en-US" sz="1100" dirty="0">
                <a:latin typeface="Calibri"/>
              </a:rPr>
              <a:t>This was originally “take the guest OS down”. Kindly confirm that the edit has not affected technical accuracy.</a:t>
            </a:r>
          </a:p>
        </p:txBody>
      </p:sp>
    </p:spTree>
    <p:extLst>
      <p:ext uri="{BB962C8B-B14F-4D97-AF65-F5344CB8AC3E}">
        <p14:creationId xmlns:p14="http://schemas.microsoft.com/office/powerpoint/2010/main" val="367731829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70</a:t>
            </a:fld>
            <a:endParaRPr lang="en-US"/>
          </a:p>
        </p:txBody>
      </p:sp>
      <p:sp>
        <p:nvSpPr>
          <p:cNvPr id="3" name="Slide Image Placeholder 2"/>
          <p:cNvSpPr>
            <a:spLocks noGrp="1" noRot="1" noChangeAspect="1"/>
          </p:cNvSpPr>
          <p:nvPr>
            <p:ph type="sldImg"/>
          </p:nvPr>
        </p:nvSpPr>
        <p:spPr>
          <a:xfrm>
            <a:off x="384175" y="484188"/>
            <a:ext cx="6096000" cy="3429000"/>
          </a:xfrm>
        </p:spPr>
      </p:sp>
      <p:sp>
        <p:nvSpPr>
          <p:cNvPr id="5" name="Notes Placeholder 4"/>
          <p:cNvSpPr>
            <a:spLocks noGrp="1"/>
          </p:cNvSpPr>
          <p:nvPr>
            <p:ph type="body" idx="1"/>
          </p:nvPr>
        </p:nvSpPr>
        <p:spPr/>
        <p:txBody>
          <a:bodyPr/>
          <a:lstStyle/>
          <a:p>
            <a:pPr marL="0" indent="0">
              <a:buNone/>
            </a:pPr>
            <a:r>
              <a:rPr lang="en-US" dirty="0"/>
              <a:t>How does this relate to the SLA?</a:t>
            </a:r>
          </a:p>
          <a:p>
            <a:pPr marL="0" indent="0">
              <a:buNone/>
            </a:pPr>
            <a:r>
              <a:rPr lang="en-US" dirty="0"/>
              <a:t>We have something </a:t>
            </a:r>
            <a:r>
              <a:rPr lang="en-US" dirty="0">
                <a:solidFill>
                  <a:srgbClr val="FF0000"/>
                </a:solidFill>
              </a:rPr>
              <a:t>new </a:t>
            </a:r>
            <a:r>
              <a:rPr lang="en-US" dirty="0"/>
              <a:t>now called Availability Sets, which are similar to fault domains. You can specify VMs together, running in an AS and be able to realize a 99.95 SLA around that. When you are provisioning VMs; you will see that you can group them together in Availability Sets.</a:t>
            </a:r>
          </a:p>
          <a:p>
            <a:pPr marL="0" indent="0">
              <a:buNone/>
            </a:pPr>
            <a:r>
              <a:rPr lang="en-US" dirty="0"/>
              <a:t>The figure on the slide does not represent SQL Clustering (currently not available in Microsoft Azure), it represents what may be a failover setup, mirroring etc.</a:t>
            </a:r>
          </a:p>
        </p:txBody>
      </p:sp>
      <p:sp>
        <p:nvSpPr>
          <p:cNvPr id="8" name="Rectangle 7"/>
          <p:cNvSpPr/>
          <p:nvPr/>
        </p:nvSpPr>
        <p:spPr>
          <a:xfrm>
            <a:off x="6642100" y="4353127"/>
            <a:ext cx="3175000" cy="1107996"/>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TWB_Trevor:</a:t>
            </a:r>
          </a:p>
          <a:p>
            <a:r>
              <a:rPr lang="en-US" sz="1100" i="1" dirty="0">
                <a:latin typeface="Calibri"/>
              </a:rPr>
              <a:t>08 October 2013
</a:t>
            </a:r>
            <a:r>
              <a:rPr lang="en-US" sz="1100" dirty="0">
                <a:latin typeface="Calibri"/>
              </a:rPr>
              <a:t>Should “SQL Clustering” be changed to “SQL Server clustering”? Note that the image on the slide shows instances of SQL Server.</a:t>
            </a:r>
          </a:p>
        </p:txBody>
      </p:sp>
      <p:sp>
        <p:nvSpPr>
          <p:cNvPr id="9" name="Rectangle 8"/>
          <p:cNvSpPr/>
          <p:nvPr/>
        </p:nvSpPr>
        <p:spPr>
          <a:xfrm>
            <a:off x="-3164268" y="3082919"/>
            <a:ext cx="3175000" cy="1277273"/>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Biju</a:t>
            </a:r>
          </a:p>
          <a:p>
            <a:r>
              <a:rPr lang="en-US" sz="1100" i="1" dirty="0">
                <a:latin typeface="Calibri"/>
              </a:rPr>
              <a:t>08 October 2013</a:t>
            </a:r>
          </a:p>
          <a:p>
            <a:r>
              <a:rPr lang="en-US" sz="1100" i="1" dirty="0">
                <a:latin typeface="Calibri"/>
              </a:rPr>
              <a:t>
</a:t>
            </a:r>
            <a:r>
              <a:rPr lang="en-US" sz="1100" dirty="0">
                <a:latin typeface="Calibri"/>
              </a:rPr>
              <a:t>Does this feature qualify to be termed new as per LCA guidelines. </a:t>
            </a:r>
            <a:r>
              <a:rPr lang="en-US" sz="1100" dirty="0"/>
              <a:t>Kindly refer http://lcaweb/marketing/contentguide/Pages/RedFlag.aspx</a:t>
            </a:r>
            <a:endParaRPr lang="en-US" sz="1100" dirty="0">
              <a:latin typeface="Calibri"/>
            </a:endParaRPr>
          </a:p>
        </p:txBody>
      </p:sp>
    </p:spTree>
    <p:extLst>
      <p:ext uri="{BB962C8B-B14F-4D97-AF65-F5344CB8AC3E}">
        <p14:creationId xmlns:p14="http://schemas.microsoft.com/office/powerpoint/2010/main" val="420869559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71</a:t>
            </a:fld>
            <a:endParaRPr lang="en-US"/>
          </a:p>
        </p:txBody>
      </p:sp>
      <p:sp>
        <p:nvSpPr>
          <p:cNvPr id="3" name="Slide Image Placeholder 2"/>
          <p:cNvSpPr>
            <a:spLocks noGrp="1" noRot="1" noChangeAspect="1"/>
          </p:cNvSpPr>
          <p:nvPr>
            <p:ph type="sldImg"/>
          </p:nvPr>
        </p:nvSpPr>
        <p:spPr>
          <a:xfrm>
            <a:off x="384175" y="484188"/>
            <a:ext cx="6096000" cy="3429000"/>
          </a:xfrm>
        </p:spPr>
      </p:sp>
      <p:sp>
        <p:nvSpPr>
          <p:cNvPr id="5" name="Notes Placeholder 4"/>
          <p:cNvSpPr>
            <a:spLocks noGrp="1"/>
          </p:cNvSpPr>
          <p:nvPr>
            <p:ph type="body" idx="1"/>
          </p:nvPr>
        </p:nvSpPr>
        <p:spPr/>
        <p:txBody>
          <a:bodyPr/>
          <a:lstStyle/>
          <a:p>
            <a:pPr marL="0" indent="0">
              <a:buNone/>
            </a:pPr>
            <a:r>
              <a:rPr lang="en-US" dirty="0"/>
              <a:t>The slide represents high availability in terms of:</a:t>
            </a:r>
          </a:p>
          <a:p>
            <a:pPr lvl="0"/>
            <a:r>
              <a:rPr lang="en-US" dirty="0"/>
              <a:t>Having multiple web roles in an IIS application but having it load balanced by Microsoft Azure</a:t>
            </a:r>
          </a:p>
          <a:p>
            <a:r>
              <a:rPr lang="en-US" dirty="0"/>
              <a:t>AS for the SQL Servers. Notice that this is not load balanced because we can only point to one (no SQL Clustering)</a:t>
            </a:r>
          </a:p>
        </p:txBody>
      </p:sp>
      <p:sp>
        <p:nvSpPr>
          <p:cNvPr id="6" name="Rectangle 5"/>
          <p:cNvSpPr/>
          <p:nvPr/>
        </p:nvSpPr>
        <p:spPr>
          <a:xfrm>
            <a:off x="-2832100" y="4043233"/>
            <a:ext cx="3175000" cy="1107996"/>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TWB_Trevor:</a:t>
            </a:r>
          </a:p>
          <a:p>
            <a:r>
              <a:rPr lang="en-US" sz="1100" i="1" dirty="0">
                <a:latin typeface="Calibri"/>
              </a:rPr>
              <a:t>08 October 2013
</a:t>
            </a:r>
            <a:r>
              <a:rPr lang="en-US" sz="1100" dirty="0">
                <a:latin typeface="Calibri"/>
              </a:rPr>
              <a:t>Should “SQL Clustering” be changed to “SQL Server clustering”? Note that the image on the slide shows instances of SQL Server.</a:t>
            </a:r>
          </a:p>
        </p:txBody>
      </p:sp>
    </p:spTree>
    <p:extLst>
      <p:ext uri="{BB962C8B-B14F-4D97-AF65-F5344CB8AC3E}">
        <p14:creationId xmlns:p14="http://schemas.microsoft.com/office/powerpoint/2010/main" val="203680726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smtClean="0">
                <a:solidFill>
                  <a:schemeClr val="tx1"/>
                </a:solidFill>
                <a:effectLst/>
                <a:latin typeface="+mn-lt"/>
                <a:ea typeface="+mn-ea"/>
                <a:cs typeface="+mn-cs"/>
              </a:rPr>
              <a:t>JSON Schema</a:t>
            </a:r>
            <a:r>
              <a:rPr lang="en-IN" sz="1200" b="0" i="0" kern="1200" dirty="0" smtClean="0">
                <a:solidFill>
                  <a:schemeClr val="tx1"/>
                </a:solidFill>
                <a:effectLst/>
                <a:latin typeface="+mn-lt"/>
                <a:ea typeface="+mn-ea"/>
                <a:cs typeface="+mn-cs"/>
              </a:rPr>
              <a:t> is a </a:t>
            </a:r>
            <a:r>
              <a:rPr lang="en-IN" sz="1200" b="1" i="0" kern="1200" dirty="0" smtClean="0">
                <a:solidFill>
                  <a:schemeClr val="tx1"/>
                </a:solidFill>
                <a:effectLst/>
                <a:latin typeface="+mn-lt"/>
                <a:ea typeface="+mn-ea"/>
                <a:cs typeface="+mn-cs"/>
              </a:rPr>
              <a:t>JSON</a:t>
            </a:r>
            <a:r>
              <a:rPr lang="en-IN" sz="1200" b="0" i="0" kern="1200" dirty="0" smtClean="0">
                <a:solidFill>
                  <a:schemeClr val="tx1"/>
                </a:solidFill>
                <a:effectLst/>
                <a:latin typeface="+mn-lt"/>
                <a:ea typeface="+mn-ea"/>
                <a:cs typeface="+mn-cs"/>
              </a:rPr>
              <a:t> media type for defining the structure of </a:t>
            </a:r>
            <a:r>
              <a:rPr lang="en-IN" sz="1200" b="1" i="0" kern="1200" dirty="0" smtClean="0">
                <a:solidFill>
                  <a:schemeClr val="tx1"/>
                </a:solidFill>
                <a:effectLst/>
                <a:latin typeface="+mn-lt"/>
                <a:ea typeface="+mn-ea"/>
                <a:cs typeface="+mn-cs"/>
              </a:rPr>
              <a:t>JSON</a:t>
            </a:r>
            <a:r>
              <a:rPr lang="en-IN" sz="1200" b="0" i="0" kern="1200" dirty="0" smtClean="0">
                <a:solidFill>
                  <a:schemeClr val="tx1"/>
                </a:solidFill>
                <a:effectLst/>
                <a:latin typeface="+mn-lt"/>
                <a:ea typeface="+mn-ea"/>
                <a:cs typeface="+mn-cs"/>
              </a:rPr>
              <a:t> </a:t>
            </a:r>
            <a:r>
              <a:rPr lang="en-IN" sz="1200" b="0" i="0" kern="1200" dirty="0" err="1" smtClean="0">
                <a:solidFill>
                  <a:schemeClr val="tx1"/>
                </a:solidFill>
                <a:effectLst/>
                <a:latin typeface="+mn-lt"/>
                <a:ea typeface="+mn-ea"/>
                <a:cs typeface="+mn-cs"/>
              </a:rPr>
              <a:t>data.</a:t>
            </a:r>
            <a:r>
              <a:rPr lang="en-IN" sz="1200" b="1" i="0" kern="1200" dirty="0" err="1" smtClean="0">
                <a:solidFill>
                  <a:schemeClr val="tx1"/>
                </a:solidFill>
                <a:effectLst/>
                <a:latin typeface="+mn-lt"/>
                <a:ea typeface="+mn-ea"/>
                <a:cs typeface="+mn-cs"/>
              </a:rPr>
              <a:t>JSON</a:t>
            </a:r>
            <a:r>
              <a:rPr lang="en-IN" sz="1200" b="1" i="0" kern="1200" dirty="0" smtClean="0">
                <a:solidFill>
                  <a:schemeClr val="tx1"/>
                </a:solidFill>
                <a:effectLst/>
                <a:latin typeface="+mn-lt"/>
                <a:ea typeface="+mn-ea"/>
                <a:cs typeface="+mn-cs"/>
              </a:rPr>
              <a:t> Schema</a:t>
            </a:r>
            <a:r>
              <a:rPr lang="en-IN" sz="1200" b="0" i="0" kern="1200" dirty="0" smtClean="0">
                <a:solidFill>
                  <a:schemeClr val="tx1"/>
                </a:solidFill>
                <a:effectLst/>
                <a:latin typeface="+mn-lt"/>
                <a:ea typeface="+mn-ea"/>
                <a:cs typeface="+mn-cs"/>
              </a:rPr>
              <a:t> is intended to define validation, documentation, hyperlink navigation, and interaction control of </a:t>
            </a:r>
            <a:r>
              <a:rPr lang="en-IN" sz="1200" b="1" i="0" kern="1200" dirty="0" smtClean="0">
                <a:solidFill>
                  <a:schemeClr val="tx1"/>
                </a:solidFill>
                <a:effectLst/>
                <a:latin typeface="+mn-lt"/>
                <a:ea typeface="+mn-ea"/>
                <a:cs typeface="+mn-cs"/>
              </a:rPr>
              <a:t>JSON</a:t>
            </a:r>
            <a:r>
              <a:rPr lang="en-IN" sz="1200" b="0" i="0" kern="1200" dirty="0" smtClean="0">
                <a:solidFill>
                  <a:schemeClr val="tx1"/>
                </a:solidFill>
                <a:effectLst/>
                <a:latin typeface="+mn-lt"/>
                <a:ea typeface="+mn-ea"/>
                <a:cs typeface="+mn-cs"/>
              </a:rPr>
              <a:t> data.</a:t>
            </a:r>
          </a:p>
          <a:p>
            <a:endParaRPr lang="en-IN" sz="1200" b="0" i="0" kern="1200" dirty="0" smtClean="0">
              <a:solidFill>
                <a:schemeClr val="tx1"/>
              </a:solidFill>
              <a:effectLst/>
              <a:latin typeface="+mn-lt"/>
              <a:ea typeface="+mn-ea"/>
              <a:cs typeface="+mn-cs"/>
            </a:endParaRPr>
          </a:p>
          <a:p>
            <a:r>
              <a:rPr lang="en-IN" dirty="0" smtClean="0"/>
              <a:t>https://docs.microsoft.com/en-us/azure/virtual-machine-scale-sets/virtual-machine-scale-sets-overview</a:t>
            </a:r>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72</a:t>
            </a:fld>
            <a:endParaRPr lang="en-US"/>
          </a:p>
        </p:txBody>
      </p:sp>
    </p:spTree>
    <p:extLst>
      <p:ext uri="{BB962C8B-B14F-4D97-AF65-F5344CB8AC3E}">
        <p14:creationId xmlns:p14="http://schemas.microsoft.com/office/powerpoint/2010/main" val="28566107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75416BA-65F7-274A-AD61-D0FA78F3AA6E}" type="slidenum">
              <a:rPr lang="en-US" smtClean="0"/>
              <a:pPr/>
              <a:t>74</a:t>
            </a:fld>
            <a:endParaRPr lang="en-US" dirty="0"/>
          </a:p>
        </p:txBody>
      </p:sp>
      <p:sp>
        <p:nvSpPr>
          <p:cNvPr id="3" name="Slide Image Placeholder 2"/>
          <p:cNvSpPr>
            <a:spLocks noGrp="1" noRot="1" noChangeAspect="1"/>
          </p:cNvSpPr>
          <p:nvPr>
            <p:ph type="sldImg"/>
          </p:nvPr>
        </p:nvSpPr>
        <p:spPr>
          <a:xfrm>
            <a:off x="384175" y="484188"/>
            <a:ext cx="6096000" cy="3429000"/>
          </a:xfrm>
        </p:spPr>
      </p:sp>
      <p:sp>
        <p:nvSpPr>
          <p:cNvPr id="5" name="Notes Placeholder 4"/>
          <p:cNvSpPr>
            <a:spLocks noGrp="1"/>
          </p:cNvSpPr>
          <p:nvPr>
            <p:ph type="body" idx="1"/>
          </p:nvPr>
        </p:nvSpPr>
        <p:spPr/>
        <p:txBody>
          <a:bodyPr/>
          <a:lstStyle/>
          <a:p>
            <a:r>
              <a:rPr lang="en-US" dirty="0"/>
              <a:t>Maximum size of C:\ drive is 1023 GB</a:t>
            </a:r>
          </a:p>
          <a:p>
            <a:endParaRPr lang="en-US" dirty="0"/>
          </a:p>
        </p:txBody>
      </p:sp>
    </p:spTree>
    <p:extLst>
      <p:ext uri="{BB962C8B-B14F-4D97-AF65-F5344CB8AC3E}">
        <p14:creationId xmlns:p14="http://schemas.microsoft.com/office/powerpoint/2010/main" val="8642200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75416BA-65F7-274A-AD61-D0FA78F3AA6E}" type="slidenum">
              <a:rPr lang="en-US" smtClean="0"/>
              <a:pPr/>
              <a:t>75</a:t>
            </a:fld>
            <a:endParaRPr lang="en-US" dirty="0"/>
          </a:p>
        </p:txBody>
      </p:sp>
      <p:sp>
        <p:nvSpPr>
          <p:cNvPr id="3" name="Slide Image Placeholder 2"/>
          <p:cNvSpPr>
            <a:spLocks noGrp="1" noRot="1" noChangeAspect="1"/>
          </p:cNvSpPr>
          <p:nvPr>
            <p:ph type="sldImg"/>
          </p:nvPr>
        </p:nvSpPr>
        <p:spPr>
          <a:xfrm>
            <a:off x="384175" y="484188"/>
            <a:ext cx="6096000" cy="3429000"/>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8177358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75416BA-65F7-274A-AD61-D0FA78F3AA6E}" type="slidenum">
              <a:rPr lang="en-US" smtClean="0"/>
              <a:pPr/>
              <a:t>76</a:t>
            </a:fld>
            <a:endParaRPr lang="en-US" dirty="0"/>
          </a:p>
        </p:txBody>
      </p:sp>
      <p:sp>
        <p:nvSpPr>
          <p:cNvPr id="7" name="Slide Image Placeholder 6"/>
          <p:cNvSpPr>
            <a:spLocks noGrp="1" noRot="1" noChangeAspect="1"/>
          </p:cNvSpPr>
          <p:nvPr>
            <p:ph type="sldImg"/>
          </p:nvPr>
        </p:nvSpPr>
        <p:spPr>
          <a:xfrm>
            <a:off x="384175" y="484188"/>
            <a:ext cx="6096000" cy="3429000"/>
          </a:xfrm>
        </p:spPr>
      </p:sp>
      <p:sp>
        <p:nvSpPr>
          <p:cNvPr id="8" name="Notes Placeholder 7"/>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6334804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77</a:t>
            </a:fld>
            <a:endParaRPr lang="en-US"/>
          </a:p>
        </p:txBody>
      </p:sp>
      <p:sp>
        <p:nvSpPr>
          <p:cNvPr id="10" name="Notes Placeholder 9"/>
          <p:cNvSpPr>
            <a:spLocks noGrp="1"/>
          </p:cNvSpPr>
          <p:nvPr>
            <p:ph type="body" idx="1"/>
          </p:nvPr>
        </p:nvSpPr>
        <p:spPr/>
        <p:txBody>
          <a:bodyPr/>
          <a:lstStyle/>
          <a:p>
            <a:pPr marL="0" indent="0">
              <a:buNone/>
            </a:pPr>
            <a:r>
              <a:rPr lang="en-US" dirty="0"/>
              <a:t>Persistent Disk Management</a:t>
            </a:r>
          </a:p>
          <a:p>
            <a:pPr lvl="0"/>
            <a:r>
              <a:rPr lang="en-US" dirty="0"/>
              <a:t>The OS </a:t>
            </a:r>
            <a:r>
              <a:rPr lang="en-US" dirty="0" err="1">
                <a:solidFill>
                  <a:srgbClr val="FF0000"/>
                </a:solidFill>
              </a:rPr>
              <a:t>Ddisk</a:t>
            </a:r>
            <a:r>
              <a:rPr lang="en-US" dirty="0"/>
              <a:t> is by default 127 GB and can be up to 1TB and the data disk max</a:t>
            </a:r>
            <a:r>
              <a:rPr lang="en-US" baseline="0" dirty="0"/>
              <a:t> size i</a:t>
            </a:r>
            <a:r>
              <a:rPr lang="en-US" dirty="0"/>
              <a:t>s 1TB</a:t>
            </a:r>
          </a:p>
          <a:p>
            <a:pPr lvl="0"/>
            <a:r>
              <a:rPr lang="en-US" dirty="0"/>
              <a:t>The </a:t>
            </a:r>
            <a:r>
              <a:rPr lang="en-US" b="1" dirty="0"/>
              <a:t>D:\ </a:t>
            </a:r>
            <a:r>
              <a:rPr lang="en-US" dirty="0"/>
              <a:t>drive is for non-persistent cache – the</a:t>
            </a:r>
            <a:r>
              <a:rPr lang="en-US" baseline="0" dirty="0"/>
              <a:t> size of the D drive will change depending on what size machine you pick</a:t>
            </a:r>
            <a:endParaRPr lang="en-US" dirty="0"/>
          </a:p>
          <a:p>
            <a:pPr lvl="0"/>
            <a:r>
              <a:rPr lang="en-US" dirty="0"/>
              <a:t>The </a:t>
            </a:r>
            <a:r>
              <a:rPr lang="en-US" b="1" dirty="0"/>
              <a:t>C:\ </a:t>
            </a:r>
            <a:r>
              <a:rPr lang="en-US" dirty="0"/>
              <a:t>drive is the OS disk</a:t>
            </a:r>
          </a:p>
          <a:p>
            <a:pPr lvl="0"/>
            <a:r>
              <a:rPr lang="en-US" b="1" dirty="0">
                <a:solidFill>
                  <a:srgbClr val="FF0000"/>
                </a:solidFill>
              </a:rPr>
              <a:t>E:\ </a:t>
            </a:r>
            <a:r>
              <a:rPr lang="en-US" dirty="0">
                <a:solidFill>
                  <a:srgbClr val="FF0000"/>
                </a:solidFill>
              </a:rPr>
              <a:t>and all subsequent drive letters represent data disks</a:t>
            </a:r>
          </a:p>
        </p:txBody>
      </p:sp>
      <p:sp>
        <p:nvSpPr>
          <p:cNvPr id="6" name="Slide Image Placeholder 5"/>
          <p:cNvSpPr>
            <a:spLocks noGrp="1" noRot="1" noChangeAspect="1"/>
          </p:cNvSpPr>
          <p:nvPr>
            <p:ph type="sldImg"/>
          </p:nvPr>
        </p:nvSpPr>
        <p:spPr>
          <a:xfrm>
            <a:off x="384175" y="484188"/>
            <a:ext cx="6096000" cy="3429000"/>
          </a:xfrm>
        </p:spPr>
      </p:sp>
      <p:sp>
        <p:nvSpPr>
          <p:cNvPr id="3" name="Rectangle 2"/>
          <p:cNvSpPr/>
          <p:nvPr/>
        </p:nvSpPr>
        <p:spPr>
          <a:xfrm>
            <a:off x="-2857500" y="4699000"/>
            <a:ext cx="3175000" cy="769441"/>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TWB_Trevor:</a:t>
            </a:r>
          </a:p>
          <a:p>
            <a:r>
              <a:rPr lang="en-US" sz="1100" i="1" dirty="0">
                <a:latin typeface="Calibri"/>
              </a:rPr>
              <a:t>08 October 2013
</a:t>
            </a:r>
            <a:r>
              <a:rPr lang="en-US" sz="1100" dirty="0">
                <a:latin typeface="Calibri"/>
              </a:rPr>
              <a:t>Kindly validate the edit</a:t>
            </a:r>
          </a:p>
        </p:txBody>
      </p:sp>
      <p:sp>
        <p:nvSpPr>
          <p:cNvPr id="7" name="Rectangle 6"/>
          <p:cNvSpPr/>
          <p:nvPr/>
        </p:nvSpPr>
        <p:spPr>
          <a:xfrm>
            <a:off x="-2857500" y="3441700"/>
            <a:ext cx="3175000" cy="769441"/>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TWB_Trevor:</a:t>
            </a:r>
          </a:p>
          <a:p>
            <a:r>
              <a:rPr lang="en-US" sz="1100" i="1" dirty="0">
                <a:latin typeface="Calibri"/>
              </a:rPr>
              <a:t>08 October 2013
</a:t>
            </a:r>
            <a:r>
              <a:rPr lang="en-US" sz="1100" dirty="0">
                <a:latin typeface="Calibri"/>
              </a:rPr>
              <a:t>Is this supposed to be “</a:t>
            </a:r>
            <a:r>
              <a:rPr lang="en-US" sz="1100" dirty="0" err="1">
                <a:latin typeface="Calibri"/>
              </a:rPr>
              <a:t>Ddisk</a:t>
            </a:r>
            <a:r>
              <a:rPr lang="en-US" sz="1100" dirty="0">
                <a:latin typeface="Calibri"/>
              </a:rPr>
              <a:t>” or just “disk”?</a:t>
            </a:r>
          </a:p>
        </p:txBody>
      </p:sp>
    </p:spTree>
    <p:extLst>
      <p:ext uri="{BB962C8B-B14F-4D97-AF65-F5344CB8AC3E}">
        <p14:creationId xmlns:p14="http://schemas.microsoft.com/office/powerpoint/2010/main" val="15567963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IN" dirty="0" smtClean="0"/>
              <a:t>A hybrid deployment is a way to connect infrastructure and applications between cloud-based resources and existing resources that are not located in the cloud. The most common method of hybrid deployment is between the cloud and existing on-premises infrastructure to extend, and grow, an organization's infrastructure into the cloud while connecting cloud resources to the internal system. </a:t>
            </a:r>
            <a:endParaRPr lang="en-US" dirty="0"/>
          </a:p>
        </p:txBody>
      </p:sp>
      <p:sp>
        <p:nvSpPr>
          <p:cNvPr id="4" name="Slide Number Placeholder 3"/>
          <p:cNvSpPr>
            <a:spLocks noGrp="1"/>
          </p:cNvSpPr>
          <p:nvPr>
            <p:ph type="sldNum" sz="quarter" idx="10"/>
          </p:nvPr>
        </p:nvSpPr>
        <p:spPr/>
        <p:txBody>
          <a:bodyPr/>
          <a:lstStyle/>
          <a:p>
            <a:fld id="{8E14B2D9-F344-4463-A3E2-4BE7327096B9}" type="slidenum">
              <a:rPr lang="en-US" smtClean="0">
                <a:solidFill>
                  <a:prstClr val="black"/>
                </a:solidFill>
              </a:rPr>
              <a:pPr/>
              <a:t>9</a:t>
            </a:fld>
            <a:endParaRPr lang="en-US" dirty="0">
              <a:solidFill>
                <a:prstClr val="black"/>
              </a:solidFill>
            </a:endParaRPr>
          </a:p>
        </p:txBody>
      </p:sp>
      <p:sp>
        <p:nvSpPr>
          <p:cNvPr id="5" name="Header Placeholder 4"/>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323542089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r>
              <a:rPr lang="en-US" b="1" dirty="0"/>
              <a:t>Slide Objectives</a:t>
            </a:r>
            <a:endParaRPr lang="en-US" dirty="0"/>
          </a:p>
          <a:p>
            <a:pPr lvl="0"/>
            <a:r>
              <a:rPr lang="en-US" dirty="0"/>
              <a:t>Explain Disk Caching</a:t>
            </a:r>
          </a:p>
          <a:p>
            <a:pPr lvl="0"/>
            <a:endParaRPr lang="en-US" dirty="0"/>
          </a:p>
          <a:p>
            <a:pPr marL="0" indent="0">
              <a:buNone/>
            </a:pPr>
            <a:r>
              <a:rPr lang="en-US" b="1" dirty="0"/>
              <a:t>Speaker Notes</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Data Disks can have caching enabled on up to four disk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r>
              <a:rPr lang="de-DE" sz="1200" b="1" kern="1200" dirty="0">
                <a:solidFill>
                  <a:schemeClr val="tx1"/>
                </a:solidFill>
                <a:effectLst/>
                <a:latin typeface="+mn-lt"/>
                <a:ea typeface="+mn-ea"/>
                <a:cs typeface="+mn-cs"/>
              </a:rPr>
              <a:t>Virtual </a:t>
            </a:r>
            <a:r>
              <a:rPr lang="de-DE" sz="1200" b="1" kern="1200" dirty="0" err="1">
                <a:solidFill>
                  <a:schemeClr val="tx1"/>
                </a:solidFill>
                <a:effectLst/>
                <a:latin typeface="+mn-lt"/>
                <a:ea typeface="+mn-ea"/>
                <a:cs typeface="+mn-cs"/>
              </a:rPr>
              <a:t>Machine</a:t>
            </a:r>
            <a:r>
              <a:rPr lang="de-DE" sz="1200" b="1" kern="1200" dirty="0">
                <a:solidFill>
                  <a:schemeClr val="tx1"/>
                </a:solidFill>
                <a:effectLst/>
                <a:latin typeface="+mn-lt"/>
                <a:ea typeface="+mn-ea"/>
                <a:cs typeface="+mn-cs"/>
              </a:rPr>
              <a:t> Disk Cache </a:t>
            </a:r>
            <a:r>
              <a:rPr lang="de-DE" sz="1200" b="1" kern="1200" dirty="0" err="1">
                <a:solidFill>
                  <a:schemeClr val="tx1"/>
                </a:solidFill>
                <a:effectLst/>
                <a:latin typeface="+mn-lt"/>
                <a:ea typeface="+mn-ea"/>
                <a:cs typeface="+mn-cs"/>
              </a:rPr>
              <a:t>Preferences</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Disk </a:t>
            </a:r>
            <a:r>
              <a:rPr lang="de-DE" sz="1200" kern="1200" dirty="0" err="1">
                <a:solidFill>
                  <a:schemeClr val="tx1"/>
                </a:solidFill>
                <a:effectLst/>
                <a:latin typeface="+mn-lt"/>
                <a:ea typeface="+mn-ea"/>
                <a:cs typeface="+mn-cs"/>
              </a:rPr>
              <a:t>cac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nfigur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s</a:t>
            </a:r>
            <a:r>
              <a:rPr lang="de-DE" sz="1200" kern="1200" dirty="0">
                <a:solidFill>
                  <a:schemeClr val="tx1"/>
                </a:solidFill>
                <a:effectLst/>
                <a:latin typeface="+mn-lt"/>
                <a:ea typeface="+mn-ea"/>
                <a:cs typeface="+mn-cs"/>
              </a:rPr>
              <a:t> </a:t>
            </a:r>
            <a:r>
              <a:rPr lang="de-DE" sz="1200" b="1" kern="1200" dirty="0">
                <a:solidFill>
                  <a:schemeClr val="tx1"/>
                </a:solidFill>
                <a:effectLst/>
                <a:latin typeface="+mn-lt"/>
                <a:ea typeface="+mn-ea"/>
                <a:cs typeface="+mn-cs"/>
              </a:rPr>
              <a:t>Read </a:t>
            </a:r>
            <a:r>
              <a:rPr lang="de-DE" sz="1200" b="1" kern="1200" dirty="0" err="1">
                <a:solidFill>
                  <a:schemeClr val="tx1"/>
                </a:solidFill>
                <a:effectLst/>
                <a:latin typeface="+mn-lt"/>
                <a:ea typeface="+mn-ea"/>
                <a:cs typeface="+mn-cs"/>
              </a:rPr>
              <a:t>only</a:t>
            </a:r>
            <a:r>
              <a:rPr lang="de-DE" sz="1200" kern="1200" dirty="0">
                <a:solidFill>
                  <a:schemeClr val="tx1"/>
                </a:solidFill>
                <a:effectLst/>
                <a:latin typeface="+mn-lt"/>
                <a:ea typeface="+mn-ea"/>
                <a:cs typeface="+mn-cs"/>
              </a:rPr>
              <a:t>, </a:t>
            </a:r>
            <a:r>
              <a:rPr lang="de-DE" sz="1200" b="1" kern="1200" dirty="0">
                <a:solidFill>
                  <a:schemeClr val="tx1"/>
                </a:solidFill>
                <a:effectLst/>
                <a:latin typeface="+mn-lt"/>
                <a:ea typeface="+mn-ea"/>
                <a:cs typeface="+mn-cs"/>
              </a:rPr>
              <a:t>Read Writ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r</a:t>
            </a:r>
            <a:r>
              <a:rPr lang="de-DE" sz="1200" kern="1200" dirty="0">
                <a:solidFill>
                  <a:schemeClr val="tx1"/>
                </a:solidFill>
                <a:effectLst/>
                <a:latin typeface="+mn-lt"/>
                <a:ea typeface="+mn-ea"/>
                <a:cs typeface="+mn-cs"/>
              </a:rPr>
              <a:t> </a:t>
            </a:r>
            <a:r>
              <a:rPr lang="de-DE" sz="1200" b="1" kern="1200" dirty="0">
                <a:solidFill>
                  <a:schemeClr val="tx1"/>
                </a:solidFill>
                <a:effectLst/>
                <a:latin typeface="+mn-lt"/>
                <a:ea typeface="+mn-ea"/>
                <a:cs typeface="+mn-cs"/>
              </a:rPr>
              <a:t>Non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sabled</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r>
              <a:rPr lang="de-DE" sz="1200" b="1" kern="1200" dirty="0">
                <a:solidFill>
                  <a:schemeClr val="tx1"/>
                </a:solidFill>
                <a:effectLst/>
                <a:latin typeface="+mn-lt"/>
                <a:ea typeface="+mn-ea"/>
                <a:cs typeface="+mn-cs"/>
              </a:rPr>
              <a:t>Read </a:t>
            </a:r>
            <a:r>
              <a:rPr lang="de-DE" sz="1200" b="1" kern="1200" dirty="0" err="1">
                <a:solidFill>
                  <a:schemeClr val="tx1"/>
                </a:solidFill>
                <a:effectLst/>
                <a:latin typeface="+mn-lt"/>
                <a:ea typeface="+mn-ea"/>
                <a:cs typeface="+mn-cs"/>
              </a:rPr>
              <a:t>Only</a:t>
            </a:r>
            <a:r>
              <a:rPr lang="de-DE" sz="1200" b="1" kern="1200" dirty="0">
                <a:solidFill>
                  <a:schemeClr val="tx1"/>
                </a:solidFill>
                <a:effectLst/>
                <a:latin typeface="+mn-lt"/>
                <a:ea typeface="+mn-ea"/>
                <a:cs typeface="+mn-cs"/>
              </a:rPr>
              <a:t>:</a:t>
            </a:r>
            <a:r>
              <a:rPr lang="de-DE" sz="1200" kern="1200" dirty="0">
                <a:solidFill>
                  <a:schemeClr val="tx1"/>
                </a:solidFill>
                <a:effectLst/>
                <a:latin typeface="+mn-lt"/>
                <a:ea typeface="+mn-ea"/>
                <a:cs typeface="+mn-cs"/>
              </a:rPr>
              <a:t> Reads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rit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ch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utu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ads</a:t>
            </a:r>
            <a:r>
              <a:rPr lang="de-DE" sz="1200" kern="1200" dirty="0">
                <a:solidFill>
                  <a:schemeClr val="tx1"/>
                </a:solidFill>
                <a:effectLst/>
                <a:latin typeface="+mn-lt"/>
                <a:ea typeface="+mn-ea"/>
                <a:cs typeface="+mn-cs"/>
              </a:rPr>
              <a:t>. All </a:t>
            </a:r>
            <a:r>
              <a:rPr lang="de-DE" sz="1200" kern="1200" dirty="0" err="1">
                <a:solidFill>
                  <a:schemeClr val="tx1"/>
                </a:solidFill>
                <a:effectLst/>
                <a:latin typeface="+mn-lt"/>
                <a:ea typeface="+mn-ea"/>
                <a:cs typeface="+mn-cs"/>
              </a:rPr>
              <a:t>writ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ersist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rectl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Microsoft </a:t>
            </a:r>
            <a:r>
              <a:rPr lang="de-DE" sz="1200" kern="1200" dirty="0" err="1">
                <a:solidFill>
                  <a:schemeClr val="tx1"/>
                </a:solidFill>
                <a:effectLst/>
                <a:latin typeface="+mn-lt"/>
                <a:ea typeface="+mn-ea"/>
                <a:cs typeface="+mn-cs"/>
              </a:rPr>
              <a:t>Azure</a:t>
            </a:r>
            <a:r>
              <a:rPr lang="de-DE" sz="1200" kern="1200" dirty="0">
                <a:solidFill>
                  <a:schemeClr val="tx1"/>
                </a:solidFill>
                <a:effectLst/>
                <a:latin typeface="+mn-lt"/>
                <a:ea typeface="+mn-ea"/>
                <a:cs typeface="+mn-cs"/>
              </a:rPr>
              <a:t> Storage </a:t>
            </a:r>
            <a:r>
              <a:rPr lang="de-DE" sz="1200" kern="1200" dirty="0" err="1">
                <a:solidFill>
                  <a:schemeClr val="tx1"/>
                </a:solidFill>
                <a:effectLst/>
                <a:latin typeface="+mn-lt"/>
                <a:ea typeface="+mn-ea"/>
                <a:cs typeface="+mn-cs"/>
              </a:rPr>
              <a:t>Blob</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ervice</a:t>
            </a:r>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            </a:t>
            </a:r>
            <a:r>
              <a:rPr lang="de-DE" sz="1200" b="1" kern="1200" dirty="0">
                <a:solidFill>
                  <a:schemeClr val="tx1"/>
                </a:solidFill>
                <a:effectLst/>
                <a:latin typeface="+mn-lt"/>
                <a:ea typeface="+mn-ea"/>
                <a:cs typeface="+mn-cs"/>
              </a:rPr>
              <a:t>Read Write:</a:t>
            </a:r>
            <a:r>
              <a:rPr lang="de-DE" sz="1200" kern="1200" dirty="0">
                <a:solidFill>
                  <a:schemeClr val="tx1"/>
                </a:solidFill>
                <a:effectLst/>
                <a:latin typeface="+mn-lt"/>
                <a:ea typeface="+mn-ea"/>
                <a:cs typeface="+mn-cs"/>
              </a:rPr>
              <a:t> Reads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rit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ch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utu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ads</a:t>
            </a:r>
            <a:r>
              <a:rPr lang="de-DE" sz="1200" kern="1200" dirty="0">
                <a:solidFill>
                  <a:schemeClr val="tx1"/>
                </a:solidFill>
                <a:effectLst/>
                <a:latin typeface="+mn-lt"/>
                <a:ea typeface="+mn-ea"/>
                <a:cs typeface="+mn-cs"/>
              </a:rPr>
              <a:t>. Regular </a:t>
            </a:r>
            <a:r>
              <a:rPr lang="de-DE" sz="1200" kern="1200" dirty="0" err="1">
                <a:solidFill>
                  <a:schemeClr val="tx1"/>
                </a:solidFill>
                <a:effectLst/>
                <a:latin typeface="+mn-lt"/>
                <a:ea typeface="+mn-ea"/>
                <a:cs typeface="+mn-cs"/>
              </a:rPr>
              <a:t>writ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ersist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ocal</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c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f</a:t>
            </a:r>
            <a:r>
              <a:rPr lang="de-DE" sz="1200" kern="1200" dirty="0">
                <a:solidFill>
                  <a:schemeClr val="tx1"/>
                </a:solidFill>
                <a:effectLst/>
                <a:latin typeface="+mn-lt"/>
                <a:ea typeface="+mn-ea"/>
                <a:cs typeface="+mn-cs"/>
              </a:rPr>
              <a:t> </a:t>
            </a:r>
            <a:r>
              <a:rPr lang="de-DE" sz="1200" i="1" kern="1200" dirty="0">
                <a:solidFill>
                  <a:schemeClr val="tx1"/>
                </a:solidFill>
                <a:effectLst/>
                <a:latin typeface="+mn-lt"/>
                <a:ea typeface="+mn-ea"/>
                <a:cs typeface="+mn-cs"/>
                <a:hlinkClick r:id="rId3"/>
              </a:rPr>
              <a:t>Write-</a:t>
            </a:r>
            <a:r>
              <a:rPr lang="de-DE" sz="1200" i="1" kern="1200" dirty="0" err="1">
                <a:solidFill>
                  <a:schemeClr val="tx1"/>
                </a:solidFill>
                <a:effectLst/>
                <a:latin typeface="+mn-lt"/>
                <a:ea typeface="+mn-ea"/>
                <a:cs typeface="+mn-cs"/>
                <a:hlinkClick r:id="rId3"/>
              </a:rPr>
              <a:t>through</a:t>
            </a:r>
            <a:r>
              <a:rPr lang="de-DE" sz="1200"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hlinkClick r:id="rId4"/>
              </a:rPr>
              <a:t>Forced</a:t>
            </a:r>
            <a:r>
              <a:rPr lang="de-DE" sz="1200" i="1" kern="1200" dirty="0">
                <a:solidFill>
                  <a:schemeClr val="tx1"/>
                </a:solidFill>
                <a:effectLst/>
                <a:latin typeface="+mn-lt"/>
                <a:ea typeface="+mn-ea"/>
                <a:cs typeface="+mn-cs"/>
                <a:hlinkClick r:id="rId4"/>
              </a:rPr>
              <a:t> Unit Access (FUA)</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r</a:t>
            </a:r>
            <a:r>
              <a:rPr lang="de-DE" sz="1200"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hlinkClick r:id="rId5"/>
              </a:rPr>
              <a:t>flush</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ssert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rite</a:t>
            </a:r>
            <a:r>
              <a:rPr lang="de-DE" sz="1200" kern="1200" dirty="0">
                <a:solidFill>
                  <a:schemeClr val="tx1"/>
                </a:solidFill>
                <a:effectLst/>
                <a:latin typeface="+mn-lt"/>
                <a:ea typeface="+mn-ea"/>
                <a:cs typeface="+mn-cs"/>
              </a:rPr>
              <a:t> will </a:t>
            </a:r>
            <a:r>
              <a:rPr lang="de-DE" sz="1200" kern="1200" dirty="0" err="1">
                <a:solidFill>
                  <a:schemeClr val="tx1"/>
                </a:solidFill>
                <a:effectLst/>
                <a:latin typeface="+mn-lt"/>
                <a:ea typeface="+mn-ea"/>
                <a:cs typeface="+mn-cs"/>
              </a:rPr>
              <a:t>comm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rectl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Microsoft </a:t>
            </a:r>
            <a:r>
              <a:rPr lang="de-DE" sz="1200" kern="1200" dirty="0" err="1">
                <a:solidFill>
                  <a:schemeClr val="tx1"/>
                </a:solidFill>
                <a:effectLst/>
                <a:latin typeface="+mn-lt"/>
                <a:ea typeface="+mn-ea"/>
                <a:cs typeface="+mn-cs"/>
              </a:rPr>
              <a:t>Azure</a:t>
            </a:r>
            <a:r>
              <a:rPr lang="de-DE" sz="1200" kern="1200" dirty="0">
                <a:solidFill>
                  <a:schemeClr val="tx1"/>
                </a:solidFill>
                <a:effectLst/>
                <a:latin typeface="+mn-lt"/>
                <a:ea typeface="+mn-ea"/>
                <a:cs typeface="+mn-cs"/>
              </a:rPr>
              <a:t> Storage </a:t>
            </a:r>
            <a:r>
              <a:rPr lang="de-DE" sz="1200" kern="1200" dirty="0" err="1">
                <a:solidFill>
                  <a:schemeClr val="tx1"/>
                </a:solidFill>
                <a:effectLst/>
                <a:latin typeface="+mn-lt"/>
                <a:ea typeface="+mn-ea"/>
                <a:cs typeface="+mn-cs"/>
              </a:rPr>
              <a:t>Blob</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ervice</a:t>
            </a:r>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            </a:t>
            </a:r>
            <a:r>
              <a:rPr lang="de-DE" sz="1200" b="1" kern="1200" dirty="0">
                <a:solidFill>
                  <a:schemeClr val="tx1"/>
                </a:solidFill>
                <a:effectLst/>
                <a:latin typeface="+mn-lt"/>
                <a:ea typeface="+mn-ea"/>
                <a:cs typeface="+mn-cs"/>
              </a:rPr>
              <a:t>None (</a:t>
            </a:r>
            <a:r>
              <a:rPr lang="de-DE" sz="1200" b="1" kern="1200" dirty="0" err="1">
                <a:solidFill>
                  <a:schemeClr val="tx1"/>
                </a:solidFill>
                <a:effectLst/>
                <a:latin typeface="+mn-lt"/>
                <a:ea typeface="+mn-ea"/>
                <a:cs typeface="+mn-cs"/>
              </a:rPr>
              <a:t>disabled</a:t>
            </a:r>
            <a:r>
              <a:rPr lang="de-DE" sz="1200" b="1" kern="1200" dirty="0">
                <a:solidFill>
                  <a:schemeClr val="tx1"/>
                </a:solidFill>
                <a:effectLst/>
                <a:latin typeface="+mn-lt"/>
                <a:ea typeface="+mn-ea"/>
                <a:cs typeface="+mn-cs"/>
              </a:rPr>
              <a:t>):</a:t>
            </a:r>
            <a:r>
              <a:rPr lang="de-DE" sz="1200" kern="1200" dirty="0">
                <a:solidFill>
                  <a:schemeClr val="tx1"/>
                </a:solidFill>
                <a:effectLst/>
                <a:latin typeface="+mn-lt"/>
                <a:ea typeface="+mn-ea"/>
                <a:cs typeface="+mn-cs"/>
              </a:rPr>
              <a:t> Bypasses </a:t>
            </a:r>
            <a:r>
              <a:rPr lang="de-DE" sz="1200" kern="1200" dirty="0" err="1">
                <a:solidFill>
                  <a:schemeClr val="tx1"/>
                </a:solidFill>
                <a:effectLst/>
                <a:latin typeface="+mn-lt"/>
                <a:ea typeface="+mn-ea"/>
                <a:cs typeface="+mn-cs"/>
              </a:rPr>
              <a:t>cac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mpletely</a:t>
            </a:r>
            <a:r>
              <a:rPr lang="de-DE" sz="1200" kern="1200" dirty="0">
                <a:solidFill>
                  <a:schemeClr val="tx1"/>
                </a:solidFill>
                <a:effectLst/>
                <a:latin typeface="+mn-lt"/>
                <a:ea typeface="+mn-ea"/>
                <a:cs typeface="+mn-cs"/>
              </a:rPr>
              <a:t>. All </a:t>
            </a:r>
            <a:r>
              <a:rPr lang="de-DE" sz="1200" kern="1200" dirty="0" err="1">
                <a:solidFill>
                  <a:schemeClr val="tx1"/>
                </a:solidFill>
                <a:effectLst/>
                <a:latin typeface="+mn-lt"/>
                <a:ea typeface="+mn-ea"/>
                <a:cs typeface="+mn-cs"/>
              </a:rPr>
              <a:t>disk</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ransfer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mplet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gains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Microsoft </a:t>
            </a:r>
            <a:r>
              <a:rPr lang="de-DE" sz="1200" kern="1200" dirty="0" err="1">
                <a:solidFill>
                  <a:schemeClr val="tx1"/>
                </a:solidFill>
                <a:effectLst/>
                <a:latin typeface="+mn-lt"/>
                <a:ea typeface="+mn-ea"/>
                <a:cs typeface="+mn-cs"/>
              </a:rPr>
              <a:t>Azure</a:t>
            </a:r>
            <a:r>
              <a:rPr lang="de-DE" sz="1200" kern="1200" dirty="0">
                <a:solidFill>
                  <a:schemeClr val="tx1"/>
                </a:solidFill>
                <a:effectLst/>
                <a:latin typeface="+mn-lt"/>
                <a:ea typeface="+mn-ea"/>
                <a:cs typeface="+mn-cs"/>
              </a:rPr>
              <a:t> Storage </a:t>
            </a:r>
            <a:r>
              <a:rPr lang="de-DE" sz="1200" kern="1200" dirty="0" err="1">
                <a:solidFill>
                  <a:schemeClr val="tx1"/>
                </a:solidFill>
                <a:effectLst/>
                <a:latin typeface="+mn-lt"/>
                <a:ea typeface="+mn-ea"/>
                <a:cs typeface="+mn-cs"/>
              </a:rPr>
              <a:t>blob</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ervice</a:t>
            </a:r>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 </a:t>
            </a:r>
          </a:p>
          <a:p>
            <a:r>
              <a:rPr lang="de-DE" sz="1200" b="1" kern="1200" dirty="0">
                <a:solidFill>
                  <a:schemeClr val="tx1"/>
                </a:solidFill>
                <a:effectLst/>
                <a:latin typeface="+mn-lt"/>
                <a:ea typeface="+mn-ea"/>
                <a:cs typeface="+mn-cs"/>
              </a:rPr>
              <a:t>Cache </a:t>
            </a:r>
            <a:r>
              <a:rPr lang="de-DE" sz="1200" b="1" kern="1200" dirty="0" err="1">
                <a:solidFill>
                  <a:schemeClr val="tx1"/>
                </a:solidFill>
                <a:effectLst/>
                <a:latin typeface="+mn-lt"/>
                <a:ea typeface="+mn-ea"/>
                <a:cs typeface="+mn-cs"/>
              </a:rPr>
              <a:t>performance</a:t>
            </a:r>
            <a:r>
              <a:rPr lang="de-DE" sz="1200" b="1" kern="1200" dirty="0">
                <a:solidFill>
                  <a:schemeClr val="tx1"/>
                </a:solidFill>
                <a:effectLst/>
                <a:latin typeface="+mn-lt"/>
                <a:ea typeface="+mn-ea"/>
                <a:cs typeface="+mn-cs"/>
              </a:rPr>
              <a:t> </a:t>
            </a:r>
            <a:r>
              <a:rPr lang="de-DE" sz="1200" b="1" kern="1200" dirty="0" err="1">
                <a:solidFill>
                  <a:schemeClr val="tx1"/>
                </a:solidFill>
                <a:effectLst/>
                <a:latin typeface="+mn-lt"/>
                <a:ea typeface="+mn-ea"/>
                <a:cs typeface="+mn-cs"/>
              </a:rPr>
              <a:t>behavior</a:t>
            </a:r>
            <a:endParaRPr lang="de-DE" sz="1200" kern="1200" dirty="0">
              <a:solidFill>
                <a:schemeClr val="tx1"/>
              </a:solidFill>
              <a:effectLst/>
              <a:latin typeface="+mn-lt"/>
              <a:ea typeface="+mn-ea"/>
              <a:cs typeface="+mn-cs"/>
            </a:endParaRPr>
          </a:p>
          <a:p>
            <a:r>
              <a:rPr lang="de-DE" sz="1200" kern="1200" dirty="0" err="1">
                <a:solidFill>
                  <a:schemeClr val="tx1"/>
                </a:solidFill>
                <a:effectLst/>
                <a:latin typeface="+mn-lt"/>
                <a:ea typeface="+mn-ea"/>
                <a:cs typeface="+mn-cs"/>
              </a:rPr>
              <a:t>When</a:t>
            </a:r>
            <a:r>
              <a:rPr lang="de-DE" sz="1200" kern="1200" dirty="0">
                <a:solidFill>
                  <a:schemeClr val="tx1"/>
                </a:solidFill>
                <a:effectLst/>
                <a:latin typeface="+mn-lt"/>
                <a:ea typeface="+mn-ea"/>
                <a:cs typeface="+mn-cs"/>
              </a:rPr>
              <a:t> host </a:t>
            </a:r>
            <a:r>
              <a:rPr lang="de-DE" sz="1200" kern="1200" dirty="0" err="1">
                <a:solidFill>
                  <a:schemeClr val="tx1"/>
                </a:solidFill>
                <a:effectLst/>
                <a:latin typeface="+mn-lt"/>
                <a:ea typeface="+mn-ea"/>
                <a:cs typeface="+mn-cs"/>
              </a:rPr>
              <a:t>cach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nabled</a:t>
            </a:r>
            <a:r>
              <a:rPr lang="de-DE" sz="1200" kern="1200" dirty="0">
                <a:solidFill>
                  <a:schemeClr val="tx1"/>
                </a:solidFill>
                <a:effectLst/>
                <a:latin typeface="+mn-lt"/>
                <a:ea typeface="+mn-ea"/>
                <a:cs typeface="+mn-cs"/>
              </a:rPr>
              <a:t>, all </a:t>
            </a:r>
            <a:r>
              <a:rPr lang="de-DE" sz="1200" kern="1200" dirty="0" err="1">
                <a:solidFill>
                  <a:schemeClr val="tx1"/>
                </a:solidFill>
                <a:effectLst/>
                <a:latin typeface="+mn-lt"/>
                <a:ea typeface="+mn-ea"/>
                <a:cs typeface="+mn-cs"/>
              </a:rPr>
              <a:t>disk</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quest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sult</a:t>
            </a:r>
            <a:r>
              <a:rPr lang="de-DE" sz="1200" kern="1200" dirty="0">
                <a:solidFill>
                  <a:schemeClr val="tx1"/>
                </a:solidFill>
                <a:effectLst/>
                <a:latin typeface="+mn-lt"/>
                <a:ea typeface="+mn-ea"/>
                <a:cs typeface="+mn-cs"/>
              </a:rPr>
              <a:t> in a </a:t>
            </a:r>
            <a:r>
              <a:rPr lang="de-DE" sz="1200" kern="1200" dirty="0" err="1">
                <a:solidFill>
                  <a:schemeClr val="tx1"/>
                </a:solidFill>
                <a:effectLst/>
                <a:latin typeface="+mn-lt"/>
                <a:ea typeface="+mn-ea"/>
                <a:cs typeface="+mn-cs"/>
              </a:rPr>
              <a:t>cac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it</a:t>
            </a:r>
            <a:r>
              <a:rPr lang="de-DE" sz="1200" kern="1200" dirty="0">
                <a:solidFill>
                  <a:schemeClr val="tx1"/>
                </a:solidFill>
                <a:effectLst/>
                <a:latin typeface="+mn-lt"/>
                <a:ea typeface="+mn-ea"/>
                <a:cs typeface="+mn-cs"/>
              </a:rPr>
              <a:t> will </a:t>
            </a:r>
            <a:r>
              <a:rPr lang="de-DE" sz="1200" kern="1200" dirty="0" err="1">
                <a:solidFill>
                  <a:schemeClr val="tx1"/>
                </a:solidFill>
                <a:effectLst/>
                <a:latin typeface="+mn-lt"/>
                <a:ea typeface="+mn-ea"/>
                <a:cs typeface="+mn-cs"/>
              </a:rPr>
              <a:t>b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mplet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rom</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ocal</a:t>
            </a:r>
            <a:r>
              <a:rPr lang="de-DE" sz="1200" kern="1200" dirty="0">
                <a:solidFill>
                  <a:schemeClr val="tx1"/>
                </a:solidFill>
                <a:effectLst/>
                <a:latin typeface="+mn-lt"/>
                <a:ea typeface="+mn-ea"/>
                <a:cs typeface="+mn-cs"/>
              </a:rPr>
              <a:t> host </a:t>
            </a:r>
            <a:r>
              <a:rPr lang="de-DE" sz="1200" kern="1200" dirty="0" err="1">
                <a:solidFill>
                  <a:schemeClr val="tx1"/>
                </a:solidFill>
                <a:effectLst/>
                <a:latin typeface="+mn-lt"/>
                <a:ea typeface="+mn-ea"/>
                <a:cs typeface="+mn-cs"/>
              </a:rPr>
              <a:t>cache</a:t>
            </a:r>
            <a:r>
              <a:rPr lang="de-DE" sz="1200" kern="1200" dirty="0">
                <a:solidFill>
                  <a:schemeClr val="tx1"/>
                </a:solidFill>
                <a:effectLst/>
                <a:latin typeface="+mn-lt"/>
                <a:ea typeface="+mn-ea"/>
                <a:cs typeface="+mn-cs"/>
              </a:rPr>
              <a:t>. The </a:t>
            </a:r>
            <a:r>
              <a:rPr lang="de-DE" sz="1200" kern="1200" dirty="0" err="1">
                <a:solidFill>
                  <a:schemeClr val="tx1"/>
                </a:solidFill>
                <a:effectLst/>
                <a:latin typeface="+mn-lt"/>
                <a:ea typeface="+mn-ea"/>
                <a:cs typeface="+mn-cs"/>
              </a:rPr>
              <a:t>performanc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all </a:t>
            </a:r>
            <a:r>
              <a:rPr lang="de-DE" sz="1200" kern="1200" dirty="0" err="1">
                <a:solidFill>
                  <a:schemeClr val="tx1"/>
                </a:solidFill>
                <a:effectLst/>
                <a:latin typeface="+mn-lt"/>
                <a:ea typeface="+mn-ea"/>
                <a:cs typeface="+mn-cs"/>
              </a:rPr>
              <a:t>cac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it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ltimately</a:t>
            </a:r>
            <a:r>
              <a:rPr lang="de-DE" sz="1200" kern="1200" dirty="0">
                <a:solidFill>
                  <a:schemeClr val="tx1"/>
                </a:solidFill>
                <a:effectLst/>
                <a:latin typeface="+mn-lt"/>
                <a:ea typeface="+mn-ea"/>
                <a:cs typeface="+mn-cs"/>
              </a:rPr>
              <a:t> limited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hysical</a:t>
            </a:r>
            <a:r>
              <a:rPr lang="de-DE" sz="1200" kern="1200" dirty="0">
                <a:solidFill>
                  <a:schemeClr val="tx1"/>
                </a:solidFill>
                <a:effectLst/>
                <a:latin typeface="+mn-lt"/>
                <a:ea typeface="+mn-ea"/>
                <a:cs typeface="+mn-cs"/>
              </a:rPr>
              <a:t> host </a:t>
            </a:r>
            <a:r>
              <a:rPr lang="de-DE" sz="1200" kern="1200" dirty="0" err="1">
                <a:solidFill>
                  <a:schemeClr val="tx1"/>
                </a:solidFill>
                <a:effectLst/>
                <a:latin typeface="+mn-lt"/>
                <a:ea typeface="+mn-ea"/>
                <a:cs typeface="+mn-cs"/>
              </a:rPr>
              <a:t>local</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ar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sk</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erformance</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In </a:t>
            </a:r>
            <a:r>
              <a:rPr lang="de-DE" sz="1200" kern="1200" dirty="0" err="1">
                <a:solidFill>
                  <a:schemeClr val="tx1"/>
                </a:solidFill>
                <a:effectLst/>
                <a:latin typeface="+mn-lt"/>
                <a:ea typeface="+mn-ea"/>
                <a:cs typeface="+mn-cs"/>
              </a:rPr>
              <a:t>scenario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he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hysical</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ost’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ar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sk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e</a:t>
            </a:r>
            <a:r>
              <a:rPr lang="de-DE" sz="1200" kern="1200" dirty="0">
                <a:solidFill>
                  <a:schemeClr val="tx1"/>
                </a:solidFill>
                <a:effectLst/>
                <a:latin typeface="+mn-lt"/>
                <a:ea typeface="+mn-ea"/>
                <a:cs typeface="+mn-cs"/>
              </a:rPr>
              <a:t> not </a:t>
            </a:r>
            <a:r>
              <a:rPr lang="de-DE" sz="1200" kern="1200" dirty="0" err="1">
                <a:solidFill>
                  <a:schemeClr val="tx1"/>
                </a:solidFill>
                <a:effectLst/>
                <a:latin typeface="+mn-lt"/>
                <a:ea typeface="+mn-ea"/>
                <a:cs typeface="+mn-cs"/>
              </a:rPr>
              <a:t>saturated</a:t>
            </a:r>
            <a:r>
              <a:rPr lang="de-DE" sz="1200" kern="1200" dirty="0">
                <a:solidFill>
                  <a:schemeClr val="tx1"/>
                </a:solidFill>
                <a:effectLst/>
                <a:latin typeface="+mn-lt"/>
                <a:ea typeface="+mn-ea"/>
                <a:cs typeface="+mn-cs"/>
              </a:rPr>
              <a:t> (still </a:t>
            </a:r>
            <a:r>
              <a:rPr lang="de-DE" sz="1200" kern="1200" dirty="0" err="1">
                <a:solidFill>
                  <a:schemeClr val="tx1"/>
                </a:solidFill>
                <a:effectLst/>
                <a:latin typeface="+mn-lt"/>
                <a:ea typeface="+mn-ea"/>
                <a:cs typeface="+mn-cs"/>
              </a:rPr>
              <a:t>hav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om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dl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pacit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nabling</a:t>
            </a:r>
            <a:r>
              <a:rPr lang="de-DE" sz="1200" kern="1200" dirty="0">
                <a:solidFill>
                  <a:schemeClr val="tx1"/>
                </a:solidFill>
                <a:effectLst/>
                <a:latin typeface="+mn-lt"/>
                <a:ea typeface="+mn-ea"/>
                <a:cs typeface="+mn-cs"/>
              </a:rPr>
              <a:t> host </a:t>
            </a:r>
            <a:r>
              <a:rPr lang="de-DE" sz="1200" kern="1200" dirty="0" err="1">
                <a:solidFill>
                  <a:schemeClr val="tx1"/>
                </a:solidFill>
                <a:effectLst/>
                <a:latin typeface="+mn-lt"/>
                <a:ea typeface="+mn-ea"/>
                <a:cs typeface="+mn-cs"/>
              </a:rPr>
              <a:t>cach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ikel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elp</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duc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sk</a:t>
            </a:r>
            <a:r>
              <a:rPr lang="de-DE" sz="1200" kern="1200" dirty="0">
                <a:solidFill>
                  <a:schemeClr val="tx1"/>
                </a:solidFill>
                <a:effectLst/>
                <a:latin typeface="+mn-lt"/>
                <a:ea typeface="+mn-ea"/>
                <a:cs typeface="+mn-cs"/>
              </a:rPr>
              <a:t> I/O </a:t>
            </a:r>
            <a:r>
              <a:rPr lang="de-DE" sz="1200" kern="1200" dirty="0" err="1">
                <a:solidFill>
                  <a:schemeClr val="tx1"/>
                </a:solidFill>
                <a:effectLst/>
                <a:latin typeface="+mn-lt"/>
                <a:ea typeface="+mn-ea"/>
                <a:cs typeface="+mn-cs"/>
              </a:rPr>
              <a:t>latency</a:t>
            </a:r>
            <a:r>
              <a:rPr lang="de-DE" sz="1200" kern="1200" dirty="0">
                <a:solidFill>
                  <a:schemeClr val="tx1"/>
                </a:solidFill>
                <a:effectLst/>
                <a:latin typeface="+mn-lt"/>
                <a:ea typeface="+mn-ea"/>
                <a:cs typeface="+mn-cs"/>
              </a:rPr>
              <a:t>. After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oi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atur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ach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w</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quests</a:t>
            </a:r>
            <a:r>
              <a:rPr lang="de-DE" sz="1200" kern="1200" dirty="0">
                <a:solidFill>
                  <a:schemeClr val="tx1"/>
                </a:solidFill>
                <a:effectLst/>
                <a:latin typeface="+mn-lt"/>
                <a:ea typeface="+mn-ea"/>
                <a:cs typeface="+mn-cs"/>
              </a:rPr>
              <a:t> will </a:t>
            </a:r>
            <a:r>
              <a:rPr lang="de-DE" sz="1200" kern="1200" dirty="0" err="1">
                <a:solidFill>
                  <a:schemeClr val="tx1"/>
                </a:solidFill>
                <a:effectLst/>
                <a:latin typeface="+mn-lt"/>
                <a:ea typeface="+mn-ea"/>
                <a:cs typeface="+mn-cs"/>
              </a:rPr>
              <a:t>hav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queu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nsid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hos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a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rocess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us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atenc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grow</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ith</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iz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sult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sk</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queue</a:t>
            </a:r>
            <a:r>
              <a:rPr lang="de-DE" sz="1200" kern="1200" dirty="0">
                <a:solidFill>
                  <a:schemeClr val="tx1"/>
                </a:solidFill>
                <a:effectLst/>
                <a:latin typeface="+mn-lt"/>
                <a:ea typeface="+mn-ea"/>
                <a:cs typeface="+mn-cs"/>
              </a:rPr>
              <a:t>.</a:t>
            </a:r>
          </a:p>
          <a:p>
            <a:r>
              <a:rPr lang="de-DE" sz="1200" kern="1200" dirty="0" err="1">
                <a:solidFill>
                  <a:schemeClr val="tx1"/>
                </a:solidFill>
                <a:effectLst/>
                <a:latin typeface="+mn-lt"/>
                <a:ea typeface="+mn-ea"/>
                <a:cs typeface="+mn-cs"/>
              </a:rPr>
              <a:t>Test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how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nabling</a:t>
            </a:r>
            <a:r>
              <a:rPr lang="de-DE" sz="1200" kern="1200" dirty="0">
                <a:solidFill>
                  <a:schemeClr val="tx1"/>
                </a:solidFill>
                <a:effectLst/>
                <a:latin typeface="+mn-lt"/>
                <a:ea typeface="+mn-ea"/>
                <a:cs typeface="+mn-cs"/>
              </a:rPr>
              <a:t> Read Write </a:t>
            </a:r>
            <a:r>
              <a:rPr lang="de-DE" sz="1200" kern="1200" dirty="0" err="1">
                <a:solidFill>
                  <a:schemeClr val="tx1"/>
                </a:solidFill>
                <a:effectLst/>
                <a:latin typeface="+mn-lt"/>
                <a:ea typeface="+mn-ea"/>
                <a:cs typeface="+mn-cs"/>
              </a:rPr>
              <a:t>cac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OS </a:t>
            </a:r>
            <a:r>
              <a:rPr lang="de-DE" sz="1200" kern="1200" dirty="0" err="1">
                <a:solidFill>
                  <a:schemeClr val="tx1"/>
                </a:solidFill>
                <a:effectLst/>
                <a:latin typeface="+mn-lt"/>
                <a:ea typeface="+mn-ea"/>
                <a:cs typeface="+mn-cs"/>
              </a:rPr>
              <a:t>disk</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elp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mprov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verall</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perat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ystem</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erformanc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oo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imes</a:t>
            </a:r>
            <a:r>
              <a:rPr lang="de-DE" sz="1200" kern="1200" dirty="0">
                <a:solidFill>
                  <a:schemeClr val="tx1"/>
                </a:solidFill>
                <a:effectLst/>
                <a:latin typeface="+mn-lt"/>
                <a:ea typeface="+mn-ea"/>
                <a:cs typeface="+mn-cs"/>
              </a:rPr>
              <a:t>. This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efaul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ett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OS </a:t>
            </a:r>
            <a:r>
              <a:rPr lang="de-DE" sz="1200" kern="1200" dirty="0" err="1">
                <a:solidFill>
                  <a:schemeClr val="tx1"/>
                </a:solidFill>
                <a:effectLst/>
                <a:latin typeface="+mn-lt"/>
                <a:ea typeface="+mn-ea"/>
                <a:cs typeface="+mn-cs"/>
              </a:rPr>
              <a:t>disk</a:t>
            </a:r>
            <a:r>
              <a:rPr lang="de-DE" sz="1200" kern="1200" dirty="0">
                <a:solidFill>
                  <a:schemeClr val="tx1"/>
                </a:solidFill>
                <a:effectLst/>
                <a:latin typeface="+mn-lt"/>
                <a:ea typeface="+mn-ea"/>
                <a:cs typeface="+mn-cs"/>
              </a:rPr>
              <a:t>.</a:t>
            </a:r>
          </a:p>
          <a:p>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ata</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sk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erformanc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nef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host </a:t>
            </a:r>
            <a:r>
              <a:rPr lang="de-DE" sz="1200" kern="1200" dirty="0" err="1">
                <a:solidFill>
                  <a:schemeClr val="tx1"/>
                </a:solidFill>
                <a:effectLst/>
                <a:latin typeface="+mn-lt"/>
                <a:ea typeface="+mn-ea"/>
                <a:cs typeface="+mn-cs"/>
              </a:rPr>
              <a:t>caching</a:t>
            </a:r>
            <a:r>
              <a:rPr lang="de-DE" sz="1200" kern="1200" dirty="0">
                <a:solidFill>
                  <a:schemeClr val="tx1"/>
                </a:solidFill>
                <a:effectLst/>
                <a:latin typeface="+mn-lt"/>
                <a:ea typeface="+mn-ea"/>
                <a:cs typeface="+mn-cs"/>
              </a:rPr>
              <a:t> will </a:t>
            </a:r>
            <a:r>
              <a:rPr lang="de-DE" sz="1200" kern="1200" dirty="0" err="1">
                <a:solidFill>
                  <a:schemeClr val="tx1"/>
                </a:solidFill>
                <a:effectLst/>
                <a:latin typeface="+mn-lt"/>
                <a:ea typeface="+mn-ea"/>
                <a:cs typeface="+mn-cs"/>
              </a:rPr>
              <a:t>depend</a:t>
            </a:r>
            <a:r>
              <a:rPr lang="de-DE" sz="1200" kern="1200" dirty="0">
                <a:solidFill>
                  <a:schemeClr val="tx1"/>
                </a:solidFill>
                <a:effectLst/>
                <a:latin typeface="+mn-lt"/>
                <a:ea typeface="+mn-ea"/>
                <a:cs typeface="+mn-cs"/>
              </a:rPr>
              <a:t> o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atter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ntensit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sk</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orkloa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generated</a:t>
            </a:r>
            <a:r>
              <a:rPr lang="de-DE" sz="1200" kern="1200" dirty="0">
                <a:solidFill>
                  <a:schemeClr val="tx1"/>
                </a:solidFill>
                <a:effectLst/>
                <a:latin typeface="+mn-lt"/>
                <a:ea typeface="+mn-ea"/>
                <a:cs typeface="+mn-cs"/>
              </a:rPr>
              <a:t>. The </a:t>
            </a:r>
            <a:r>
              <a:rPr lang="de-DE" sz="1200" kern="1200" dirty="0" err="1">
                <a:solidFill>
                  <a:schemeClr val="tx1"/>
                </a:solidFill>
                <a:effectLst/>
                <a:latin typeface="+mn-lt"/>
                <a:ea typeface="+mn-ea"/>
                <a:cs typeface="+mn-cs"/>
              </a:rPr>
              <a:t>general</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guidelin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eave</a:t>
            </a:r>
            <a:r>
              <a:rPr lang="de-DE" sz="1200" kern="1200" dirty="0">
                <a:solidFill>
                  <a:schemeClr val="tx1"/>
                </a:solidFill>
                <a:effectLst/>
                <a:latin typeface="+mn-lt"/>
                <a:ea typeface="+mn-ea"/>
                <a:cs typeface="+mn-cs"/>
              </a:rPr>
              <a:t> host </a:t>
            </a:r>
            <a:r>
              <a:rPr lang="de-DE" sz="1200" kern="1200" dirty="0" err="1">
                <a:solidFill>
                  <a:schemeClr val="tx1"/>
                </a:solidFill>
                <a:effectLst/>
                <a:latin typeface="+mn-lt"/>
                <a:ea typeface="+mn-ea"/>
                <a:cs typeface="+mn-cs"/>
              </a:rPr>
              <a:t>cach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e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efaul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None (</a:t>
            </a:r>
            <a:r>
              <a:rPr lang="de-DE" sz="1200" kern="1200" dirty="0" err="1">
                <a:solidFill>
                  <a:schemeClr val="tx1"/>
                </a:solidFill>
                <a:effectLst/>
                <a:latin typeface="+mn-lt"/>
                <a:ea typeface="+mn-ea"/>
                <a:cs typeface="+mn-cs"/>
              </a:rPr>
              <a:t>disabl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caus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pass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hysical</a:t>
            </a:r>
            <a:r>
              <a:rPr lang="de-DE" sz="1200" kern="1200" dirty="0">
                <a:solidFill>
                  <a:schemeClr val="tx1"/>
                </a:solidFill>
                <a:effectLst/>
                <a:latin typeface="+mn-lt"/>
                <a:ea typeface="+mn-ea"/>
                <a:cs typeface="+mn-cs"/>
              </a:rPr>
              <a:t> host </a:t>
            </a:r>
            <a:r>
              <a:rPr lang="de-DE" sz="1200" kern="1200" dirty="0" err="1">
                <a:solidFill>
                  <a:schemeClr val="tx1"/>
                </a:solidFill>
                <a:effectLst/>
                <a:latin typeface="+mn-lt"/>
                <a:ea typeface="+mn-ea"/>
                <a:cs typeface="+mn-cs"/>
              </a:rPr>
              <a:t>local</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sk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u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pabl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rovid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argest</a:t>
            </a:r>
            <a:r>
              <a:rPr lang="de-DE" sz="1200" kern="1200" dirty="0">
                <a:solidFill>
                  <a:schemeClr val="tx1"/>
                </a:solidFill>
                <a:effectLst/>
                <a:latin typeface="+mn-lt"/>
                <a:ea typeface="+mn-ea"/>
                <a:cs typeface="+mn-cs"/>
              </a:rPr>
              <a:t> I/O rate.</a:t>
            </a:r>
          </a:p>
          <a:p>
            <a:r>
              <a:rPr lang="de-DE" sz="1200" b="1" kern="1200" dirty="0">
                <a:solidFill>
                  <a:schemeClr val="tx1"/>
                </a:solidFill>
                <a:effectLst/>
                <a:latin typeface="+mn-lt"/>
                <a:ea typeface="+mn-ea"/>
                <a:cs typeface="+mn-cs"/>
              </a:rPr>
              <a:t>General </a:t>
            </a:r>
            <a:r>
              <a:rPr lang="de-DE" sz="1200" b="1" kern="1200" dirty="0" err="1">
                <a:solidFill>
                  <a:schemeClr val="tx1"/>
                </a:solidFill>
                <a:effectLst/>
                <a:latin typeface="+mn-lt"/>
                <a:ea typeface="+mn-ea"/>
                <a:cs typeface="+mn-cs"/>
              </a:rPr>
              <a:t>best</a:t>
            </a:r>
            <a:r>
              <a:rPr lang="de-DE" sz="1200" b="1" kern="1200" dirty="0">
                <a:solidFill>
                  <a:schemeClr val="tx1"/>
                </a:solidFill>
                <a:effectLst/>
                <a:latin typeface="+mn-lt"/>
                <a:ea typeface="+mn-ea"/>
                <a:cs typeface="+mn-cs"/>
              </a:rPr>
              <a:t> </a:t>
            </a:r>
            <a:r>
              <a:rPr lang="de-DE" sz="1200" b="1" kern="1200" dirty="0" err="1">
                <a:solidFill>
                  <a:schemeClr val="tx1"/>
                </a:solidFill>
                <a:effectLst/>
                <a:latin typeface="+mn-lt"/>
                <a:ea typeface="+mn-ea"/>
                <a:cs typeface="+mn-cs"/>
              </a:rPr>
              <a:t>practices</a:t>
            </a:r>
            <a:r>
              <a:rPr lang="de-DE" sz="1200" b="1" kern="1200" dirty="0">
                <a:solidFill>
                  <a:schemeClr val="tx1"/>
                </a:solidFill>
                <a:effectLst/>
                <a:latin typeface="+mn-lt"/>
                <a:ea typeface="+mn-ea"/>
                <a:cs typeface="+mn-cs"/>
              </a:rPr>
              <a:t> </a:t>
            </a:r>
            <a:r>
              <a:rPr lang="de-DE" sz="1200" b="1" kern="1200" dirty="0" err="1">
                <a:solidFill>
                  <a:schemeClr val="tx1"/>
                </a:solidFill>
                <a:effectLst/>
                <a:latin typeface="+mn-lt"/>
                <a:ea typeface="+mn-ea"/>
                <a:cs typeface="+mn-cs"/>
              </a:rPr>
              <a:t>to</a:t>
            </a:r>
            <a:r>
              <a:rPr lang="de-DE" sz="1200" b="1" kern="1200" dirty="0">
                <a:solidFill>
                  <a:schemeClr val="tx1"/>
                </a:solidFill>
                <a:effectLst/>
                <a:latin typeface="+mn-lt"/>
                <a:ea typeface="+mn-ea"/>
                <a:cs typeface="+mn-cs"/>
              </a:rPr>
              <a:t> </a:t>
            </a:r>
            <a:r>
              <a:rPr lang="de-DE" sz="1200" b="1" kern="1200" dirty="0" err="1">
                <a:solidFill>
                  <a:schemeClr val="tx1"/>
                </a:solidFill>
                <a:effectLst/>
                <a:latin typeface="+mn-lt"/>
                <a:ea typeface="+mn-ea"/>
                <a:cs typeface="+mn-cs"/>
              </a:rPr>
              <a:t>configure</a:t>
            </a:r>
            <a:r>
              <a:rPr lang="de-DE" sz="1200" b="1" kern="1200" dirty="0">
                <a:solidFill>
                  <a:schemeClr val="tx1"/>
                </a:solidFill>
                <a:effectLst/>
                <a:latin typeface="+mn-lt"/>
                <a:ea typeface="+mn-ea"/>
                <a:cs typeface="+mn-cs"/>
              </a:rPr>
              <a:t> </a:t>
            </a:r>
            <a:r>
              <a:rPr lang="de-DE" sz="1200" b="1" kern="1200" dirty="0" err="1">
                <a:solidFill>
                  <a:schemeClr val="tx1"/>
                </a:solidFill>
                <a:effectLst/>
                <a:latin typeface="+mn-lt"/>
                <a:ea typeface="+mn-ea"/>
                <a:cs typeface="+mn-cs"/>
              </a:rPr>
              <a:t>the</a:t>
            </a:r>
            <a:r>
              <a:rPr lang="de-DE" sz="1200" b="1" kern="1200" dirty="0">
                <a:solidFill>
                  <a:schemeClr val="tx1"/>
                </a:solidFill>
                <a:effectLst/>
                <a:latin typeface="+mn-lt"/>
                <a:ea typeface="+mn-ea"/>
                <a:cs typeface="+mn-cs"/>
              </a:rPr>
              <a:t> </a:t>
            </a:r>
            <a:r>
              <a:rPr lang="de-DE" sz="1200" b="1" kern="1200" dirty="0" err="1">
                <a:solidFill>
                  <a:schemeClr val="tx1"/>
                </a:solidFill>
                <a:effectLst/>
                <a:latin typeface="+mn-lt"/>
                <a:ea typeface="+mn-ea"/>
                <a:cs typeface="+mn-cs"/>
              </a:rPr>
              <a:t>cache</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            </a:t>
            </a:r>
            <a:r>
              <a:rPr lang="de-DE" sz="1200" b="1" kern="1200" dirty="0">
                <a:solidFill>
                  <a:schemeClr val="tx1"/>
                </a:solidFill>
                <a:effectLst/>
                <a:latin typeface="+mn-lt"/>
                <a:ea typeface="+mn-ea"/>
                <a:cs typeface="+mn-cs"/>
              </a:rPr>
              <a:t>Read </a:t>
            </a:r>
            <a:r>
              <a:rPr lang="de-DE" sz="1200" b="1" kern="1200" dirty="0" err="1">
                <a:solidFill>
                  <a:schemeClr val="tx1"/>
                </a:solidFill>
                <a:effectLst/>
                <a:latin typeface="+mn-lt"/>
                <a:ea typeface="+mn-ea"/>
                <a:cs typeface="+mn-cs"/>
              </a:rPr>
              <a:t>Only</a:t>
            </a:r>
            <a:r>
              <a:rPr lang="de-DE" sz="1200" b="1" kern="1200" dirty="0">
                <a:solidFill>
                  <a:schemeClr val="tx1"/>
                </a:solidFill>
                <a:effectLst/>
                <a:latin typeface="+mn-lt"/>
                <a:ea typeface="+mn-ea"/>
                <a:cs typeface="+mn-cs"/>
              </a:rPr>
              <a:t> </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pplication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ay</a:t>
            </a:r>
            <a:r>
              <a:rPr lang="de-DE" sz="1200" kern="1200" dirty="0">
                <a:solidFill>
                  <a:schemeClr val="tx1"/>
                </a:solidFill>
                <a:effectLst/>
                <a:latin typeface="+mn-lt"/>
                <a:ea typeface="+mn-ea"/>
                <a:cs typeface="+mn-cs"/>
              </a:rPr>
              <a:t> not </a:t>
            </a:r>
            <a:r>
              <a:rPr lang="de-DE" sz="1200" kern="1200" dirty="0" err="1">
                <a:solidFill>
                  <a:schemeClr val="tx1"/>
                </a:solidFill>
                <a:effectLst/>
                <a:latin typeface="+mn-lt"/>
                <a:ea typeface="+mn-ea"/>
                <a:cs typeface="+mn-cs"/>
              </a:rPr>
              <a:t>assert</a:t>
            </a:r>
            <a:r>
              <a:rPr lang="de-DE" sz="1200" kern="1200" dirty="0">
                <a:solidFill>
                  <a:schemeClr val="tx1"/>
                </a:solidFill>
                <a:effectLst/>
                <a:latin typeface="+mn-lt"/>
                <a:ea typeface="+mn-ea"/>
                <a:cs typeface="+mn-cs"/>
              </a:rPr>
              <a:t> </a:t>
            </a:r>
            <a:r>
              <a:rPr lang="de-DE" sz="1200" i="1" kern="1200" dirty="0">
                <a:solidFill>
                  <a:schemeClr val="tx1"/>
                </a:solidFill>
                <a:effectLst/>
                <a:latin typeface="+mn-lt"/>
                <a:ea typeface="+mn-ea"/>
                <a:cs typeface="+mn-cs"/>
                <a:hlinkClick r:id="rId3"/>
              </a:rPr>
              <a:t>Write-</a:t>
            </a:r>
            <a:r>
              <a:rPr lang="de-DE" sz="1200" i="1" kern="1200" dirty="0" err="1">
                <a:solidFill>
                  <a:schemeClr val="tx1"/>
                </a:solidFill>
                <a:effectLst/>
                <a:latin typeface="+mn-lt"/>
                <a:ea typeface="+mn-ea"/>
                <a:cs typeface="+mn-cs"/>
                <a:hlinkClick r:id="rId3"/>
              </a:rPr>
              <a:t>through</a:t>
            </a:r>
            <a:r>
              <a:rPr lang="de-DE" sz="1200"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hlinkClick r:id="rId4"/>
              </a:rPr>
              <a:t>Forced</a:t>
            </a:r>
            <a:r>
              <a:rPr lang="de-DE" sz="1200" i="1" kern="1200" dirty="0">
                <a:solidFill>
                  <a:schemeClr val="tx1"/>
                </a:solidFill>
                <a:effectLst/>
                <a:latin typeface="+mn-lt"/>
                <a:ea typeface="+mn-ea"/>
                <a:cs typeface="+mn-cs"/>
                <a:hlinkClick r:id="rId4"/>
              </a:rPr>
              <a:t> Unit Access (FUA)</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r</a:t>
            </a:r>
            <a:r>
              <a:rPr lang="de-DE" sz="1200"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hlinkClick r:id="rId5"/>
              </a:rPr>
              <a:t>flush</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rrectl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quires</a:t>
            </a:r>
            <a:r>
              <a:rPr lang="de-DE" sz="1200" kern="1200" dirty="0">
                <a:solidFill>
                  <a:schemeClr val="tx1"/>
                </a:solidFill>
                <a:effectLst/>
                <a:latin typeface="+mn-lt"/>
                <a:ea typeface="+mn-ea"/>
                <a:cs typeface="+mn-cs"/>
              </a:rPr>
              <a:t> all </a:t>
            </a:r>
            <a:r>
              <a:rPr lang="de-DE" sz="1200" kern="1200" dirty="0" err="1">
                <a:solidFill>
                  <a:schemeClr val="tx1"/>
                </a:solidFill>
                <a:effectLst/>
                <a:latin typeface="+mn-lt"/>
                <a:ea typeface="+mn-ea"/>
                <a:cs typeface="+mn-cs"/>
              </a:rPr>
              <a:t>writ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ersist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Microsoft </a:t>
            </a:r>
            <a:r>
              <a:rPr lang="de-DE" sz="1200" kern="1200" dirty="0" err="1">
                <a:solidFill>
                  <a:schemeClr val="tx1"/>
                </a:solidFill>
                <a:effectLst/>
                <a:latin typeface="+mn-lt"/>
                <a:ea typeface="+mn-ea"/>
                <a:cs typeface="+mn-cs"/>
              </a:rPr>
              <a:t>Azure</a:t>
            </a:r>
            <a:r>
              <a:rPr lang="de-DE" sz="1200" kern="1200" dirty="0">
                <a:solidFill>
                  <a:schemeClr val="tx1"/>
                </a:solidFill>
                <a:effectLst/>
                <a:latin typeface="+mn-lt"/>
                <a:ea typeface="+mn-ea"/>
                <a:cs typeface="+mn-cs"/>
              </a:rPr>
              <a:t> Storage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rev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ata</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os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ata</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rrup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hile</a:t>
            </a:r>
            <a:r>
              <a:rPr lang="de-DE" sz="1200" kern="1200" dirty="0">
                <a:solidFill>
                  <a:schemeClr val="tx1"/>
                </a:solidFill>
                <a:effectLst/>
                <a:latin typeface="+mn-lt"/>
                <a:ea typeface="+mn-ea"/>
                <a:cs typeface="+mn-cs"/>
              </a:rPr>
              <a:t> still </a:t>
            </a:r>
            <a:r>
              <a:rPr lang="de-DE" sz="1200" kern="1200" dirty="0" err="1">
                <a:solidFill>
                  <a:schemeClr val="tx1"/>
                </a:solidFill>
                <a:effectLst/>
                <a:latin typeface="+mn-lt"/>
                <a:ea typeface="+mn-ea"/>
                <a:cs typeface="+mn-cs"/>
              </a:rPr>
              <a:t>enabl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a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che</a:t>
            </a:r>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            </a:t>
            </a:r>
            <a:r>
              <a:rPr lang="de-DE" sz="1200" b="1" kern="1200" dirty="0">
                <a:solidFill>
                  <a:schemeClr val="tx1"/>
                </a:solidFill>
                <a:effectLst/>
                <a:latin typeface="+mn-lt"/>
                <a:ea typeface="+mn-ea"/>
                <a:cs typeface="+mn-cs"/>
              </a:rPr>
              <a:t>Read Write </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fer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owes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sk</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atenc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light </a:t>
            </a:r>
            <a:r>
              <a:rPr lang="de-DE" sz="1200" kern="1200" dirty="0" err="1">
                <a:solidFill>
                  <a:schemeClr val="tx1"/>
                </a:solidFill>
                <a:effectLst/>
                <a:latin typeface="+mn-lt"/>
                <a:ea typeface="+mn-ea"/>
                <a:cs typeface="+mn-cs"/>
              </a:rPr>
              <a:t>workloads</a:t>
            </a:r>
            <a:r>
              <a:rPr lang="de-DE" sz="1200" kern="1200" dirty="0">
                <a:solidFill>
                  <a:schemeClr val="tx1"/>
                </a:solidFill>
                <a:effectLst/>
                <a:latin typeface="+mn-lt"/>
                <a:ea typeface="+mn-ea"/>
                <a:cs typeface="+mn-cs"/>
              </a:rPr>
              <a:t>. Recommended </a:t>
            </a:r>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OS </a:t>
            </a:r>
            <a:r>
              <a:rPr lang="de-DE" sz="1200" kern="1200" dirty="0" err="1">
                <a:solidFill>
                  <a:schemeClr val="tx1"/>
                </a:solidFill>
                <a:effectLst/>
                <a:latin typeface="+mn-lt"/>
                <a:ea typeface="+mn-ea"/>
                <a:cs typeface="+mn-cs"/>
              </a:rPr>
              <a:t>disk</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ata</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sk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ith</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poradic</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sk</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ccess</a:t>
            </a:r>
            <a:r>
              <a:rPr lang="de-DE" sz="1200" kern="1200" dirty="0">
                <a:solidFill>
                  <a:schemeClr val="tx1"/>
                </a:solidFill>
                <a:effectLst/>
                <a:latin typeface="+mn-lt"/>
                <a:ea typeface="+mn-ea"/>
                <a:cs typeface="+mn-cs"/>
              </a:rPr>
              <a:t>. Total </a:t>
            </a:r>
            <a:r>
              <a:rPr lang="de-DE" sz="1200" kern="1200" dirty="0" err="1">
                <a:solidFill>
                  <a:schemeClr val="tx1"/>
                </a:solidFill>
                <a:effectLst/>
                <a:latin typeface="+mn-lt"/>
                <a:ea typeface="+mn-ea"/>
                <a:cs typeface="+mn-cs"/>
              </a:rPr>
              <a:t>workloa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hould</a:t>
            </a:r>
            <a:r>
              <a:rPr lang="de-DE" sz="1200" kern="1200" dirty="0">
                <a:solidFill>
                  <a:schemeClr val="tx1"/>
                </a:solidFill>
                <a:effectLst/>
                <a:latin typeface="+mn-lt"/>
                <a:ea typeface="+mn-ea"/>
                <a:cs typeface="+mn-cs"/>
              </a:rPr>
              <a:t> not </a:t>
            </a:r>
            <a:r>
              <a:rPr lang="de-DE" sz="1200" kern="1200" dirty="0" err="1">
                <a:solidFill>
                  <a:schemeClr val="tx1"/>
                </a:solidFill>
                <a:effectLst/>
                <a:latin typeface="+mn-lt"/>
                <a:ea typeface="+mn-ea"/>
                <a:cs typeface="+mn-cs"/>
              </a:rPr>
              <a:t>frequentl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xce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erformanc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hysical</a:t>
            </a:r>
            <a:r>
              <a:rPr lang="de-DE" sz="1200" kern="1200" dirty="0">
                <a:solidFill>
                  <a:schemeClr val="tx1"/>
                </a:solidFill>
                <a:effectLst/>
                <a:latin typeface="+mn-lt"/>
                <a:ea typeface="+mn-ea"/>
                <a:cs typeface="+mn-cs"/>
              </a:rPr>
              <a:t> host </a:t>
            </a:r>
            <a:r>
              <a:rPr lang="de-DE" sz="1200" kern="1200" dirty="0" err="1">
                <a:solidFill>
                  <a:schemeClr val="tx1"/>
                </a:solidFill>
                <a:effectLst/>
                <a:latin typeface="+mn-lt"/>
                <a:ea typeface="+mn-ea"/>
                <a:cs typeface="+mn-cs"/>
              </a:rPr>
              <a:t>local</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ar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rives</a:t>
            </a:r>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             </a:t>
            </a:r>
            <a:r>
              <a:rPr lang="de-DE" sz="1200" b="1" kern="1200" dirty="0">
                <a:solidFill>
                  <a:schemeClr val="tx1"/>
                </a:solidFill>
                <a:effectLst/>
                <a:latin typeface="+mn-lt"/>
                <a:ea typeface="+mn-ea"/>
                <a:cs typeface="+mn-cs"/>
              </a:rPr>
              <a:t>Non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sabled</a:t>
            </a:r>
            <a:r>
              <a:rPr lang="de-DE" sz="1200" kern="1200" dirty="0">
                <a:solidFill>
                  <a:schemeClr val="tx1"/>
                </a:solidFill>
                <a:effectLst/>
                <a:latin typeface="+mn-lt"/>
                <a:ea typeface="+mn-ea"/>
                <a:cs typeface="+mn-cs"/>
              </a:rPr>
              <a:t>) – Bypasses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ocal</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c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mpletely</a:t>
            </a:r>
            <a:r>
              <a:rPr lang="de-DE" sz="1200" kern="1200" dirty="0">
                <a:solidFill>
                  <a:schemeClr val="tx1"/>
                </a:solidFill>
                <a:effectLst/>
                <a:latin typeface="+mn-lt"/>
                <a:ea typeface="+mn-ea"/>
                <a:cs typeface="+mn-cs"/>
              </a:rPr>
              <a:t>. This will </a:t>
            </a:r>
            <a:r>
              <a:rPr lang="de-DE" sz="1200" kern="1200" dirty="0" err="1">
                <a:solidFill>
                  <a:schemeClr val="tx1"/>
                </a:solidFill>
                <a:effectLst/>
                <a:latin typeface="+mn-lt"/>
                <a:ea typeface="+mn-ea"/>
                <a:cs typeface="+mn-cs"/>
              </a:rPr>
              <a:t>prev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hysical</a:t>
            </a:r>
            <a:r>
              <a:rPr lang="de-DE" sz="1200" kern="1200" dirty="0">
                <a:solidFill>
                  <a:schemeClr val="tx1"/>
                </a:solidFill>
                <a:effectLst/>
                <a:latin typeface="+mn-lt"/>
                <a:ea typeface="+mn-ea"/>
                <a:cs typeface="+mn-cs"/>
              </a:rPr>
              <a:t> host </a:t>
            </a:r>
            <a:r>
              <a:rPr lang="de-DE" sz="1200" kern="1200" dirty="0" err="1">
                <a:solidFill>
                  <a:schemeClr val="tx1"/>
                </a:solidFill>
                <a:effectLst/>
                <a:latin typeface="+mn-lt"/>
                <a:ea typeface="+mn-ea"/>
                <a:cs typeface="+mn-cs"/>
              </a:rPr>
              <a:t>local</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ar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riv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rom</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coming</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bottleneck</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fer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s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erformanc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I/O intensive </a:t>
            </a:r>
            <a:r>
              <a:rPr lang="de-DE" sz="1200" kern="1200" dirty="0" err="1">
                <a:solidFill>
                  <a:schemeClr val="tx1"/>
                </a:solidFill>
                <a:effectLst/>
                <a:latin typeface="+mn-lt"/>
                <a:ea typeface="+mn-ea"/>
                <a:cs typeface="+mn-cs"/>
              </a:rPr>
              <a:t>workloads</a:t>
            </a:r>
            <a:r>
              <a:rPr lang="de-DE" sz="1200" kern="1200" dirty="0">
                <a:solidFill>
                  <a:schemeClr val="tx1"/>
                </a:solidFill>
                <a:effectLst/>
                <a:latin typeface="+mn-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de-DE" dirty="0"/>
          </a:p>
        </p:txBody>
      </p:sp>
      <p:sp>
        <p:nvSpPr>
          <p:cNvPr id="4" name="Slide Number Placeholder 3"/>
          <p:cNvSpPr>
            <a:spLocks noGrp="1"/>
          </p:cNvSpPr>
          <p:nvPr>
            <p:ph type="sldNum" sz="quarter" idx="10"/>
          </p:nvPr>
        </p:nvSpPr>
        <p:spPr/>
        <p:txBody>
          <a:bodyPr/>
          <a:lstStyle/>
          <a:p>
            <a:fld id="{3914BC00-1402-49CF-9CEB-7C8FB383AFA3}" type="slidenum">
              <a:rPr lang="de-DE" smtClean="0">
                <a:solidFill>
                  <a:prstClr val="black"/>
                </a:solidFill>
              </a:rPr>
              <a:pPr/>
              <a:t>78</a:t>
            </a:fld>
            <a:endParaRPr lang="de-DE">
              <a:solidFill>
                <a:prstClr val="black"/>
              </a:solidFill>
            </a:endParaRPr>
          </a:p>
        </p:txBody>
      </p:sp>
    </p:spTree>
    <p:extLst>
      <p:ext uri="{BB962C8B-B14F-4D97-AF65-F5344CB8AC3E}">
        <p14:creationId xmlns:p14="http://schemas.microsoft.com/office/powerpoint/2010/main" val="395135013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smtClean="0">
                <a:latin typeface="Arial"/>
                <a:ea typeface="Calibri"/>
                <a:cs typeface="Times New Roman"/>
              </a:rPr>
              <a:t>How to connect Azure Linux VM</a:t>
            </a:r>
          </a:p>
          <a:p>
            <a:pPr>
              <a:lnSpc>
                <a:spcPct val="115000"/>
              </a:lnSpc>
              <a:spcAft>
                <a:spcPts val="1000"/>
              </a:spcAft>
            </a:pPr>
            <a:r>
              <a:rPr lang="en-IN" sz="1200" b="0" i="0" kern="1200" dirty="0" smtClean="0">
                <a:solidFill>
                  <a:schemeClr val="tx1"/>
                </a:solidFill>
                <a:effectLst/>
                <a:latin typeface="+mn-lt"/>
                <a:ea typeface="+mn-ea"/>
                <a:cs typeface="+mn-cs"/>
              </a:rPr>
              <a:t> </a:t>
            </a:r>
            <a:r>
              <a:rPr lang="en-IN" sz="1200" b="0" i="0" kern="1200" dirty="0" err="1" smtClean="0">
                <a:solidFill>
                  <a:schemeClr val="tx1"/>
                </a:solidFill>
                <a:effectLst/>
                <a:latin typeface="+mn-lt"/>
                <a:ea typeface="+mn-ea"/>
                <a:cs typeface="+mn-cs"/>
              </a:rPr>
              <a:t>ssh</a:t>
            </a:r>
            <a:r>
              <a:rPr lang="en-IN" sz="1200" b="0" i="0" kern="1200" dirty="0" smtClean="0">
                <a:solidFill>
                  <a:schemeClr val="tx1"/>
                </a:solidFill>
                <a:effectLst/>
                <a:latin typeface="+mn-lt"/>
                <a:ea typeface="+mn-ea"/>
                <a:cs typeface="+mn-cs"/>
              </a:rPr>
              <a:t> &lt;</a:t>
            </a:r>
            <a:r>
              <a:rPr lang="en-IN" sz="1200" b="0" i="0" kern="1200" dirty="0" err="1" smtClean="0">
                <a:solidFill>
                  <a:schemeClr val="tx1"/>
                </a:solidFill>
                <a:effectLst/>
                <a:latin typeface="+mn-lt"/>
                <a:ea typeface="+mn-ea"/>
                <a:cs typeface="+mn-cs"/>
              </a:rPr>
              <a:t>vmname</a:t>
            </a:r>
            <a:r>
              <a:rPr lang="en-IN" sz="1200" b="0" i="0" kern="1200" dirty="0" smtClean="0">
                <a:solidFill>
                  <a:schemeClr val="tx1"/>
                </a:solidFill>
                <a:effectLst/>
                <a:latin typeface="+mn-lt"/>
                <a:ea typeface="+mn-ea"/>
                <a:cs typeface="+mn-cs"/>
              </a:rPr>
              <a:t>&gt;@13.89.186.62&lt;</a:t>
            </a:r>
            <a:r>
              <a:rPr lang="en-IN" sz="1200" b="0" i="0" kern="1200" dirty="0" err="1" smtClean="0">
                <a:solidFill>
                  <a:schemeClr val="tx1"/>
                </a:solidFill>
                <a:effectLst/>
                <a:latin typeface="+mn-lt"/>
                <a:ea typeface="+mn-ea"/>
                <a:cs typeface="+mn-cs"/>
              </a:rPr>
              <a:t>publicip</a:t>
            </a:r>
            <a:r>
              <a:rPr lang="en-IN" sz="1200" b="0" i="0" kern="1200" dirty="0" smtClean="0">
                <a:solidFill>
                  <a:schemeClr val="tx1"/>
                </a:solidFill>
                <a:effectLst/>
                <a:latin typeface="+mn-lt"/>
                <a:ea typeface="+mn-ea"/>
                <a:cs typeface="+mn-cs"/>
              </a:rPr>
              <a:t>&gt; </a:t>
            </a:r>
          </a:p>
          <a:p>
            <a:pPr>
              <a:lnSpc>
                <a:spcPct val="115000"/>
              </a:lnSpc>
              <a:spcAft>
                <a:spcPts val="1000"/>
              </a:spcAft>
            </a:pPr>
            <a:endParaRPr lang="en-IN" sz="1200" b="0" i="0" kern="1200" dirty="0" smtClean="0">
              <a:solidFill>
                <a:schemeClr val="tx1"/>
              </a:solidFill>
              <a:effectLst/>
              <a:latin typeface="+mn-lt"/>
              <a:ea typeface="+mn-ea"/>
              <a:cs typeface="+mn-cs"/>
            </a:endParaRPr>
          </a:p>
          <a:p>
            <a:pPr>
              <a:lnSpc>
                <a:spcPct val="115000"/>
              </a:lnSpc>
              <a:spcAft>
                <a:spcPts val="1000"/>
              </a:spcAft>
            </a:pPr>
            <a:r>
              <a:rPr lang="en-IN" sz="1200" b="0" i="0" kern="1200" dirty="0" err="1" smtClean="0">
                <a:solidFill>
                  <a:schemeClr val="tx1"/>
                </a:solidFill>
                <a:effectLst/>
                <a:latin typeface="+mn-lt"/>
                <a:ea typeface="+mn-ea"/>
                <a:cs typeface="+mn-cs"/>
              </a:rPr>
              <a:t>Exmaple</a:t>
            </a:r>
            <a:r>
              <a:rPr lang="en-IN" sz="1200" b="0" i="0" kern="1200" dirty="0" smtClean="0">
                <a:solidFill>
                  <a:schemeClr val="tx1"/>
                </a:solidFill>
                <a:effectLst/>
                <a:latin typeface="+mn-lt"/>
                <a:ea typeface="+mn-ea"/>
                <a:cs typeface="+mn-cs"/>
              </a:rPr>
              <a:t>:</a:t>
            </a:r>
            <a:r>
              <a:rPr lang="en-IN" sz="1200" b="0" i="0" kern="1200" baseline="0" dirty="0" smtClean="0">
                <a:solidFill>
                  <a:schemeClr val="tx1"/>
                </a:solidFill>
                <a:effectLst/>
                <a:latin typeface="+mn-lt"/>
                <a:ea typeface="+mn-ea"/>
                <a:cs typeface="+mn-cs"/>
              </a:rPr>
              <a:t> </a:t>
            </a:r>
            <a:r>
              <a:rPr lang="en-IN" sz="1200" b="0" i="0" kern="1200" dirty="0" smtClean="0">
                <a:solidFill>
                  <a:schemeClr val="tx1"/>
                </a:solidFill>
                <a:effectLst/>
                <a:latin typeface="+mn-lt"/>
                <a:ea typeface="+mn-ea"/>
                <a:cs typeface="+mn-cs"/>
              </a:rPr>
              <a:t> </a:t>
            </a:r>
            <a:r>
              <a:rPr lang="en-IN" sz="1200" b="0" i="0" kern="1200" dirty="0" err="1" smtClean="0">
                <a:solidFill>
                  <a:schemeClr val="tx1"/>
                </a:solidFill>
                <a:effectLst/>
                <a:latin typeface="+mn-lt"/>
                <a:ea typeface="+mn-ea"/>
                <a:cs typeface="+mn-cs"/>
              </a:rPr>
              <a:t>ssh</a:t>
            </a:r>
            <a:r>
              <a:rPr lang="en-IN" sz="1200" b="0" i="0" kern="1200" smtClean="0">
                <a:solidFill>
                  <a:schemeClr val="tx1"/>
                </a:solidFill>
                <a:effectLst/>
                <a:latin typeface="+mn-lt"/>
                <a:ea typeface="+mn-ea"/>
                <a:cs typeface="+mn-cs"/>
              </a:rPr>
              <a:t> prakashvm@13.89.186.62</a:t>
            </a:r>
            <a:endParaRPr lang="en-IN" sz="1200" b="0" i="0" kern="1200" dirty="0" smtClean="0">
              <a:solidFill>
                <a:schemeClr val="tx1"/>
              </a:solidFill>
              <a:effectLst/>
              <a:latin typeface="+mn-lt"/>
              <a:ea typeface="+mn-ea"/>
              <a:cs typeface="+mn-cs"/>
            </a:endParaRPr>
          </a:p>
          <a:p>
            <a:pPr>
              <a:lnSpc>
                <a:spcPct val="115000"/>
              </a:lnSpc>
              <a:spcAft>
                <a:spcPts val="1000"/>
              </a:spcAft>
            </a:pPr>
            <a:endParaRPr lang="en-US" sz="1000" dirty="0">
              <a:latin typeface="Arial"/>
              <a:ea typeface="Calibri"/>
              <a:cs typeface="Times New Roman"/>
            </a:endParaRPr>
          </a:p>
        </p:txBody>
      </p:sp>
      <p:sp>
        <p:nvSpPr>
          <p:cNvPr id="4" name="Slide Number Placeholder 3"/>
          <p:cNvSpPr>
            <a:spLocks noGrp="1"/>
          </p:cNvSpPr>
          <p:nvPr>
            <p:ph type="sldNum" sz="quarter" idx="10"/>
          </p:nvPr>
        </p:nvSpPr>
        <p:spPr/>
        <p:txBody>
          <a:bodyPr/>
          <a:lstStyle/>
          <a:p>
            <a:fld id="{4627A52F-1DE4-46C8-B96A-A55BE5398492}" type="slidenum">
              <a:rPr lang="en-US" smtClean="0"/>
              <a:pPr/>
              <a:t>79</a:t>
            </a:fld>
            <a:endParaRPr lang="en-US" dirty="0"/>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latin typeface="Arial"/>
              </a:rPr>
              <a:t>10979C</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336699"/>
                </a:solidFill>
                <a:latin typeface="Arial"/>
              </a:rPr>
              <a:t>3: Virtual machines in Microsoft Azure</a:t>
            </a:r>
          </a:p>
        </p:txBody>
      </p:sp>
    </p:spTree>
    <p:extLst>
      <p:ext uri="{BB962C8B-B14F-4D97-AF65-F5344CB8AC3E}">
        <p14:creationId xmlns:p14="http://schemas.microsoft.com/office/powerpoint/2010/main" val="282612842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 </a:t>
            </a:r>
          </a:p>
        </p:txBody>
      </p:sp>
      <p:sp>
        <p:nvSpPr>
          <p:cNvPr id="4" name="Slide Number Placeholder 3"/>
          <p:cNvSpPr>
            <a:spLocks noGrp="1"/>
          </p:cNvSpPr>
          <p:nvPr>
            <p:ph type="sldNum" sz="quarter" idx="10"/>
          </p:nvPr>
        </p:nvSpPr>
        <p:spPr/>
        <p:txBody>
          <a:bodyPr/>
          <a:lstStyle/>
          <a:p>
            <a:fld id="{4627A52F-1DE4-46C8-B96A-A55BE5398492}" type="slidenum">
              <a:rPr lang="en-US" smtClean="0"/>
              <a:pPr/>
              <a:t>80</a:t>
            </a:fld>
            <a:endParaRPr lang="en-US" dirty="0"/>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latin typeface="Arial"/>
              </a:rPr>
              <a:t>10979C</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336699"/>
                </a:solidFill>
                <a:latin typeface="Arial"/>
              </a:rPr>
              <a:t>3: Virtual machines in Microsoft Azure</a:t>
            </a:r>
          </a:p>
        </p:txBody>
      </p:sp>
    </p:spTree>
    <p:extLst>
      <p:ext uri="{BB962C8B-B14F-4D97-AF65-F5344CB8AC3E}">
        <p14:creationId xmlns:p14="http://schemas.microsoft.com/office/powerpoint/2010/main" val="1564834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b="1" dirty="0" smtClean="0"/>
              <a:t>Title</a:t>
            </a:r>
            <a:r>
              <a:rPr lang="en-US" dirty="0" smtClean="0"/>
              <a:t>: The big (network) picture</a:t>
            </a:r>
          </a:p>
          <a:p>
            <a:r>
              <a:rPr lang="en-US" b="1" dirty="0" smtClean="0"/>
              <a:t>Notes</a:t>
            </a:r>
            <a:r>
              <a:rPr lang="en-US" dirty="0" smtClean="0"/>
              <a:t>:</a:t>
            </a:r>
          </a:p>
          <a:p>
            <a:r>
              <a:rPr lang="en-US" dirty="0" smtClean="0"/>
              <a:t>Azure provides the right connectivity for all scenarios. From scalability entry points all over the world; to Virtual Software Defined Networks in Azure; and VPN or MPLS connections which make the Microsoft Network just another WAN site. Microsoft is ready.</a:t>
            </a:r>
          </a:p>
          <a:p>
            <a:endParaRPr lang="en-US" dirty="0"/>
          </a:p>
        </p:txBody>
      </p:sp>
      <p:sp>
        <p:nvSpPr>
          <p:cNvPr id="4" name="Header Placeholder 3"/>
          <p:cNvSpPr>
            <a:spLocks noGrp="1"/>
          </p:cNvSpPr>
          <p:nvPr>
            <p:ph type="hdr" sz="quarter" idx="10"/>
          </p:nvPr>
        </p:nvSpPr>
        <p:spPr/>
        <p:txBody>
          <a:bodyPr/>
          <a:lstStyle/>
          <a:p>
            <a:r>
              <a:rPr lang="en-US" dirty="0" smtClean="0"/>
              <a:t>SMSG Read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E77B2B4-D237-4BCC-95D9-1D4EDEE25D63}" type="datetime1">
              <a:rPr lang="en-US" smtClean="0"/>
              <a:pPr/>
              <a:t>1/20/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4</a:t>
            </a:fld>
            <a:endParaRPr lang="en-US" dirty="0"/>
          </a:p>
        </p:txBody>
      </p:sp>
    </p:spTree>
    <p:extLst>
      <p:ext uri="{BB962C8B-B14F-4D97-AF65-F5344CB8AC3E}">
        <p14:creationId xmlns:p14="http://schemas.microsoft.com/office/powerpoint/2010/main" val="45129501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b="1" dirty="0" smtClean="0"/>
              <a:t>Title</a:t>
            </a:r>
            <a:r>
              <a:rPr lang="en-US" dirty="0" smtClean="0"/>
              <a:t>: Virtual network</a:t>
            </a:r>
          </a:p>
          <a:p>
            <a:pPr marL="0" marR="0" indent="0" algn="l" defTabSz="932742" rtl="0" eaLnBrk="1" fontAlgn="auto" latinLnBrk="0" hangingPunct="1">
              <a:lnSpc>
                <a:spcPct val="90000"/>
              </a:lnSpc>
              <a:spcBef>
                <a:spcPts val="0"/>
              </a:spcBef>
              <a:spcAft>
                <a:spcPts val="340"/>
              </a:spcAft>
              <a:buClrTx/>
              <a:buSzTx/>
              <a:buFontTx/>
              <a:buNone/>
              <a:tabLst/>
              <a:defRPr/>
            </a:pPr>
            <a:r>
              <a:rPr lang="en-US" b="1" dirty="0" smtClean="0"/>
              <a:t>Notes</a:t>
            </a:r>
            <a:r>
              <a:rPr lang="en-US" dirty="0" smtClean="0"/>
              <a:t>:</a:t>
            </a:r>
          </a:p>
          <a:p>
            <a:r>
              <a:rPr lang="en-US" dirty="0" smtClean="0"/>
              <a:t>Virtual machines are able to connect across cloud services as long as they are in the same virtual network. </a:t>
            </a:r>
          </a:p>
          <a:p>
            <a:endParaRPr lang="en-US" dirty="0"/>
          </a:p>
        </p:txBody>
      </p:sp>
      <p:sp>
        <p:nvSpPr>
          <p:cNvPr id="4" name="Header Placeholder 3"/>
          <p:cNvSpPr>
            <a:spLocks noGrp="1"/>
          </p:cNvSpPr>
          <p:nvPr>
            <p:ph type="hdr" sz="quarter" idx="10"/>
          </p:nvPr>
        </p:nvSpPr>
        <p:spPr/>
        <p:txBody>
          <a:bodyPr/>
          <a:lstStyle/>
          <a:p>
            <a:r>
              <a:rPr lang="en-US" dirty="0" smtClean="0"/>
              <a:t>SMSG Read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E77B2B4-D237-4BCC-95D9-1D4EDEE25D63}" type="datetime1">
              <a:rPr lang="en-US" smtClean="0"/>
              <a:pPr/>
              <a:t>1/20/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5</a:t>
            </a:fld>
            <a:endParaRPr lang="en-US" dirty="0"/>
          </a:p>
        </p:txBody>
      </p:sp>
    </p:spTree>
    <p:extLst>
      <p:ext uri="{BB962C8B-B14F-4D97-AF65-F5344CB8AC3E}">
        <p14:creationId xmlns:p14="http://schemas.microsoft.com/office/powerpoint/2010/main" val="54207403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b="1" dirty="0" smtClean="0"/>
              <a:t>Title</a:t>
            </a:r>
            <a:r>
              <a:rPr lang="en-US" dirty="0" smtClean="0"/>
              <a:t>: Components of a Virtual Network</a:t>
            </a:r>
            <a:endParaRPr lang="en-US" dirty="0"/>
          </a:p>
        </p:txBody>
      </p:sp>
      <p:sp>
        <p:nvSpPr>
          <p:cNvPr id="4" name="Header Placeholder 3"/>
          <p:cNvSpPr>
            <a:spLocks noGrp="1"/>
          </p:cNvSpPr>
          <p:nvPr>
            <p:ph type="hdr" sz="quarter" idx="10"/>
          </p:nvPr>
        </p:nvSpPr>
        <p:spPr/>
        <p:txBody>
          <a:bodyPr/>
          <a:lstStyle/>
          <a:p>
            <a:r>
              <a:rPr lang="en-US" dirty="0" smtClean="0"/>
              <a:t>SMSG Read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E77B2B4-D237-4BCC-95D9-1D4EDEE25D63}" type="datetime1">
              <a:rPr lang="en-US" smtClean="0"/>
              <a:pPr/>
              <a:t>1/20/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6</a:t>
            </a:fld>
            <a:endParaRPr lang="en-US" dirty="0"/>
          </a:p>
        </p:txBody>
      </p:sp>
    </p:spTree>
    <p:extLst>
      <p:ext uri="{BB962C8B-B14F-4D97-AF65-F5344CB8AC3E}">
        <p14:creationId xmlns:p14="http://schemas.microsoft.com/office/powerpoint/2010/main" val="178848862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b="1" dirty="0" smtClean="0"/>
              <a:t>Title</a:t>
            </a:r>
            <a:r>
              <a:rPr lang="en-US" dirty="0" smtClean="0"/>
              <a:t>: Azure Virtual Networks &amp; Subnets</a:t>
            </a:r>
            <a:endParaRPr lang="en-US" dirty="0"/>
          </a:p>
        </p:txBody>
      </p:sp>
      <p:sp>
        <p:nvSpPr>
          <p:cNvPr id="4" name="Header Placeholder 3"/>
          <p:cNvSpPr>
            <a:spLocks noGrp="1"/>
          </p:cNvSpPr>
          <p:nvPr>
            <p:ph type="hdr" sz="quarter" idx="10"/>
          </p:nvPr>
        </p:nvSpPr>
        <p:spPr/>
        <p:txBody>
          <a:bodyPr/>
          <a:lstStyle/>
          <a:p>
            <a:r>
              <a:rPr lang="en-US" dirty="0" smtClean="0"/>
              <a:t>SMSG Read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E77B2B4-D237-4BCC-95D9-1D4EDEE25D63}" type="datetime1">
              <a:rPr lang="en-US" smtClean="0"/>
              <a:pPr/>
              <a:t>1/20/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7</a:t>
            </a:fld>
            <a:endParaRPr lang="en-US" dirty="0"/>
          </a:p>
        </p:txBody>
      </p:sp>
    </p:spTree>
    <p:extLst>
      <p:ext uri="{BB962C8B-B14F-4D97-AF65-F5344CB8AC3E}">
        <p14:creationId xmlns:p14="http://schemas.microsoft.com/office/powerpoint/2010/main" val="193559276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r>
              <a:rPr lang="en-US" dirty="0"/>
              <a:t>VIP: The VIP is allocated at random from a pool of IP addresses managed by Microsoft. However, it is possible to </a:t>
            </a:r>
            <a:r>
              <a:rPr lang="en-US" dirty="0">
                <a:hlinkClick r:id="rId3"/>
              </a:rPr>
              <a:t>reserve</a:t>
            </a:r>
            <a:r>
              <a:rPr lang="en-US" dirty="0"/>
              <a:t> an IP address from the Microsoft pool and allocate that reserved IP address as a VIP. There is a limit of 5 reserved IPs for a subscription. Unless a reserved IP address is used, the VIP is given up and returned to the Microsoft pool once the last VM with that VIP is deallocated or deleted. Internet-bound traffic coming from the VM is </a:t>
            </a:r>
            <a:r>
              <a:rPr lang="en-US" dirty="0" err="1"/>
              <a:t>SNATted</a:t>
            </a:r>
            <a:r>
              <a:rPr lang="en-US" dirty="0"/>
              <a:t> to have the VIP be its source address.</a:t>
            </a:r>
          </a:p>
          <a:p>
            <a:r>
              <a:rPr lang="en-US" dirty="0"/>
              <a:t>DIP: This IP address is associated automatically with the VM when it is created and remains associated with it while it is deployed. The DIP survives system reboots as well as service healing migration of the VM. If the VM is deleted or changed into a stopped/deallocated state it loses its DIP, which may then be allocated to another VM. Alternatively, the DIP can be a </a:t>
            </a:r>
            <a:r>
              <a:rPr lang="en-US" dirty="0">
                <a:hlinkClick r:id="rId4"/>
              </a:rPr>
              <a:t>static IP address</a:t>
            </a:r>
            <a:r>
              <a:rPr lang="en-US" dirty="0"/>
              <a:t> allocated to the VM on creation. This address comes from the range configured for the subnet the VM is deployed into. It is a good practice to use a distinct subnet for statically-allocated DIPs to avoid the possibility of collision between a dynamically and statically allocated DIP.</a:t>
            </a:r>
          </a:p>
          <a:p>
            <a:r>
              <a:rPr lang="en-US" dirty="0"/>
              <a:t>PIP: A PIP is a </a:t>
            </a:r>
            <a:r>
              <a:rPr lang="en-US" dirty="0">
                <a:hlinkClick r:id="rId5"/>
              </a:rPr>
              <a:t>public instance-level IP address</a:t>
            </a:r>
            <a:r>
              <a:rPr lang="en-US" dirty="0"/>
              <a:t> associated with the VM in addition to the VIP. Traffic to the PIP goes directly to the VM and is not routed through the Azure Load Balancer.</a:t>
            </a:r>
            <a:r>
              <a:rPr lang="en-US" baseline="0" dirty="0"/>
              <a:t> </a:t>
            </a:r>
            <a:r>
              <a:rPr lang="en-US" dirty="0"/>
              <a:t>Internet-bound traffic from a VM with a configured PIP is also sent over the PIP rather than going through the VIP. The PIP must be appropriately firewalled to restrict traffic to only that desired. A PIP is useful for workloads such as passive FTP that require a large number of ports to be opened, which is impractical when using the VIP which supports only a limited number of endpoints.</a:t>
            </a:r>
          </a:p>
        </p:txBody>
      </p:sp>
      <p:sp>
        <p:nvSpPr>
          <p:cNvPr id="4" name="Slide Number Placeholder 3"/>
          <p:cNvSpPr>
            <a:spLocks noGrp="1"/>
          </p:cNvSpPr>
          <p:nvPr>
            <p:ph type="sldNum" sz="quarter" idx="10"/>
          </p:nvPr>
        </p:nvSpPr>
        <p:spPr/>
        <p:txBody>
          <a:bodyPr/>
          <a:lstStyle/>
          <a:p>
            <a:fld id="{1489DB6A-E92B-415B-AFB4-9C72D4A9006D}" type="slidenum">
              <a:rPr lang="en-US" smtClean="0"/>
              <a:pPr/>
              <a:t>88</a:t>
            </a:fld>
            <a:endParaRPr lang="en-US"/>
          </a:p>
        </p:txBody>
      </p:sp>
    </p:spTree>
    <p:extLst>
      <p:ext uri="{BB962C8B-B14F-4D97-AF65-F5344CB8AC3E}">
        <p14:creationId xmlns:p14="http://schemas.microsoft.com/office/powerpoint/2010/main" val="81003414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1/20/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57689476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0/2019 10:2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0</a:t>
            </a:fld>
            <a:endParaRPr lang="en-US" dirty="0">
              <a:solidFill>
                <a:prstClr val="black"/>
              </a:solidFill>
            </a:endParaRPr>
          </a:p>
        </p:txBody>
      </p:sp>
    </p:spTree>
    <p:extLst>
      <p:ext uri="{BB962C8B-B14F-4D97-AF65-F5344CB8AC3E}">
        <p14:creationId xmlns:p14="http://schemas.microsoft.com/office/powerpoint/2010/main" val="10620176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92500" lnSpcReduction="10000"/>
          </a:bodyPr>
          <a:lstStyle/>
          <a:p>
            <a:r>
              <a:rPr lang="en-US" sz="1200" b="0" i="1" u="none" strike="noStrike" kern="1200" baseline="0" dirty="0" smtClean="0">
                <a:solidFill>
                  <a:schemeClr val="tx1"/>
                </a:solidFill>
                <a:latin typeface="+mn-lt"/>
                <a:ea typeface="+mn-ea"/>
                <a:cs typeface="+mn-cs"/>
              </a:rPr>
              <a:t>On-demand self-service. </a:t>
            </a:r>
            <a:r>
              <a:rPr lang="en-US" sz="1200" b="0" i="0" u="none" strike="noStrike" kern="1200" baseline="0" dirty="0" smtClean="0">
                <a:solidFill>
                  <a:schemeClr val="tx1"/>
                </a:solidFill>
                <a:latin typeface="+mn-lt"/>
                <a:ea typeface="+mn-ea"/>
                <a:cs typeface="+mn-cs"/>
              </a:rPr>
              <a:t>A consumer can unilaterally provision computing capabilities, such as server time and network storage, as needed </a:t>
            </a:r>
            <a:r>
              <a:rPr lang="en-US" sz="1200" b="0" i="0" u="none" strike="noStrike" kern="1200" baseline="0" dirty="0" smtClean="0">
                <a:solidFill>
                  <a:srgbClr val="FF0000"/>
                </a:solidFill>
                <a:latin typeface="+mn-lt"/>
                <a:ea typeface="+mn-ea"/>
                <a:cs typeface="+mn-cs"/>
              </a:rPr>
              <a:t>automatically without requiring human interaction with each service provider. </a:t>
            </a:r>
          </a:p>
          <a:p>
            <a:r>
              <a:rPr lang="en-US" sz="1200" b="0" i="1" u="none" strike="noStrike" kern="1200" baseline="0" dirty="0" smtClean="0">
                <a:solidFill>
                  <a:schemeClr val="tx1"/>
                </a:solidFill>
                <a:latin typeface="+mn-lt"/>
                <a:ea typeface="+mn-ea"/>
                <a:cs typeface="+mn-cs"/>
              </a:rPr>
              <a:t>Broad network access. </a:t>
            </a:r>
            <a:r>
              <a:rPr lang="en-US" sz="1200" b="0" i="0" u="none" strike="noStrike" kern="1200" baseline="0" dirty="0" smtClean="0">
                <a:solidFill>
                  <a:schemeClr val="tx1"/>
                </a:solidFill>
                <a:latin typeface="+mn-lt"/>
                <a:ea typeface="+mn-ea"/>
                <a:cs typeface="+mn-cs"/>
              </a:rPr>
              <a:t>Capabilities are available over the network and accessed through standard mechanisms that promote use by heterogeneous thin or thick client platforms (e.g., mobile phones, tablets, laptops, and workstations). </a:t>
            </a:r>
          </a:p>
          <a:p>
            <a:r>
              <a:rPr lang="en-US" sz="1200" b="0" i="1" u="none" strike="noStrike" kern="1200" baseline="0" dirty="0" smtClean="0">
                <a:solidFill>
                  <a:schemeClr val="tx1"/>
                </a:solidFill>
                <a:latin typeface="+mn-lt"/>
                <a:ea typeface="+mn-ea"/>
                <a:cs typeface="+mn-cs"/>
              </a:rPr>
              <a:t>Resource pooling. </a:t>
            </a:r>
            <a:r>
              <a:rPr lang="en-US" sz="1200" b="0" i="0" u="none" strike="noStrike" kern="1200" baseline="0" dirty="0" smtClean="0">
                <a:solidFill>
                  <a:schemeClr val="tx1"/>
                </a:solidFill>
                <a:latin typeface="+mn-lt"/>
                <a:ea typeface="+mn-ea"/>
                <a:cs typeface="+mn-cs"/>
              </a:rPr>
              <a:t>The provider’s computing resources are pooled to serve multiple consumers using a multi-tenant model, with different physical and virtual resources dynamically assigned and reassigned according to consumer demand. There is a sense of location independence in that the customer generally has no control or knowledge over the exact location of the provided resources but may be able to specify location at a higher level of abstraction (e.g., country, state, or datacenter). Examples of resources include storage, processing, memory, and network bandwidth. </a:t>
            </a:r>
          </a:p>
          <a:p>
            <a:r>
              <a:rPr lang="en-US" sz="1200" b="0" i="1" u="none" strike="noStrike" kern="1200" baseline="0" dirty="0" smtClean="0">
                <a:solidFill>
                  <a:schemeClr val="tx1"/>
                </a:solidFill>
                <a:latin typeface="+mn-lt"/>
                <a:ea typeface="+mn-ea"/>
                <a:cs typeface="+mn-cs"/>
              </a:rPr>
              <a:t>Rapid elasticity. </a:t>
            </a:r>
            <a:r>
              <a:rPr lang="en-US" sz="1200" b="0" i="0" u="none" strike="noStrike" kern="1200" baseline="0" dirty="0" smtClean="0">
                <a:solidFill>
                  <a:schemeClr val="tx1"/>
                </a:solidFill>
                <a:latin typeface="+mn-lt"/>
                <a:ea typeface="+mn-ea"/>
                <a:cs typeface="+mn-cs"/>
              </a:rPr>
              <a:t>Capabilities can be elastically provisioned and released, in some cases automatically, to scale rapidly outward and inward commensurate with demand. To the consumer, the capabilities available for provisioning often appear to be unlimited and can be appropriated in any quantity at any time. </a:t>
            </a:r>
          </a:p>
          <a:p>
            <a:r>
              <a:rPr lang="en-US" sz="1200" b="0" i="1" u="none" strike="noStrike" kern="1200" baseline="0" dirty="0" smtClean="0">
                <a:solidFill>
                  <a:schemeClr val="tx1"/>
                </a:solidFill>
                <a:latin typeface="+mn-lt"/>
                <a:ea typeface="+mn-ea"/>
                <a:cs typeface="+mn-cs"/>
              </a:rPr>
              <a:t>Measured service/Utility service / Reliability. </a:t>
            </a:r>
            <a:r>
              <a:rPr lang="en-US" sz="1200" b="0" i="0" u="none" strike="noStrike" kern="1200" baseline="0" dirty="0" smtClean="0">
                <a:solidFill>
                  <a:schemeClr val="tx1"/>
                </a:solidFill>
                <a:latin typeface="+mn-lt"/>
                <a:ea typeface="+mn-ea"/>
                <a:cs typeface="+mn-cs"/>
              </a:rPr>
              <a:t>Cloud systems automatically control and optimize resource use by leveraging a metering capability1 at some level of abstraction appropriate to the type of service (e.g., storage, processing, bandwidth, and active user accounts). Resource usage can be monitored, controlled, and reported, providing transparency for both the provider and consumer of the utilized service.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341678783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b="1" dirty="0" smtClean="0"/>
              <a:t>Title</a:t>
            </a:r>
            <a:r>
              <a:rPr lang="en-US" dirty="0" smtClean="0"/>
              <a:t>: DNS Services</a:t>
            </a:r>
          </a:p>
          <a:p>
            <a:r>
              <a:rPr lang="en-US" b="1" dirty="0" smtClean="0"/>
              <a:t>Notes</a:t>
            </a:r>
            <a:r>
              <a:rPr lang="en-US" dirty="0" smtClean="0"/>
              <a:t>:</a:t>
            </a:r>
          </a:p>
          <a:p>
            <a:r>
              <a:rPr lang="en-US" dirty="0" smtClean="0"/>
              <a:t>Azure Traffic Manager gives you three traffic routing methods to choose from: </a:t>
            </a:r>
            <a:r>
              <a:rPr lang="en-US" dirty="0" smtClean="0">
                <a:solidFill>
                  <a:schemeClr val="tx1"/>
                </a:solidFill>
                <a:hlinkClick r:id="rId3"/>
              </a:rPr>
              <a:t>failover, performance, or weighted round robin</a:t>
            </a:r>
            <a:r>
              <a:rPr lang="en-US" dirty="0" smtClean="0"/>
              <a:t>. You choose the one that’s right for your application or scenario.</a:t>
            </a:r>
            <a:endParaRPr lang="en-US" dirty="0"/>
          </a:p>
        </p:txBody>
      </p:sp>
      <p:sp>
        <p:nvSpPr>
          <p:cNvPr id="4" name="Header Placeholder 3"/>
          <p:cNvSpPr>
            <a:spLocks noGrp="1"/>
          </p:cNvSpPr>
          <p:nvPr>
            <p:ph type="hdr" sz="quarter" idx="10"/>
          </p:nvPr>
        </p:nvSpPr>
        <p:spPr/>
        <p:txBody>
          <a:bodyPr/>
          <a:lstStyle/>
          <a:p>
            <a:r>
              <a:rPr lang="en-US" dirty="0" smtClean="0"/>
              <a:t>SMSG Read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E77B2B4-D237-4BCC-95D9-1D4EDEE25D63}" type="datetime1">
              <a:rPr lang="en-US" smtClean="0"/>
              <a:pPr/>
              <a:t>1/20/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2</a:t>
            </a:fld>
            <a:endParaRPr lang="en-US" dirty="0"/>
          </a:p>
        </p:txBody>
      </p:sp>
    </p:spTree>
    <p:extLst>
      <p:ext uri="{BB962C8B-B14F-4D97-AF65-F5344CB8AC3E}">
        <p14:creationId xmlns:p14="http://schemas.microsoft.com/office/powerpoint/2010/main" val="303136500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pPr/>
              <a:t>1/20/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3</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72683637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0/2019</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94</a:t>
            </a:fld>
            <a:endParaRPr lang="en-US" dirty="0">
              <a:solidFill>
                <a:prstClr val="black"/>
              </a:solidFill>
            </a:endParaRPr>
          </a:p>
        </p:txBody>
      </p:sp>
    </p:spTree>
    <p:extLst>
      <p:ext uri="{BB962C8B-B14F-4D97-AF65-F5344CB8AC3E}">
        <p14:creationId xmlns:p14="http://schemas.microsoft.com/office/powerpoint/2010/main" val="23510807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b="1" dirty="0" smtClean="0"/>
              <a:t>Title</a:t>
            </a:r>
            <a:r>
              <a:rPr lang="en-US" dirty="0" smtClean="0"/>
              <a:t>: Connectivity options and hybrid offerings</a:t>
            </a:r>
          </a:p>
          <a:p>
            <a:endParaRPr lang="en-US" dirty="0"/>
          </a:p>
        </p:txBody>
      </p:sp>
      <p:sp>
        <p:nvSpPr>
          <p:cNvPr id="4" name="Header Placeholder 3"/>
          <p:cNvSpPr>
            <a:spLocks noGrp="1"/>
          </p:cNvSpPr>
          <p:nvPr>
            <p:ph type="hdr" sz="quarter" idx="10"/>
          </p:nvPr>
        </p:nvSpPr>
        <p:spPr/>
        <p:txBody>
          <a:bodyPr/>
          <a:lstStyle/>
          <a:p>
            <a:r>
              <a:rPr lang="en-US" dirty="0" smtClean="0"/>
              <a:t>SMSG Read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E77B2B4-D237-4BCC-95D9-1D4EDEE25D63}" type="datetime1">
              <a:rPr lang="en-US" smtClean="0"/>
              <a:pPr/>
              <a:t>1/20/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5</a:t>
            </a:fld>
            <a:endParaRPr lang="en-US" dirty="0"/>
          </a:p>
        </p:txBody>
      </p:sp>
    </p:spTree>
    <p:extLst>
      <p:ext uri="{BB962C8B-B14F-4D97-AF65-F5344CB8AC3E}">
        <p14:creationId xmlns:p14="http://schemas.microsoft.com/office/powerpoint/2010/main" val="234449475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End points: </a:t>
            </a:r>
            <a:r>
              <a:rPr lang="en-IN" sz="1200" b="0" i="0" kern="1200" dirty="0" smtClean="0">
                <a:solidFill>
                  <a:schemeClr val="tx1"/>
                </a:solidFill>
                <a:effectLst/>
                <a:latin typeface="+mn-lt"/>
                <a:ea typeface="+mn-ea"/>
                <a:cs typeface="+mn-cs"/>
              </a:rPr>
              <a:t>Virtual machine on same cloud can communicate to each other automatically. But in case we need them to communicate with our own computer, we will need an endpoint configured to make it happen.</a:t>
            </a:r>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99</a:t>
            </a:fld>
            <a:endParaRPr lang="en-US" dirty="0"/>
          </a:p>
        </p:txBody>
      </p:sp>
    </p:spTree>
    <p:extLst>
      <p:ext uri="{BB962C8B-B14F-4D97-AF65-F5344CB8AC3E}">
        <p14:creationId xmlns:p14="http://schemas.microsoft.com/office/powerpoint/2010/main" val="119691782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Ex:</a:t>
            </a:r>
          </a:p>
          <a:p>
            <a:r>
              <a:rPr lang="en-IN" sz="1200" b="0" i="0" kern="1200" dirty="0" smtClean="0">
                <a:solidFill>
                  <a:schemeClr val="tx1"/>
                </a:solidFill>
                <a:effectLst/>
                <a:latin typeface="+mn-lt"/>
                <a:ea typeface="+mn-ea"/>
                <a:cs typeface="+mn-cs"/>
              </a:rPr>
              <a:t>Gradual application upgrade: Allocate a percentage of traffic to route to a new endpoint, and gradually increase the traffic over time to 100%.</a:t>
            </a:r>
          </a:p>
          <a:p>
            <a:r>
              <a:rPr lang="en-IN" sz="1200" b="0" i="0" kern="1200" dirty="0" smtClean="0">
                <a:solidFill>
                  <a:schemeClr val="tx1"/>
                </a:solidFill>
                <a:effectLst/>
                <a:latin typeface="+mn-lt"/>
                <a:ea typeface="+mn-ea"/>
                <a:cs typeface="+mn-cs"/>
              </a:rPr>
              <a:t>Application migration to Azure: Create a profile with both Azure and external endpoints. Adjust the weight of the endpoints to prefer the new endpoints</a:t>
            </a:r>
          </a:p>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01</a:t>
            </a:fld>
            <a:endParaRPr lang="en-US"/>
          </a:p>
        </p:txBody>
      </p:sp>
    </p:spTree>
    <p:extLst>
      <p:ext uri="{BB962C8B-B14F-4D97-AF65-F5344CB8AC3E}">
        <p14:creationId xmlns:p14="http://schemas.microsoft.com/office/powerpoint/2010/main" val="236149289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0" i="0" kern="1200" dirty="0" smtClean="0">
                <a:solidFill>
                  <a:schemeClr val="tx1"/>
                </a:solidFill>
                <a:effectLst/>
                <a:latin typeface="+mn-lt"/>
                <a:ea typeface="+mn-ea"/>
                <a:cs typeface="+mn-cs"/>
              </a:rPr>
              <a:t>The 'closest' endpoint is not necessarily closest as measured by geographic distance. Instead, the 'Performance' traffic-routing method determines the closest endpoint by measuring network latency.</a:t>
            </a:r>
          </a:p>
          <a:p>
            <a:r>
              <a:rPr lang="en-IN" sz="1200" b="0" i="0" kern="1200" dirty="0" smtClean="0">
                <a:solidFill>
                  <a:schemeClr val="tx1"/>
                </a:solidFill>
                <a:effectLst/>
                <a:latin typeface="+mn-lt"/>
                <a:ea typeface="+mn-ea"/>
                <a:cs typeface="+mn-cs"/>
              </a:rPr>
              <a:t>Traffic Manager looks up the source IP address of the incoming DNS request in the Internet Latency Table. </a:t>
            </a:r>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02</a:t>
            </a:fld>
            <a:endParaRPr lang="en-US"/>
          </a:p>
        </p:txBody>
      </p:sp>
    </p:spTree>
    <p:extLst>
      <p:ext uri="{BB962C8B-B14F-4D97-AF65-F5344CB8AC3E}">
        <p14:creationId xmlns:p14="http://schemas.microsoft.com/office/powerpoint/2010/main" val="98894025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dirty="0" smtClean="0"/>
              <a:t>IPSEC</a:t>
            </a:r>
            <a:r>
              <a:rPr lang="en-IN" dirty="0" smtClean="0"/>
              <a:t>: </a:t>
            </a:r>
            <a:r>
              <a:rPr lang="en-IN" sz="1200" b="0" i="0" kern="1200" dirty="0" err="1" smtClean="0">
                <a:solidFill>
                  <a:schemeClr val="tx1"/>
                </a:solidFill>
                <a:effectLst/>
                <a:latin typeface="+mn-lt"/>
                <a:ea typeface="+mn-ea"/>
                <a:cs typeface="+mn-cs"/>
              </a:rPr>
              <a:t>IPSec</a:t>
            </a:r>
            <a:r>
              <a:rPr lang="en-IN" sz="1200" b="0" i="0" kern="1200" dirty="0" smtClean="0">
                <a:solidFill>
                  <a:schemeClr val="tx1"/>
                </a:solidFill>
                <a:effectLst/>
                <a:latin typeface="+mn-lt"/>
                <a:ea typeface="+mn-ea"/>
                <a:cs typeface="+mn-cs"/>
              </a:rPr>
              <a:t> tunnel mode is the </a:t>
            </a:r>
            <a:r>
              <a:rPr lang="en-IN" sz="1200" b="1" i="0" kern="1200" dirty="0" smtClean="0">
                <a:solidFill>
                  <a:schemeClr val="tx1"/>
                </a:solidFill>
                <a:effectLst/>
                <a:latin typeface="+mn-lt"/>
                <a:ea typeface="+mn-ea"/>
                <a:cs typeface="+mn-cs"/>
              </a:rPr>
              <a:t>default mode</a:t>
            </a:r>
            <a:r>
              <a:rPr lang="en-IN" sz="1200" b="0" i="0" kern="1200" dirty="0" smtClean="0">
                <a:solidFill>
                  <a:schemeClr val="tx1"/>
                </a:solidFill>
                <a:effectLst/>
                <a:latin typeface="+mn-lt"/>
                <a:ea typeface="+mn-ea"/>
                <a:cs typeface="+mn-cs"/>
              </a:rPr>
              <a:t>. With tunnel mode, the entire original IP packet is protected by </a:t>
            </a:r>
            <a:r>
              <a:rPr lang="en-IN" sz="1200" b="0" i="0" kern="1200" dirty="0" err="1" smtClean="0">
                <a:solidFill>
                  <a:schemeClr val="tx1"/>
                </a:solidFill>
                <a:effectLst/>
                <a:latin typeface="+mn-lt"/>
                <a:ea typeface="+mn-ea"/>
                <a:cs typeface="+mn-cs"/>
              </a:rPr>
              <a:t>IPSec</a:t>
            </a:r>
            <a:r>
              <a:rPr lang="en-IN" sz="1200" b="0" i="0" kern="1200" dirty="0" smtClean="0">
                <a:solidFill>
                  <a:schemeClr val="tx1"/>
                </a:solidFill>
                <a:effectLst/>
                <a:latin typeface="+mn-lt"/>
                <a:ea typeface="+mn-ea"/>
                <a:cs typeface="+mn-cs"/>
              </a:rPr>
              <a:t>. This means </a:t>
            </a:r>
            <a:r>
              <a:rPr lang="en-IN" sz="1200" b="0" i="0" kern="1200" dirty="0" err="1" smtClean="0">
                <a:solidFill>
                  <a:schemeClr val="tx1"/>
                </a:solidFill>
                <a:effectLst/>
                <a:latin typeface="+mn-lt"/>
                <a:ea typeface="+mn-ea"/>
                <a:cs typeface="+mn-cs"/>
              </a:rPr>
              <a:t>IPSec</a:t>
            </a:r>
            <a:r>
              <a:rPr lang="en-IN" sz="1200" b="0" i="0" kern="1200" dirty="0" smtClean="0">
                <a:solidFill>
                  <a:schemeClr val="tx1"/>
                </a:solidFill>
                <a:effectLst/>
                <a:latin typeface="+mn-lt"/>
                <a:ea typeface="+mn-ea"/>
                <a:cs typeface="+mn-cs"/>
              </a:rPr>
              <a:t> wraps the original packet, encrypts it, adds a new IP header and sends it to the other side of the VPN tunnel (</a:t>
            </a:r>
            <a:r>
              <a:rPr lang="en-IN" sz="1200" b="0" i="0" kern="1200" dirty="0" err="1" smtClean="0">
                <a:solidFill>
                  <a:schemeClr val="tx1"/>
                </a:solidFill>
                <a:effectLst/>
                <a:latin typeface="+mn-lt"/>
                <a:ea typeface="+mn-ea"/>
                <a:cs typeface="+mn-cs"/>
              </a:rPr>
              <a:t>IPSec</a:t>
            </a:r>
            <a:r>
              <a:rPr lang="en-IN" sz="1200" b="0" i="0" kern="1200" dirty="0" smtClean="0">
                <a:solidFill>
                  <a:schemeClr val="tx1"/>
                </a:solidFill>
                <a:effectLst/>
                <a:latin typeface="+mn-lt"/>
                <a:ea typeface="+mn-ea"/>
                <a:cs typeface="+mn-cs"/>
              </a:rPr>
              <a:t> peer).</a:t>
            </a:r>
          </a:p>
          <a:p>
            <a:r>
              <a:rPr lang="en-IN" sz="1200" b="0" i="0" kern="1200" dirty="0" smtClean="0">
                <a:solidFill>
                  <a:schemeClr val="tx1"/>
                </a:solidFill>
                <a:effectLst/>
                <a:latin typeface="+mn-lt"/>
                <a:ea typeface="+mn-ea"/>
                <a:cs typeface="+mn-cs"/>
              </a:rPr>
              <a:t>Tunnel mode is most commonly used between gateways (ASA firewalls), or at an end-station to a gateway, the gateway acting as a proxy for the hosts behind it.</a:t>
            </a:r>
          </a:p>
          <a:p>
            <a:r>
              <a:rPr lang="en-IN" sz="1200" b="1" i="0" kern="1200" dirty="0" smtClean="0">
                <a:solidFill>
                  <a:schemeClr val="tx1"/>
                </a:solidFill>
                <a:effectLst/>
                <a:latin typeface="+mn-lt"/>
                <a:ea typeface="+mn-ea"/>
                <a:cs typeface="+mn-cs"/>
              </a:rPr>
              <a:t>Network address translation</a:t>
            </a:r>
            <a:r>
              <a:rPr lang="en-IN" sz="1200" b="0" i="0" kern="1200" dirty="0" smtClean="0">
                <a:solidFill>
                  <a:schemeClr val="tx1"/>
                </a:solidFill>
                <a:effectLst/>
                <a:latin typeface="+mn-lt"/>
                <a:ea typeface="+mn-ea"/>
                <a:cs typeface="+mn-cs"/>
              </a:rPr>
              <a:t> (</a:t>
            </a:r>
            <a:r>
              <a:rPr lang="en-IN" sz="1200" b="1" i="0" kern="1200" dirty="0" smtClean="0">
                <a:solidFill>
                  <a:schemeClr val="tx1"/>
                </a:solidFill>
                <a:effectLst/>
                <a:latin typeface="+mn-lt"/>
                <a:ea typeface="+mn-ea"/>
                <a:cs typeface="+mn-cs"/>
              </a:rPr>
              <a:t>NAT</a:t>
            </a:r>
            <a:r>
              <a:rPr lang="en-IN" sz="1200" b="0" i="0" kern="1200" dirty="0" smtClean="0">
                <a:solidFill>
                  <a:schemeClr val="tx1"/>
                </a:solidFill>
                <a:effectLst/>
                <a:latin typeface="+mn-lt"/>
                <a:ea typeface="+mn-ea"/>
                <a:cs typeface="+mn-cs"/>
              </a:rPr>
              <a:t>) is a method of remapping one IP address space into another by modifying </a:t>
            </a:r>
            <a:r>
              <a:rPr lang="en-IN" sz="1200" b="1" i="0" kern="1200" dirty="0" smtClean="0">
                <a:solidFill>
                  <a:schemeClr val="tx1"/>
                </a:solidFill>
                <a:effectLst/>
                <a:latin typeface="+mn-lt"/>
                <a:ea typeface="+mn-ea"/>
                <a:cs typeface="+mn-cs"/>
              </a:rPr>
              <a:t>network</a:t>
            </a:r>
            <a:r>
              <a:rPr lang="en-IN" sz="1200" b="0" i="0" kern="1200" dirty="0" smtClean="0">
                <a:solidFill>
                  <a:schemeClr val="tx1"/>
                </a:solidFill>
                <a:effectLst/>
                <a:latin typeface="+mn-lt"/>
                <a:ea typeface="+mn-ea"/>
                <a:cs typeface="+mn-cs"/>
              </a:rPr>
              <a:t> address information in Internet Protocol (IP) datagram packet headers while they are in transit across a traffic routing device.</a:t>
            </a:r>
          </a:p>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04</a:t>
            </a:fld>
            <a:endParaRPr lang="en-US"/>
          </a:p>
        </p:txBody>
      </p:sp>
    </p:spTree>
    <p:extLst>
      <p:ext uri="{BB962C8B-B14F-4D97-AF65-F5344CB8AC3E}">
        <p14:creationId xmlns:p14="http://schemas.microsoft.com/office/powerpoint/2010/main" val="250431871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smtClean="0">
                <a:solidFill>
                  <a:schemeClr val="tx1"/>
                </a:solidFill>
                <a:effectLst/>
                <a:latin typeface="+mn-lt"/>
                <a:ea typeface="+mn-ea"/>
                <a:cs typeface="+mn-cs"/>
              </a:rPr>
              <a:t>The gateway subnet </a:t>
            </a:r>
            <a:r>
              <a:rPr lang="en-IN" sz="1200" b="0" i="0" kern="1200" dirty="0" smtClean="0">
                <a:solidFill>
                  <a:schemeClr val="tx1"/>
                </a:solidFill>
                <a:effectLst/>
                <a:latin typeface="+mn-lt"/>
                <a:ea typeface="+mn-ea"/>
                <a:cs typeface="+mn-cs"/>
              </a:rPr>
              <a:t>The gateway subnet contains the IP addresses that the virtual network gateway services use. You need to create a gateway subnet for your </a:t>
            </a:r>
            <a:r>
              <a:rPr lang="en-IN" sz="1200" b="0" i="0" kern="1200" dirty="0" err="1" smtClean="0">
                <a:solidFill>
                  <a:schemeClr val="tx1"/>
                </a:solidFill>
                <a:effectLst/>
                <a:latin typeface="+mn-lt"/>
                <a:ea typeface="+mn-ea"/>
                <a:cs typeface="+mn-cs"/>
              </a:rPr>
              <a:t>VNet</a:t>
            </a:r>
            <a:r>
              <a:rPr lang="en-IN" sz="1200" b="0" i="0" kern="1200" dirty="0" smtClean="0">
                <a:solidFill>
                  <a:schemeClr val="tx1"/>
                </a:solidFill>
                <a:effectLst/>
                <a:latin typeface="+mn-lt"/>
                <a:ea typeface="+mn-ea"/>
                <a:cs typeface="+mn-cs"/>
              </a:rPr>
              <a:t> in order to configure a virtual network gateway</a:t>
            </a:r>
            <a:endParaRPr lang="en-IN" sz="1200" b="1" i="0" kern="1200" dirty="0" smtClean="0">
              <a:solidFill>
                <a:schemeClr val="tx1"/>
              </a:solidFill>
              <a:effectLst/>
              <a:latin typeface="+mn-lt"/>
              <a:ea typeface="+mn-ea"/>
              <a:cs typeface="+mn-cs"/>
            </a:endParaRPr>
          </a:p>
          <a:p>
            <a:r>
              <a:rPr lang="en-IN" sz="1200" b="1" i="0" kern="1200" dirty="0" smtClean="0">
                <a:solidFill>
                  <a:schemeClr val="tx1"/>
                </a:solidFill>
                <a:effectLst/>
                <a:latin typeface="+mn-lt"/>
                <a:ea typeface="+mn-ea"/>
                <a:cs typeface="+mn-cs"/>
              </a:rPr>
              <a:t>Virtual Network Gateway: </a:t>
            </a:r>
            <a:r>
              <a:rPr lang="en-IN" sz="1200" b="0" i="0" kern="1200" dirty="0" smtClean="0">
                <a:solidFill>
                  <a:schemeClr val="tx1"/>
                </a:solidFill>
                <a:effectLst/>
                <a:latin typeface="+mn-lt"/>
                <a:ea typeface="+mn-ea"/>
                <a:cs typeface="+mn-cs"/>
              </a:rPr>
              <a:t>A VPN gateway is a type of virtual network gateway that sends encrypted traffic across a public connection to an on-premises location. You can also use VPN gateways to send encrypted traffic between Azure virtual networks over the Microsoft network. To send encrypted network traffic between your Azure virtual network and your on-premises site, you must create a VPN gateway for your virtual network. Each virtual network can have only one VPN gateway.</a:t>
            </a:r>
          </a:p>
          <a:p>
            <a:r>
              <a:rPr lang="en-IN" sz="1200" b="0" i="0" kern="1200" dirty="0" smtClean="0">
                <a:solidFill>
                  <a:schemeClr val="tx1"/>
                </a:solidFill>
                <a:effectLst/>
                <a:latin typeface="+mn-lt"/>
                <a:ea typeface="+mn-ea"/>
                <a:cs typeface="+mn-cs"/>
              </a:rPr>
              <a:t>A VPN gateway can take up </a:t>
            </a:r>
            <a:r>
              <a:rPr lang="en-IN" sz="1200" b="1" i="0" kern="1200" dirty="0" smtClean="0">
                <a:solidFill>
                  <a:schemeClr val="tx1"/>
                </a:solidFill>
                <a:effectLst/>
                <a:latin typeface="+mn-lt"/>
                <a:ea typeface="+mn-ea"/>
                <a:cs typeface="+mn-cs"/>
              </a:rPr>
              <a:t>to 45 minutes </a:t>
            </a:r>
            <a:r>
              <a:rPr lang="en-IN" sz="1200" b="0" i="0" kern="1200" dirty="0" smtClean="0">
                <a:solidFill>
                  <a:schemeClr val="tx1"/>
                </a:solidFill>
                <a:effectLst/>
                <a:latin typeface="+mn-lt"/>
                <a:ea typeface="+mn-ea"/>
                <a:cs typeface="+mn-cs"/>
              </a:rPr>
              <a:t>to create. This is because the VMs for the VPN gateway are being deployed to the </a:t>
            </a:r>
            <a:r>
              <a:rPr lang="en-IN" sz="1200" b="0" i="0" kern="1200" dirty="0" err="1" smtClean="0">
                <a:solidFill>
                  <a:schemeClr val="tx1"/>
                </a:solidFill>
                <a:effectLst/>
                <a:latin typeface="+mn-lt"/>
                <a:ea typeface="+mn-ea"/>
                <a:cs typeface="+mn-cs"/>
              </a:rPr>
              <a:t>GatewaySubnet</a:t>
            </a:r>
            <a:r>
              <a:rPr lang="en-IN" sz="1200" b="0" i="0" kern="1200" dirty="0" smtClean="0">
                <a:solidFill>
                  <a:schemeClr val="tx1"/>
                </a:solidFill>
                <a:effectLst/>
                <a:latin typeface="+mn-lt"/>
                <a:ea typeface="+mn-ea"/>
                <a:cs typeface="+mn-cs"/>
              </a:rPr>
              <a:t> and configured with the settings that you specified</a:t>
            </a:r>
          </a:p>
          <a:p>
            <a:r>
              <a:rPr lang="en-IN" sz="1200" b="0" i="0" kern="1200" dirty="0" smtClean="0">
                <a:solidFill>
                  <a:schemeClr val="tx1"/>
                </a:solidFill>
                <a:effectLst/>
                <a:latin typeface="+mn-lt"/>
                <a:ea typeface="+mn-ea"/>
                <a:cs typeface="+mn-cs"/>
              </a:rPr>
              <a:t>Public IP for Local Network</a:t>
            </a:r>
            <a:r>
              <a:rPr lang="en-IN" sz="1200" b="0" i="0" kern="1200" baseline="0" dirty="0" smtClean="0">
                <a:solidFill>
                  <a:schemeClr val="tx1"/>
                </a:solidFill>
                <a:effectLst/>
                <a:latin typeface="+mn-lt"/>
                <a:ea typeface="+mn-ea"/>
                <a:cs typeface="+mn-cs"/>
              </a:rPr>
              <a:t> gateway: 86.20.250.1</a:t>
            </a:r>
          </a:p>
          <a:p>
            <a:r>
              <a:rPr lang="en-IN" sz="1200" b="0" i="0" kern="1200" baseline="0" dirty="0" smtClean="0">
                <a:solidFill>
                  <a:schemeClr val="tx1"/>
                </a:solidFill>
                <a:effectLst/>
                <a:latin typeface="+mn-lt"/>
                <a:ea typeface="+mn-ea"/>
                <a:cs typeface="+mn-cs"/>
              </a:rPr>
              <a:t>Address Space : 10.7.1.0/24 </a:t>
            </a:r>
            <a:r>
              <a:rPr lang="en-IN" sz="1200" b="0" i="0" kern="1200" baseline="0" dirty="0" err="1" smtClean="0">
                <a:solidFill>
                  <a:schemeClr val="tx1"/>
                </a:solidFill>
                <a:effectLst/>
                <a:latin typeface="+mn-lt"/>
                <a:ea typeface="+mn-ea"/>
                <a:cs typeface="+mn-cs"/>
              </a:rPr>
              <a:t>Onpremise</a:t>
            </a:r>
            <a:r>
              <a:rPr lang="en-IN" sz="1200" b="0" i="0" kern="1200" baseline="0" dirty="0" smtClean="0">
                <a:solidFill>
                  <a:schemeClr val="tx1"/>
                </a:solidFill>
                <a:effectLst/>
                <a:latin typeface="+mn-lt"/>
                <a:ea typeface="+mn-ea"/>
                <a:cs typeface="+mn-cs"/>
              </a:rPr>
              <a:t> ( for an example)</a:t>
            </a:r>
          </a:p>
          <a:p>
            <a:r>
              <a:rPr lang="en-IN" sz="1200" b="1" i="0" u="sng" kern="1200" dirty="0" smtClean="0">
                <a:solidFill>
                  <a:schemeClr val="tx1"/>
                </a:solidFill>
                <a:effectLst/>
                <a:latin typeface="+mn-lt"/>
                <a:ea typeface="+mn-ea"/>
                <a:cs typeface="+mn-cs"/>
              </a:rPr>
              <a:t>Create Site-to-Site VPN</a:t>
            </a:r>
            <a:endParaRPr lang="en-IN" sz="1200" b="0" i="0" kern="1200" dirty="0" smtClean="0">
              <a:solidFill>
                <a:schemeClr val="tx1"/>
              </a:solidFill>
              <a:effectLst/>
              <a:latin typeface="+mn-lt"/>
              <a:ea typeface="+mn-ea"/>
              <a:cs typeface="+mn-cs"/>
            </a:endParaRPr>
          </a:p>
          <a:p>
            <a:r>
              <a:rPr lang="en-IN" sz="1200" b="0" i="0" kern="1200" dirty="0" smtClean="0">
                <a:solidFill>
                  <a:schemeClr val="tx1"/>
                </a:solidFill>
                <a:effectLst/>
                <a:latin typeface="+mn-lt"/>
                <a:ea typeface="+mn-ea"/>
                <a:cs typeface="+mn-cs"/>
              </a:rPr>
              <a:t>Site-to-Site VPN connection between your VPN device and the virtual network gateway. To create it,</a:t>
            </a:r>
          </a:p>
          <a:p>
            <a:r>
              <a:rPr lang="en-IN" sz="1200" b="1" i="0" kern="1200" dirty="0" smtClean="0">
                <a:solidFill>
                  <a:schemeClr val="tx1"/>
                </a:solidFill>
                <a:effectLst/>
                <a:latin typeface="+mn-lt"/>
                <a:ea typeface="+mn-ea"/>
                <a:cs typeface="+mn-cs"/>
              </a:rPr>
              <a:t>More Services &gt; Virtual network gateways </a:t>
            </a:r>
            <a:endParaRPr lang="en-IN" sz="1200" b="0" i="0" kern="1200" dirty="0" smtClean="0">
              <a:solidFill>
                <a:schemeClr val="tx1"/>
              </a:solidFill>
              <a:effectLst/>
              <a:latin typeface="+mn-lt"/>
              <a:ea typeface="+mn-ea"/>
              <a:cs typeface="+mn-cs"/>
            </a:endParaRPr>
          </a:p>
          <a:p>
            <a:endParaRPr lang="en-IN" sz="1200" b="0" i="0" kern="1200" dirty="0" smtClean="0">
              <a:solidFill>
                <a:schemeClr val="tx1"/>
              </a:solidFill>
              <a:effectLst/>
              <a:latin typeface="+mn-lt"/>
              <a:ea typeface="+mn-ea"/>
              <a:cs typeface="+mn-cs"/>
            </a:endParaRPr>
          </a:p>
          <a:p>
            <a:endParaRPr lang="en-IN" sz="1200" b="0" i="0" kern="1200" dirty="0" smtClean="0">
              <a:solidFill>
                <a:schemeClr val="tx1"/>
              </a:solidFill>
              <a:effectLst/>
              <a:latin typeface="+mn-lt"/>
              <a:ea typeface="+mn-ea"/>
              <a:cs typeface="+mn-cs"/>
            </a:endParaRPr>
          </a:p>
          <a:p>
            <a:r>
              <a:rPr lang="en-IN" sz="1200" b="0" i="0" kern="1200" dirty="0" smtClean="0">
                <a:solidFill>
                  <a:schemeClr val="tx1"/>
                </a:solidFill>
                <a:effectLst/>
                <a:latin typeface="+mn-lt"/>
                <a:ea typeface="+mn-ea"/>
                <a:cs typeface="+mn-cs"/>
              </a:rPr>
              <a:t>-------------------------------------------------------------------------------------------------------------------------</a:t>
            </a:r>
          </a:p>
          <a:p>
            <a:endParaRPr lang="en-IN" sz="1200" b="0" i="0" kern="1200" dirty="0" smtClean="0">
              <a:solidFill>
                <a:schemeClr val="tx1"/>
              </a:solidFill>
              <a:effectLst/>
              <a:latin typeface="+mn-lt"/>
              <a:ea typeface="+mn-ea"/>
              <a:cs typeface="+mn-cs"/>
            </a:endParaRPr>
          </a:p>
          <a:p>
            <a:r>
              <a:rPr lang="en-IN" sz="1200" b="0" i="0" kern="1200" dirty="0" smtClean="0">
                <a:solidFill>
                  <a:schemeClr val="tx1"/>
                </a:solidFill>
                <a:effectLst/>
                <a:latin typeface="+mn-lt"/>
                <a:ea typeface="+mn-ea"/>
                <a:cs typeface="+mn-cs"/>
              </a:rPr>
              <a:t>https://blogs.technet.microsoft.com/canitpro/2017/06/28/step-by-step-configuring-a-site-to-site-vpn-gateway-between-azure-and-on-premise/</a:t>
            </a:r>
          </a:p>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05</a:t>
            </a:fld>
            <a:endParaRPr lang="en-US"/>
          </a:p>
        </p:txBody>
      </p:sp>
    </p:spTree>
    <p:extLst>
      <p:ext uri="{BB962C8B-B14F-4D97-AF65-F5344CB8AC3E}">
        <p14:creationId xmlns:p14="http://schemas.microsoft.com/office/powerpoint/2010/main" val="235931029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b="0" i="0" kern="1200" dirty="0" smtClean="0">
                <a:solidFill>
                  <a:schemeClr val="tx1"/>
                </a:solidFill>
                <a:effectLst/>
                <a:latin typeface="+mn-lt"/>
                <a:ea typeface="+mn-ea"/>
                <a:cs typeface="+mn-cs"/>
              </a:rPr>
              <a:t>policy-based (static-routing) gateway, Policy-based VPNs encrypt and direct packets through IPsec tunnels based on the combinations of address prefixes between your on-premises network and the Azure </a:t>
            </a:r>
            <a:r>
              <a:rPr lang="en-IN" sz="1200" b="0" i="0" kern="1200" dirty="0" err="1" smtClean="0">
                <a:solidFill>
                  <a:schemeClr val="tx1"/>
                </a:solidFill>
                <a:effectLst/>
                <a:latin typeface="+mn-lt"/>
                <a:ea typeface="+mn-ea"/>
                <a:cs typeface="+mn-cs"/>
              </a:rPr>
              <a:t>VNet</a:t>
            </a:r>
            <a:r>
              <a:rPr lang="en-IN" sz="1200" b="0" i="0" kern="1200" dirty="0" smtClean="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b="0" i="0" kern="1200" dirty="0" smtClean="0">
                <a:solidFill>
                  <a:schemeClr val="tx1"/>
                </a:solidFill>
                <a:effectLst/>
                <a:latin typeface="+mn-lt"/>
                <a:ea typeface="+mn-ea"/>
                <a:cs typeface="+mn-cs"/>
              </a:rPr>
              <a:t>route-based (dynamic-routing) gateway: Route-based gateways implement the route-based VPNs. Route-based VPNs use "routes" in the IP forwarding or routing table to direct packets into their corresponding tunnel interfa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b="0" i="0" kern="1200" dirty="0" smtClean="0">
              <a:solidFill>
                <a:schemeClr val="tx1"/>
              </a:solidFill>
              <a:effectLst/>
              <a:latin typeface="+mn-lt"/>
              <a:ea typeface="+mn-ea"/>
              <a:cs typeface="+mn-cs"/>
            </a:endParaRPr>
          </a:p>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06</a:t>
            </a:fld>
            <a:endParaRPr lang="en-US"/>
          </a:p>
        </p:txBody>
      </p:sp>
    </p:spTree>
    <p:extLst>
      <p:ext uri="{BB962C8B-B14F-4D97-AF65-F5344CB8AC3E}">
        <p14:creationId xmlns:p14="http://schemas.microsoft.com/office/powerpoint/2010/main" val="7054291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Infrastructure as a Service (IaaS) Infrastructure as a Service (IaaS) contains the basic building blocks for cloud IT and typically provide access to networking features, computers (virtual or on dedicated hardware), and data storage space. IaaS provides you with the highest level of flexibility and management control over your IT resources and is most similar to existing IT resources that many IT departments and developers are familiar with today. </a:t>
            </a:r>
          </a:p>
          <a:p>
            <a:r>
              <a:rPr lang="en-IN" dirty="0" smtClean="0"/>
              <a:t>Platform as a Service (PaaS) Platform as a Service (PaaS) removes the need for your organization to manage the underlying infrastructure (usually hardware and operating systems) and allows you to focus on the deployment and management of your applications. This helps you be more efficient as you don’t need to worry about resource procurement, capacity planning, software maintenance, patching, or any of the other undifferentiated heavy lifting involved in running your application. </a:t>
            </a:r>
          </a:p>
          <a:p>
            <a:r>
              <a:rPr lang="en-IN" dirty="0" smtClean="0"/>
              <a:t>Software as a Service (SaaS) Software as a Service (SaaS) provides you with a completed product that is run and managed by the service provider. In most cases, people referring to Software as a Service are referring to end-user applications. With a SaaS offering you do not have to think about how the service is maintained or how the underlying infrastructure is managed; you only need to think about how you will use that particular piece of software. A common example of a SaaS application is web-based email which you can use to send and receive email without having to manage feature additions to the email product or maintain the servers and operating systems that the </a:t>
            </a:r>
          </a:p>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1</a:t>
            </a:fld>
            <a:endParaRPr lang="en-US"/>
          </a:p>
        </p:txBody>
      </p:sp>
    </p:spTree>
    <p:extLst>
      <p:ext uri="{BB962C8B-B14F-4D97-AF65-F5344CB8AC3E}">
        <p14:creationId xmlns:p14="http://schemas.microsoft.com/office/powerpoint/2010/main" val="239585685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07</a:t>
            </a:fld>
            <a:endParaRPr lang="en-US"/>
          </a:p>
        </p:txBody>
      </p:sp>
    </p:spTree>
    <p:extLst>
      <p:ext uri="{BB962C8B-B14F-4D97-AF65-F5344CB8AC3E}">
        <p14:creationId xmlns:p14="http://schemas.microsoft.com/office/powerpoint/2010/main" val="381378144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ExpressRoute</a:t>
            </a:r>
            <a:r>
              <a:rPr lang="en-IN" baseline="0" dirty="0" smtClean="0"/>
              <a:t> Limits</a:t>
            </a:r>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09</a:t>
            </a:fld>
            <a:endParaRPr lang="en-US"/>
          </a:p>
        </p:txBody>
      </p:sp>
    </p:spTree>
    <p:extLst>
      <p:ext uri="{BB962C8B-B14F-4D97-AF65-F5344CB8AC3E}">
        <p14:creationId xmlns:p14="http://schemas.microsoft.com/office/powerpoint/2010/main" val="201552983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smtClean="0">
                <a:solidFill>
                  <a:schemeClr val="tx1"/>
                </a:solidFill>
                <a:effectLst/>
                <a:latin typeface="+mn-lt"/>
                <a:ea typeface="+mn-ea"/>
                <a:cs typeface="+mn-cs"/>
              </a:rPr>
              <a:t>Enterprise certificate:</a:t>
            </a:r>
            <a:r>
              <a:rPr lang="en-IN" sz="1200" b="0" i="0" kern="1200" dirty="0" smtClean="0">
                <a:solidFill>
                  <a:schemeClr val="tx1"/>
                </a:solidFill>
                <a:effectLst/>
                <a:latin typeface="+mn-lt"/>
                <a:ea typeface="+mn-ea"/>
                <a:cs typeface="+mn-cs"/>
              </a:rPr>
              <a:t> If you are using an enterprise solution, you can use your existing certificate chain. Obtain the .</a:t>
            </a:r>
            <a:r>
              <a:rPr lang="en-IN" sz="1200" b="0" i="0" kern="1200" dirty="0" err="1" smtClean="0">
                <a:solidFill>
                  <a:schemeClr val="tx1"/>
                </a:solidFill>
                <a:effectLst/>
                <a:latin typeface="+mn-lt"/>
                <a:ea typeface="+mn-ea"/>
                <a:cs typeface="+mn-cs"/>
              </a:rPr>
              <a:t>cer</a:t>
            </a:r>
            <a:r>
              <a:rPr lang="en-IN" sz="1200" b="0" i="0" kern="1200" dirty="0" smtClean="0">
                <a:solidFill>
                  <a:schemeClr val="tx1"/>
                </a:solidFill>
                <a:effectLst/>
                <a:latin typeface="+mn-lt"/>
                <a:ea typeface="+mn-ea"/>
                <a:cs typeface="+mn-cs"/>
              </a:rPr>
              <a:t> file for the root certificate that you want to use.</a:t>
            </a:r>
          </a:p>
          <a:p>
            <a:r>
              <a:rPr lang="en-IN" sz="1200" b="1" i="0" kern="1200" dirty="0" smtClean="0">
                <a:solidFill>
                  <a:schemeClr val="tx1"/>
                </a:solidFill>
                <a:effectLst/>
                <a:latin typeface="+mn-lt"/>
                <a:ea typeface="+mn-ea"/>
                <a:cs typeface="+mn-cs"/>
              </a:rPr>
              <a:t>Self-signed root certificate:</a:t>
            </a:r>
            <a:r>
              <a:rPr lang="en-IN" sz="1200" b="0" i="0" kern="1200" dirty="0" smtClean="0">
                <a:solidFill>
                  <a:schemeClr val="tx1"/>
                </a:solidFill>
                <a:effectLst/>
                <a:latin typeface="+mn-lt"/>
                <a:ea typeface="+mn-ea"/>
                <a:cs typeface="+mn-cs"/>
              </a:rPr>
              <a:t> If you aren't using an enterprise certificate solution, you need to create a self-signed root certificate</a:t>
            </a:r>
          </a:p>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10</a:t>
            </a:fld>
            <a:endParaRPr lang="en-US"/>
          </a:p>
        </p:txBody>
      </p:sp>
    </p:spTree>
    <p:extLst>
      <p:ext uri="{BB962C8B-B14F-4D97-AF65-F5344CB8AC3E}">
        <p14:creationId xmlns:p14="http://schemas.microsoft.com/office/powerpoint/2010/main" val="423271171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Private</a:t>
            </a:r>
            <a:r>
              <a:rPr lang="en-IN" baseline="0" dirty="0" smtClean="0"/>
              <a:t> IP: Where you want to connect ex 192.168.0.106</a:t>
            </a:r>
          </a:p>
          <a:p>
            <a:endParaRPr lang="en-IN" baseline="0" dirty="0" smtClean="0"/>
          </a:p>
          <a:p>
            <a:endParaRPr lang="en-IN" baseline="0" dirty="0" smtClean="0"/>
          </a:p>
          <a:p>
            <a:endParaRPr lang="en-IN" baseline="0" dirty="0" smtClean="0"/>
          </a:p>
          <a:p>
            <a:r>
              <a:rPr lang="en-IN" baseline="0" dirty="0" smtClean="0"/>
              <a:t>-------------------------------------------------------------------------</a:t>
            </a:r>
          </a:p>
          <a:p>
            <a:r>
              <a:rPr lang="en-IN" baseline="0" dirty="0" smtClean="0"/>
              <a:t>For reference</a:t>
            </a:r>
          </a:p>
          <a:p>
            <a:r>
              <a:rPr lang="en-IN" dirty="0" smtClean="0"/>
              <a:t>https://github.com/MicrosoftDocs/azure-docs/blob/master/articles/vpn-gateway/vpn-gateway-howto-point-to-site-resource-manager-portal.md</a:t>
            </a:r>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11</a:t>
            </a:fld>
            <a:endParaRPr lang="en-US"/>
          </a:p>
        </p:txBody>
      </p:sp>
    </p:spTree>
    <p:extLst>
      <p:ext uri="{BB962C8B-B14F-4D97-AF65-F5344CB8AC3E}">
        <p14:creationId xmlns:p14="http://schemas.microsoft.com/office/powerpoint/2010/main" val="316764681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0" i="1" kern="1200" dirty="0" smtClean="0">
                <a:solidFill>
                  <a:schemeClr val="tx1"/>
                </a:solidFill>
                <a:effectLst/>
                <a:latin typeface="+mn-lt"/>
                <a:ea typeface="+mn-ea"/>
                <a:cs typeface="+mn-cs"/>
              </a:rPr>
              <a:t>Open</a:t>
            </a:r>
            <a:r>
              <a:rPr lang="en-IN" sz="1200" b="0" i="1" kern="1200" baseline="0" dirty="0" smtClean="0">
                <a:solidFill>
                  <a:schemeClr val="tx1"/>
                </a:solidFill>
                <a:effectLst/>
                <a:latin typeface="+mn-lt"/>
                <a:ea typeface="+mn-ea"/>
                <a:cs typeface="+mn-cs"/>
              </a:rPr>
              <a:t> certificate manager in windows platform: Start-&gt;Run-&gt; then type </a:t>
            </a:r>
            <a:r>
              <a:rPr lang="en-IN" sz="1200" b="0" i="1" kern="1200" dirty="0" err="1" smtClean="0">
                <a:solidFill>
                  <a:schemeClr val="tx1"/>
                </a:solidFill>
                <a:effectLst/>
                <a:latin typeface="+mn-lt"/>
                <a:ea typeface="+mn-ea"/>
                <a:cs typeface="+mn-cs"/>
              </a:rPr>
              <a:t>certmgr.msc</a:t>
            </a:r>
            <a:endParaRPr lang="en-IN" sz="1200" b="0" i="1" kern="1200" dirty="0" smtClean="0">
              <a:solidFill>
                <a:schemeClr val="tx1"/>
              </a:solidFill>
              <a:effectLst/>
              <a:latin typeface="+mn-lt"/>
              <a:ea typeface="+mn-ea"/>
              <a:cs typeface="+mn-cs"/>
            </a:endParaRPr>
          </a:p>
          <a:p>
            <a:endParaRPr lang="en-IN" sz="1200" b="0" i="1" kern="1200" dirty="0" smtClean="0">
              <a:solidFill>
                <a:schemeClr val="tx1"/>
              </a:solidFill>
              <a:effectLst/>
              <a:latin typeface="+mn-lt"/>
              <a:ea typeface="+mn-ea"/>
              <a:cs typeface="+mn-cs"/>
            </a:endParaRPr>
          </a:p>
          <a:p>
            <a:r>
              <a:rPr lang="en-IN" sz="1200" b="0" i="0" kern="1200" dirty="0" smtClean="0">
                <a:solidFill>
                  <a:schemeClr val="tx1"/>
                </a:solidFill>
                <a:effectLst/>
                <a:latin typeface="+mn-lt"/>
                <a:ea typeface="+mn-ea"/>
                <a:cs typeface="+mn-cs"/>
              </a:rPr>
              <a:t>To obtain a .</a:t>
            </a:r>
            <a:r>
              <a:rPr lang="en-IN" sz="1200" b="0" i="0" kern="1200" dirty="0" err="1" smtClean="0">
                <a:solidFill>
                  <a:schemeClr val="tx1"/>
                </a:solidFill>
                <a:effectLst/>
                <a:latin typeface="+mn-lt"/>
                <a:ea typeface="+mn-ea"/>
                <a:cs typeface="+mn-cs"/>
              </a:rPr>
              <a:t>cer</a:t>
            </a:r>
            <a:r>
              <a:rPr lang="en-IN" sz="1200" b="0" i="0" kern="1200" dirty="0" smtClean="0">
                <a:solidFill>
                  <a:schemeClr val="tx1"/>
                </a:solidFill>
                <a:effectLst/>
                <a:latin typeface="+mn-lt"/>
                <a:ea typeface="+mn-ea"/>
                <a:cs typeface="+mn-cs"/>
              </a:rPr>
              <a:t> file from the certificate, open </a:t>
            </a:r>
            <a:r>
              <a:rPr lang="en-IN" sz="1200" b="1" i="0" kern="1200" dirty="0" smtClean="0">
                <a:solidFill>
                  <a:schemeClr val="tx1"/>
                </a:solidFill>
                <a:effectLst/>
                <a:latin typeface="+mn-lt"/>
                <a:ea typeface="+mn-ea"/>
                <a:cs typeface="+mn-cs"/>
              </a:rPr>
              <a:t>Manage user certificates</a:t>
            </a:r>
            <a:r>
              <a:rPr lang="en-IN" sz="1200" b="0" i="0" kern="1200" dirty="0" smtClean="0">
                <a:solidFill>
                  <a:schemeClr val="tx1"/>
                </a:solidFill>
                <a:effectLst/>
                <a:latin typeface="+mn-lt"/>
                <a:ea typeface="+mn-ea"/>
                <a:cs typeface="+mn-cs"/>
              </a:rPr>
              <a:t>. Locate the self-signed root certificate, typically in 'Certificates - Current User\Personal\Certificates', and right-click. Click </a:t>
            </a:r>
            <a:r>
              <a:rPr lang="en-IN" sz="1200" b="1" i="0" kern="1200" dirty="0" smtClean="0">
                <a:solidFill>
                  <a:schemeClr val="tx1"/>
                </a:solidFill>
                <a:effectLst/>
                <a:latin typeface="+mn-lt"/>
                <a:ea typeface="+mn-ea"/>
                <a:cs typeface="+mn-cs"/>
              </a:rPr>
              <a:t>All Tasks</a:t>
            </a:r>
            <a:r>
              <a:rPr lang="en-IN" sz="1200" b="0" i="0" kern="1200" dirty="0" smtClean="0">
                <a:solidFill>
                  <a:schemeClr val="tx1"/>
                </a:solidFill>
                <a:effectLst/>
                <a:latin typeface="+mn-lt"/>
                <a:ea typeface="+mn-ea"/>
                <a:cs typeface="+mn-cs"/>
              </a:rPr>
              <a:t>, and then click </a:t>
            </a:r>
            <a:r>
              <a:rPr lang="en-IN" sz="1200" b="1" i="0" kern="1200" dirty="0" smtClean="0">
                <a:solidFill>
                  <a:schemeClr val="tx1"/>
                </a:solidFill>
                <a:effectLst/>
                <a:latin typeface="+mn-lt"/>
                <a:ea typeface="+mn-ea"/>
                <a:cs typeface="+mn-cs"/>
              </a:rPr>
              <a:t>Export</a:t>
            </a:r>
            <a:r>
              <a:rPr lang="en-IN" sz="1200" b="0" i="0" kern="1200" dirty="0" smtClean="0">
                <a:solidFill>
                  <a:schemeClr val="tx1"/>
                </a:solidFill>
                <a:effectLst/>
                <a:latin typeface="+mn-lt"/>
                <a:ea typeface="+mn-ea"/>
                <a:cs typeface="+mn-cs"/>
              </a:rPr>
              <a:t>. This opens the </a:t>
            </a:r>
            <a:r>
              <a:rPr lang="en-IN" sz="1200" b="1" i="0" kern="1200" dirty="0" smtClean="0">
                <a:solidFill>
                  <a:schemeClr val="tx1"/>
                </a:solidFill>
                <a:effectLst/>
                <a:latin typeface="+mn-lt"/>
                <a:ea typeface="+mn-ea"/>
                <a:cs typeface="+mn-cs"/>
              </a:rPr>
              <a:t>Certificate Export Wizard</a:t>
            </a:r>
            <a:r>
              <a:rPr lang="en-IN" sz="1200" b="0" i="0" kern="1200" dirty="0" smtClean="0">
                <a:solidFill>
                  <a:schemeClr val="tx1"/>
                </a:solidFill>
                <a:effectLst/>
                <a:latin typeface="+mn-lt"/>
                <a:ea typeface="+mn-ea"/>
                <a:cs typeface="+mn-cs"/>
              </a:rPr>
              <a:t>.</a:t>
            </a:r>
          </a:p>
          <a:p>
            <a:r>
              <a:rPr lang="en-IN" sz="1200" b="0" i="0" kern="1200" dirty="0" smtClean="0">
                <a:solidFill>
                  <a:schemeClr val="tx1"/>
                </a:solidFill>
                <a:effectLst/>
                <a:latin typeface="+mn-lt"/>
                <a:ea typeface="+mn-ea"/>
                <a:cs typeface="+mn-cs"/>
              </a:rPr>
              <a:t>In the Wizard, click </a:t>
            </a:r>
            <a:r>
              <a:rPr lang="en-IN" sz="1200" b="1" i="0" kern="1200" dirty="0" smtClean="0">
                <a:solidFill>
                  <a:schemeClr val="tx1"/>
                </a:solidFill>
                <a:effectLst/>
                <a:latin typeface="+mn-lt"/>
                <a:ea typeface="+mn-ea"/>
                <a:cs typeface="+mn-cs"/>
              </a:rPr>
              <a:t>Next</a:t>
            </a:r>
            <a:r>
              <a:rPr lang="en-IN" sz="1200" b="0" i="0" kern="1200" dirty="0" smtClean="0">
                <a:solidFill>
                  <a:schemeClr val="tx1"/>
                </a:solidFill>
                <a:effectLst/>
                <a:latin typeface="+mn-lt"/>
                <a:ea typeface="+mn-ea"/>
                <a:cs typeface="+mn-cs"/>
              </a:rPr>
              <a:t>. Select </a:t>
            </a:r>
            <a:r>
              <a:rPr lang="en-IN" sz="1200" b="1" i="0" kern="1200" dirty="0" smtClean="0">
                <a:solidFill>
                  <a:schemeClr val="tx1"/>
                </a:solidFill>
                <a:effectLst/>
                <a:latin typeface="+mn-lt"/>
                <a:ea typeface="+mn-ea"/>
                <a:cs typeface="+mn-cs"/>
              </a:rPr>
              <a:t>No, do not export the private key</a:t>
            </a:r>
            <a:r>
              <a:rPr lang="en-IN" sz="1200" b="0" i="0" kern="1200" dirty="0" smtClean="0">
                <a:solidFill>
                  <a:schemeClr val="tx1"/>
                </a:solidFill>
                <a:effectLst/>
                <a:latin typeface="+mn-lt"/>
                <a:ea typeface="+mn-ea"/>
                <a:cs typeface="+mn-cs"/>
              </a:rPr>
              <a:t>, and then click </a:t>
            </a:r>
            <a:r>
              <a:rPr lang="en-IN" sz="1200" b="1" i="0" kern="1200" dirty="0" smtClean="0">
                <a:solidFill>
                  <a:schemeClr val="tx1"/>
                </a:solidFill>
                <a:effectLst/>
                <a:latin typeface="+mn-lt"/>
                <a:ea typeface="+mn-ea"/>
                <a:cs typeface="+mn-cs"/>
              </a:rPr>
              <a:t>Next</a:t>
            </a:r>
            <a:r>
              <a:rPr lang="en-IN" sz="1200" b="0" i="0" kern="1200" dirty="0" smtClean="0">
                <a:solidFill>
                  <a:schemeClr val="tx1"/>
                </a:solidFill>
                <a:effectLst/>
                <a:latin typeface="+mn-lt"/>
                <a:ea typeface="+mn-ea"/>
                <a:cs typeface="+mn-cs"/>
              </a:rPr>
              <a:t>.</a:t>
            </a:r>
          </a:p>
          <a:p>
            <a:r>
              <a:rPr lang="en-IN" sz="1200" b="0" i="0" kern="1200" dirty="0" smtClean="0">
                <a:solidFill>
                  <a:schemeClr val="tx1"/>
                </a:solidFill>
                <a:effectLst/>
                <a:latin typeface="+mn-lt"/>
                <a:ea typeface="+mn-ea"/>
                <a:cs typeface="+mn-cs"/>
              </a:rPr>
              <a:t>On the </a:t>
            </a:r>
            <a:r>
              <a:rPr lang="en-IN" sz="1200" b="1" i="0" kern="1200" dirty="0" smtClean="0">
                <a:solidFill>
                  <a:schemeClr val="tx1"/>
                </a:solidFill>
                <a:effectLst/>
                <a:latin typeface="+mn-lt"/>
                <a:ea typeface="+mn-ea"/>
                <a:cs typeface="+mn-cs"/>
              </a:rPr>
              <a:t>Export File Format</a:t>
            </a:r>
            <a:r>
              <a:rPr lang="en-IN" sz="1200" b="0" i="0" kern="1200" dirty="0" smtClean="0">
                <a:solidFill>
                  <a:schemeClr val="tx1"/>
                </a:solidFill>
                <a:effectLst/>
                <a:latin typeface="+mn-lt"/>
                <a:ea typeface="+mn-ea"/>
                <a:cs typeface="+mn-cs"/>
              </a:rPr>
              <a:t> page, select </a:t>
            </a:r>
            <a:r>
              <a:rPr lang="en-IN" sz="1200" b="1" i="0" kern="1200" dirty="0" smtClean="0">
                <a:solidFill>
                  <a:schemeClr val="tx1"/>
                </a:solidFill>
                <a:effectLst/>
                <a:latin typeface="+mn-lt"/>
                <a:ea typeface="+mn-ea"/>
                <a:cs typeface="+mn-cs"/>
              </a:rPr>
              <a:t>Base-64 encoded X.509 (.CER).</a:t>
            </a:r>
            <a:r>
              <a:rPr lang="en-IN" sz="1200" b="0" i="0" kern="1200" dirty="0" smtClean="0">
                <a:solidFill>
                  <a:schemeClr val="tx1"/>
                </a:solidFill>
                <a:effectLst/>
                <a:latin typeface="+mn-lt"/>
                <a:ea typeface="+mn-ea"/>
                <a:cs typeface="+mn-cs"/>
              </a:rPr>
              <a:t>, and then click </a:t>
            </a:r>
            <a:r>
              <a:rPr lang="en-IN" sz="1200" b="1" i="0" kern="1200" dirty="0" smtClean="0">
                <a:solidFill>
                  <a:schemeClr val="tx1"/>
                </a:solidFill>
                <a:effectLst/>
                <a:latin typeface="+mn-lt"/>
                <a:ea typeface="+mn-ea"/>
                <a:cs typeface="+mn-cs"/>
              </a:rPr>
              <a:t>Next</a:t>
            </a:r>
            <a:r>
              <a:rPr lang="en-IN" sz="1200" b="0" i="0" kern="1200" dirty="0" smtClean="0">
                <a:solidFill>
                  <a:schemeClr val="tx1"/>
                </a:solidFill>
                <a:effectLst/>
                <a:latin typeface="+mn-lt"/>
                <a:ea typeface="+mn-ea"/>
                <a:cs typeface="+mn-cs"/>
              </a:rPr>
              <a:t>.</a:t>
            </a:r>
          </a:p>
          <a:p>
            <a:r>
              <a:rPr lang="en-IN" sz="1200" b="0" i="0" kern="1200" dirty="0" smtClean="0">
                <a:solidFill>
                  <a:schemeClr val="tx1"/>
                </a:solidFill>
                <a:effectLst/>
                <a:latin typeface="+mn-lt"/>
                <a:ea typeface="+mn-ea"/>
                <a:cs typeface="+mn-cs"/>
              </a:rPr>
              <a:t>On the </a:t>
            </a:r>
            <a:r>
              <a:rPr lang="en-IN" sz="1200" b="1" i="0" kern="1200" dirty="0" smtClean="0">
                <a:solidFill>
                  <a:schemeClr val="tx1"/>
                </a:solidFill>
                <a:effectLst/>
                <a:latin typeface="+mn-lt"/>
                <a:ea typeface="+mn-ea"/>
                <a:cs typeface="+mn-cs"/>
              </a:rPr>
              <a:t>File to Export</a:t>
            </a:r>
            <a:r>
              <a:rPr lang="en-IN" sz="1200" b="0" i="0" kern="1200" dirty="0" smtClean="0">
                <a:solidFill>
                  <a:schemeClr val="tx1"/>
                </a:solidFill>
                <a:effectLst/>
                <a:latin typeface="+mn-lt"/>
                <a:ea typeface="+mn-ea"/>
                <a:cs typeface="+mn-cs"/>
              </a:rPr>
              <a:t>, </a:t>
            </a:r>
            <a:r>
              <a:rPr lang="en-IN" sz="1200" b="1" i="0" kern="1200" dirty="0" smtClean="0">
                <a:solidFill>
                  <a:schemeClr val="tx1"/>
                </a:solidFill>
                <a:effectLst/>
                <a:latin typeface="+mn-lt"/>
                <a:ea typeface="+mn-ea"/>
                <a:cs typeface="+mn-cs"/>
              </a:rPr>
              <a:t>Browse</a:t>
            </a:r>
            <a:r>
              <a:rPr lang="en-IN" sz="1200" b="0" i="0" kern="1200" dirty="0" smtClean="0">
                <a:solidFill>
                  <a:schemeClr val="tx1"/>
                </a:solidFill>
                <a:effectLst/>
                <a:latin typeface="+mn-lt"/>
                <a:ea typeface="+mn-ea"/>
                <a:cs typeface="+mn-cs"/>
              </a:rPr>
              <a:t> to the location to which you want to export the certificate. For </a:t>
            </a:r>
            <a:r>
              <a:rPr lang="en-IN" sz="1200" b="1" i="0" kern="1200" dirty="0" smtClean="0">
                <a:solidFill>
                  <a:schemeClr val="tx1"/>
                </a:solidFill>
                <a:effectLst/>
                <a:latin typeface="+mn-lt"/>
                <a:ea typeface="+mn-ea"/>
                <a:cs typeface="+mn-cs"/>
              </a:rPr>
              <a:t>File name</a:t>
            </a:r>
            <a:r>
              <a:rPr lang="en-IN" sz="1200" b="0" i="0" kern="1200" dirty="0" smtClean="0">
                <a:solidFill>
                  <a:schemeClr val="tx1"/>
                </a:solidFill>
                <a:effectLst/>
                <a:latin typeface="+mn-lt"/>
                <a:ea typeface="+mn-ea"/>
                <a:cs typeface="+mn-cs"/>
              </a:rPr>
              <a:t>, name the certificate file. Then, click </a:t>
            </a:r>
            <a:r>
              <a:rPr lang="en-IN" sz="1200" b="1" i="0" kern="1200" dirty="0" smtClean="0">
                <a:solidFill>
                  <a:schemeClr val="tx1"/>
                </a:solidFill>
                <a:effectLst/>
                <a:latin typeface="+mn-lt"/>
                <a:ea typeface="+mn-ea"/>
                <a:cs typeface="+mn-cs"/>
              </a:rPr>
              <a:t>Next</a:t>
            </a:r>
            <a:r>
              <a:rPr lang="en-IN" sz="1200" b="0" i="0" kern="1200" dirty="0" smtClean="0">
                <a:solidFill>
                  <a:schemeClr val="tx1"/>
                </a:solidFill>
                <a:effectLst/>
                <a:latin typeface="+mn-lt"/>
                <a:ea typeface="+mn-ea"/>
                <a:cs typeface="+mn-cs"/>
              </a:rPr>
              <a:t>.</a:t>
            </a:r>
          </a:p>
          <a:p>
            <a:r>
              <a:rPr lang="en-IN" sz="1200" b="0" i="0" kern="1200" dirty="0" smtClean="0">
                <a:solidFill>
                  <a:schemeClr val="tx1"/>
                </a:solidFill>
                <a:effectLst/>
                <a:latin typeface="+mn-lt"/>
                <a:ea typeface="+mn-ea"/>
                <a:cs typeface="+mn-cs"/>
              </a:rPr>
              <a:t>Click </a:t>
            </a:r>
            <a:r>
              <a:rPr lang="en-IN" sz="1200" b="1" i="0" kern="1200" dirty="0" smtClean="0">
                <a:solidFill>
                  <a:schemeClr val="tx1"/>
                </a:solidFill>
                <a:effectLst/>
                <a:latin typeface="+mn-lt"/>
                <a:ea typeface="+mn-ea"/>
                <a:cs typeface="+mn-cs"/>
              </a:rPr>
              <a:t>Finish</a:t>
            </a:r>
            <a:r>
              <a:rPr lang="en-IN" sz="1200" b="0" i="0" kern="1200" dirty="0" smtClean="0">
                <a:solidFill>
                  <a:schemeClr val="tx1"/>
                </a:solidFill>
                <a:effectLst/>
                <a:latin typeface="+mn-lt"/>
                <a:ea typeface="+mn-ea"/>
                <a:cs typeface="+mn-cs"/>
              </a:rPr>
              <a:t> to export the certificate. You see </a:t>
            </a:r>
            <a:r>
              <a:rPr lang="en-IN" sz="1200" b="1" i="0" kern="1200" dirty="0" smtClean="0">
                <a:solidFill>
                  <a:schemeClr val="tx1"/>
                </a:solidFill>
                <a:effectLst/>
                <a:latin typeface="+mn-lt"/>
                <a:ea typeface="+mn-ea"/>
                <a:cs typeface="+mn-cs"/>
              </a:rPr>
              <a:t>The export was successful</a:t>
            </a:r>
            <a:r>
              <a:rPr lang="en-IN" sz="1200" b="0" i="0" kern="1200" dirty="0" smtClean="0">
                <a:solidFill>
                  <a:schemeClr val="tx1"/>
                </a:solidFill>
                <a:effectLst/>
                <a:latin typeface="+mn-lt"/>
                <a:ea typeface="+mn-ea"/>
                <a:cs typeface="+mn-cs"/>
              </a:rPr>
              <a:t>. Click </a:t>
            </a:r>
            <a:r>
              <a:rPr lang="en-IN" sz="1200" b="1" i="0" kern="1200" dirty="0" smtClean="0">
                <a:solidFill>
                  <a:schemeClr val="tx1"/>
                </a:solidFill>
                <a:effectLst/>
                <a:latin typeface="+mn-lt"/>
                <a:ea typeface="+mn-ea"/>
                <a:cs typeface="+mn-cs"/>
              </a:rPr>
              <a:t>OK</a:t>
            </a:r>
            <a:r>
              <a:rPr lang="en-IN" sz="1200" b="0" i="0" kern="1200" dirty="0" smtClean="0">
                <a:solidFill>
                  <a:schemeClr val="tx1"/>
                </a:solidFill>
                <a:effectLst/>
                <a:latin typeface="+mn-lt"/>
                <a:ea typeface="+mn-ea"/>
                <a:cs typeface="+mn-cs"/>
              </a:rPr>
              <a:t> to close the wizard.</a:t>
            </a:r>
          </a:p>
          <a:p>
            <a:r>
              <a:rPr lang="en-IN" sz="1200" b="0" i="0" kern="1200" dirty="0" smtClean="0">
                <a:solidFill>
                  <a:schemeClr val="tx1"/>
                </a:solidFill>
                <a:effectLst/>
                <a:latin typeface="+mn-lt"/>
                <a:ea typeface="+mn-ea"/>
                <a:cs typeface="+mn-cs"/>
              </a:rPr>
              <a:t>-----------------------------------------------------------------------------------------------------------------------------------------</a:t>
            </a:r>
          </a:p>
          <a:p>
            <a:endParaRPr lang="en-IN" sz="1200" b="0" i="0" kern="1200" dirty="0" smtClean="0">
              <a:solidFill>
                <a:schemeClr val="tx1"/>
              </a:solidFill>
              <a:effectLst/>
              <a:latin typeface="+mn-lt"/>
              <a:ea typeface="+mn-ea"/>
              <a:cs typeface="+mn-cs"/>
            </a:endParaRPr>
          </a:p>
          <a:p>
            <a:r>
              <a:rPr lang="en-IN" sz="1200" b="0" i="0" kern="1200" dirty="0" smtClean="0">
                <a:solidFill>
                  <a:schemeClr val="tx1"/>
                </a:solidFill>
                <a:effectLst/>
                <a:latin typeface="+mn-lt"/>
                <a:ea typeface="+mn-ea"/>
                <a:cs typeface="+mn-cs"/>
              </a:rPr>
              <a:t>Create self signed certificate from IIS</a:t>
            </a:r>
          </a:p>
          <a:p>
            <a:r>
              <a:rPr lang="en-IN" sz="1200" b="0" i="0" kern="1200" dirty="0" smtClean="0">
                <a:solidFill>
                  <a:schemeClr val="tx1"/>
                </a:solidFill>
                <a:effectLst/>
                <a:latin typeface="+mn-lt"/>
                <a:ea typeface="+mn-ea"/>
                <a:cs typeface="+mn-cs"/>
              </a:rPr>
              <a:t>https://documentation.meraki.com/zGeneral_Administration/Other_Topics/Installing_a_Self-Signed_Certificate_on_Windows_Server</a:t>
            </a:r>
          </a:p>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13</a:t>
            </a:fld>
            <a:endParaRPr lang="en-US"/>
          </a:p>
        </p:txBody>
      </p:sp>
    </p:spTree>
    <p:extLst>
      <p:ext uri="{BB962C8B-B14F-4D97-AF65-F5344CB8AC3E}">
        <p14:creationId xmlns:p14="http://schemas.microsoft.com/office/powerpoint/2010/main" val="93341818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The benefits of using virtual network peering include:</a:t>
            </a:r>
          </a:p>
          <a:p>
            <a:r>
              <a:rPr lang="en-US" sz="1200" b="0" i="0" kern="1200" dirty="0" smtClean="0">
                <a:solidFill>
                  <a:schemeClr val="tx1"/>
                </a:solidFill>
                <a:effectLst/>
                <a:latin typeface="+mn-lt"/>
                <a:ea typeface="+mn-ea"/>
                <a:cs typeface="+mn-cs"/>
              </a:rPr>
              <a:t>Network traffic between peered virtual networks is private. Traffic between the virtual networks is kept on the Microsoft backbone network. No public Internet, gateways, or encryption is required in the communication between the virtual networks.</a:t>
            </a:r>
          </a:p>
          <a:p>
            <a:r>
              <a:rPr lang="en-US" sz="1200" b="0" i="0" kern="1200" dirty="0" smtClean="0">
                <a:solidFill>
                  <a:schemeClr val="tx1"/>
                </a:solidFill>
                <a:effectLst/>
                <a:latin typeface="+mn-lt"/>
                <a:ea typeface="+mn-ea"/>
                <a:cs typeface="+mn-cs"/>
              </a:rPr>
              <a:t>A low-latency, high-bandwidth connection between resources in different virtual networks.</a:t>
            </a:r>
          </a:p>
          <a:p>
            <a:r>
              <a:rPr lang="en-US" sz="1200" b="0" i="0" kern="1200" dirty="0" smtClean="0">
                <a:solidFill>
                  <a:schemeClr val="tx1"/>
                </a:solidFill>
                <a:effectLst/>
                <a:latin typeface="+mn-lt"/>
                <a:ea typeface="+mn-ea"/>
                <a:cs typeface="+mn-cs"/>
              </a:rPr>
              <a:t>The ability for resources in one virtual network to communicate with resources in a different virtual network, once the virtual networks are peered.</a:t>
            </a:r>
          </a:p>
          <a:p>
            <a:r>
              <a:rPr lang="en-US" sz="1200" b="0" i="0" kern="1200" dirty="0" smtClean="0">
                <a:solidFill>
                  <a:schemeClr val="tx1"/>
                </a:solidFill>
                <a:effectLst/>
                <a:latin typeface="+mn-lt"/>
                <a:ea typeface="+mn-ea"/>
                <a:cs typeface="+mn-cs"/>
              </a:rPr>
              <a:t>The ability to transfer data across Azure subscriptions, deployment models, and across Azure regions (preview).</a:t>
            </a:r>
          </a:p>
          <a:p>
            <a:r>
              <a:rPr lang="en-US" sz="1200" b="0" i="0" kern="1200" dirty="0" smtClean="0">
                <a:solidFill>
                  <a:schemeClr val="tx1"/>
                </a:solidFill>
                <a:effectLst/>
                <a:latin typeface="+mn-lt"/>
                <a:ea typeface="+mn-ea"/>
                <a:cs typeface="+mn-cs"/>
              </a:rPr>
              <a:t>The ability to peer virtual networks created through the Azure Resource Manager or to peer one virtual network created through Resource Manager to a virtual network created through the classic deployment model. To learn more about Azure deployment models, see </a:t>
            </a:r>
            <a:r>
              <a:rPr lang="en-US" sz="1200" b="0" i="0" u="none" strike="noStrike" kern="1200" dirty="0" smtClean="0">
                <a:solidFill>
                  <a:schemeClr val="tx1"/>
                </a:solidFill>
                <a:effectLst/>
                <a:latin typeface="+mn-lt"/>
                <a:ea typeface="+mn-ea"/>
                <a:cs typeface="+mn-cs"/>
                <a:hlinkClick r:id="rId3"/>
              </a:rPr>
              <a:t>Understand Azure deployment models</a:t>
            </a:r>
            <a:r>
              <a:rPr lang="en-US" sz="1200" b="0" i="0" kern="1200" dirty="0" smtClean="0">
                <a:solidFill>
                  <a:schemeClr val="tx1"/>
                </a:solidFill>
                <a:effectLst/>
                <a:latin typeface="+mn-lt"/>
                <a:ea typeface="+mn-ea"/>
                <a:cs typeface="+mn-cs"/>
              </a:rPr>
              <a:t>.</a:t>
            </a:r>
          </a:p>
          <a:p>
            <a:r>
              <a:rPr lang="en-US" sz="1200" b="0" i="0" kern="1200" dirty="0" smtClean="0">
                <a:solidFill>
                  <a:schemeClr val="tx1"/>
                </a:solidFill>
                <a:effectLst/>
                <a:latin typeface="+mn-lt"/>
                <a:ea typeface="+mn-ea"/>
                <a:cs typeface="+mn-cs"/>
              </a:rPr>
              <a:t>No downtime to resources in either virtual network when creating the peering, or after the peering is created.</a:t>
            </a:r>
          </a:p>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14</a:t>
            </a:fld>
            <a:endParaRPr lang="en-US"/>
          </a:p>
        </p:txBody>
      </p:sp>
    </p:spTree>
    <p:extLst>
      <p:ext uri="{BB962C8B-B14F-4D97-AF65-F5344CB8AC3E}">
        <p14:creationId xmlns:p14="http://schemas.microsoft.com/office/powerpoint/2010/main" val="299809724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703263"/>
            <a:ext cx="6257925" cy="3519487"/>
          </a:xfrm>
        </p:spPr>
      </p:sp>
      <p:sp>
        <p:nvSpPr>
          <p:cNvPr id="3" name="Notes Placeholder 2"/>
          <p:cNvSpPr>
            <a:spLocks noGrp="1"/>
          </p:cNvSpPr>
          <p:nvPr>
            <p:ph type="body" idx="1"/>
          </p:nvPr>
        </p:nvSpPr>
        <p:spPr/>
        <p:txBody>
          <a:bodyPr>
            <a:normAutofit/>
          </a:bodyPr>
          <a:lstStyle/>
          <a:p>
            <a:r>
              <a:rPr lang="en-US" b="1" dirty="0" smtClean="0"/>
              <a:t>Title</a:t>
            </a:r>
            <a:r>
              <a:rPr lang="en-US" dirty="0" smtClean="0"/>
              <a:t>: Microsoft Azure Storage</a:t>
            </a:r>
          </a:p>
          <a:p>
            <a:endParaRPr lang="en-US" dirty="0" smtClean="0"/>
          </a:p>
          <a:p>
            <a:r>
              <a:rPr lang="en-IN" sz="1200" b="0" i="0" kern="1200" dirty="0" smtClean="0">
                <a:solidFill>
                  <a:schemeClr val="tx1"/>
                </a:solidFill>
                <a:effectLst/>
                <a:latin typeface="+mn-lt"/>
                <a:ea typeface="+mn-ea"/>
                <a:cs typeface="+mn-cs"/>
              </a:rPr>
              <a:t>ZRS accounts cannot be converted LRS or GRS. Similarly, an existing LRS or GRS account cannot be converted to a ZRS account.</a:t>
            </a:r>
          </a:p>
          <a:p>
            <a:endParaRPr lang="en-IN"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 REST API defines a set of functions which developers can perform requests and receive responses via HTTP protocol such as GET and POST.</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Client will request to your</a:t>
            </a:r>
            <a:r>
              <a:rPr lang="en-US" sz="1200" b="0" i="0" kern="1200" baseline="0" dirty="0" smtClean="0">
                <a:solidFill>
                  <a:schemeClr val="tx1"/>
                </a:solidFill>
                <a:effectLst/>
                <a:latin typeface="+mn-lt"/>
                <a:ea typeface="+mn-ea"/>
                <a:cs typeface="+mn-cs"/>
              </a:rPr>
              <a:t> server and then client will get response(</a:t>
            </a:r>
            <a:r>
              <a:rPr lang="en-US" sz="1200" b="0" i="0" kern="1200" baseline="0" dirty="0" err="1" smtClean="0">
                <a:solidFill>
                  <a:schemeClr val="tx1"/>
                </a:solidFill>
                <a:effectLst/>
                <a:latin typeface="+mn-lt"/>
                <a:ea typeface="+mn-ea"/>
                <a:cs typeface="+mn-cs"/>
              </a:rPr>
              <a:t>Json</a:t>
            </a:r>
            <a:r>
              <a:rPr lang="en-US" sz="1200" b="0" i="0" kern="1200" baseline="0" dirty="0" smtClean="0">
                <a:solidFill>
                  <a:schemeClr val="tx1"/>
                </a:solidFill>
                <a:effectLst/>
                <a:latin typeface="+mn-lt"/>
                <a:ea typeface="+mn-ea"/>
                <a:cs typeface="+mn-cs"/>
              </a:rPr>
              <a:t>/XML) from that server.</a:t>
            </a:r>
          </a:p>
          <a:p>
            <a:endParaRPr lang="en-US" sz="1200" b="0" i="0" kern="1200" baseline="0" dirty="0" smtClean="0">
              <a:solidFill>
                <a:schemeClr val="tx1"/>
              </a:solidFill>
              <a:effectLst/>
              <a:latin typeface="+mn-lt"/>
              <a:ea typeface="+mn-ea"/>
              <a:cs typeface="+mn-cs"/>
            </a:endParaRPr>
          </a:p>
          <a:p>
            <a:r>
              <a:rPr lang="en-US" sz="1200" b="0" i="0" kern="1200" baseline="0" dirty="0" smtClean="0">
                <a:solidFill>
                  <a:schemeClr val="tx1"/>
                </a:solidFill>
                <a:effectLst/>
                <a:latin typeface="+mn-lt"/>
                <a:ea typeface="+mn-ea"/>
                <a:cs typeface="+mn-cs"/>
              </a:rPr>
              <a:t>So in that response will have some structured data</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zure Storage Limit:</a:t>
            </a:r>
          </a:p>
          <a:p>
            <a:r>
              <a:rPr lang="en-US" dirty="0" smtClean="0"/>
              <a:t>https://github.com/MicrosoftDocs/azure-docs/blob/master/includes/azure-storage-limits.md</a:t>
            </a:r>
            <a:endParaRPr lang="en-US" dirty="0"/>
          </a:p>
        </p:txBody>
      </p:sp>
      <p:sp>
        <p:nvSpPr>
          <p:cNvPr id="4" name="Header Placeholder 3"/>
          <p:cNvSpPr>
            <a:spLocks noGrp="1"/>
          </p:cNvSpPr>
          <p:nvPr>
            <p:ph type="hdr" sz="quarter" idx="10"/>
          </p:nvPr>
        </p:nvSpPr>
        <p:spPr/>
        <p:txBody>
          <a:bodyPr/>
          <a:lstStyle/>
          <a:p>
            <a:pPr>
              <a:defRPr/>
            </a:pPr>
            <a:r>
              <a:rPr lang="en-US" dirty="0" smtClean="0">
                <a:solidFill>
                  <a:prstClr val="black"/>
                </a:solidFill>
              </a:rPr>
              <a:t>TechEd 2012</a:t>
            </a:r>
            <a:endParaRPr lang="en-US" dirty="0">
              <a:solidFill>
                <a:prstClr val="black"/>
              </a:solidFill>
            </a:endParaRPr>
          </a:p>
        </p:txBody>
      </p:sp>
      <p:sp>
        <p:nvSpPr>
          <p:cNvPr id="5" name="Date Placeholder 4"/>
          <p:cNvSpPr>
            <a:spLocks noGrp="1"/>
          </p:cNvSpPr>
          <p:nvPr>
            <p:ph type="dt" idx="11"/>
          </p:nvPr>
        </p:nvSpPr>
        <p:spPr/>
        <p:txBody>
          <a:bodyPr/>
          <a:lstStyle/>
          <a:p>
            <a:pPr>
              <a:defRPr/>
            </a:pPr>
            <a:fld id="{81331B57-0BE5-4F82-AA58-76F53EFF3ADA}" type="datetime8">
              <a:rPr lang="en-US" smtClean="0">
                <a:solidFill>
                  <a:prstClr val="black"/>
                </a:solidFill>
              </a:rPr>
              <a:pPr>
                <a:defRPr/>
              </a:pPr>
              <a:t>1/20/2019 10:2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EC87E0CF-87F6-4B58-B8B8-DCAB2DAAF3CA}" type="slidenum">
              <a:rPr lang="en-US" smtClean="0">
                <a:solidFill>
                  <a:prstClr val="black"/>
                </a:solidFill>
              </a:rPr>
              <a:pPr>
                <a:defRPr/>
              </a:pPr>
              <a:t>116</a:t>
            </a:fld>
            <a:endParaRPr lang="en-US" dirty="0">
              <a:solidFill>
                <a:prstClr val="black"/>
              </a:solidFill>
            </a:endParaRPr>
          </a:p>
        </p:txBody>
      </p:sp>
    </p:spTree>
    <p:extLst>
      <p:ext uri="{BB962C8B-B14F-4D97-AF65-F5344CB8AC3E}">
        <p14:creationId xmlns:p14="http://schemas.microsoft.com/office/powerpoint/2010/main" val="146677936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1/20/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7</a:t>
            </a:fld>
            <a:endParaRPr lang="en-US" dirty="0">
              <a:solidFill>
                <a:prstClr val="black"/>
              </a:solidFill>
            </a:endParaRPr>
          </a:p>
        </p:txBody>
      </p:sp>
    </p:spTree>
    <p:extLst>
      <p:ext uri="{BB962C8B-B14F-4D97-AF65-F5344CB8AC3E}">
        <p14:creationId xmlns:p14="http://schemas.microsoft.com/office/powerpoint/2010/main" val="185415721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0" i="0" kern="1200" dirty="0" smtClean="0">
                <a:solidFill>
                  <a:schemeClr val="tx1"/>
                </a:solidFill>
                <a:effectLst/>
                <a:latin typeface="+mn-lt"/>
                <a:ea typeface="+mn-ea"/>
                <a:cs typeface="+mn-cs"/>
              </a:rPr>
              <a:t>ZRS is only available for block blobs in general purpose storage accounts, and is supported only in storage service versions 2014-02-14 and later</a:t>
            </a:r>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18</a:t>
            </a:fld>
            <a:endParaRPr lang="en-US"/>
          </a:p>
        </p:txBody>
      </p:sp>
    </p:spTree>
    <p:extLst>
      <p:ext uri="{BB962C8B-B14F-4D97-AF65-F5344CB8AC3E}">
        <p14:creationId xmlns:p14="http://schemas.microsoft.com/office/powerpoint/2010/main" val="117512159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0" i="0" kern="1200" dirty="0" smtClean="0">
                <a:solidFill>
                  <a:schemeClr val="tx1"/>
                </a:solidFill>
                <a:effectLst/>
                <a:latin typeface="+mn-lt"/>
                <a:ea typeface="+mn-ea"/>
                <a:cs typeface="+mn-cs"/>
              </a:rPr>
              <a:t>The time it takes us to investigate and determine if we can recover the data at the primary location or if we need to do a failover.</a:t>
            </a:r>
          </a:p>
          <a:p>
            <a:r>
              <a:rPr lang="en-IN" sz="1200" b="0" i="0" kern="1200" dirty="0" smtClean="0">
                <a:solidFill>
                  <a:schemeClr val="tx1"/>
                </a:solidFill>
                <a:effectLst/>
                <a:latin typeface="+mn-lt"/>
                <a:ea typeface="+mn-ea"/>
                <a:cs typeface="+mn-cs"/>
              </a:rPr>
              <a:t>Failover the account by changing the primary DNS entries to point to the secondary location</a:t>
            </a:r>
          </a:p>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19</a:t>
            </a:fld>
            <a:endParaRPr lang="en-US"/>
          </a:p>
        </p:txBody>
      </p:sp>
    </p:spTree>
    <p:extLst>
      <p:ext uri="{BB962C8B-B14F-4D97-AF65-F5344CB8AC3E}">
        <p14:creationId xmlns:p14="http://schemas.microsoft.com/office/powerpoint/2010/main" val="25939913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92500" lnSpcReduction="10000"/>
          </a:bodyPr>
          <a:lstStyle/>
          <a:p>
            <a:r>
              <a:rPr lang="en-US" sz="1200" b="0" i="1" u="none" strike="noStrike" kern="1200" baseline="0" dirty="0" smtClean="0">
                <a:solidFill>
                  <a:schemeClr val="tx1"/>
                </a:solidFill>
                <a:latin typeface="+mn-lt"/>
                <a:ea typeface="+mn-ea"/>
                <a:cs typeface="+mn-cs"/>
              </a:rPr>
              <a:t>On-demand self-service. </a:t>
            </a:r>
            <a:r>
              <a:rPr lang="en-US" sz="1200" b="0" i="0" u="none" strike="noStrike" kern="1200" baseline="0" dirty="0" smtClean="0">
                <a:solidFill>
                  <a:schemeClr val="tx1"/>
                </a:solidFill>
                <a:latin typeface="+mn-lt"/>
                <a:ea typeface="+mn-ea"/>
                <a:cs typeface="+mn-cs"/>
              </a:rPr>
              <a:t>A consumer can unilaterally provision computing capabilities, such as server time and network storage, as needed </a:t>
            </a:r>
            <a:r>
              <a:rPr lang="en-US" sz="1200" b="0" i="0" u="none" strike="noStrike" kern="1200" baseline="0" dirty="0" smtClean="0">
                <a:solidFill>
                  <a:srgbClr val="FF0000"/>
                </a:solidFill>
                <a:latin typeface="+mn-lt"/>
                <a:ea typeface="+mn-ea"/>
                <a:cs typeface="+mn-cs"/>
              </a:rPr>
              <a:t>automatically without requiring human interaction with each service provider. </a:t>
            </a:r>
          </a:p>
          <a:p>
            <a:r>
              <a:rPr lang="en-US" sz="1200" b="0" i="1" u="none" strike="noStrike" kern="1200" baseline="0" dirty="0" smtClean="0">
                <a:solidFill>
                  <a:schemeClr val="tx1"/>
                </a:solidFill>
                <a:latin typeface="+mn-lt"/>
                <a:ea typeface="+mn-ea"/>
                <a:cs typeface="+mn-cs"/>
              </a:rPr>
              <a:t>Broad network access. </a:t>
            </a:r>
            <a:r>
              <a:rPr lang="en-US" sz="1200" b="0" i="0" u="none" strike="noStrike" kern="1200" baseline="0" dirty="0" smtClean="0">
                <a:solidFill>
                  <a:schemeClr val="tx1"/>
                </a:solidFill>
                <a:latin typeface="+mn-lt"/>
                <a:ea typeface="+mn-ea"/>
                <a:cs typeface="+mn-cs"/>
              </a:rPr>
              <a:t>Capabilities are available over the network and accessed through standard mechanisms that promote use by heterogeneous thin or thick client platforms (e.g., mobile phones, tablets, laptops, and workstations). </a:t>
            </a:r>
          </a:p>
          <a:p>
            <a:r>
              <a:rPr lang="en-US" sz="1200" b="0" i="1" u="none" strike="noStrike" kern="1200" baseline="0" dirty="0" smtClean="0">
                <a:solidFill>
                  <a:schemeClr val="tx1"/>
                </a:solidFill>
                <a:latin typeface="+mn-lt"/>
                <a:ea typeface="+mn-ea"/>
                <a:cs typeface="+mn-cs"/>
              </a:rPr>
              <a:t>Resource pooling. </a:t>
            </a:r>
            <a:r>
              <a:rPr lang="en-US" sz="1200" b="0" i="0" u="none" strike="noStrike" kern="1200" baseline="0" dirty="0" smtClean="0">
                <a:solidFill>
                  <a:schemeClr val="tx1"/>
                </a:solidFill>
                <a:latin typeface="+mn-lt"/>
                <a:ea typeface="+mn-ea"/>
                <a:cs typeface="+mn-cs"/>
              </a:rPr>
              <a:t>The provider’s computing resources are pooled to serve multiple consumers using a multi-tenant model, with different physical and virtual resources dynamically assigned and reassigned according to consumer demand. There is a sense of location independence in that the customer generally has no control or knowledge over the exact location of the provided resources but may be able to specify location at a higher level of abstraction (e.g., country, state, or datacenter). Examples of resources include storage, processing, memory, and network bandwidth. </a:t>
            </a:r>
          </a:p>
          <a:p>
            <a:r>
              <a:rPr lang="en-US" sz="1200" b="0" i="1" u="none" strike="noStrike" kern="1200" baseline="0" dirty="0" smtClean="0">
                <a:solidFill>
                  <a:schemeClr val="tx1"/>
                </a:solidFill>
                <a:latin typeface="+mn-lt"/>
                <a:ea typeface="+mn-ea"/>
                <a:cs typeface="+mn-cs"/>
              </a:rPr>
              <a:t>Rapid elasticity. </a:t>
            </a:r>
            <a:r>
              <a:rPr lang="en-US" sz="1200" b="0" i="0" u="none" strike="noStrike" kern="1200" baseline="0" dirty="0" smtClean="0">
                <a:solidFill>
                  <a:schemeClr val="tx1"/>
                </a:solidFill>
                <a:latin typeface="+mn-lt"/>
                <a:ea typeface="+mn-ea"/>
                <a:cs typeface="+mn-cs"/>
              </a:rPr>
              <a:t>Capabilities can be elastically provisioned and released, in some cases automatically, to scale rapidly outward and inward commensurate with demand. To the consumer, the capabilities available for provisioning often appear to be unlimited and can be appropriated in any quantity at any time. </a:t>
            </a:r>
          </a:p>
          <a:p>
            <a:r>
              <a:rPr lang="en-US" sz="1200" b="0" i="1" u="none" strike="noStrike" kern="1200" baseline="0" dirty="0" smtClean="0">
                <a:solidFill>
                  <a:schemeClr val="tx1"/>
                </a:solidFill>
                <a:latin typeface="+mn-lt"/>
                <a:ea typeface="+mn-ea"/>
                <a:cs typeface="+mn-cs"/>
              </a:rPr>
              <a:t>Measured service/Utility service / Reliability. </a:t>
            </a:r>
            <a:r>
              <a:rPr lang="en-US" sz="1200" b="0" i="0" u="none" strike="noStrike" kern="1200" baseline="0" dirty="0" smtClean="0">
                <a:solidFill>
                  <a:schemeClr val="tx1"/>
                </a:solidFill>
                <a:latin typeface="+mn-lt"/>
                <a:ea typeface="+mn-ea"/>
                <a:cs typeface="+mn-cs"/>
              </a:rPr>
              <a:t>Cloud systems automatically control and optimize resource use by leveraging a metering capability1 at some level of abstraction appropriate to the type of service (e.g., storage, processing, bandwidth, and active user accounts). Resource usage can be monitored, controlled, and reported, providing transparency for both the provider and consumer of the utilized service.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16102849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b="1" dirty="0" smtClean="0"/>
              <a:t>Title</a:t>
            </a:r>
            <a:r>
              <a:rPr lang="en-US" dirty="0" smtClean="0"/>
              <a:t>: Microsoft Azure Storage: Types</a:t>
            </a:r>
          </a:p>
          <a:p>
            <a:r>
              <a:rPr lang="en-US" b="1" dirty="0" smtClean="0"/>
              <a:t>Notes</a:t>
            </a:r>
            <a:r>
              <a:rPr lang="en-US" dirty="0" smtClean="0"/>
              <a:t>:</a:t>
            </a:r>
          </a:p>
          <a:p>
            <a:r>
              <a:rPr lang="en-US" dirty="0" smtClean="0"/>
              <a:t>A standard storage account gives you access to Blob storage, Table storage, Queue storage, and File storage:</a:t>
            </a:r>
          </a:p>
          <a:p>
            <a:pPr marL="171450" indent="-171450">
              <a:buFont typeface="Arial" panose="020B0604020202020204" pitchFamily="34" charset="0"/>
              <a:buChar char="•"/>
            </a:pPr>
            <a:r>
              <a:rPr lang="en-US" b="1" dirty="0" smtClean="0"/>
              <a:t>Blob storage</a:t>
            </a:r>
            <a:r>
              <a:rPr lang="en-US" dirty="0" smtClean="0"/>
              <a:t> stores file data. A blob can be any type of text or binary data, such as a document, media file, or application installer. </a:t>
            </a:r>
          </a:p>
          <a:p>
            <a:pPr marL="171450" indent="-171450">
              <a:buFont typeface="Arial" panose="020B0604020202020204" pitchFamily="34" charset="0"/>
              <a:buChar char="•"/>
            </a:pPr>
            <a:r>
              <a:rPr lang="en-IN" sz="1200" b="0" i="0" kern="1200" dirty="0" smtClean="0">
                <a:solidFill>
                  <a:schemeClr val="tx1"/>
                </a:solidFill>
                <a:effectLst/>
                <a:latin typeface="+mn-lt"/>
                <a:ea typeface="+mn-ea"/>
                <a:cs typeface="+mn-cs"/>
              </a:rPr>
              <a:t>The maximum size of a block blob is therefore slightly more than 4.75 TB (100 MB X 50,000 blocks)</a:t>
            </a:r>
            <a:endParaRPr lang="en-US" dirty="0" smtClean="0"/>
          </a:p>
          <a:p>
            <a:pPr marL="171450" indent="-171450">
              <a:buFont typeface="Arial" panose="020B0604020202020204" pitchFamily="34" charset="0"/>
              <a:buChar char="•"/>
            </a:pPr>
            <a:r>
              <a:rPr lang="en-US" b="1" dirty="0" smtClean="0"/>
              <a:t>Table storage</a:t>
            </a:r>
            <a:r>
              <a:rPr lang="en-US" dirty="0" smtClean="0"/>
              <a:t> stores structured datasets. Table storage is a NoSQL key-attribute data store, which allows for rapid development and fast access to large quantities of data.</a:t>
            </a:r>
          </a:p>
          <a:p>
            <a:pPr marL="171450" indent="-171450">
              <a:buFont typeface="Arial" panose="020B0604020202020204" pitchFamily="34" charset="0"/>
              <a:buChar char="•"/>
            </a:pPr>
            <a:r>
              <a:rPr lang="en-US" b="1" dirty="0" smtClean="0"/>
              <a:t>Queue storage</a:t>
            </a:r>
            <a:r>
              <a:rPr lang="en-US" dirty="0" smtClean="0"/>
              <a:t> provides reliable messaging for workflow processing and for communication between components of cloud services.</a:t>
            </a:r>
          </a:p>
          <a:p>
            <a:pPr marL="171450" indent="-171450">
              <a:buFont typeface="Arial" panose="020B0604020202020204" pitchFamily="34" charset="0"/>
              <a:buChar char="•"/>
            </a:pPr>
            <a:r>
              <a:rPr lang="en-US" dirty="0" smtClean="0"/>
              <a:t>Follow FIFO model</a:t>
            </a:r>
          </a:p>
          <a:p>
            <a:pPr marL="171450" indent="-171450">
              <a:buFont typeface="Arial" panose="020B0604020202020204" pitchFamily="34" charset="0"/>
              <a:buChar char="•"/>
            </a:pPr>
            <a:r>
              <a:rPr lang="en-US" b="1" dirty="0" smtClean="0"/>
              <a:t>File storage</a:t>
            </a:r>
            <a:r>
              <a:rPr lang="en-US" dirty="0" smtClean="0"/>
              <a:t> offers shared storage for legacy applications using the standard SMB protocol. Azure virtual machines and cloud services can share file data across application components via mounted shares, and on-premises applications can access file data in a share via the File service REST API. </a:t>
            </a:r>
          </a:p>
          <a:p>
            <a:endParaRPr lang="en-US" dirty="0" smtClean="0"/>
          </a:p>
          <a:p>
            <a:r>
              <a:rPr lang="en-US" dirty="0" smtClean="0"/>
              <a:t>Each standard storage account can contain up to 500 TB of combined blob, queue, table, and file data. See the </a:t>
            </a:r>
            <a:r>
              <a:rPr lang="en-US" dirty="0" smtClean="0">
                <a:hlinkClick r:id="rId3"/>
              </a:rPr>
              <a:t>Azure Storage Scalability and Performance Targets</a:t>
            </a:r>
            <a:r>
              <a:rPr lang="en-US" dirty="0" smtClean="0"/>
              <a:t> for details about standard storage account capacity.</a:t>
            </a:r>
          </a:p>
          <a:p>
            <a:r>
              <a:rPr lang="en-US" dirty="0" smtClean="0"/>
              <a:t>SMB: Server </a:t>
            </a:r>
            <a:r>
              <a:rPr lang="en-US" dirty="0" err="1" smtClean="0"/>
              <a:t>msg</a:t>
            </a:r>
            <a:r>
              <a:rPr lang="en-US" baseline="0" dirty="0" smtClean="0"/>
              <a:t> block protocol, Network file sharing protocol, it follow server client architecture.</a:t>
            </a:r>
            <a:endParaRPr lang="en-US" dirty="0" smtClean="0"/>
          </a:p>
        </p:txBody>
      </p:sp>
      <p:sp>
        <p:nvSpPr>
          <p:cNvPr id="4" name="Header Placeholder 3"/>
          <p:cNvSpPr>
            <a:spLocks noGrp="1"/>
          </p:cNvSpPr>
          <p:nvPr>
            <p:ph type="hdr" sz="quarter" idx="10"/>
          </p:nvPr>
        </p:nvSpPr>
        <p:spPr/>
        <p:txBody>
          <a:bodyPr/>
          <a:lstStyle/>
          <a:p>
            <a:r>
              <a:rPr lang="en-US" dirty="0" smtClean="0">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1/20/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1</a:t>
            </a:fld>
            <a:endParaRPr lang="en-US" dirty="0">
              <a:solidFill>
                <a:prstClr val="black"/>
              </a:solidFill>
            </a:endParaRPr>
          </a:p>
        </p:txBody>
      </p:sp>
    </p:spTree>
    <p:extLst>
      <p:ext uri="{BB962C8B-B14F-4D97-AF65-F5344CB8AC3E}">
        <p14:creationId xmlns:p14="http://schemas.microsoft.com/office/powerpoint/2010/main" val="332928599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en-US" b="1" dirty="0" smtClean="0"/>
              <a:t>Title</a:t>
            </a:r>
            <a:r>
              <a:rPr lang="en-US" dirty="0" smtClean="0"/>
              <a:t>: Abstractions – blobs and disks</a:t>
            </a:r>
          </a:p>
          <a:p>
            <a:r>
              <a:rPr lang="en-US" b="1" dirty="0" smtClean="0"/>
              <a:t>Notes</a:t>
            </a:r>
            <a:r>
              <a:rPr lang="en-US" dirty="0" smtClean="0"/>
              <a:t>:</a:t>
            </a:r>
          </a:p>
          <a:p>
            <a:r>
              <a:rPr lang="en-US" b="1" dirty="0" smtClean="0">
                <a:effectLst/>
              </a:rPr>
              <a:t>Azure Blobs</a:t>
            </a:r>
            <a:r>
              <a:rPr lang="en-US" dirty="0" smtClean="0">
                <a:effectLst/>
              </a:rPr>
              <a:t> - Provides client libraries and a </a:t>
            </a:r>
            <a:r>
              <a:rPr lang="en-US" dirty="0" smtClean="0">
                <a:effectLst/>
                <a:hlinkClick r:id="rId3"/>
              </a:rPr>
              <a:t>REST interface</a:t>
            </a:r>
            <a:r>
              <a:rPr lang="en-US" dirty="0" smtClean="0">
                <a:effectLst/>
              </a:rPr>
              <a:t> that allows unstructured data to be stored and accessed at a massive scale in block blobs. </a:t>
            </a:r>
          </a:p>
          <a:p>
            <a:r>
              <a:rPr lang="en-US" dirty="0" smtClean="0">
                <a:effectLst/>
              </a:rPr>
              <a:t>Reasons you would use Azure Blobs:</a:t>
            </a:r>
          </a:p>
          <a:p>
            <a:pPr marL="171450" lvl="0" indent="-171450">
              <a:buFont typeface="Arial" panose="020B0604020202020204" pitchFamily="34" charset="0"/>
              <a:buChar char="•"/>
            </a:pPr>
            <a:r>
              <a:rPr lang="en-US" dirty="0" smtClean="0">
                <a:effectLst/>
              </a:rPr>
              <a:t>You want your application to support streaming and random access scenarios.</a:t>
            </a:r>
          </a:p>
          <a:p>
            <a:pPr marL="171450" lvl="0" indent="-171450">
              <a:buFont typeface="Arial" panose="020B0604020202020204" pitchFamily="34" charset="0"/>
              <a:buChar char="•"/>
            </a:pPr>
            <a:r>
              <a:rPr lang="en-US" dirty="0" smtClean="0">
                <a:effectLst/>
              </a:rPr>
              <a:t>You want to be able to access application data from anywhere.</a:t>
            </a:r>
          </a:p>
          <a:p>
            <a:pPr marL="0" lvl="0" indent="0">
              <a:buFont typeface="Arial" panose="020B0604020202020204" pitchFamily="34" charset="0"/>
              <a:buNone/>
            </a:pPr>
            <a:endParaRPr lang="en-US" dirty="0" smtClean="0">
              <a:effectLst/>
            </a:endParaRPr>
          </a:p>
          <a:p>
            <a:r>
              <a:rPr lang="en-US" b="1" dirty="0" smtClean="0">
                <a:effectLst/>
              </a:rPr>
              <a:t>Azure Data Disks</a:t>
            </a:r>
            <a:r>
              <a:rPr lang="en-US" dirty="0" smtClean="0">
                <a:effectLst/>
              </a:rPr>
              <a:t> - Provides client libraries and a </a:t>
            </a:r>
            <a:r>
              <a:rPr lang="en-US" dirty="0" smtClean="0">
                <a:effectLst/>
                <a:hlinkClick r:id="rId4"/>
              </a:rPr>
              <a:t>REST interface</a:t>
            </a:r>
            <a:r>
              <a:rPr lang="en-US" dirty="0" smtClean="0">
                <a:effectLst/>
              </a:rPr>
              <a:t> that allows data to be persistently stored and accessed from an attached virtual hard disk.</a:t>
            </a:r>
          </a:p>
          <a:p>
            <a:r>
              <a:rPr lang="en-US" dirty="0" smtClean="0">
                <a:effectLst/>
              </a:rPr>
              <a:t>Reasons you would use Azure Data Disks:</a:t>
            </a:r>
          </a:p>
          <a:p>
            <a:pPr marL="171450" lvl="0" indent="-171450">
              <a:buFont typeface="Arial" panose="020B0604020202020204" pitchFamily="34" charset="0"/>
              <a:buChar char="•"/>
            </a:pPr>
            <a:r>
              <a:rPr lang="en-US" dirty="0" smtClean="0">
                <a:effectLst/>
              </a:rPr>
              <a:t>You want to lift and shift applications that use native file system APIs to read and write data to persistent disks.</a:t>
            </a:r>
          </a:p>
          <a:p>
            <a:pPr marL="171450" lvl="0" indent="-171450">
              <a:buFont typeface="Arial" panose="020B0604020202020204" pitchFamily="34" charset="0"/>
              <a:buChar char="•"/>
            </a:pPr>
            <a:r>
              <a:rPr lang="en-US" dirty="0" smtClean="0">
                <a:effectLst/>
              </a:rPr>
              <a:t>You want to store data that is not required to be accessed from outside the virtual machine to which the disk is attached.</a:t>
            </a:r>
          </a:p>
          <a:p>
            <a:pPr marL="171450" lvl="0" indent="-171450">
              <a:buFont typeface="Arial" panose="020B0604020202020204" pitchFamily="34" charset="0"/>
              <a:buChar char="•"/>
            </a:pPr>
            <a:endParaRPr lang="en-US" dirty="0" smtClean="0">
              <a:effectLst/>
            </a:endParaRPr>
          </a:p>
          <a:p>
            <a:pPr marL="171450" lvl="0" indent="-171450">
              <a:buFont typeface="Arial" panose="020B0604020202020204" pitchFamily="34" charset="0"/>
              <a:buChar char="•"/>
            </a:pPr>
            <a:r>
              <a:rPr lang="en-IN" sz="1200" b="0" i="0" kern="1200" dirty="0" smtClean="0">
                <a:solidFill>
                  <a:schemeClr val="tx1"/>
                </a:solidFill>
                <a:effectLst/>
                <a:latin typeface="+mn-lt"/>
                <a:ea typeface="+mn-ea"/>
                <a:cs typeface="+mn-cs"/>
              </a:rPr>
              <a:t>The Azure </a:t>
            </a:r>
            <a:r>
              <a:rPr lang="en-IN" sz="1200" b="1" i="0" kern="1200" dirty="0" smtClean="0">
                <a:solidFill>
                  <a:schemeClr val="tx1"/>
                </a:solidFill>
                <a:effectLst/>
                <a:latin typeface="+mn-lt"/>
                <a:ea typeface="+mn-ea"/>
                <a:cs typeface="+mn-cs"/>
              </a:rPr>
              <a:t>hot storage tier</a:t>
            </a:r>
            <a:r>
              <a:rPr lang="en-IN" sz="1200" b="0" i="0" kern="1200" dirty="0" smtClean="0">
                <a:solidFill>
                  <a:schemeClr val="tx1"/>
                </a:solidFill>
                <a:effectLst/>
                <a:latin typeface="+mn-lt"/>
                <a:ea typeface="+mn-ea"/>
                <a:cs typeface="+mn-cs"/>
              </a:rPr>
              <a:t> is optimized for storing data that is accessed frequently. The Azure </a:t>
            </a:r>
            <a:r>
              <a:rPr lang="en-IN" sz="1200" b="1" i="0" kern="1200" dirty="0" smtClean="0">
                <a:solidFill>
                  <a:schemeClr val="tx1"/>
                </a:solidFill>
                <a:effectLst/>
                <a:latin typeface="+mn-lt"/>
                <a:ea typeface="+mn-ea"/>
                <a:cs typeface="+mn-cs"/>
              </a:rPr>
              <a:t>cool storage tier</a:t>
            </a:r>
            <a:r>
              <a:rPr lang="en-IN" sz="1200" b="0" i="0" kern="1200" dirty="0" smtClean="0">
                <a:solidFill>
                  <a:schemeClr val="tx1"/>
                </a:solidFill>
                <a:effectLst/>
                <a:latin typeface="+mn-lt"/>
                <a:ea typeface="+mn-ea"/>
                <a:cs typeface="+mn-cs"/>
              </a:rPr>
              <a:t> is optimized for storing data that is infrequently accessed and stored for at least a month.</a:t>
            </a:r>
            <a:endParaRPr lang="en-US" dirty="0" smtClean="0">
              <a:effectLst/>
            </a:endParaRPr>
          </a:p>
        </p:txBody>
      </p:sp>
      <p:sp>
        <p:nvSpPr>
          <p:cNvPr id="4" name="Header Placeholder 3"/>
          <p:cNvSpPr>
            <a:spLocks noGrp="1"/>
          </p:cNvSpPr>
          <p:nvPr>
            <p:ph type="hdr" sz="quarter" idx="10"/>
          </p:nvPr>
        </p:nvSpPr>
        <p:spPr/>
        <p:txBody>
          <a:bodyPr/>
          <a:lstStyle/>
          <a:p>
            <a:pPr>
              <a:defRPr/>
            </a:pPr>
            <a:r>
              <a:rPr lang="en-US" dirty="0" smtClean="0">
                <a:solidFill>
                  <a:prstClr val="black"/>
                </a:solidFill>
              </a:rPr>
              <a:t>TechEd 2012</a:t>
            </a:r>
            <a:endParaRPr lang="en-US" dirty="0">
              <a:solidFill>
                <a:prstClr val="black"/>
              </a:solidFill>
            </a:endParaRPr>
          </a:p>
        </p:txBody>
      </p:sp>
      <p:sp>
        <p:nvSpPr>
          <p:cNvPr id="5" name="Date Placeholder 4"/>
          <p:cNvSpPr>
            <a:spLocks noGrp="1"/>
          </p:cNvSpPr>
          <p:nvPr>
            <p:ph type="dt" idx="11"/>
          </p:nvPr>
        </p:nvSpPr>
        <p:spPr/>
        <p:txBody>
          <a:bodyPr/>
          <a:lstStyle/>
          <a:p>
            <a:pPr>
              <a:defRPr/>
            </a:pPr>
            <a:fld id="{81331B57-0BE5-4F82-AA58-76F53EFF3ADA}" type="datetime8">
              <a:rPr lang="en-US" smtClean="0">
                <a:solidFill>
                  <a:prstClr val="black"/>
                </a:solidFill>
              </a:rPr>
              <a:pPr>
                <a:defRPr/>
              </a:pPr>
              <a:t>1/20/2019 10:28 AM</a:t>
            </a:fld>
            <a:endParaRPr lang="en-US" dirty="0">
              <a:solidFill>
                <a:prstClr val="black"/>
              </a:solidFill>
            </a:endParaRPr>
          </a:p>
        </p:txBody>
      </p:sp>
      <p:sp>
        <p:nvSpPr>
          <p:cNvPr id="6" name="Footer Placeholder 5"/>
          <p:cNvSpPr>
            <a:spLocks noGrp="1"/>
          </p:cNvSpPr>
          <p:nvPr>
            <p:ph type="ftr" sz="quarter" idx="12"/>
          </p:nvPr>
        </p:nvSpPr>
        <p:spPr/>
        <p:txBody>
          <a:bodyPr/>
          <a:lstStyle/>
          <a:p>
            <a:pPr>
              <a:defRPr/>
            </a:pPr>
            <a:r>
              <a:rPr lang="en-US" dirty="0" smtClean="0">
                <a:solidFill>
                  <a:prstClr val="black"/>
                </a:solidFill>
                <a:latin typeface="Segoe UI" pitchFamily="34" charset="0"/>
              </a:rPr>
              <a:t>© 2012 Microsoft Corporation. All rights reserved. Microsoft, Windows, Windows Vista and other product names are or may be registered trademarks and/or trademarks in the U.S. and/or other countries.</a:t>
            </a:r>
          </a:p>
          <a:p>
            <a:pPr>
              <a:defRPr/>
            </a:pPr>
            <a:r>
              <a:rPr lang="en-US" dirty="0" smtClean="0">
                <a:solidFill>
                  <a:prstClr val="black"/>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prstClr val="black"/>
                </a:solidFill>
                <a:latin typeface="Segoe UI" pitchFamily="34" charset="0"/>
              </a:rPr>
            </a:br>
            <a:r>
              <a:rPr lang="en-US" dirty="0" smtClean="0">
                <a:solidFill>
                  <a:prstClr val="black"/>
                </a:solidFill>
                <a:latin typeface="Segoe UI" pitchFamily="34" charset="0"/>
              </a:rPr>
              <a:t>MICROSOFT MAKES NO WARRANTIES, EXPRESS, IMPLIED OR STATUTORY, AS TO THE INFORMATION IN THIS PRESENTATION.</a:t>
            </a:r>
          </a:p>
          <a:p>
            <a:pPr>
              <a:defRPr/>
            </a:pPr>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a:defRPr/>
            </a:pPr>
            <a:fld id="{EC87E0CF-87F6-4B58-B8B8-DCAB2DAAF3CA}" type="slidenum">
              <a:rPr lang="en-US" smtClean="0">
                <a:solidFill>
                  <a:prstClr val="black"/>
                </a:solidFill>
              </a:rPr>
              <a:pPr>
                <a:defRPr/>
              </a:pPr>
              <a:t>122</a:t>
            </a:fld>
            <a:endParaRPr lang="en-US" dirty="0">
              <a:solidFill>
                <a:prstClr val="black"/>
              </a:solidFill>
            </a:endParaRPr>
          </a:p>
        </p:txBody>
      </p:sp>
    </p:spTree>
    <p:extLst>
      <p:ext uri="{BB962C8B-B14F-4D97-AF65-F5344CB8AC3E}">
        <p14:creationId xmlns:p14="http://schemas.microsoft.com/office/powerpoint/2010/main" val="42584472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lnSpcReduction="10000"/>
          </a:bodyPr>
          <a:lstStyle/>
          <a:p>
            <a:r>
              <a:rPr lang="en-US" b="1" dirty="0" smtClean="0"/>
              <a:t>Title</a:t>
            </a:r>
            <a:r>
              <a:rPr lang="en-US" dirty="0" smtClean="0"/>
              <a:t>: Abstractions – tables and queues</a:t>
            </a:r>
          </a:p>
          <a:p>
            <a:r>
              <a:rPr lang="en-US" b="1" dirty="0" smtClean="0"/>
              <a:t>Notes</a:t>
            </a:r>
            <a:r>
              <a:rPr lang="en-US" dirty="0" smtClean="0"/>
              <a:t>:</a:t>
            </a:r>
          </a:p>
          <a:p>
            <a:r>
              <a:rPr lang="en-US" dirty="0" smtClean="0">
                <a:effectLst/>
              </a:rPr>
              <a:t>The Queue service stores messages that may be read by any client who has access to the storage account.</a:t>
            </a:r>
          </a:p>
          <a:p>
            <a:r>
              <a:rPr lang="en-US" dirty="0" smtClean="0">
                <a:effectLst/>
              </a:rPr>
              <a:t>A queue can contain an unlimited number of messages, each of which can be up to 64KB in size when using version 2011-08-18 or newer. For previous versions, the maximum size of a message is 8KB. Messages are generally added to the end of the queue and retrieved from the front of the queue, although first in, first out (FIFO) behavior is not guaranteed.</a:t>
            </a:r>
          </a:p>
          <a:p>
            <a:endParaRPr lang="en-US" dirty="0" smtClean="0">
              <a:effectLst/>
            </a:endParaRPr>
          </a:p>
          <a:p>
            <a:r>
              <a:rPr lang="en-US" dirty="0" smtClean="0">
                <a:effectLst/>
              </a:rPr>
              <a:t>Tables store data as collections of entities. Entities are similar to rows. An entity has a primary key and a set of properties. A property is a name, typed-value pair, similar to a column. </a:t>
            </a:r>
          </a:p>
          <a:p>
            <a:endParaRPr lang="en-US" dirty="0" smtClean="0">
              <a:effectLst/>
            </a:endParaRPr>
          </a:p>
          <a:p>
            <a:r>
              <a:rPr lang="en-US" dirty="0" smtClean="0">
                <a:effectLst/>
              </a:rPr>
              <a:t>The Table service does not enforce any schema for tables, so two entities in the same table may have different sets of properties. Developers may choose to enforce a schema on the client side. A table may contain any number of entities. </a:t>
            </a:r>
          </a:p>
          <a:p>
            <a:endParaRPr lang="en-US" dirty="0" smtClean="0">
              <a:effectLst/>
            </a:endParaRPr>
          </a:p>
          <a:p>
            <a:r>
              <a:rPr lang="en-US" dirty="0" smtClean="0">
                <a:effectLst/>
              </a:rPr>
              <a:t>If you need to store messages larger than 64KB, you can store message data as a blob or in a table, and then store a reference to the data as a message in a queue.</a:t>
            </a:r>
          </a:p>
        </p:txBody>
      </p:sp>
      <p:sp>
        <p:nvSpPr>
          <p:cNvPr id="4" name="Header Placeholder 3"/>
          <p:cNvSpPr>
            <a:spLocks noGrp="1"/>
          </p:cNvSpPr>
          <p:nvPr>
            <p:ph type="hdr" sz="quarter" idx="10"/>
          </p:nvPr>
        </p:nvSpPr>
        <p:spPr/>
        <p:txBody>
          <a:bodyPr/>
          <a:lstStyle/>
          <a:p>
            <a:pPr>
              <a:defRPr/>
            </a:pPr>
            <a:r>
              <a:rPr lang="en-US" dirty="0" smtClean="0">
                <a:solidFill>
                  <a:prstClr val="black"/>
                </a:solidFill>
              </a:rPr>
              <a:t>TechEd 2012</a:t>
            </a:r>
            <a:endParaRPr lang="en-US" dirty="0">
              <a:solidFill>
                <a:prstClr val="black"/>
              </a:solidFill>
            </a:endParaRPr>
          </a:p>
        </p:txBody>
      </p:sp>
      <p:sp>
        <p:nvSpPr>
          <p:cNvPr id="5" name="Date Placeholder 4"/>
          <p:cNvSpPr>
            <a:spLocks noGrp="1"/>
          </p:cNvSpPr>
          <p:nvPr>
            <p:ph type="dt" idx="11"/>
          </p:nvPr>
        </p:nvSpPr>
        <p:spPr/>
        <p:txBody>
          <a:bodyPr/>
          <a:lstStyle/>
          <a:p>
            <a:pPr>
              <a:defRPr/>
            </a:pPr>
            <a:fld id="{81331B57-0BE5-4F82-AA58-76F53EFF3ADA}" type="datetime8">
              <a:rPr lang="en-US" smtClean="0">
                <a:solidFill>
                  <a:prstClr val="black"/>
                </a:solidFill>
              </a:rPr>
              <a:pPr>
                <a:defRPr/>
              </a:pPr>
              <a:t>1/20/2019 10:28 AM</a:t>
            </a:fld>
            <a:endParaRPr lang="en-US" dirty="0">
              <a:solidFill>
                <a:prstClr val="black"/>
              </a:solidFill>
            </a:endParaRPr>
          </a:p>
        </p:txBody>
      </p:sp>
      <p:sp>
        <p:nvSpPr>
          <p:cNvPr id="6" name="Footer Placeholder 5"/>
          <p:cNvSpPr>
            <a:spLocks noGrp="1"/>
          </p:cNvSpPr>
          <p:nvPr>
            <p:ph type="ftr" sz="quarter" idx="12"/>
          </p:nvPr>
        </p:nvSpPr>
        <p:spPr/>
        <p:txBody>
          <a:bodyPr/>
          <a:lstStyle/>
          <a:p>
            <a:pPr>
              <a:defRPr/>
            </a:pPr>
            <a:r>
              <a:rPr lang="en-US" dirty="0" smtClean="0">
                <a:solidFill>
                  <a:prstClr val="black"/>
                </a:solidFill>
                <a:latin typeface="Segoe UI" pitchFamily="34" charset="0"/>
              </a:rPr>
              <a:t>© 2012 Microsoft Corporation. All rights reserved. Microsoft, Windows, Windows Vista and other product names are or may be registered trademarks and/or trademarks in the U.S. and/or other countries.</a:t>
            </a:r>
          </a:p>
          <a:p>
            <a:pPr>
              <a:defRPr/>
            </a:pPr>
            <a:r>
              <a:rPr lang="en-US" dirty="0" smtClean="0">
                <a:solidFill>
                  <a:prstClr val="black"/>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prstClr val="black"/>
                </a:solidFill>
                <a:latin typeface="Segoe UI" pitchFamily="34" charset="0"/>
              </a:rPr>
            </a:br>
            <a:r>
              <a:rPr lang="en-US" dirty="0" smtClean="0">
                <a:solidFill>
                  <a:prstClr val="black"/>
                </a:solidFill>
                <a:latin typeface="Segoe UI" pitchFamily="34" charset="0"/>
              </a:rPr>
              <a:t>MICROSOFT MAKES NO WARRANTIES, EXPRESS, IMPLIED OR STATUTORY, AS TO THE INFORMATION IN THIS PRESENTATION.</a:t>
            </a:r>
          </a:p>
          <a:p>
            <a:pPr>
              <a:defRPr/>
            </a:pPr>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a:defRPr/>
            </a:pPr>
            <a:fld id="{EC87E0CF-87F6-4B58-B8B8-DCAB2DAAF3CA}" type="slidenum">
              <a:rPr lang="en-US" smtClean="0">
                <a:solidFill>
                  <a:prstClr val="black"/>
                </a:solidFill>
              </a:rPr>
              <a:pPr>
                <a:defRPr/>
              </a:pPr>
              <a:t>124</a:t>
            </a:fld>
            <a:endParaRPr lang="en-US" dirty="0">
              <a:solidFill>
                <a:prstClr val="black"/>
              </a:solidFill>
            </a:endParaRPr>
          </a:p>
        </p:txBody>
      </p:sp>
    </p:spTree>
    <p:extLst>
      <p:ext uri="{BB962C8B-B14F-4D97-AF65-F5344CB8AC3E}">
        <p14:creationId xmlns:p14="http://schemas.microsoft.com/office/powerpoint/2010/main" val="338355022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en-US" b="1" dirty="0" smtClean="0"/>
              <a:t>Title</a:t>
            </a:r>
            <a:r>
              <a:rPr lang="en-US" dirty="0" smtClean="0"/>
              <a:t>: Abstractions – files</a:t>
            </a:r>
          </a:p>
          <a:p>
            <a:r>
              <a:rPr lang="en-US" b="1" dirty="0" smtClean="0"/>
              <a:t>Notes</a:t>
            </a:r>
            <a:r>
              <a:rPr lang="en-US" dirty="0" smtClean="0"/>
              <a:t>:</a:t>
            </a:r>
          </a:p>
          <a:p>
            <a:r>
              <a:rPr lang="en-US" b="1" dirty="0" smtClean="0">
                <a:effectLst/>
              </a:rPr>
              <a:t>Azure Files</a:t>
            </a:r>
            <a:r>
              <a:rPr lang="en-US" dirty="0" smtClean="0">
                <a:effectLst/>
              </a:rPr>
              <a:t> - Provides an SMB interface, client libraries, and a </a:t>
            </a:r>
            <a:r>
              <a:rPr lang="en-US" dirty="0" smtClean="0">
                <a:effectLst/>
                <a:hlinkClick r:id="rId3"/>
              </a:rPr>
              <a:t>REST interface</a:t>
            </a:r>
            <a:r>
              <a:rPr lang="en-US" dirty="0" smtClean="0">
                <a:effectLst/>
              </a:rPr>
              <a:t> that allows easy access from anywhere to stored files. </a:t>
            </a:r>
          </a:p>
          <a:p>
            <a:r>
              <a:rPr lang="en-US" dirty="0" smtClean="0">
                <a:effectLst/>
              </a:rPr>
              <a:t>Reasons you would use Azure Files:</a:t>
            </a:r>
          </a:p>
          <a:p>
            <a:pPr marL="171450" lvl="0" indent="-171450">
              <a:buFont typeface="Arial" panose="020B0604020202020204" pitchFamily="34" charset="0"/>
              <a:buChar char="•"/>
            </a:pPr>
            <a:r>
              <a:rPr lang="en-US" dirty="0" smtClean="0">
                <a:effectLst/>
              </a:rPr>
              <a:t>You want to "lift and shift" an application to the cloud which already uses the native file system APIs to share data between it and other applications running in Azure.</a:t>
            </a:r>
          </a:p>
          <a:p>
            <a:pPr marL="171450" lvl="0" indent="-171450">
              <a:buFont typeface="Arial" panose="020B0604020202020204" pitchFamily="34" charset="0"/>
              <a:buChar char="•"/>
            </a:pPr>
            <a:r>
              <a:rPr lang="en-US" dirty="0" smtClean="0">
                <a:effectLst/>
              </a:rPr>
              <a:t>You want to store development and debugging tools that need to be accessed from many VMs.</a:t>
            </a:r>
            <a:endParaRPr lang="en-US" dirty="0">
              <a:effectLst/>
            </a:endParaRPr>
          </a:p>
        </p:txBody>
      </p:sp>
      <p:sp>
        <p:nvSpPr>
          <p:cNvPr id="4" name="Header Placeholder 3"/>
          <p:cNvSpPr>
            <a:spLocks noGrp="1"/>
          </p:cNvSpPr>
          <p:nvPr>
            <p:ph type="hdr" sz="quarter" idx="10"/>
          </p:nvPr>
        </p:nvSpPr>
        <p:spPr/>
        <p:txBody>
          <a:bodyPr/>
          <a:lstStyle/>
          <a:p>
            <a:pPr>
              <a:defRPr/>
            </a:pPr>
            <a:r>
              <a:rPr lang="en-US" dirty="0" smtClean="0">
                <a:solidFill>
                  <a:prstClr val="black"/>
                </a:solidFill>
              </a:rPr>
              <a:t>TechEd 2012</a:t>
            </a:r>
            <a:endParaRPr lang="en-US" dirty="0">
              <a:solidFill>
                <a:prstClr val="black"/>
              </a:solidFill>
            </a:endParaRPr>
          </a:p>
        </p:txBody>
      </p:sp>
      <p:sp>
        <p:nvSpPr>
          <p:cNvPr id="5" name="Date Placeholder 4"/>
          <p:cNvSpPr>
            <a:spLocks noGrp="1"/>
          </p:cNvSpPr>
          <p:nvPr>
            <p:ph type="dt" idx="11"/>
          </p:nvPr>
        </p:nvSpPr>
        <p:spPr/>
        <p:txBody>
          <a:bodyPr/>
          <a:lstStyle/>
          <a:p>
            <a:pPr>
              <a:defRPr/>
            </a:pPr>
            <a:fld id="{81331B57-0BE5-4F82-AA58-76F53EFF3ADA}" type="datetime8">
              <a:rPr lang="en-US" smtClean="0">
                <a:solidFill>
                  <a:prstClr val="black"/>
                </a:solidFill>
              </a:rPr>
              <a:pPr>
                <a:defRPr/>
              </a:pPr>
              <a:t>1/20/2019 10:28 AM</a:t>
            </a:fld>
            <a:endParaRPr lang="en-US" dirty="0">
              <a:solidFill>
                <a:prstClr val="black"/>
              </a:solidFill>
            </a:endParaRPr>
          </a:p>
        </p:txBody>
      </p:sp>
      <p:sp>
        <p:nvSpPr>
          <p:cNvPr id="6" name="Footer Placeholder 5"/>
          <p:cNvSpPr>
            <a:spLocks noGrp="1"/>
          </p:cNvSpPr>
          <p:nvPr>
            <p:ph type="ftr" sz="quarter" idx="12"/>
          </p:nvPr>
        </p:nvSpPr>
        <p:spPr/>
        <p:txBody>
          <a:bodyPr/>
          <a:lstStyle/>
          <a:p>
            <a:pPr>
              <a:defRPr/>
            </a:pPr>
            <a:r>
              <a:rPr lang="en-US" dirty="0" smtClean="0">
                <a:solidFill>
                  <a:prstClr val="black"/>
                </a:solidFill>
                <a:latin typeface="Segoe UI" pitchFamily="34" charset="0"/>
              </a:rPr>
              <a:t>© 2012 Microsoft Corporation. All rights reserved. Microsoft, Windows, Windows Vista and other product names are or may be registered trademarks and/or trademarks in the U.S. and/or other countries.</a:t>
            </a:r>
          </a:p>
          <a:p>
            <a:pPr>
              <a:defRPr/>
            </a:pPr>
            <a:r>
              <a:rPr lang="en-US" dirty="0" smtClean="0">
                <a:solidFill>
                  <a:prstClr val="black"/>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prstClr val="black"/>
                </a:solidFill>
                <a:latin typeface="Segoe UI" pitchFamily="34" charset="0"/>
              </a:rPr>
            </a:br>
            <a:r>
              <a:rPr lang="en-US" dirty="0" smtClean="0">
                <a:solidFill>
                  <a:prstClr val="black"/>
                </a:solidFill>
                <a:latin typeface="Segoe UI" pitchFamily="34" charset="0"/>
              </a:rPr>
              <a:t>MICROSOFT MAKES NO WARRANTIES, EXPRESS, IMPLIED OR STATUTORY, AS TO THE INFORMATION IN THIS PRESENTATION.</a:t>
            </a:r>
          </a:p>
          <a:p>
            <a:pPr>
              <a:defRPr/>
            </a:pPr>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a:defRPr/>
            </a:pPr>
            <a:fld id="{EC87E0CF-87F6-4B58-B8B8-DCAB2DAAF3CA}" type="slidenum">
              <a:rPr lang="en-US" smtClean="0">
                <a:solidFill>
                  <a:prstClr val="black"/>
                </a:solidFill>
              </a:rPr>
              <a:pPr>
                <a:defRPr/>
              </a:pPr>
              <a:t>126</a:t>
            </a:fld>
            <a:endParaRPr lang="en-US" dirty="0">
              <a:solidFill>
                <a:prstClr val="black"/>
              </a:solidFill>
            </a:endParaRPr>
          </a:p>
        </p:txBody>
      </p:sp>
    </p:spTree>
    <p:extLst>
      <p:ext uri="{BB962C8B-B14F-4D97-AF65-F5344CB8AC3E}">
        <p14:creationId xmlns:p14="http://schemas.microsoft.com/office/powerpoint/2010/main" val="397792426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b="1" dirty="0" smtClean="0"/>
              <a:t>Title</a:t>
            </a:r>
            <a:r>
              <a:rPr lang="en-US" dirty="0" smtClean="0"/>
              <a:t>: File sharing the old way in Azure</a:t>
            </a: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1/20/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7</a:t>
            </a:fld>
            <a:endParaRPr lang="en-US" dirty="0">
              <a:solidFill>
                <a:prstClr val="black"/>
              </a:solidFill>
            </a:endParaRPr>
          </a:p>
        </p:txBody>
      </p:sp>
    </p:spTree>
    <p:extLst>
      <p:ext uri="{BB962C8B-B14F-4D97-AF65-F5344CB8AC3E}">
        <p14:creationId xmlns:p14="http://schemas.microsoft.com/office/powerpoint/2010/main" val="262129209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b="1" dirty="0" smtClean="0"/>
              <a:t>Title</a:t>
            </a:r>
            <a:r>
              <a:rPr lang="en-US" dirty="0" smtClean="0"/>
              <a:t>: Azure files</a:t>
            </a: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1/20/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8</a:t>
            </a:fld>
            <a:endParaRPr lang="en-US" dirty="0">
              <a:solidFill>
                <a:prstClr val="black"/>
              </a:solidFill>
            </a:endParaRPr>
          </a:p>
        </p:txBody>
      </p:sp>
    </p:spTree>
    <p:extLst>
      <p:ext uri="{BB962C8B-B14F-4D97-AF65-F5344CB8AC3E}">
        <p14:creationId xmlns:p14="http://schemas.microsoft.com/office/powerpoint/2010/main" val="310599965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b="1" dirty="0" smtClean="0"/>
              <a:t>Title</a:t>
            </a:r>
            <a:r>
              <a:rPr lang="en-US" dirty="0" smtClean="0"/>
              <a:t>: Additional services, tools and libraries</a:t>
            </a:r>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1/20/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9</a:t>
            </a:fld>
            <a:endParaRPr lang="en-US" dirty="0">
              <a:solidFill>
                <a:prstClr val="black"/>
              </a:solidFill>
            </a:endParaRPr>
          </a:p>
        </p:txBody>
      </p:sp>
    </p:spTree>
    <p:extLst>
      <p:ext uri="{BB962C8B-B14F-4D97-AF65-F5344CB8AC3E}">
        <p14:creationId xmlns:p14="http://schemas.microsoft.com/office/powerpoint/2010/main" val="152958404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30</a:t>
            </a:fld>
            <a:endParaRPr lang="en-US"/>
          </a:p>
        </p:txBody>
      </p:sp>
    </p:spTree>
    <p:extLst>
      <p:ext uri="{BB962C8B-B14F-4D97-AF65-F5344CB8AC3E}">
        <p14:creationId xmlns:p14="http://schemas.microsoft.com/office/powerpoint/2010/main" val="409510767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 user (Alice) requests a file (also called an asset) using a URL with a special domain name, such as &lt;</a:t>
            </a:r>
            <a:r>
              <a:rPr lang="en-US" sz="1200" b="0" i="0" kern="1200" dirty="0" err="1" smtClean="0">
                <a:solidFill>
                  <a:schemeClr val="tx1"/>
                </a:solidFill>
                <a:effectLst/>
                <a:latin typeface="+mn-lt"/>
                <a:ea typeface="+mn-ea"/>
                <a:cs typeface="+mn-cs"/>
              </a:rPr>
              <a:t>endpointname</a:t>
            </a:r>
            <a:r>
              <a:rPr lang="en-US" sz="1200" b="0" i="0" kern="1200" dirty="0" smtClean="0">
                <a:solidFill>
                  <a:schemeClr val="tx1"/>
                </a:solidFill>
                <a:effectLst/>
                <a:latin typeface="+mn-lt"/>
                <a:ea typeface="+mn-ea"/>
                <a:cs typeface="+mn-cs"/>
              </a:rPr>
              <a:t>&gt;.azureedge.net. DNS routes the request to the best performing Point-of-Presence (POP) location. Usually this is the POP that is geographically closest to the user.</a:t>
            </a:r>
          </a:p>
          <a:p>
            <a:r>
              <a:rPr lang="en-US" sz="1200" b="0" i="0" kern="1200" dirty="0" smtClean="0">
                <a:solidFill>
                  <a:schemeClr val="tx1"/>
                </a:solidFill>
                <a:effectLst/>
                <a:latin typeface="+mn-lt"/>
                <a:ea typeface="+mn-ea"/>
                <a:cs typeface="+mn-cs"/>
              </a:rPr>
              <a:t>If the edge servers in the POP do not have the file in their cache, the edge server requests the file from the origin. The origin can be an Azure Web App, Azure Cloud Service, Azure Storage account, or any publicly accessible web server.</a:t>
            </a:r>
          </a:p>
          <a:p>
            <a:r>
              <a:rPr lang="en-US" sz="1200" b="0" i="0" kern="1200" dirty="0" smtClean="0">
                <a:solidFill>
                  <a:schemeClr val="tx1"/>
                </a:solidFill>
                <a:effectLst/>
                <a:latin typeface="+mn-lt"/>
                <a:ea typeface="+mn-ea"/>
                <a:cs typeface="+mn-cs"/>
              </a:rPr>
              <a:t>The origin returns the file to the edge server, including optional HTTP headers describing the file's Time-to-Live (TTL).</a:t>
            </a:r>
          </a:p>
          <a:p>
            <a:r>
              <a:rPr lang="en-US" sz="1200" b="0" i="0" kern="1200" dirty="0" smtClean="0">
                <a:solidFill>
                  <a:schemeClr val="tx1"/>
                </a:solidFill>
                <a:effectLst/>
                <a:latin typeface="+mn-lt"/>
                <a:ea typeface="+mn-ea"/>
                <a:cs typeface="+mn-cs"/>
              </a:rPr>
              <a:t>The edge server caches the file and returns the file to the original requestor (Alice). The file remains cached on the edge server until the TTL expires. If the origin didn't specify a TTL, the default TTL is seven days.</a:t>
            </a:r>
          </a:p>
          <a:p>
            <a:r>
              <a:rPr lang="en-US" sz="1200" b="0" i="0" kern="1200" dirty="0" smtClean="0">
                <a:solidFill>
                  <a:schemeClr val="tx1"/>
                </a:solidFill>
                <a:effectLst/>
                <a:latin typeface="+mn-lt"/>
                <a:ea typeface="+mn-ea"/>
                <a:cs typeface="+mn-cs"/>
              </a:rPr>
              <a:t>Additional users may then request the same file using that same URL, and may also be directed to that same POP.</a:t>
            </a:r>
          </a:p>
          <a:p>
            <a:r>
              <a:rPr lang="en-US" sz="1200" b="0" i="0" kern="1200" dirty="0" smtClean="0">
                <a:solidFill>
                  <a:schemeClr val="tx1"/>
                </a:solidFill>
                <a:effectLst/>
                <a:latin typeface="+mn-lt"/>
                <a:ea typeface="+mn-ea"/>
                <a:cs typeface="+mn-cs"/>
              </a:rPr>
              <a:t>If the TTL for the file hasn't expired, the edge server returns the file from the cache. This results in a faster, more responsive user experience.</a:t>
            </a:r>
          </a:p>
          <a:p>
            <a:endParaRPr lang="en-US"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31</a:t>
            </a:fld>
            <a:endParaRPr lang="en-US"/>
          </a:p>
        </p:txBody>
      </p:sp>
    </p:spTree>
    <p:extLst>
      <p:ext uri="{BB962C8B-B14F-4D97-AF65-F5344CB8AC3E}">
        <p14:creationId xmlns:p14="http://schemas.microsoft.com/office/powerpoint/2010/main" val="342245847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b="1" dirty="0" smtClean="0"/>
              <a:t>Title</a:t>
            </a:r>
            <a:r>
              <a:rPr lang="en-US" dirty="0" smtClean="0"/>
              <a:t>: Premium Storage</a:t>
            </a:r>
          </a:p>
          <a:p>
            <a:r>
              <a:rPr lang="en-US" b="1" dirty="0" smtClean="0"/>
              <a:t>Notes</a:t>
            </a:r>
            <a:r>
              <a:rPr lang="en-US" dirty="0" smtClean="0"/>
              <a:t>:</a:t>
            </a:r>
          </a:p>
          <a:p>
            <a:r>
              <a:rPr lang="en-US" dirty="0" smtClean="0"/>
              <a:t>Azure Premium Storage delivers high-performance, low-latency disk support for VMs running I/O-intensive workloads. VM disks that use Premium Storage store data on solid state drives (SSDs). You can migrate your application's VM disks to Azure Premium Storage to take advantage of the speed and performance of these disks. </a:t>
            </a:r>
          </a:p>
          <a:p>
            <a:endParaRPr lang="en-US" dirty="0" smtClean="0"/>
          </a:p>
          <a:p>
            <a:r>
              <a:rPr lang="en-US" dirty="0" smtClean="0"/>
              <a:t>An Azure VM supports attaching several Premium Storage disks, so that your applications can have up to 64 TB of storage per VM. With Premium Storage, your applications can achieve 80,000 IOPS (input/output operations per second) per VM and 2000 MB per second disk throughput per VM with extremely low latencies for read operations.</a:t>
            </a:r>
          </a:p>
        </p:txBody>
      </p:sp>
      <p:sp>
        <p:nvSpPr>
          <p:cNvPr id="4" name="Header Placeholder 3"/>
          <p:cNvSpPr>
            <a:spLocks noGrp="1"/>
          </p:cNvSpPr>
          <p:nvPr>
            <p:ph type="hdr" sz="quarter" idx="10"/>
          </p:nvPr>
        </p:nvSpPr>
        <p:spPr/>
        <p:txBody>
          <a:bodyPr/>
          <a:lstStyle/>
          <a:p>
            <a:pPr>
              <a:defRPr/>
            </a:pPr>
            <a:r>
              <a:rPr lang="en-US" dirty="0" smtClean="0">
                <a:solidFill>
                  <a:prstClr val="black"/>
                </a:solidFill>
              </a:rPr>
              <a:t>Microsoft Ignite 2015</a:t>
            </a:r>
          </a:p>
        </p:txBody>
      </p:sp>
      <p:sp>
        <p:nvSpPr>
          <p:cNvPr id="5" name="Footer Placeholder 4"/>
          <p:cNvSpPr>
            <a:spLocks noGrp="1"/>
          </p:cNvSpPr>
          <p:nvPr>
            <p:ph type="ftr" sz="quarter" idx="11"/>
          </p:nvPr>
        </p:nvSpPr>
        <p:spPr/>
        <p:txBody>
          <a:bodyPr/>
          <a:lstStyle/>
          <a:p>
            <a:pPr defTabSz="924154"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1/20/2019 10:2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133</a:t>
            </a:fld>
            <a:endParaRPr lang="en-US" dirty="0">
              <a:solidFill>
                <a:prstClr val="black"/>
              </a:solidFill>
            </a:endParaRPr>
          </a:p>
        </p:txBody>
      </p:sp>
    </p:spTree>
    <p:extLst>
      <p:ext uri="{BB962C8B-B14F-4D97-AF65-F5344CB8AC3E}">
        <p14:creationId xmlns:p14="http://schemas.microsoft.com/office/powerpoint/2010/main" val="14911859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indent="-457200">
              <a:lnSpc>
                <a:spcPct val="150000"/>
              </a:lnSpc>
              <a:buFont typeface="Arial" panose="020B0604020202020204" pitchFamily="34" charset="0"/>
              <a:buChar char="•"/>
            </a:pPr>
            <a:r>
              <a:rPr lang="en-US" sz="1400" dirty="0" smtClean="0"/>
              <a:t>SaaS </a:t>
            </a:r>
            <a:r>
              <a:rPr lang="en-US" dirty="0" smtClean="0"/>
              <a:t>– Software as a service. Software deployed over the internet. Has been around for a while now. Web-based email services; Hotmail and Gmail…</a:t>
            </a:r>
            <a:r>
              <a:rPr lang="en-US" dirty="0" err="1" smtClean="0"/>
              <a:t>etc</a:t>
            </a:r>
            <a:endParaRPr lang="en-US" dirty="0" smtClean="0"/>
          </a:p>
          <a:p>
            <a:pPr indent="-457200">
              <a:lnSpc>
                <a:spcPct val="150000"/>
              </a:lnSpc>
              <a:buFont typeface="Arial" panose="020B0604020202020204" pitchFamily="34" charset="0"/>
              <a:buChar char="•"/>
            </a:pPr>
            <a:r>
              <a:rPr lang="en-US" sz="1400" dirty="0" err="1" smtClean="0"/>
              <a:t>PaaS</a:t>
            </a:r>
            <a:r>
              <a:rPr lang="en-US" sz="1400" dirty="0" smtClean="0"/>
              <a:t>-</a:t>
            </a:r>
            <a:r>
              <a:rPr lang="en-US" dirty="0" smtClean="0"/>
              <a:t> Platform as a service. Similar Benefits like SaaS.</a:t>
            </a:r>
          </a:p>
          <a:p>
            <a:pPr>
              <a:lnSpc>
                <a:spcPct val="150000"/>
              </a:lnSpc>
            </a:pPr>
            <a:r>
              <a:rPr lang="en-US" dirty="0" smtClean="0"/>
              <a:t>       Rapid software deployment. No need to buy and maintain software and underling infrastructure.     ( example:</a:t>
            </a:r>
            <a:r>
              <a:rPr lang="en-US" baseline="0" dirty="0" smtClean="0"/>
              <a:t> hosting web service  need to install OS, DB configuration, ..</a:t>
            </a:r>
            <a:r>
              <a:rPr lang="en-US" baseline="0" dirty="0" err="1" smtClean="0"/>
              <a:t>etc</a:t>
            </a:r>
            <a:r>
              <a:rPr lang="en-US" baseline="0" dirty="0" smtClean="0"/>
              <a:t>)</a:t>
            </a:r>
            <a:r>
              <a:rPr lang="en-US" dirty="0" smtClean="0"/>
              <a:t>      </a:t>
            </a:r>
          </a:p>
          <a:p>
            <a:pPr indent="-342900">
              <a:lnSpc>
                <a:spcPct val="150000"/>
              </a:lnSpc>
              <a:buFont typeface="Arial" panose="020B0604020202020204" pitchFamily="34" charset="0"/>
              <a:buChar char="•"/>
            </a:pPr>
            <a:r>
              <a:rPr lang="en-US" sz="1400" dirty="0" err="1" smtClean="0"/>
              <a:t>IaaS</a:t>
            </a:r>
            <a:r>
              <a:rPr lang="en-US" dirty="0" smtClean="0"/>
              <a:t>- Infrastructure as a Service. Servers, Storage, Networks, OS on-demand.</a:t>
            </a:r>
          </a:p>
          <a:p>
            <a:endParaRPr lang="en-US" dirty="0"/>
          </a:p>
        </p:txBody>
      </p:sp>
      <p:sp>
        <p:nvSpPr>
          <p:cNvPr id="4" name="Slide Number Placeholder 3"/>
          <p:cNvSpPr>
            <a:spLocks noGrp="1"/>
          </p:cNvSpPr>
          <p:nvPr>
            <p:ph type="sldNum" sz="quarter" idx="10"/>
          </p:nvPr>
        </p:nvSpPr>
        <p:spPr/>
        <p:txBody>
          <a:bodyPr/>
          <a:lstStyle/>
          <a:p>
            <a:fld id="{EE094C6F-8AAB-48EC-8958-23D75193BA58}" type="slidenum">
              <a:rPr lang="en-GB" smtClean="0"/>
              <a:pPr/>
              <a:t>13</a:t>
            </a:fld>
            <a:endParaRPr lang="en-GB" dirty="0"/>
          </a:p>
        </p:txBody>
      </p:sp>
    </p:spTree>
    <p:extLst>
      <p:ext uri="{BB962C8B-B14F-4D97-AF65-F5344CB8AC3E}">
        <p14:creationId xmlns:p14="http://schemas.microsoft.com/office/powerpoint/2010/main" val="327845571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b="1" dirty="0" smtClean="0"/>
              <a:t>Title</a:t>
            </a:r>
            <a:r>
              <a:rPr lang="en-US" dirty="0" smtClean="0"/>
              <a:t>:</a:t>
            </a:r>
            <a:r>
              <a:rPr lang="en-US" baseline="0" dirty="0" smtClean="0"/>
              <a:t> Premium Storage Scalability and Performance</a:t>
            </a:r>
          </a:p>
          <a:p>
            <a:r>
              <a:rPr lang="en-US" b="1" baseline="0" dirty="0" smtClean="0"/>
              <a:t>Notes</a:t>
            </a:r>
            <a:r>
              <a:rPr lang="en-US" baseline="0" dirty="0" smtClean="0"/>
              <a:t>:</a:t>
            </a:r>
          </a:p>
          <a:p>
            <a:r>
              <a:rPr lang="en-US" dirty="0" smtClean="0"/>
              <a:t>Azure maps the disk size (rounded up) to the nearest Premium Storage Disk option as specified in the table. For example, a disk of size 100 </a:t>
            </a:r>
            <a:r>
              <a:rPr lang="en-US" dirty="0" err="1" smtClean="0"/>
              <a:t>GiB</a:t>
            </a:r>
            <a:r>
              <a:rPr lang="en-US" dirty="0" smtClean="0"/>
              <a:t> is classified as a P10 option and can perform up to 500 IO units per second, and with up to 100 MB per second throughput. Similarly, a disk of size 400 </a:t>
            </a:r>
            <a:r>
              <a:rPr lang="en-US" dirty="0" err="1" smtClean="0"/>
              <a:t>GiB</a:t>
            </a:r>
            <a:r>
              <a:rPr lang="en-US" dirty="0" smtClean="0"/>
              <a:t> is classified as a P20 option, and can perform up to 2300 IO units per second and up to 150 MB per second throughput.</a:t>
            </a:r>
          </a:p>
          <a:p>
            <a:endParaRPr lang="en-US" dirty="0" smtClean="0"/>
          </a:p>
          <a:p>
            <a:r>
              <a:rPr lang="en-US" dirty="0" smtClean="0"/>
              <a:t>The input/output (I/O) unit size is 256 KB. If the data being transferred is less than 256 KB, it is considered a single I/O unit. The larger I/O sizes are counted as multiple I/</a:t>
            </a:r>
            <a:r>
              <a:rPr lang="en-US" dirty="0" err="1" smtClean="0"/>
              <a:t>Os</a:t>
            </a:r>
            <a:r>
              <a:rPr lang="en-US" dirty="0" smtClean="0"/>
              <a:t> of size 256 KB. For example, 1100 KB I/O is counted as five I/O units.</a:t>
            </a:r>
          </a:p>
          <a:p>
            <a:r>
              <a:rPr lang="en-US" dirty="0" smtClean="0"/>
              <a:t>The throughput limit includes writes to the disk as well as reads from that disk that are not served from the cache. For example, the sum of non-cache reads and writes should be smaller or equal to 100 MB per second for a P10 disk. Similarly, a single P10 disk can have either 100 MB per second of non-cache reads or 100 MB per second of writes, or 60 MB per second of reads with 40 MB per second of writes as an example.</a:t>
            </a:r>
          </a:p>
          <a:p>
            <a:endParaRPr lang="en-US" dirty="0" smtClean="0"/>
          </a:p>
          <a:p>
            <a:r>
              <a:rPr lang="en-US" dirty="0" smtClean="0"/>
              <a:t>When you create your disks in Azure, select the most appropriate Premium Storage disk offering based on the needs of your application in terms of capacity, performance, scalability, and peak loads.</a:t>
            </a:r>
          </a:p>
        </p:txBody>
      </p:sp>
      <p:sp>
        <p:nvSpPr>
          <p:cNvPr id="4" name="Header Placeholder 3"/>
          <p:cNvSpPr>
            <a:spLocks noGrp="1"/>
          </p:cNvSpPr>
          <p:nvPr>
            <p:ph type="hdr" sz="quarter" idx="10"/>
          </p:nvPr>
        </p:nvSpPr>
        <p:spPr/>
        <p:txBody>
          <a:bodyPr/>
          <a:lstStyle/>
          <a:p>
            <a:r>
              <a:rPr lang="en-US" smtClean="0">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1/20/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4</a:t>
            </a:fld>
            <a:endParaRPr lang="en-US" dirty="0">
              <a:solidFill>
                <a:prstClr val="black"/>
              </a:solidFill>
            </a:endParaRPr>
          </a:p>
        </p:txBody>
      </p:sp>
    </p:spTree>
    <p:extLst>
      <p:ext uri="{BB962C8B-B14F-4D97-AF65-F5344CB8AC3E}">
        <p14:creationId xmlns:p14="http://schemas.microsoft.com/office/powerpoint/2010/main" val="402776333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37</a:t>
            </a:fld>
            <a:endParaRPr lang="en-US"/>
          </a:p>
        </p:txBody>
      </p:sp>
    </p:spTree>
    <p:extLst>
      <p:ext uri="{BB962C8B-B14F-4D97-AF65-F5344CB8AC3E}">
        <p14:creationId xmlns:p14="http://schemas.microsoft.com/office/powerpoint/2010/main" val="355788390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Tenant-Logical Container, Whenever you create a Azure Tenant it will come with default AD service</a:t>
            </a:r>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38</a:t>
            </a:fld>
            <a:endParaRPr lang="en-US"/>
          </a:p>
        </p:txBody>
      </p:sp>
    </p:spTree>
    <p:extLst>
      <p:ext uri="{BB962C8B-B14F-4D97-AF65-F5344CB8AC3E}">
        <p14:creationId xmlns:p14="http://schemas.microsoft.com/office/powerpoint/2010/main" val="151009412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39</a:t>
            </a:fld>
            <a:endParaRPr lang="en-US"/>
          </a:p>
        </p:txBody>
      </p:sp>
    </p:spTree>
    <p:extLst>
      <p:ext uri="{BB962C8B-B14F-4D97-AF65-F5344CB8AC3E}">
        <p14:creationId xmlns:p14="http://schemas.microsoft.com/office/powerpoint/2010/main" val="108425551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40</a:t>
            </a:fld>
            <a:endParaRPr lang="en-US"/>
          </a:p>
        </p:txBody>
      </p:sp>
    </p:spTree>
    <p:extLst>
      <p:ext uri="{BB962C8B-B14F-4D97-AF65-F5344CB8AC3E}">
        <p14:creationId xmlns:p14="http://schemas.microsoft.com/office/powerpoint/2010/main" val="33578952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smtClean="0">
                <a:solidFill>
                  <a:schemeClr val="tx1"/>
                </a:solidFill>
                <a:effectLst/>
                <a:latin typeface="+mn-lt"/>
                <a:ea typeface="+mn-ea"/>
                <a:cs typeface="+mn-cs"/>
              </a:rPr>
              <a:t>ethanstechnologies.tk</a:t>
            </a:r>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42</a:t>
            </a:fld>
            <a:endParaRPr lang="en-US"/>
          </a:p>
        </p:txBody>
      </p:sp>
    </p:spTree>
    <p:extLst>
      <p:ext uri="{BB962C8B-B14F-4D97-AF65-F5344CB8AC3E}">
        <p14:creationId xmlns:p14="http://schemas.microsoft.com/office/powerpoint/2010/main" val="408555800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0" i="0" kern="1200" dirty="0" smtClean="0">
                <a:solidFill>
                  <a:schemeClr val="tx1"/>
                </a:solidFill>
                <a:effectLst/>
                <a:latin typeface="+mn-lt"/>
                <a:ea typeface="+mn-ea"/>
                <a:cs typeface="+mn-cs"/>
              </a:rPr>
              <a:t>https://docs.microsoft.com/en-us/powershell/azure/active-directory/install-msonlinev1?view=azureadps-2.0</a:t>
            </a:r>
          </a:p>
          <a:p>
            <a:endParaRPr lang="en-IN" sz="1200" b="0" i="0" kern="1200" dirty="0" smtClean="0">
              <a:solidFill>
                <a:schemeClr val="tx1"/>
              </a:solidFill>
              <a:effectLst/>
              <a:latin typeface="+mn-lt"/>
              <a:ea typeface="+mn-ea"/>
              <a:cs typeface="+mn-cs"/>
            </a:endParaRPr>
          </a:p>
          <a:p>
            <a:r>
              <a:rPr lang="en-IN" sz="1200" b="0" i="0" kern="1200" dirty="0" smtClean="0">
                <a:solidFill>
                  <a:schemeClr val="tx1"/>
                </a:solidFill>
                <a:effectLst/>
                <a:latin typeface="+mn-lt"/>
                <a:ea typeface="+mn-ea"/>
                <a:cs typeface="+mn-cs"/>
              </a:rPr>
              <a:t>Install-Module </a:t>
            </a:r>
            <a:r>
              <a:rPr lang="en-IN" sz="1200" b="0" i="0" kern="1200" dirty="0" err="1" smtClean="0">
                <a:solidFill>
                  <a:schemeClr val="tx1"/>
                </a:solidFill>
                <a:effectLst/>
                <a:latin typeface="+mn-lt"/>
                <a:ea typeface="+mn-ea"/>
                <a:cs typeface="+mn-cs"/>
              </a:rPr>
              <a:t>AzureAD</a:t>
            </a:r>
            <a:endParaRPr lang="en-IN" sz="1200" b="0" i="0" kern="1200" dirty="0" smtClean="0">
              <a:solidFill>
                <a:schemeClr val="tx1"/>
              </a:solidFill>
              <a:effectLst/>
              <a:latin typeface="+mn-lt"/>
              <a:ea typeface="+mn-ea"/>
              <a:cs typeface="+mn-cs"/>
            </a:endParaRPr>
          </a:p>
          <a:p>
            <a:endParaRPr lang="en-IN" sz="1200" b="0" i="0" kern="1200" dirty="0" smtClean="0">
              <a:solidFill>
                <a:schemeClr val="tx1"/>
              </a:solidFill>
              <a:effectLst/>
              <a:latin typeface="+mn-lt"/>
              <a:ea typeface="+mn-ea"/>
              <a:cs typeface="+mn-cs"/>
            </a:endParaRPr>
          </a:p>
          <a:p>
            <a:r>
              <a:rPr lang="en-IN" dirty="0" smtClean="0"/>
              <a:t>Connect-</a:t>
            </a:r>
            <a:r>
              <a:rPr lang="en-IN" dirty="0" err="1" smtClean="0"/>
              <a:t>AzureAD</a:t>
            </a:r>
            <a:endParaRPr lang="en-IN" dirty="0" smtClean="0"/>
          </a:p>
          <a:p>
            <a:r>
              <a:rPr lang="en-IN" dirty="0" smtClean="0"/>
              <a:t>Get-</a:t>
            </a:r>
            <a:r>
              <a:rPr lang="en-IN" dirty="0" err="1" smtClean="0"/>
              <a:t>MsolUser</a:t>
            </a:r>
            <a:endParaRPr lang="en-IN" dirty="0" smtClean="0"/>
          </a:p>
          <a:p>
            <a:endParaRPr lang="en-IN" dirty="0" smtClean="0"/>
          </a:p>
          <a:p>
            <a:r>
              <a:rPr lang="en-IN" dirty="0" smtClean="0"/>
              <a:t>New-</a:t>
            </a:r>
            <a:r>
              <a:rPr lang="en-IN" dirty="0" err="1" smtClean="0"/>
              <a:t>MsolUser</a:t>
            </a:r>
            <a:r>
              <a:rPr lang="en-IN" dirty="0" smtClean="0"/>
              <a:t> -</a:t>
            </a:r>
            <a:r>
              <a:rPr lang="en-IN" dirty="0" err="1" smtClean="0"/>
              <a:t>UserPrincipleName</a:t>
            </a:r>
            <a:r>
              <a:rPr lang="en-IN" dirty="0" smtClean="0"/>
              <a:t> “&lt;</a:t>
            </a:r>
            <a:r>
              <a:rPr lang="en-IN" dirty="0" err="1" smtClean="0"/>
              <a:t>UserName</a:t>
            </a:r>
            <a:r>
              <a:rPr lang="en-IN" dirty="0" smtClean="0"/>
              <a:t>&gt;@&lt;</a:t>
            </a:r>
            <a:r>
              <a:rPr lang="en-IN" dirty="0" err="1" smtClean="0"/>
              <a:t>Yourtenant</a:t>
            </a:r>
            <a:r>
              <a:rPr lang="en-IN" dirty="0" smtClean="0"/>
              <a:t>&gt;.onmicrosoft.com"</a:t>
            </a:r>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43</a:t>
            </a:fld>
            <a:endParaRPr lang="en-US"/>
          </a:p>
        </p:txBody>
      </p:sp>
    </p:spTree>
    <p:extLst>
      <p:ext uri="{BB962C8B-B14F-4D97-AF65-F5344CB8AC3E}">
        <p14:creationId xmlns:p14="http://schemas.microsoft.com/office/powerpoint/2010/main" val="80783794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Extension needs to install </a:t>
            </a:r>
            <a:endParaRPr lang="en-IN" dirty="0"/>
          </a:p>
        </p:txBody>
      </p:sp>
      <p:sp>
        <p:nvSpPr>
          <p:cNvPr id="4" name="Slide Number Placeholder 3"/>
          <p:cNvSpPr>
            <a:spLocks noGrp="1"/>
          </p:cNvSpPr>
          <p:nvPr>
            <p:ph type="sldNum" sz="quarter" idx="10"/>
          </p:nvPr>
        </p:nvSpPr>
        <p:spPr/>
        <p:txBody>
          <a:bodyPr/>
          <a:lstStyle/>
          <a:p>
            <a:fld id="{3C69C598-F2D0-46C6-8DF6-664FE00D6D74}" type="slidenum">
              <a:rPr lang="en-US" smtClean="0"/>
              <a:pPr/>
              <a:t>146</a:t>
            </a:fld>
            <a:endParaRPr lang="en-US"/>
          </a:p>
        </p:txBody>
      </p:sp>
    </p:spTree>
    <p:extLst>
      <p:ext uri="{BB962C8B-B14F-4D97-AF65-F5344CB8AC3E}">
        <p14:creationId xmlns:p14="http://schemas.microsoft.com/office/powerpoint/2010/main" val="94209751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r>
              <a:rPr lang="en-US" dirty="0"/>
              <a:t>During</a:t>
            </a:r>
            <a:r>
              <a:rPr lang="en-US" baseline="0" dirty="0"/>
              <a:t> previous years of identity management, we deployed an on-premises Active Directory domain which supported common authentication mechanisms such as Kerberos, Negotiate, NTLM, Secure Channel and Digest. Going forward and moving towards the cloud, we will see that these authentication mechanisms are less useful to us because the currency of cloud computing these days is federation. Federation sign in protocols such as WS-Fed, SAML and OAuth allow us to scale across multiple authentication domains. You can think of a federation between two </a:t>
            </a:r>
            <a:r>
              <a:rPr lang="en-US" baseline="0" dirty="0" smtClean="0"/>
              <a:t>organization's </a:t>
            </a:r>
            <a:r>
              <a:rPr lang="en-US" baseline="0" dirty="0"/>
              <a:t>like the watered down version of an Active Directory trust between two domains.</a:t>
            </a:r>
            <a:endParaRPr lang="en-US" dirty="0"/>
          </a:p>
        </p:txBody>
      </p:sp>
      <p:sp>
        <p:nvSpPr>
          <p:cNvPr id="4" name="Slide Number Placeholder 3"/>
          <p:cNvSpPr>
            <a:spLocks noGrp="1"/>
          </p:cNvSpPr>
          <p:nvPr>
            <p:ph type="sldNum" sz="quarter" idx="10"/>
          </p:nvPr>
        </p:nvSpPr>
        <p:spPr/>
        <p:txBody>
          <a:bodyPr/>
          <a:lstStyle/>
          <a:p>
            <a:fld id="{7CAF3BF5-CEFC-4357-A9AC-69BF0CE6AE1C}" type="slidenum">
              <a:rPr lang="en-US" smtClean="0">
                <a:solidFill>
                  <a:prstClr val="black"/>
                </a:solidFill>
              </a:rPr>
              <a:pPr/>
              <a:t>148</a:t>
            </a:fld>
            <a:endParaRPr lang="en-US">
              <a:solidFill>
                <a:prstClr val="black"/>
              </a:solidFill>
            </a:endParaRPr>
          </a:p>
        </p:txBody>
      </p:sp>
    </p:spTree>
    <p:extLst>
      <p:ext uri="{BB962C8B-B14F-4D97-AF65-F5344CB8AC3E}">
        <p14:creationId xmlns:p14="http://schemas.microsoft.com/office/powerpoint/2010/main" val="277154692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r>
              <a:rPr lang="en-US" dirty="0"/>
              <a:t>This slide describes the four main possible ways in which an organization may deploy on-premises AD,</a:t>
            </a:r>
            <a:r>
              <a:rPr lang="en-US" baseline="0" dirty="0"/>
              <a:t> Azure AD and the tools linking them.</a:t>
            </a:r>
          </a:p>
          <a:p>
            <a:pPr marL="0" indent="0">
              <a:buNone/>
            </a:pPr>
            <a:endParaRPr lang="en-US" baseline="0" dirty="0"/>
          </a:p>
          <a:p>
            <a:pPr marL="0" indent="0">
              <a:buNone/>
            </a:pPr>
            <a:r>
              <a:rPr lang="en-US" baseline="0" dirty="0"/>
              <a:t>On-premises only means there is no Azure AD at all. All STS infrastructure is on-premises. This may limit access to the organization’s identity infrastructure to only the simpler passive redirection protocols. In particular, Office 365 is not supported by such deployment.</a:t>
            </a:r>
          </a:p>
          <a:p>
            <a:pPr marL="0" indent="0">
              <a:buNone/>
            </a:pPr>
            <a:endParaRPr lang="en-US" baseline="0" dirty="0"/>
          </a:p>
          <a:p>
            <a:pPr marL="0" indent="0">
              <a:buNone/>
            </a:pPr>
            <a:r>
              <a:rPr lang="en-US" baseline="0" dirty="0"/>
              <a:t>On the other extreme is the Azure AD only deployment. This is particularly appropriate for small organizations, with no on-premises identity infrastructure but still wanting to manage their own users and their access to 3</a:t>
            </a:r>
            <a:r>
              <a:rPr lang="en-US" baseline="30000" dirty="0"/>
              <a:t>rd</a:t>
            </a:r>
            <a:r>
              <a:rPr lang="en-US" baseline="0" dirty="0"/>
              <a:t> party applications.</a:t>
            </a:r>
          </a:p>
          <a:p>
            <a:pPr marL="0" indent="0">
              <a:buNone/>
            </a:pPr>
            <a:endParaRPr lang="en-US" baseline="0" dirty="0"/>
          </a:p>
          <a:p>
            <a:pPr marL="0" indent="0">
              <a:buNone/>
            </a:pPr>
            <a:r>
              <a:rPr lang="en-US" baseline="0" dirty="0"/>
              <a:t>The other two options involve both on-premises and Azure AD identity infrastructure and the AAD Connect (sync) process that synchronizes some or all user from on-premises to AAD. Optionally, the sync can also copy hashes of user passwords. That latter option allows the organization to decide where the users authenticate (on-premises or cloud) and change that setting fairly rapidly (in case, for example one the environments becomes unavailable).</a:t>
            </a:r>
          </a:p>
          <a:p>
            <a:pPr marL="0" indent="0">
              <a:buNone/>
            </a:pPr>
            <a:endParaRPr lang="en-US" baseline="0" dirty="0"/>
          </a:p>
          <a:p>
            <a:pPr marL="0" indent="0">
              <a:buNone/>
            </a:pPr>
            <a:r>
              <a:rPr lang="en-US" baseline="0" dirty="0"/>
              <a:t>There are some other variations on the above scenarios, e.g. allowing user’s to reset their passwords in AAD and have that synced back to on-premises.</a:t>
            </a:r>
            <a:endParaRPr lang="en-US" dirty="0"/>
          </a:p>
        </p:txBody>
      </p:sp>
      <p:sp>
        <p:nvSpPr>
          <p:cNvPr id="4" name="Slide Number Placeholder 3"/>
          <p:cNvSpPr>
            <a:spLocks noGrp="1"/>
          </p:cNvSpPr>
          <p:nvPr>
            <p:ph type="sldNum" sz="quarter" idx="10"/>
          </p:nvPr>
        </p:nvSpPr>
        <p:spPr/>
        <p:txBody>
          <a:bodyPr/>
          <a:lstStyle/>
          <a:p>
            <a:fld id="{7CAF3BF5-CEFC-4357-A9AC-69BF0CE6AE1C}" type="slidenum">
              <a:rPr lang="en-US" smtClean="0">
                <a:solidFill>
                  <a:prstClr val="black"/>
                </a:solidFill>
              </a:rPr>
              <a:pPr/>
              <a:t>149</a:t>
            </a:fld>
            <a:endParaRPr lang="en-US">
              <a:solidFill>
                <a:prstClr val="black"/>
              </a:solidFill>
            </a:endParaRPr>
          </a:p>
        </p:txBody>
      </p:sp>
    </p:spTree>
    <p:extLst>
      <p:ext uri="{BB962C8B-B14F-4D97-AF65-F5344CB8AC3E}">
        <p14:creationId xmlns:p14="http://schemas.microsoft.com/office/powerpoint/2010/main" val="1683712289"/>
      </p:ext>
    </p:extLst>
  </p:cSld>
  <p:clrMapOvr>
    <a:masterClrMapping/>
  </p:clrMapOvr>
</p:notes>
</file>

<file path=ppt/slideLayouts/_rels/slideLayout1.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image" Target="../media/image2.png"/><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slideMaster" Target="../slideMasters/slideMaster1.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8" Type="http://schemas.openxmlformats.org/officeDocument/2006/relationships/tags" Target="../tags/tag8.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20" Type="http://schemas.openxmlformats.org/officeDocument/2006/relationships/tags" Target="../tags/tag20.xml"/><Relationship Id="rId41" Type="http://schemas.openxmlformats.org/officeDocument/2006/relationships/tags" Target="../tags/tag41.xml"/><Relationship Id="rId1" Type="http://schemas.openxmlformats.org/officeDocument/2006/relationships/tags" Target="../tags/tag1.xml"/><Relationship Id="rId6"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3" Type="http://schemas.openxmlformats.org/officeDocument/2006/relationships/tags" Target="../tags/tag61.xml"/><Relationship Id="rId18" Type="http://schemas.openxmlformats.org/officeDocument/2006/relationships/tags" Target="../tags/tag66.xml"/><Relationship Id="rId26" Type="http://schemas.openxmlformats.org/officeDocument/2006/relationships/tags" Target="../tags/tag74.xml"/><Relationship Id="rId39" Type="http://schemas.openxmlformats.org/officeDocument/2006/relationships/tags" Target="../tags/tag87.xml"/><Relationship Id="rId21" Type="http://schemas.openxmlformats.org/officeDocument/2006/relationships/tags" Target="../tags/tag69.xml"/><Relationship Id="rId34" Type="http://schemas.openxmlformats.org/officeDocument/2006/relationships/tags" Target="../tags/tag82.xml"/><Relationship Id="rId42" Type="http://schemas.openxmlformats.org/officeDocument/2006/relationships/tags" Target="../tags/tag90.xml"/><Relationship Id="rId47" Type="http://schemas.openxmlformats.org/officeDocument/2006/relationships/tags" Target="../tags/tag95.xml"/><Relationship Id="rId50" Type="http://schemas.openxmlformats.org/officeDocument/2006/relationships/image" Target="../media/image2.png"/><Relationship Id="rId7" Type="http://schemas.openxmlformats.org/officeDocument/2006/relationships/tags" Target="../tags/tag55.xml"/><Relationship Id="rId2" Type="http://schemas.openxmlformats.org/officeDocument/2006/relationships/tags" Target="../tags/tag50.xml"/><Relationship Id="rId16" Type="http://schemas.openxmlformats.org/officeDocument/2006/relationships/tags" Target="../tags/tag64.xml"/><Relationship Id="rId29" Type="http://schemas.openxmlformats.org/officeDocument/2006/relationships/tags" Target="../tags/tag77.xml"/><Relationship Id="rId11" Type="http://schemas.openxmlformats.org/officeDocument/2006/relationships/tags" Target="../tags/tag59.xml"/><Relationship Id="rId24" Type="http://schemas.openxmlformats.org/officeDocument/2006/relationships/tags" Target="../tags/tag72.xml"/><Relationship Id="rId32" Type="http://schemas.openxmlformats.org/officeDocument/2006/relationships/tags" Target="../tags/tag80.xml"/><Relationship Id="rId37" Type="http://schemas.openxmlformats.org/officeDocument/2006/relationships/tags" Target="../tags/tag85.xml"/><Relationship Id="rId40" Type="http://schemas.openxmlformats.org/officeDocument/2006/relationships/tags" Target="../tags/tag88.xml"/><Relationship Id="rId45" Type="http://schemas.openxmlformats.org/officeDocument/2006/relationships/tags" Target="../tags/tag93.xml"/><Relationship Id="rId5" Type="http://schemas.openxmlformats.org/officeDocument/2006/relationships/tags" Target="../tags/tag53.xml"/><Relationship Id="rId15" Type="http://schemas.openxmlformats.org/officeDocument/2006/relationships/tags" Target="../tags/tag63.xml"/><Relationship Id="rId23" Type="http://schemas.openxmlformats.org/officeDocument/2006/relationships/tags" Target="../tags/tag71.xml"/><Relationship Id="rId28" Type="http://schemas.openxmlformats.org/officeDocument/2006/relationships/tags" Target="../tags/tag76.xml"/><Relationship Id="rId36" Type="http://schemas.openxmlformats.org/officeDocument/2006/relationships/tags" Target="../tags/tag84.xml"/><Relationship Id="rId49" Type="http://schemas.openxmlformats.org/officeDocument/2006/relationships/slideMaster" Target="../slideMasters/slideMaster2.xml"/><Relationship Id="rId10" Type="http://schemas.openxmlformats.org/officeDocument/2006/relationships/tags" Target="../tags/tag58.xml"/><Relationship Id="rId19" Type="http://schemas.openxmlformats.org/officeDocument/2006/relationships/tags" Target="../tags/tag67.xml"/><Relationship Id="rId31" Type="http://schemas.openxmlformats.org/officeDocument/2006/relationships/tags" Target="../tags/tag79.xml"/><Relationship Id="rId44" Type="http://schemas.openxmlformats.org/officeDocument/2006/relationships/tags" Target="../tags/tag92.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tags" Target="../tags/tag70.xml"/><Relationship Id="rId27" Type="http://schemas.openxmlformats.org/officeDocument/2006/relationships/tags" Target="../tags/tag75.xml"/><Relationship Id="rId30" Type="http://schemas.openxmlformats.org/officeDocument/2006/relationships/tags" Target="../tags/tag78.xml"/><Relationship Id="rId35" Type="http://schemas.openxmlformats.org/officeDocument/2006/relationships/tags" Target="../tags/tag83.xml"/><Relationship Id="rId43" Type="http://schemas.openxmlformats.org/officeDocument/2006/relationships/tags" Target="../tags/tag91.xml"/><Relationship Id="rId48" Type="http://schemas.openxmlformats.org/officeDocument/2006/relationships/tags" Target="../tags/tag96.xml"/><Relationship Id="rId8" Type="http://schemas.openxmlformats.org/officeDocument/2006/relationships/tags" Target="../tags/tag56.xml"/><Relationship Id="rId3" Type="http://schemas.openxmlformats.org/officeDocument/2006/relationships/tags" Target="../tags/tag51.xml"/><Relationship Id="rId12" Type="http://schemas.openxmlformats.org/officeDocument/2006/relationships/tags" Target="../tags/tag60.xml"/><Relationship Id="rId17" Type="http://schemas.openxmlformats.org/officeDocument/2006/relationships/tags" Target="../tags/tag65.xml"/><Relationship Id="rId25" Type="http://schemas.openxmlformats.org/officeDocument/2006/relationships/tags" Target="../tags/tag73.xml"/><Relationship Id="rId33" Type="http://schemas.openxmlformats.org/officeDocument/2006/relationships/tags" Target="../tags/tag81.xml"/><Relationship Id="rId38" Type="http://schemas.openxmlformats.org/officeDocument/2006/relationships/tags" Target="../tags/tag86.xml"/><Relationship Id="rId46" Type="http://schemas.openxmlformats.org/officeDocument/2006/relationships/tags" Target="../tags/tag94.xml"/><Relationship Id="rId20" Type="http://schemas.openxmlformats.org/officeDocument/2006/relationships/tags" Target="../tags/tag68.xml"/><Relationship Id="rId41" Type="http://schemas.openxmlformats.org/officeDocument/2006/relationships/tags" Target="../tags/tag89.xml"/><Relationship Id="rId1" Type="http://schemas.openxmlformats.org/officeDocument/2006/relationships/tags" Target="../tags/tag49.xml"/><Relationship Id="rId6" Type="http://schemas.openxmlformats.org/officeDocument/2006/relationships/tags" Target="../tags/tag5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3" Type="http://schemas.openxmlformats.org/officeDocument/2006/relationships/tags" Target="../tags/tag109.xml"/><Relationship Id="rId18" Type="http://schemas.openxmlformats.org/officeDocument/2006/relationships/tags" Target="../tags/tag114.xml"/><Relationship Id="rId26" Type="http://schemas.openxmlformats.org/officeDocument/2006/relationships/tags" Target="../tags/tag122.xml"/><Relationship Id="rId39" Type="http://schemas.openxmlformats.org/officeDocument/2006/relationships/tags" Target="../tags/tag135.xml"/><Relationship Id="rId21" Type="http://schemas.openxmlformats.org/officeDocument/2006/relationships/tags" Target="../tags/tag117.xml"/><Relationship Id="rId34" Type="http://schemas.openxmlformats.org/officeDocument/2006/relationships/tags" Target="../tags/tag130.xml"/><Relationship Id="rId42" Type="http://schemas.openxmlformats.org/officeDocument/2006/relationships/tags" Target="../tags/tag138.xml"/><Relationship Id="rId47" Type="http://schemas.openxmlformats.org/officeDocument/2006/relationships/tags" Target="../tags/tag143.xml"/><Relationship Id="rId50" Type="http://schemas.openxmlformats.org/officeDocument/2006/relationships/image" Target="../media/image2.png"/><Relationship Id="rId7" Type="http://schemas.openxmlformats.org/officeDocument/2006/relationships/tags" Target="../tags/tag103.xml"/><Relationship Id="rId2" Type="http://schemas.openxmlformats.org/officeDocument/2006/relationships/tags" Target="../tags/tag98.xml"/><Relationship Id="rId16" Type="http://schemas.openxmlformats.org/officeDocument/2006/relationships/tags" Target="../tags/tag112.xml"/><Relationship Id="rId29" Type="http://schemas.openxmlformats.org/officeDocument/2006/relationships/tags" Target="../tags/tag125.xml"/><Relationship Id="rId11" Type="http://schemas.openxmlformats.org/officeDocument/2006/relationships/tags" Target="../tags/tag107.xml"/><Relationship Id="rId24" Type="http://schemas.openxmlformats.org/officeDocument/2006/relationships/tags" Target="../tags/tag120.xml"/><Relationship Id="rId32" Type="http://schemas.openxmlformats.org/officeDocument/2006/relationships/tags" Target="../tags/tag128.xml"/><Relationship Id="rId37" Type="http://schemas.openxmlformats.org/officeDocument/2006/relationships/tags" Target="../tags/tag133.xml"/><Relationship Id="rId40" Type="http://schemas.openxmlformats.org/officeDocument/2006/relationships/tags" Target="../tags/tag136.xml"/><Relationship Id="rId45" Type="http://schemas.openxmlformats.org/officeDocument/2006/relationships/tags" Target="../tags/tag141.xml"/><Relationship Id="rId5" Type="http://schemas.openxmlformats.org/officeDocument/2006/relationships/tags" Target="../tags/tag101.xml"/><Relationship Id="rId15" Type="http://schemas.openxmlformats.org/officeDocument/2006/relationships/tags" Target="../tags/tag111.xml"/><Relationship Id="rId23" Type="http://schemas.openxmlformats.org/officeDocument/2006/relationships/tags" Target="../tags/tag119.xml"/><Relationship Id="rId28" Type="http://schemas.openxmlformats.org/officeDocument/2006/relationships/tags" Target="../tags/tag124.xml"/><Relationship Id="rId36" Type="http://schemas.openxmlformats.org/officeDocument/2006/relationships/tags" Target="../tags/tag132.xml"/><Relationship Id="rId49" Type="http://schemas.openxmlformats.org/officeDocument/2006/relationships/slideMaster" Target="../slideMasters/slideMaster3.xml"/><Relationship Id="rId10" Type="http://schemas.openxmlformats.org/officeDocument/2006/relationships/tags" Target="../tags/tag106.xml"/><Relationship Id="rId19" Type="http://schemas.openxmlformats.org/officeDocument/2006/relationships/tags" Target="../tags/tag115.xml"/><Relationship Id="rId31" Type="http://schemas.openxmlformats.org/officeDocument/2006/relationships/tags" Target="../tags/tag127.xml"/><Relationship Id="rId44" Type="http://schemas.openxmlformats.org/officeDocument/2006/relationships/tags" Target="../tags/tag140.xml"/><Relationship Id="rId4" Type="http://schemas.openxmlformats.org/officeDocument/2006/relationships/tags" Target="../tags/tag100.xml"/><Relationship Id="rId9" Type="http://schemas.openxmlformats.org/officeDocument/2006/relationships/tags" Target="../tags/tag105.xml"/><Relationship Id="rId14" Type="http://schemas.openxmlformats.org/officeDocument/2006/relationships/tags" Target="../tags/tag110.xml"/><Relationship Id="rId22" Type="http://schemas.openxmlformats.org/officeDocument/2006/relationships/tags" Target="../tags/tag118.xml"/><Relationship Id="rId27" Type="http://schemas.openxmlformats.org/officeDocument/2006/relationships/tags" Target="../tags/tag123.xml"/><Relationship Id="rId30" Type="http://schemas.openxmlformats.org/officeDocument/2006/relationships/tags" Target="../tags/tag126.xml"/><Relationship Id="rId35" Type="http://schemas.openxmlformats.org/officeDocument/2006/relationships/tags" Target="../tags/tag131.xml"/><Relationship Id="rId43" Type="http://schemas.openxmlformats.org/officeDocument/2006/relationships/tags" Target="../tags/tag139.xml"/><Relationship Id="rId48" Type="http://schemas.openxmlformats.org/officeDocument/2006/relationships/tags" Target="../tags/tag144.xml"/><Relationship Id="rId8" Type="http://schemas.openxmlformats.org/officeDocument/2006/relationships/tags" Target="../tags/tag104.xml"/><Relationship Id="rId3" Type="http://schemas.openxmlformats.org/officeDocument/2006/relationships/tags" Target="../tags/tag99.xml"/><Relationship Id="rId12" Type="http://schemas.openxmlformats.org/officeDocument/2006/relationships/tags" Target="../tags/tag108.xml"/><Relationship Id="rId17" Type="http://schemas.openxmlformats.org/officeDocument/2006/relationships/tags" Target="../tags/tag113.xml"/><Relationship Id="rId25" Type="http://schemas.openxmlformats.org/officeDocument/2006/relationships/tags" Target="../tags/tag121.xml"/><Relationship Id="rId33" Type="http://schemas.openxmlformats.org/officeDocument/2006/relationships/tags" Target="../tags/tag129.xml"/><Relationship Id="rId38" Type="http://schemas.openxmlformats.org/officeDocument/2006/relationships/tags" Target="../tags/tag134.xml"/><Relationship Id="rId46" Type="http://schemas.openxmlformats.org/officeDocument/2006/relationships/tags" Target="../tags/tag142.xml"/><Relationship Id="rId20" Type="http://schemas.openxmlformats.org/officeDocument/2006/relationships/tags" Target="../tags/tag116.xml"/><Relationship Id="rId41" Type="http://schemas.openxmlformats.org/officeDocument/2006/relationships/tags" Target="../tags/tag137.xml"/><Relationship Id="rId1" Type="http://schemas.openxmlformats.org/officeDocument/2006/relationships/tags" Target="../tags/tag97.xml"/><Relationship Id="rId6" Type="http://schemas.openxmlformats.org/officeDocument/2006/relationships/tags" Target="../tags/tag10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4" name="Group 4"/>
          <p:cNvGrpSpPr/>
          <p:nvPr/>
        </p:nvGrpSpPr>
        <p:grpSpPr>
          <a:xfrm>
            <a:off x="169334" y="1"/>
            <a:ext cx="10583333" cy="6118999"/>
            <a:chOff x="127000" y="0"/>
            <a:chExt cx="7937500" cy="6118999"/>
          </a:xfrm>
        </p:grpSpPr>
        <p:grpSp>
          <p:nvGrpSpPr>
            <p:cNvPr id="5" name="Group 53"/>
            <p:cNvGrpSpPr/>
            <p:nvPr/>
          </p:nvGrpSpPr>
          <p:grpSpPr>
            <a:xfrm>
              <a:off x="952500" y="508000"/>
              <a:ext cx="7112000" cy="5610999"/>
              <a:chOff x="952500" y="508000"/>
              <a:chExt cx="7112000" cy="5610999"/>
            </a:xfrm>
          </p:grpSpPr>
          <p:sp>
            <p:nvSpPr>
              <p:cNvPr id="9" name="Rounded Rectangle 8"/>
              <p:cNvSpPr/>
              <p:nvPr>
                <p:custDataLst>
                  <p:tags r:id="rId1"/>
                </p:custDataLst>
              </p:nvPr>
            </p:nvSpPr>
            <p:spPr>
              <a:xfrm>
                <a:off x="1143000" y="508000"/>
                <a:ext cx="1016000" cy="1016000"/>
              </a:xfrm>
              <a:prstGeom prst="roundRect">
                <a:avLst/>
              </a:prstGeom>
              <a:solidFill>
                <a:srgbClr val="6DCF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109</a:t>
                </a:r>
              </a:p>
              <a:p>
                <a:pPr defTabSz="914302"/>
                <a:r>
                  <a:rPr lang="en-US" sz="1200" dirty="0">
                    <a:solidFill>
                      <a:prstClr val="white"/>
                    </a:solidFill>
                  </a:rPr>
                  <a:t>207</a:t>
                </a:r>
              </a:p>
              <a:p>
                <a:pPr defTabSz="914302"/>
                <a:r>
                  <a:rPr lang="en-US" sz="1200" dirty="0">
                    <a:solidFill>
                      <a:prstClr val="white"/>
                    </a:solidFill>
                  </a:rPr>
                  <a:t>246</a:t>
                </a:r>
              </a:p>
            </p:txBody>
          </p:sp>
          <p:sp>
            <p:nvSpPr>
              <p:cNvPr id="10" name="TextBox 9"/>
              <p:cNvSpPr txBox="1"/>
              <p:nvPr>
                <p:custDataLst>
                  <p:tags r:id="rId2"/>
                </p:custDataLst>
              </p:nvPr>
            </p:nvSpPr>
            <p:spPr>
              <a:xfrm>
                <a:off x="952500" y="1524000"/>
                <a:ext cx="1397000" cy="276999"/>
              </a:xfrm>
              <a:prstGeom prst="rect">
                <a:avLst/>
              </a:prstGeom>
              <a:noFill/>
            </p:spPr>
            <p:txBody>
              <a:bodyPr vert="horz" rtlCol="0">
                <a:spAutoFit/>
              </a:bodyPr>
              <a:lstStyle/>
              <a:p>
                <a:pPr algn="ctr" defTabSz="914302"/>
                <a:r>
                  <a:rPr lang="en-US" sz="1200" dirty="0">
                    <a:solidFill>
                      <a:prstClr val="black"/>
                    </a:solidFill>
                  </a:rPr>
                  <a:t>Dark 1</a:t>
                </a:r>
              </a:p>
            </p:txBody>
          </p:sp>
          <p:sp>
            <p:nvSpPr>
              <p:cNvPr id="11" name="Rounded Rectangle 10"/>
              <p:cNvSpPr/>
              <p:nvPr>
                <p:custDataLst>
                  <p:tags r:id="rId3"/>
                </p:custDataLst>
              </p:nvPr>
            </p:nvSpPr>
            <p:spPr>
              <a:xfrm>
                <a:off x="2286000" y="508000"/>
                <a:ext cx="1016000" cy="1016000"/>
              </a:xfrm>
              <a:prstGeom prst="round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srgbClr val="1F497D"/>
                    </a:solidFill>
                  </a:rPr>
                  <a:t>255</a:t>
                </a:r>
              </a:p>
              <a:p>
                <a:pPr defTabSz="914302"/>
                <a:r>
                  <a:rPr lang="en-US" sz="1200" dirty="0">
                    <a:solidFill>
                      <a:srgbClr val="1F497D"/>
                    </a:solidFill>
                  </a:rPr>
                  <a:t>255</a:t>
                </a:r>
              </a:p>
              <a:p>
                <a:pPr defTabSz="914302"/>
                <a:r>
                  <a:rPr lang="en-US" sz="1200" dirty="0">
                    <a:solidFill>
                      <a:srgbClr val="1F497D"/>
                    </a:solidFill>
                  </a:rPr>
                  <a:t>255</a:t>
                </a:r>
              </a:p>
            </p:txBody>
          </p:sp>
          <p:sp>
            <p:nvSpPr>
              <p:cNvPr id="12" name="TextBox 11"/>
              <p:cNvSpPr txBox="1"/>
              <p:nvPr>
                <p:custDataLst>
                  <p:tags r:id="rId4"/>
                </p:custDataLst>
              </p:nvPr>
            </p:nvSpPr>
            <p:spPr>
              <a:xfrm>
                <a:off x="2095500" y="1524000"/>
                <a:ext cx="1397000" cy="276999"/>
              </a:xfrm>
              <a:prstGeom prst="rect">
                <a:avLst/>
              </a:prstGeom>
              <a:noFill/>
            </p:spPr>
            <p:txBody>
              <a:bodyPr vert="horz" rtlCol="0">
                <a:spAutoFit/>
              </a:bodyPr>
              <a:lstStyle/>
              <a:p>
                <a:pPr algn="ctr" defTabSz="914302"/>
                <a:r>
                  <a:rPr lang="en-US" sz="1200" dirty="0">
                    <a:solidFill>
                      <a:prstClr val="black"/>
                    </a:solidFill>
                  </a:rPr>
                  <a:t>Light 1</a:t>
                </a:r>
              </a:p>
            </p:txBody>
          </p:sp>
          <p:sp>
            <p:nvSpPr>
              <p:cNvPr id="13" name="Rounded Rectangle 12"/>
              <p:cNvSpPr/>
              <p:nvPr>
                <p:custDataLst>
                  <p:tags r:id="rId5"/>
                </p:custDataLst>
              </p:nvPr>
            </p:nvSpPr>
            <p:spPr>
              <a:xfrm>
                <a:off x="3429000" y="508000"/>
                <a:ext cx="1016000" cy="1016000"/>
              </a:xfrm>
              <a:prstGeom prst="roundRect">
                <a:avLst/>
              </a:prstGeom>
              <a:solidFill>
                <a:srgbClr val="8338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131</a:t>
                </a:r>
              </a:p>
              <a:p>
                <a:pPr defTabSz="914302"/>
                <a:r>
                  <a:rPr lang="en-US" sz="1200" dirty="0">
                    <a:solidFill>
                      <a:prstClr val="white"/>
                    </a:solidFill>
                  </a:rPr>
                  <a:t>56</a:t>
                </a:r>
              </a:p>
              <a:p>
                <a:pPr defTabSz="914302"/>
                <a:r>
                  <a:rPr lang="en-US" sz="1200" dirty="0">
                    <a:solidFill>
                      <a:prstClr val="white"/>
                    </a:solidFill>
                  </a:rPr>
                  <a:t>155</a:t>
                </a:r>
              </a:p>
            </p:txBody>
          </p:sp>
          <p:sp>
            <p:nvSpPr>
              <p:cNvPr id="14" name="TextBox 13"/>
              <p:cNvSpPr txBox="1"/>
              <p:nvPr>
                <p:custDataLst>
                  <p:tags r:id="rId6"/>
                </p:custDataLst>
              </p:nvPr>
            </p:nvSpPr>
            <p:spPr>
              <a:xfrm>
                <a:off x="3238500" y="1524000"/>
                <a:ext cx="1397000" cy="276999"/>
              </a:xfrm>
              <a:prstGeom prst="rect">
                <a:avLst/>
              </a:prstGeom>
              <a:noFill/>
            </p:spPr>
            <p:txBody>
              <a:bodyPr vert="horz" rtlCol="0">
                <a:spAutoFit/>
              </a:bodyPr>
              <a:lstStyle/>
              <a:p>
                <a:pPr algn="ctr" defTabSz="914302"/>
                <a:r>
                  <a:rPr lang="en-US" sz="1200" dirty="0">
                    <a:solidFill>
                      <a:prstClr val="black"/>
                    </a:solidFill>
                  </a:rPr>
                  <a:t>Dark 2</a:t>
                </a:r>
              </a:p>
            </p:txBody>
          </p:sp>
          <p:sp>
            <p:nvSpPr>
              <p:cNvPr id="15" name="Rounded Rectangle 14"/>
              <p:cNvSpPr/>
              <p:nvPr>
                <p:custDataLst>
                  <p:tags r:id="rId7"/>
                </p:custDataLst>
              </p:nvPr>
            </p:nvSpPr>
            <p:spPr>
              <a:xfrm>
                <a:off x="4572000" y="508000"/>
                <a:ext cx="1016000" cy="1016000"/>
              </a:xfrm>
              <a:prstGeom prst="roundRect">
                <a:avLst/>
              </a:prstGeom>
              <a:solidFill>
                <a:srgbClr val="0063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0</a:t>
                </a:r>
              </a:p>
              <a:p>
                <a:pPr defTabSz="914302"/>
                <a:r>
                  <a:rPr lang="en-US" sz="1200" dirty="0">
                    <a:solidFill>
                      <a:prstClr val="white"/>
                    </a:solidFill>
                  </a:rPr>
                  <a:t>99</a:t>
                </a:r>
              </a:p>
              <a:p>
                <a:pPr defTabSz="914302"/>
                <a:r>
                  <a:rPr lang="en-US" sz="1200" dirty="0">
                    <a:solidFill>
                      <a:prstClr val="white"/>
                    </a:solidFill>
                  </a:rPr>
                  <a:t>190</a:t>
                </a:r>
              </a:p>
            </p:txBody>
          </p:sp>
          <p:sp>
            <p:nvSpPr>
              <p:cNvPr id="16" name="TextBox 15"/>
              <p:cNvSpPr txBox="1"/>
              <p:nvPr>
                <p:custDataLst>
                  <p:tags r:id="rId8"/>
                </p:custDataLst>
              </p:nvPr>
            </p:nvSpPr>
            <p:spPr>
              <a:xfrm>
                <a:off x="4381500" y="1524000"/>
                <a:ext cx="1397000" cy="276999"/>
              </a:xfrm>
              <a:prstGeom prst="rect">
                <a:avLst/>
              </a:prstGeom>
              <a:noFill/>
            </p:spPr>
            <p:txBody>
              <a:bodyPr vert="horz" rtlCol="0">
                <a:spAutoFit/>
              </a:bodyPr>
              <a:lstStyle/>
              <a:p>
                <a:pPr algn="ctr" defTabSz="914302"/>
                <a:r>
                  <a:rPr lang="en-US" sz="1200" dirty="0">
                    <a:solidFill>
                      <a:prstClr val="black"/>
                    </a:solidFill>
                  </a:rPr>
                  <a:t>Light 2</a:t>
                </a:r>
              </a:p>
            </p:txBody>
          </p:sp>
          <p:sp>
            <p:nvSpPr>
              <p:cNvPr id="17" name="Rounded Rectangle 16"/>
              <p:cNvSpPr/>
              <p:nvPr>
                <p:custDataLst>
                  <p:tags r:id="rId9"/>
                </p:custDataLst>
              </p:nvPr>
            </p:nvSpPr>
            <p:spPr>
              <a:xfrm>
                <a:off x="5715000" y="508000"/>
                <a:ext cx="1016000" cy="1016000"/>
              </a:xfrm>
              <a:prstGeom prst="roundRect">
                <a:avLst/>
              </a:prstGeom>
              <a:solidFill>
                <a:srgbClr val="55A5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85</a:t>
                </a:r>
              </a:p>
              <a:p>
                <a:pPr defTabSz="914302"/>
                <a:r>
                  <a:rPr lang="en-US" sz="1200" dirty="0">
                    <a:solidFill>
                      <a:prstClr val="white"/>
                    </a:solidFill>
                  </a:rPr>
                  <a:t>165</a:t>
                </a:r>
              </a:p>
              <a:p>
                <a:pPr defTabSz="914302"/>
                <a:r>
                  <a:rPr lang="en-US" sz="1200" dirty="0">
                    <a:solidFill>
                      <a:prstClr val="white"/>
                    </a:solidFill>
                  </a:rPr>
                  <a:t>28</a:t>
                </a:r>
              </a:p>
            </p:txBody>
          </p:sp>
          <p:sp>
            <p:nvSpPr>
              <p:cNvPr id="18" name="TextBox 17"/>
              <p:cNvSpPr txBox="1"/>
              <p:nvPr>
                <p:custDataLst>
                  <p:tags r:id="rId10"/>
                </p:custDataLst>
              </p:nvPr>
            </p:nvSpPr>
            <p:spPr>
              <a:xfrm>
                <a:off x="5524500" y="1524000"/>
                <a:ext cx="1397000" cy="276999"/>
              </a:xfrm>
              <a:prstGeom prst="rect">
                <a:avLst/>
              </a:prstGeom>
              <a:noFill/>
            </p:spPr>
            <p:txBody>
              <a:bodyPr vert="horz" rtlCol="0">
                <a:spAutoFit/>
              </a:bodyPr>
              <a:lstStyle/>
              <a:p>
                <a:pPr algn="ctr" defTabSz="914302"/>
                <a:r>
                  <a:rPr lang="en-US" sz="1200" dirty="0">
                    <a:solidFill>
                      <a:prstClr val="black"/>
                    </a:solidFill>
                  </a:rPr>
                  <a:t>Accent 1</a:t>
                </a:r>
              </a:p>
            </p:txBody>
          </p:sp>
          <p:sp>
            <p:nvSpPr>
              <p:cNvPr id="19" name="Rounded Rectangle 18"/>
              <p:cNvSpPr/>
              <p:nvPr>
                <p:custDataLst>
                  <p:tags r:id="rId11"/>
                </p:custDataLst>
              </p:nvPr>
            </p:nvSpPr>
            <p:spPr>
              <a:xfrm>
                <a:off x="6858000" y="508000"/>
                <a:ext cx="1016000" cy="1016000"/>
              </a:xfrm>
              <a:prstGeom prst="roundRect">
                <a:avLst/>
              </a:prstGeom>
              <a:solidFill>
                <a:srgbClr val="D649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14</a:t>
                </a:r>
              </a:p>
              <a:p>
                <a:pPr defTabSz="914302"/>
                <a:r>
                  <a:rPr lang="en-US" sz="1200" dirty="0">
                    <a:solidFill>
                      <a:prstClr val="white"/>
                    </a:solidFill>
                  </a:rPr>
                  <a:t>73</a:t>
                </a:r>
              </a:p>
              <a:p>
                <a:pPr defTabSz="914302"/>
                <a:r>
                  <a:rPr lang="en-US" sz="1200" dirty="0">
                    <a:solidFill>
                      <a:prstClr val="white"/>
                    </a:solidFill>
                  </a:rPr>
                  <a:t>42</a:t>
                </a:r>
              </a:p>
            </p:txBody>
          </p:sp>
          <p:sp>
            <p:nvSpPr>
              <p:cNvPr id="20" name="TextBox 19"/>
              <p:cNvSpPr txBox="1"/>
              <p:nvPr>
                <p:custDataLst>
                  <p:tags r:id="rId12"/>
                </p:custDataLst>
              </p:nvPr>
            </p:nvSpPr>
            <p:spPr>
              <a:xfrm>
                <a:off x="6667500" y="1524000"/>
                <a:ext cx="1397000" cy="276999"/>
              </a:xfrm>
              <a:prstGeom prst="rect">
                <a:avLst/>
              </a:prstGeom>
              <a:noFill/>
            </p:spPr>
            <p:txBody>
              <a:bodyPr vert="horz" rtlCol="0">
                <a:spAutoFit/>
              </a:bodyPr>
              <a:lstStyle/>
              <a:p>
                <a:pPr algn="ctr" defTabSz="914302"/>
                <a:r>
                  <a:rPr lang="en-US" sz="1200" dirty="0">
                    <a:solidFill>
                      <a:prstClr val="black"/>
                    </a:solidFill>
                  </a:rPr>
                  <a:t>Accent 2</a:t>
                </a:r>
              </a:p>
            </p:txBody>
          </p:sp>
          <p:sp>
            <p:nvSpPr>
              <p:cNvPr id="21" name="Rounded Rectangle 20"/>
              <p:cNvSpPr/>
              <p:nvPr>
                <p:custDataLst>
                  <p:tags r:id="rId13"/>
                </p:custDataLst>
              </p:nvPr>
            </p:nvSpPr>
            <p:spPr>
              <a:xfrm>
                <a:off x="1143000" y="1905000"/>
                <a:ext cx="1016000" cy="1016000"/>
              </a:xfrm>
              <a:prstGeom prst="roundRect">
                <a:avLst/>
              </a:prstGeom>
              <a:solidFill>
                <a:srgbClr val="B9AF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185</a:t>
                </a:r>
              </a:p>
              <a:p>
                <a:pPr defTabSz="914302"/>
                <a:r>
                  <a:rPr lang="en-US" sz="1200" dirty="0">
                    <a:solidFill>
                      <a:prstClr val="white"/>
                    </a:solidFill>
                  </a:rPr>
                  <a:t>175</a:t>
                </a:r>
              </a:p>
              <a:p>
                <a:pPr defTabSz="914302"/>
                <a:r>
                  <a:rPr lang="en-US" sz="1200" dirty="0">
                    <a:solidFill>
                      <a:prstClr val="white"/>
                    </a:solidFill>
                  </a:rPr>
                  <a:t>164</a:t>
                </a:r>
              </a:p>
            </p:txBody>
          </p:sp>
          <p:sp>
            <p:nvSpPr>
              <p:cNvPr id="22" name="TextBox 21"/>
              <p:cNvSpPr txBox="1"/>
              <p:nvPr>
                <p:custDataLst>
                  <p:tags r:id="rId14"/>
                </p:custDataLst>
              </p:nvPr>
            </p:nvSpPr>
            <p:spPr>
              <a:xfrm>
                <a:off x="952500" y="2921000"/>
                <a:ext cx="1397000" cy="276999"/>
              </a:xfrm>
              <a:prstGeom prst="rect">
                <a:avLst/>
              </a:prstGeom>
              <a:noFill/>
            </p:spPr>
            <p:txBody>
              <a:bodyPr vert="horz" rtlCol="0">
                <a:spAutoFit/>
              </a:bodyPr>
              <a:lstStyle/>
              <a:p>
                <a:pPr algn="ctr" defTabSz="914302"/>
                <a:r>
                  <a:rPr lang="en-US" sz="1200" dirty="0">
                    <a:solidFill>
                      <a:prstClr val="black"/>
                    </a:solidFill>
                  </a:rPr>
                  <a:t>Accent 3</a:t>
                </a:r>
              </a:p>
            </p:txBody>
          </p:sp>
          <p:sp>
            <p:nvSpPr>
              <p:cNvPr id="23" name="Rounded Rectangle 22"/>
              <p:cNvSpPr/>
              <p:nvPr>
                <p:custDataLst>
                  <p:tags r:id="rId15"/>
                </p:custDataLst>
              </p:nvPr>
            </p:nvSpPr>
            <p:spPr>
              <a:xfrm>
                <a:off x="2286000" y="1905000"/>
                <a:ext cx="1016000" cy="1016000"/>
              </a:xfrm>
              <a:prstGeom prst="roundRect">
                <a:avLst/>
              </a:prstGeom>
              <a:solidFill>
                <a:srgbClr val="974B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151</a:t>
                </a:r>
              </a:p>
              <a:p>
                <a:pPr defTabSz="914302"/>
                <a:r>
                  <a:rPr lang="en-US" sz="1200" dirty="0">
                    <a:solidFill>
                      <a:prstClr val="white"/>
                    </a:solidFill>
                  </a:rPr>
                  <a:t>75</a:t>
                </a:r>
              </a:p>
              <a:p>
                <a:pPr defTabSz="914302"/>
                <a:r>
                  <a:rPr lang="en-US" sz="1200" dirty="0">
                    <a:solidFill>
                      <a:prstClr val="white"/>
                    </a:solidFill>
                  </a:rPr>
                  <a:t>7</a:t>
                </a:r>
              </a:p>
            </p:txBody>
          </p:sp>
          <p:sp>
            <p:nvSpPr>
              <p:cNvPr id="24" name="TextBox 23"/>
              <p:cNvSpPr txBox="1"/>
              <p:nvPr>
                <p:custDataLst>
                  <p:tags r:id="rId16"/>
                </p:custDataLst>
              </p:nvPr>
            </p:nvSpPr>
            <p:spPr>
              <a:xfrm>
                <a:off x="2095500" y="2921000"/>
                <a:ext cx="1397000" cy="276999"/>
              </a:xfrm>
              <a:prstGeom prst="rect">
                <a:avLst/>
              </a:prstGeom>
              <a:noFill/>
            </p:spPr>
            <p:txBody>
              <a:bodyPr vert="horz" rtlCol="0">
                <a:spAutoFit/>
              </a:bodyPr>
              <a:lstStyle/>
              <a:p>
                <a:pPr algn="ctr" defTabSz="914302"/>
                <a:r>
                  <a:rPr lang="en-US" sz="1200" dirty="0">
                    <a:solidFill>
                      <a:prstClr val="black"/>
                    </a:solidFill>
                  </a:rPr>
                  <a:t>Accent 4</a:t>
                </a:r>
              </a:p>
            </p:txBody>
          </p:sp>
          <p:sp>
            <p:nvSpPr>
              <p:cNvPr id="25" name="Rounded Rectangle 24"/>
              <p:cNvSpPr/>
              <p:nvPr>
                <p:custDataLst>
                  <p:tags r:id="rId17"/>
                </p:custDataLst>
              </p:nvPr>
            </p:nvSpPr>
            <p:spPr>
              <a:xfrm>
                <a:off x="3429000" y="1905000"/>
                <a:ext cx="1016000" cy="1016000"/>
              </a:xfrm>
              <a:prstGeom prst="roundRect">
                <a:avLst/>
              </a:prstGeom>
              <a:solidFill>
                <a:srgbClr val="C1B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193</a:t>
                </a:r>
              </a:p>
              <a:p>
                <a:pPr defTabSz="914302"/>
                <a:r>
                  <a:rPr lang="en-US" sz="1200" dirty="0">
                    <a:solidFill>
                      <a:prstClr val="white"/>
                    </a:solidFill>
                  </a:rPr>
                  <a:t>187</a:t>
                </a:r>
              </a:p>
              <a:p>
                <a:pPr defTabSz="914302"/>
                <a:r>
                  <a:rPr lang="en-US" sz="1200" dirty="0">
                    <a:solidFill>
                      <a:prstClr val="white"/>
                    </a:solidFill>
                  </a:rPr>
                  <a:t>0</a:t>
                </a:r>
              </a:p>
            </p:txBody>
          </p:sp>
          <p:sp>
            <p:nvSpPr>
              <p:cNvPr id="26" name="TextBox 25"/>
              <p:cNvSpPr txBox="1"/>
              <p:nvPr>
                <p:custDataLst>
                  <p:tags r:id="rId18"/>
                </p:custDataLst>
              </p:nvPr>
            </p:nvSpPr>
            <p:spPr>
              <a:xfrm>
                <a:off x="3238500" y="2921000"/>
                <a:ext cx="1397000" cy="276999"/>
              </a:xfrm>
              <a:prstGeom prst="rect">
                <a:avLst/>
              </a:prstGeom>
              <a:noFill/>
            </p:spPr>
            <p:txBody>
              <a:bodyPr vert="horz" rtlCol="0">
                <a:spAutoFit/>
              </a:bodyPr>
              <a:lstStyle/>
              <a:p>
                <a:pPr algn="ctr" defTabSz="914302"/>
                <a:r>
                  <a:rPr lang="en-US" sz="1200" dirty="0">
                    <a:solidFill>
                      <a:prstClr val="black"/>
                    </a:solidFill>
                  </a:rPr>
                  <a:t>Accent 5</a:t>
                </a:r>
              </a:p>
            </p:txBody>
          </p:sp>
          <p:sp>
            <p:nvSpPr>
              <p:cNvPr id="27" name="Rounded Rectangle 26"/>
              <p:cNvSpPr/>
              <p:nvPr>
                <p:custDataLst>
                  <p:tags r:id="rId19"/>
                </p:custDataLst>
              </p:nvPr>
            </p:nvSpPr>
            <p:spPr>
              <a:xfrm>
                <a:off x="4572000" y="1905000"/>
                <a:ext cx="1016000" cy="1016000"/>
              </a:xfrm>
              <a:prstGeom prst="roundRect">
                <a:avLst/>
              </a:prstGeom>
              <a:solidFill>
                <a:srgbClr val="FFDD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55</a:t>
                </a:r>
              </a:p>
              <a:p>
                <a:pPr defTabSz="914302"/>
                <a:r>
                  <a:rPr lang="en-US" sz="1200" dirty="0">
                    <a:solidFill>
                      <a:prstClr val="white"/>
                    </a:solidFill>
                  </a:rPr>
                  <a:t>221</a:t>
                </a:r>
              </a:p>
              <a:p>
                <a:pPr defTabSz="914302"/>
                <a:r>
                  <a:rPr lang="en-US" sz="1200" dirty="0">
                    <a:solidFill>
                      <a:prstClr val="white"/>
                    </a:solidFill>
                  </a:rPr>
                  <a:t>62</a:t>
                </a:r>
              </a:p>
            </p:txBody>
          </p:sp>
          <p:sp>
            <p:nvSpPr>
              <p:cNvPr id="28" name="TextBox 27"/>
              <p:cNvSpPr txBox="1"/>
              <p:nvPr>
                <p:custDataLst>
                  <p:tags r:id="rId20"/>
                </p:custDataLst>
              </p:nvPr>
            </p:nvSpPr>
            <p:spPr>
              <a:xfrm>
                <a:off x="4381500" y="2921000"/>
                <a:ext cx="1397000" cy="276999"/>
              </a:xfrm>
              <a:prstGeom prst="rect">
                <a:avLst/>
              </a:prstGeom>
              <a:noFill/>
            </p:spPr>
            <p:txBody>
              <a:bodyPr vert="horz" rtlCol="0">
                <a:spAutoFit/>
              </a:bodyPr>
              <a:lstStyle/>
              <a:p>
                <a:pPr algn="ctr" defTabSz="914302"/>
                <a:r>
                  <a:rPr lang="en-US" sz="1200" dirty="0">
                    <a:solidFill>
                      <a:prstClr val="black"/>
                    </a:solidFill>
                  </a:rPr>
                  <a:t>Accent 6</a:t>
                </a:r>
              </a:p>
            </p:txBody>
          </p:sp>
          <p:sp>
            <p:nvSpPr>
              <p:cNvPr id="29" name="Rounded Rectangle 28"/>
              <p:cNvSpPr/>
              <p:nvPr>
                <p:custDataLst>
                  <p:tags r:id="rId21"/>
                </p:custDataLst>
              </p:nvPr>
            </p:nvSpPr>
            <p:spPr>
              <a:xfrm>
                <a:off x="5715000" y="1905000"/>
                <a:ext cx="1016000" cy="1016000"/>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55</a:t>
                </a:r>
              </a:p>
              <a:p>
                <a:pPr defTabSz="914302"/>
                <a:r>
                  <a:rPr lang="en-US" sz="1200" dirty="0">
                    <a:solidFill>
                      <a:prstClr val="white"/>
                    </a:solidFill>
                  </a:rPr>
                  <a:t>255</a:t>
                </a:r>
              </a:p>
              <a:p>
                <a:pPr defTabSz="914302"/>
                <a:r>
                  <a:rPr lang="en-US" sz="1200" dirty="0">
                    <a:solidFill>
                      <a:prstClr val="white"/>
                    </a:solidFill>
                  </a:rPr>
                  <a:t>255</a:t>
                </a:r>
              </a:p>
            </p:txBody>
          </p:sp>
          <p:sp>
            <p:nvSpPr>
              <p:cNvPr id="30" name="TextBox 29"/>
              <p:cNvSpPr txBox="1"/>
              <p:nvPr>
                <p:custDataLst>
                  <p:tags r:id="rId22"/>
                </p:custDataLst>
              </p:nvPr>
            </p:nvSpPr>
            <p:spPr>
              <a:xfrm>
                <a:off x="5524500" y="2921000"/>
                <a:ext cx="1397000" cy="276999"/>
              </a:xfrm>
              <a:prstGeom prst="rect">
                <a:avLst/>
              </a:prstGeom>
              <a:noFill/>
            </p:spPr>
            <p:txBody>
              <a:bodyPr vert="horz" rtlCol="0">
                <a:spAutoFit/>
              </a:bodyPr>
              <a:lstStyle/>
              <a:p>
                <a:pPr algn="ctr" defTabSz="914302"/>
                <a:r>
                  <a:rPr lang="en-US" sz="1200" dirty="0">
                    <a:solidFill>
                      <a:prstClr val="black"/>
                    </a:solidFill>
                  </a:rPr>
                  <a:t>Hyperlink</a:t>
                </a:r>
              </a:p>
            </p:txBody>
          </p:sp>
          <p:sp>
            <p:nvSpPr>
              <p:cNvPr id="31" name="Rounded Rectangle 30"/>
              <p:cNvSpPr/>
              <p:nvPr>
                <p:custDataLst>
                  <p:tags r:id="rId23"/>
                </p:custDataLst>
              </p:nvPr>
            </p:nvSpPr>
            <p:spPr>
              <a:xfrm>
                <a:off x="6858000" y="1905000"/>
                <a:ext cx="1016000" cy="1016000"/>
              </a:xfrm>
              <a:prstGeom prst="roundRect">
                <a:avLst/>
              </a:prstGeom>
              <a:solidFill>
                <a:srgbClr val="EC89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36</a:t>
                </a:r>
              </a:p>
              <a:p>
                <a:pPr defTabSz="914302"/>
                <a:r>
                  <a:rPr lang="en-US" sz="1200" dirty="0">
                    <a:solidFill>
                      <a:prstClr val="white"/>
                    </a:solidFill>
                  </a:rPr>
                  <a:t>137</a:t>
                </a:r>
              </a:p>
              <a:p>
                <a:pPr defTabSz="914302"/>
                <a:r>
                  <a:rPr lang="en-US" sz="1200" dirty="0">
                    <a:solidFill>
                      <a:prstClr val="white"/>
                    </a:solidFill>
                  </a:rPr>
                  <a:t>29</a:t>
                </a:r>
              </a:p>
            </p:txBody>
          </p:sp>
          <p:sp>
            <p:nvSpPr>
              <p:cNvPr id="32" name="TextBox 31"/>
              <p:cNvSpPr txBox="1"/>
              <p:nvPr>
                <p:custDataLst>
                  <p:tags r:id="rId24"/>
                </p:custDataLst>
              </p:nvPr>
            </p:nvSpPr>
            <p:spPr>
              <a:xfrm>
                <a:off x="6667500" y="2921000"/>
                <a:ext cx="1397000" cy="276999"/>
              </a:xfrm>
              <a:prstGeom prst="rect">
                <a:avLst/>
              </a:prstGeom>
              <a:noFill/>
            </p:spPr>
            <p:txBody>
              <a:bodyPr vert="horz" rtlCol="0">
                <a:spAutoFit/>
              </a:bodyPr>
              <a:lstStyle/>
              <a:p>
                <a:pPr algn="ctr" defTabSz="914302"/>
                <a:r>
                  <a:rPr lang="en-US" sz="1200" dirty="0">
                    <a:solidFill>
                      <a:prstClr val="black"/>
                    </a:solidFill>
                  </a:rPr>
                  <a:t>Followed Hyperlink</a:t>
                </a:r>
              </a:p>
            </p:txBody>
          </p:sp>
          <p:sp>
            <p:nvSpPr>
              <p:cNvPr id="33" name="Rounded Rectangle 32"/>
              <p:cNvSpPr/>
              <p:nvPr>
                <p:custDataLst>
                  <p:tags r:id="rId25"/>
                </p:custDataLst>
              </p:nvPr>
            </p:nvSpPr>
            <p:spPr>
              <a:xfrm>
                <a:off x="1143000" y="3429000"/>
                <a:ext cx="1016000" cy="1016000"/>
              </a:xfrm>
              <a:prstGeom prst="roundRect">
                <a:avLst/>
              </a:prstGeom>
              <a:solidFill>
                <a:srgbClr val="7FAFDD"/>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127</a:t>
                </a:r>
              </a:p>
              <a:p>
                <a:pPr defTabSz="914302"/>
                <a:r>
                  <a:rPr lang="en-US" sz="1200" dirty="0">
                    <a:solidFill>
                      <a:prstClr val="white"/>
                    </a:solidFill>
                  </a:rPr>
                  <a:t>175</a:t>
                </a:r>
              </a:p>
              <a:p>
                <a:pPr defTabSz="914302"/>
                <a:r>
                  <a:rPr lang="en-US" sz="1200" dirty="0">
                    <a:solidFill>
                      <a:prstClr val="white"/>
                    </a:solidFill>
                  </a:rPr>
                  <a:t>221</a:t>
                </a:r>
              </a:p>
            </p:txBody>
          </p:sp>
          <p:sp>
            <p:nvSpPr>
              <p:cNvPr id="34" name="TextBox 33"/>
              <p:cNvSpPr txBox="1"/>
              <p:nvPr>
                <p:custDataLst>
                  <p:tags r:id="rId26"/>
                </p:custDataLst>
              </p:nvPr>
            </p:nvSpPr>
            <p:spPr>
              <a:xfrm>
                <a:off x="952500" y="4445000"/>
                <a:ext cx="1397000" cy="276999"/>
              </a:xfrm>
              <a:prstGeom prst="rect">
                <a:avLst/>
              </a:prstGeom>
              <a:noFill/>
            </p:spPr>
            <p:txBody>
              <a:bodyPr vert="horz" rtlCol="0">
                <a:spAutoFit/>
              </a:bodyPr>
              <a:lstStyle/>
              <a:p>
                <a:pPr algn="ctr" defTabSz="914302"/>
                <a:r>
                  <a:rPr lang="en-US" sz="1200" dirty="0">
                    <a:solidFill>
                      <a:prstClr val="black"/>
                    </a:solidFill>
                  </a:rPr>
                  <a:t>Tata Blue 50%</a:t>
                </a:r>
              </a:p>
            </p:txBody>
          </p:sp>
          <p:sp>
            <p:nvSpPr>
              <p:cNvPr id="35" name="Rounded Rectangle 34"/>
              <p:cNvSpPr/>
              <p:nvPr>
                <p:custDataLst>
                  <p:tags r:id="rId27"/>
                </p:custDataLst>
              </p:nvPr>
            </p:nvSpPr>
            <p:spPr>
              <a:xfrm>
                <a:off x="2286000" y="3429000"/>
                <a:ext cx="1016000" cy="1016000"/>
              </a:xfrm>
              <a:prstGeom prst="roundRect">
                <a:avLst/>
              </a:prstGeom>
              <a:solidFill>
                <a:srgbClr val="CBD7EE"/>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03</a:t>
                </a:r>
              </a:p>
              <a:p>
                <a:pPr defTabSz="914302"/>
                <a:r>
                  <a:rPr lang="en-US" sz="1200" dirty="0">
                    <a:solidFill>
                      <a:prstClr val="white"/>
                    </a:solidFill>
                  </a:rPr>
                  <a:t>215</a:t>
                </a:r>
              </a:p>
              <a:p>
                <a:pPr defTabSz="914302"/>
                <a:r>
                  <a:rPr lang="en-US" sz="1200" dirty="0">
                    <a:solidFill>
                      <a:prstClr val="white"/>
                    </a:solidFill>
                  </a:rPr>
                  <a:t>238</a:t>
                </a:r>
              </a:p>
            </p:txBody>
          </p:sp>
          <p:sp>
            <p:nvSpPr>
              <p:cNvPr id="36" name="TextBox 35"/>
              <p:cNvSpPr txBox="1"/>
              <p:nvPr>
                <p:custDataLst>
                  <p:tags r:id="rId28"/>
                </p:custDataLst>
              </p:nvPr>
            </p:nvSpPr>
            <p:spPr>
              <a:xfrm>
                <a:off x="2095500" y="4445000"/>
                <a:ext cx="1397000" cy="276999"/>
              </a:xfrm>
              <a:prstGeom prst="rect">
                <a:avLst/>
              </a:prstGeom>
              <a:noFill/>
            </p:spPr>
            <p:txBody>
              <a:bodyPr vert="horz" rtlCol="0">
                <a:spAutoFit/>
              </a:bodyPr>
              <a:lstStyle/>
              <a:p>
                <a:pPr algn="ctr" defTabSz="914302"/>
                <a:r>
                  <a:rPr lang="en-US" sz="1200" dirty="0">
                    <a:solidFill>
                      <a:prstClr val="black"/>
                    </a:solidFill>
                  </a:rPr>
                  <a:t>Tata Blue 25%</a:t>
                </a:r>
              </a:p>
            </p:txBody>
          </p:sp>
          <p:sp>
            <p:nvSpPr>
              <p:cNvPr id="37" name="Rounded Rectangle 36"/>
              <p:cNvSpPr/>
              <p:nvPr>
                <p:custDataLst>
                  <p:tags r:id="rId29"/>
                </p:custDataLst>
              </p:nvPr>
            </p:nvSpPr>
            <p:spPr>
              <a:xfrm>
                <a:off x="3429000" y="3429000"/>
                <a:ext cx="1016000" cy="1016000"/>
              </a:xfrm>
              <a:prstGeom prst="roundRect">
                <a:avLst/>
              </a:prstGeom>
              <a:solidFill>
                <a:srgbClr val="B395C5"/>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srgbClr val="1F497D"/>
                    </a:solidFill>
                  </a:rPr>
                  <a:t>179</a:t>
                </a:r>
              </a:p>
              <a:p>
                <a:pPr defTabSz="914302"/>
                <a:r>
                  <a:rPr lang="en-US" sz="1200" dirty="0">
                    <a:solidFill>
                      <a:srgbClr val="1F497D"/>
                    </a:solidFill>
                  </a:rPr>
                  <a:t>149</a:t>
                </a:r>
              </a:p>
              <a:p>
                <a:pPr defTabSz="914302"/>
                <a:r>
                  <a:rPr lang="en-US" sz="1200" dirty="0">
                    <a:solidFill>
                      <a:srgbClr val="1F497D"/>
                    </a:solidFill>
                  </a:rPr>
                  <a:t>197</a:t>
                </a:r>
              </a:p>
            </p:txBody>
          </p:sp>
          <p:sp>
            <p:nvSpPr>
              <p:cNvPr id="38" name="TextBox 37"/>
              <p:cNvSpPr txBox="1"/>
              <p:nvPr>
                <p:custDataLst>
                  <p:tags r:id="rId30"/>
                </p:custDataLst>
              </p:nvPr>
            </p:nvSpPr>
            <p:spPr>
              <a:xfrm>
                <a:off x="3238500" y="4445000"/>
                <a:ext cx="1397000" cy="276999"/>
              </a:xfrm>
              <a:prstGeom prst="rect">
                <a:avLst/>
              </a:prstGeom>
              <a:noFill/>
            </p:spPr>
            <p:txBody>
              <a:bodyPr vert="horz" rtlCol="0">
                <a:spAutoFit/>
              </a:bodyPr>
              <a:lstStyle/>
              <a:p>
                <a:pPr algn="ctr" defTabSz="914302"/>
                <a:r>
                  <a:rPr lang="en-US" sz="1200" dirty="0">
                    <a:solidFill>
                      <a:prstClr val="black"/>
                    </a:solidFill>
                  </a:rPr>
                  <a:t>Purple 50 %</a:t>
                </a:r>
              </a:p>
            </p:txBody>
          </p:sp>
          <p:sp>
            <p:nvSpPr>
              <p:cNvPr id="39" name="Rounded Rectangle 38"/>
              <p:cNvSpPr/>
              <p:nvPr>
                <p:custDataLst>
                  <p:tags r:id="rId31"/>
                </p:custDataLst>
              </p:nvPr>
            </p:nvSpPr>
            <p:spPr>
              <a:xfrm>
                <a:off x="4572000" y="3429000"/>
                <a:ext cx="1016000" cy="1016000"/>
              </a:xfrm>
              <a:prstGeom prst="roundRect">
                <a:avLst/>
              </a:prstGeom>
              <a:solidFill>
                <a:srgbClr val="D4C3DF"/>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12</a:t>
                </a:r>
              </a:p>
              <a:p>
                <a:pPr defTabSz="914302"/>
                <a:r>
                  <a:rPr lang="en-US" sz="1200" dirty="0">
                    <a:solidFill>
                      <a:prstClr val="white"/>
                    </a:solidFill>
                  </a:rPr>
                  <a:t>195</a:t>
                </a:r>
              </a:p>
              <a:p>
                <a:pPr defTabSz="914302"/>
                <a:r>
                  <a:rPr lang="en-US" sz="1200" dirty="0">
                    <a:solidFill>
                      <a:prstClr val="white"/>
                    </a:solidFill>
                  </a:rPr>
                  <a:t>223</a:t>
                </a:r>
              </a:p>
            </p:txBody>
          </p:sp>
          <p:sp>
            <p:nvSpPr>
              <p:cNvPr id="40" name="TextBox 39"/>
              <p:cNvSpPr txBox="1"/>
              <p:nvPr>
                <p:custDataLst>
                  <p:tags r:id="rId32"/>
                </p:custDataLst>
              </p:nvPr>
            </p:nvSpPr>
            <p:spPr>
              <a:xfrm>
                <a:off x="4381500" y="4445000"/>
                <a:ext cx="1397000" cy="276999"/>
              </a:xfrm>
              <a:prstGeom prst="rect">
                <a:avLst/>
              </a:prstGeom>
              <a:noFill/>
            </p:spPr>
            <p:txBody>
              <a:bodyPr vert="horz" rtlCol="0">
                <a:spAutoFit/>
              </a:bodyPr>
              <a:lstStyle/>
              <a:p>
                <a:pPr algn="ctr" defTabSz="914302"/>
                <a:r>
                  <a:rPr lang="en-US" sz="1200" dirty="0">
                    <a:solidFill>
                      <a:prstClr val="black"/>
                    </a:solidFill>
                  </a:rPr>
                  <a:t>Purple 25 %</a:t>
                </a:r>
              </a:p>
            </p:txBody>
          </p:sp>
          <p:sp>
            <p:nvSpPr>
              <p:cNvPr id="41" name="Rounded Rectangle 40"/>
              <p:cNvSpPr/>
              <p:nvPr>
                <p:custDataLst>
                  <p:tags r:id="rId33"/>
                </p:custDataLst>
              </p:nvPr>
            </p:nvSpPr>
            <p:spPr>
              <a:xfrm>
                <a:off x="5715000" y="3429000"/>
                <a:ext cx="1016000" cy="1016000"/>
              </a:xfrm>
              <a:prstGeom prst="roundRect">
                <a:avLst/>
              </a:prstGeom>
              <a:solidFill>
                <a:srgbClr val="FFF2AB"/>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55</a:t>
                </a:r>
              </a:p>
              <a:p>
                <a:pPr defTabSz="914302"/>
                <a:r>
                  <a:rPr lang="en-US" sz="1200" dirty="0">
                    <a:solidFill>
                      <a:prstClr val="white"/>
                    </a:solidFill>
                  </a:rPr>
                  <a:t>242</a:t>
                </a:r>
              </a:p>
              <a:p>
                <a:pPr defTabSz="914302"/>
                <a:r>
                  <a:rPr lang="en-US" sz="1200" dirty="0">
                    <a:solidFill>
                      <a:prstClr val="white"/>
                    </a:solidFill>
                  </a:rPr>
                  <a:t>171</a:t>
                </a:r>
              </a:p>
            </p:txBody>
          </p:sp>
          <p:sp>
            <p:nvSpPr>
              <p:cNvPr id="42" name="TextBox 41"/>
              <p:cNvSpPr txBox="1"/>
              <p:nvPr>
                <p:custDataLst>
                  <p:tags r:id="rId34"/>
                </p:custDataLst>
              </p:nvPr>
            </p:nvSpPr>
            <p:spPr>
              <a:xfrm>
                <a:off x="5524500" y="4445000"/>
                <a:ext cx="1397000" cy="276999"/>
              </a:xfrm>
              <a:prstGeom prst="rect">
                <a:avLst/>
              </a:prstGeom>
              <a:noFill/>
            </p:spPr>
            <p:txBody>
              <a:bodyPr vert="horz" rtlCol="0">
                <a:spAutoFit/>
              </a:bodyPr>
              <a:lstStyle/>
              <a:p>
                <a:pPr algn="ctr" defTabSz="914302"/>
                <a:r>
                  <a:rPr lang="en-US" sz="1200" dirty="0">
                    <a:solidFill>
                      <a:prstClr val="black"/>
                    </a:solidFill>
                  </a:rPr>
                  <a:t>Yellow 50 %</a:t>
                </a:r>
              </a:p>
            </p:txBody>
          </p:sp>
          <p:sp>
            <p:nvSpPr>
              <p:cNvPr id="43" name="Rounded Rectangle 42"/>
              <p:cNvSpPr/>
              <p:nvPr>
                <p:custDataLst>
                  <p:tags r:id="rId35"/>
                </p:custDataLst>
              </p:nvPr>
            </p:nvSpPr>
            <p:spPr>
              <a:xfrm>
                <a:off x="6858000" y="3429000"/>
                <a:ext cx="1016000" cy="1016000"/>
              </a:xfrm>
              <a:prstGeom prst="roundRect">
                <a:avLst/>
              </a:prstGeom>
              <a:solidFill>
                <a:srgbClr val="FFF9D5"/>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55</a:t>
                </a:r>
              </a:p>
              <a:p>
                <a:pPr defTabSz="914302"/>
                <a:r>
                  <a:rPr lang="en-US" sz="1200" dirty="0">
                    <a:solidFill>
                      <a:prstClr val="white"/>
                    </a:solidFill>
                  </a:rPr>
                  <a:t>249</a:t>
                </a:r>
              </a:p>
              <a:p>
                <a:pPr defTabSz="914302"/>
                <a:r>
                  <a:rPr lang="en-US" sz="1200" dirty="0">
                    <a:solidFill>
                      <a:prstClr val="white"/>
                    </a:solidFill>
                  </a:rPr>
                  <a:t>213</a:t>
                </a:r>
              </a:p>
            </p:txBody>
          </p:sp>
          <p:sp>
            <p:nvSpPr>
              <p:cNvPr id="44" name="TextBox 43"/>
              <p:cNvSpPr txBox="1"/>
              <p:nvPr>
                <p:custDataLst>
                  <p:tags r:id="rId36"/>
                </p:custDataLst>
              </p:nvPr>
            </p:nvSpPr>
            <p:spPr>
              <a:xfrm>
                <a:off x="6667500" y="4445000"/>
                <a:ext cx="1397000" cy="276999"/>
              </a:xfrm>
              <a:prstGeom prst="rect">
                <a:avLst/>
              </a:prstGeom>
              <a:noFill/>
            </p:spPr>
            <p:txBody>
              <a:bodyPr vert="horz" rtlCol="0">
                <a:spAutoFit/>
              </a:bodyPr>
              <a:lstStyle/>
              <a:p>
                <a:pPr algn="ctr" defTabSz="914302"/>
                <a:r>
                  <a:rPr lang="en-US" sz="1200" dirty="0">
                    <a:solidFill>
                      <a:prstClr val="black"/>
                    </a:solidFill>
                  </a:rPr>
                  <a:t>Yellow 25 %</a:t>
                </a:r>
              </a:p>
            </p:txBody>
          </p:sp>
          <p:sp>
            <p:nvSpPr>
              <p:cNvPr id="45" name="Rounded Rectangle 44"/>
              <p:cNvSpPr/>
              <p:nvPr>
                <p:custDataLst>
                  <p:tags r:id="rId37"/>
                </p:custDataLst>
              </p:nvPr>
            </p:nvSpPr>
            <p:spPr>
              <a:xfrm>
                <a:off x="1143000" y="4826000"/>
                <a:ext cx="1016000" cy="1016000"/>
              </a:xfrm>
              <a:prstGeom prst="roundRect">
                <a:avLst/>
              </a:prstGeom>
              <a:solidFill>
                <a:srgbClr val="E5CDBA"/>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29</a:t>
                </a:r>
              </a:p>
              <a:p>
                <a:pPr defTabSz="914302"/>
                <a:r>
                  <a:rPr lang="en-US" sz="1200" dirty="0">
                    <a:solidFill>
                      <a:prstClr val="white"/>
                    </a:solidFill>
                  </a:rPr>
                  <a:t>205</a:t>
                </a:r>
              </a:p>
              <a:p>
                <a:pPr defTabSz="914302"/>
                <a:r>
                  <a:rPr lang="en-US" sz="1200" dirty="0">
                    <a:solidFill>
                      <a:prstClr val="white"/>
                    </a:solidFill>
                  </a:rPr>
                  <a:t>186</a:t>
                </a:r>
              </a:p>
            </p:txBody>
          </p:sp>
          <p:sp>
            <p:nvSpPr>
              <p:cNvPr id="46" name="TextBox 45"/>
              <p:cNvSpPr txBox="1"/>
              <p:nvPr>
                <p:custDataLst>
                  <p:tags r:id="rId38"/>
                </p:custDataLst>
              </p:nvPr>
            </p:nvSpPr>
            <p:spPr>
              <a:xfrm>
                <a:off x="952500" y="5842000"/>
                <a:ext cx="1397000" cy="276999"/>
              </a:xfrm>
              <a:prstGeom prst="rect">
                <a:avLst/>
              </a:prstGeom>
              <a:noFill/>
            </p:spPr>
            <p:txBody>
              <a:bodyPr vert="horz" rtlCol="0">
                <a:spAutoFit/>
              </a:bodyPr>
              <a:lstStyle/>
              <a:p>
                <a:pPr algn="ctr" defTabSz="914302"/>
                <a:r>
                  <a:rPr lang="en-US" sz="1200" dirty="0">
                    <a:solidFill>
                      <a:prstClr val="black"/>
                    </a:solidFill>
                  </a:rPr>
                  <a:t>Brown 50 %</a:t>
                </a:r>
              </a:p>
            </p:txBody>
          </p:sp>
          <p:sp>
            <p:nvSpPr>
              <p:cNvPr id="47" name="Rounded Rectangle 46"/>
              <p:cNvSpPr/>
              <p:nvPr>
                <p:custDataLst>
                  <p:tags r:id="rId39"/>
                </p:custDataLst>
              </p:nvPr>
            </p:nvSpPr>
            <p:spPr>
              <a:xfrm>
                <a:off x="2286000" y="4826000"/>
                <a:ext cx="1016000" cy="1016000"/>
              </a:xfrm>
              <a:prstGeom prst="roundRect">
                <a:avLst/>
              </a:prstGeom>
              <a:solidFill>
                <a:srgbClr val="F8F1EB"/>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48</a:t>
                </a:r>
              </a:p>
              <a:p>
                <a:pPr defTabSz="914302"/>
                <a:r>
                  <a:rPr lang="en-US" sz="1200" dirty="0">
                    <a:solidFill>
                      <a:prstClr val="white"/>
                    </a:solidFill>
                  </a:rPr>
                  <a:t>241</a:t>
                </a:r>
              </a:p>
              <a:p>
                <a:pPr defTabSz="914302"/>
                <a:r>
                  <a:rPr lang="en-US" sz="1200" dirty="0">
                    <a:solidFill>
                      <a:prstClr val="white"/>
                    </a:solidFill>
                  </a:rPr>
                  <a:t>235</a:t>
                </a:r>
              </a:p>
            </p:txBody>
          </p:sp>
          <p:sp>
            <p:nvSpPr>
              <p:cNvPr id="48" name="TextBox 47"/>
              <p:cNvSpPr txBox="1"/>
              <p:nvPr>
                <p:custDataLst>
                  <p:tags r:id="rId40"/>
                </p:custDataLst>
              </p:nvPr>
            </p:nvSpPr>
            <p:spPr>
              <a:xfrm>
                <a:off x="2095500" y="5842000"/>
                <a:ext cx="1397000" cy="276999"/>
              </a:xfrm>
              <a:prstGeom prst="rect">
                <a:avLst/>
              </a:prstGeom>
              <a:noFill/>
            </p:spPr>
            <p:txBody>
              <a:bodyPr vert="horz" rtlCol="0">
                <a:spAutoFit/>
              </a:bodyPr>
              <a:lstStyle/>
              <a:p>
                <a:pPr algn="ctr" defTabSz="914302"/>
                <a:r>
                  <a:rPr lang="en-US" sz="1200" dirty="0">
                    <a:solidFill>
                      <a:prstClr val="black"/>
                    </a:solidFill>
                  </a:rPr>
                  <a:t>Brown 25 %</a:t>
                </a:r>
              </a:p>
            </p:txBody>
          </p:sp>
          <p:sp>
            <p:nvSpPr>
              <p:cNvPr id="49" name="Rounded Rectangle 48"/>
              <p:cNvSpPr/>
              <p:nvPr>
                <p:custDataLst>
                  <p:tags r:id="rId41"/>
                </p:custDataLst>
              </p:nvPr>
            </p:nvSpPr>
            <p:spPr>
              <a:xfrm>
                <a:off x="3429000" y="4826000"/>
                <a:ext cx="1016000" cy="1016000"/>
              </a:xfrm>
              <a:prstGeom prst="roundRect">
                <a:avLst/>
              </a:prstGeom>
              <a:solidFill>
                <a:srgbClr val="B4D59A"/>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srgbClr val="7FAFDD"/>
                    </a:solidFill>
                  </a:rPr>
                  <a:t>180</a:t>
                </a:r>
              </a:p>
              <a:p>
                <a:pPr defTabSz="914302"/>
                <a:r>
                  <a:rPr lang="en-US" sz="1200" dirty="0">
                    <a:solidFill>
                      <a:srgbClr val="7FAFDD"/>
                    </a:solidFill>
                  </a:rPr>
                  <a:t>213</a:t>
                </a:r>
              </a:p>
              <a:p>
                <a:pPr defTabSz="914302"/>
                <a:r>
                  <a:rPr lang="en-US" sz="1200" dirty="0">
                    <a:solidFill>
                      <a:srgbClr val="7FAFDD"/>
                    </a:solidFill>
                  </a:rPr>
                  <a:t>154</a:t>
                </a:r>
              </a:p>
            </p:txBody>
          </p:sp>
          <p:sp>
            <p:nvSpPr>
              <p:cNvPr id="50" name="TextBox 49"/>
              <p:cNvSpPr txBox="1"/>
              <p:nvPr>
                <p:custDataLst>
                  <p:tags r:id="rId42"/>
                </p:custDataLst>
              </p:nvPr>
            </p:nvSpPr>
            <p:spPr>
              <a:xfrm>
                <a:off x="3238500" y="5842000"/>
                <a:ext cx="1397000" cy="276999"/>
              </a:xfrm>
              <a:prstGeom prst="rect">
                <a:avLst/>
              </a:prstGeom>
              <a:noFill/>
            </p:spPr>
            <p:txBody>
              <a:bodyPr vert="horz" rtlCol="0">
                <a:spAutoFit/>
              </a:bodyPr>
              <a:lstStyle/>
              <a:p>
                <a:pPr algn="ctr" defTabSz="914302"/>
                <a:r>
                  <a:rPr lang="en-US" sz="1200" dirty="0">
                    <a:solidFill>
                      <a:prstClr val="black"/>
                    </a:solidFill>
                  </a:rPr>
                  <a:t>Green 50 %</a:t>
                </a:r>
              </a:p>
            </p:txBody>
          </p:sp>
          <p:sp>
            <p:nvSpPr>
              <p:cNvPr id="51" name="Rounded Rectangle 50"/>
              <p:cNvSpPr/>
              <p:nvPr>
                <p:custDataLst>
                  <p:tags r:id="rId43"/>
                </p:custDataLst>
              </p:nvPr>
            </p:nvSpPr>
            <p:spPr>
              <a:xfrm>
                <a:off x="4572000" y="4826000"/>
                <a:ext cx="1016000" cy="1016000"/>
              </a:xfrm>
              <a:prstGeom prst="roundRect">
                <a:avLst/>
              </a:prstGeom>
              <a:solidFill>
                <a:srgbClr val="D6E7C8"/>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14</a:t>
                </a:r>
              </a:p>
              <a:p>
                <a:pPr defTabSz="914302"/>
                <a:r>
                  <a:rPr lang="en-US" sz="1200" dirty="0">
                    <a:solidFill>
                      <a:prstClr val="white"/>
                    </a:solidFill>
                  </a:rPr>
                  <a:t>231</a:t>
                </a:r>
              </a:p>
              <a:p>
                <a:pPr defTabSz="914302"/>
                <a:r>
                  <a:rPr lang="en-US" sz="1200" dirty="0">
                    <a:solidFill>
                      <a:prstClr val="white"/>
                    </a:solidFill>
                  </a:rPr>
                  <a:t>200</a:t>
                </a:r>
              </a:p>
            </p:txBody>
          </p:sp>
          <p:sp>
            <p:nvSpPr>
              <p:cNvPr id="52" name="TextBox 51"/>
              <p:cNvSpPr txBox="1"/>
              <p:nvPr>
                <p:custDataLst>
                  <p:tags r:id="rId44"/>
                </p:custDataLst>
              </p:nvPr>
            </p:nvSpPr>
            <p:spPr>
              <a:xfrm>
                <a:off x="4381500" y="5842000"/>
                <a:ext cx="1397000" cy="276999"/>
              </a:xfrm>
              <a:prstGeom prst="rect">
                <a:avLst/>
              </a:prstGeom>
              <a:noFill/>
            </p:spPr>
            <p:txBody>
              <a:bodyPr vert="horz" rtlCol="0">
                <a:spAutoFit/>
              </a:bodyPr>
              <a:lstStyle/>
              <a:p>
                <a:pPr algn="ctr" defTabSz="914302"/>
                <a:r>
                  <a:rPr lang="en-US" sz="1200" dirty="0">
                    <a:solidFill>
                      <a:prstClr val="black"/>
                    </a:solidFill>
                  </a:rPr>
                  <a:t>Green 25 %</a:t>
                </a:r>
              </a:p>
            </p:txBody>
          </p:sp>
          <p:sp>
            <p:nvSpPr>
              <p:cNvPr id="53" name="Rounded Rectangle 52"/>
              <p:cNvSpPr/>
              <p:nvPr>
                <p:custDataLst>
                  <p:tags r:id="rId45"/>
                </p:custDataLst>
              </p:nvPr>
            </p:nvSpPr>
            <p:spPr>
              <a:xfrm>
                <a:off x="5715000" y="4826000"/>
                <a:ext cx="1016000" cy="1016000"/>
              </a:xfrm>
              <a:prstGeom prst="roundRect">
                <a:avLst/>
              </a:prstGeom>
              <a:solidFill>
                <a:srgbClr val="F1F0CA"/>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41</a:t>
                </a:r>
              </a:p>
              <a:p>
                <a:pPr defTabSz="914302"/>
                <a:r>
                  <a:rPr lang="en-US" sz="1200" dirty="0">
                    <a:solidFill>
                      <a:prstClr val="white"/>
                    </a:solidFill>
                  </a:rPr>
                  <a:t>240</a:t>
                </a:r>
              </a:p>
              <a:p>
                <a:pPr defTabSz="914302"/>
                <a:r>
                  <a:rPr lang="en-US" sz="1200" dirty="0">
                    <a:solidFill>
                      <a:prstClr val="white"/>
                    </a:solidFill>
                  </a:rPr>
                  <a:t>202</a:t>
                </a:r>
              </a:p>
            </p:txBody>
          </p:sp>
          <p:sp>
            <p:nvSpPr>
              <p:cNvPr id="54" name="TextBox 53"/>
              <p:cNvSpPr txBox="1"/>
              <p:nvPr>
                <p:custDataLst>
                  <p:tags r:id="rId46"/>
                </p:custDataLst>
              </p:nvPr>
            </p:nvSpPr>
            <p:spPr>
              <a:xfrm>
                <a:off x="5524500" y="5842000"/>
                <a:ext cx="1397000" cy="276999"/>
              </a:xfrm>
              <a:prstGeom prst="rect">
                <a:avLst/>
              </a:prstGeom>
              <a:noFill/>
            </p:spPr>
            <p:txBody>
              <a:bodyPr vert="horz" rtlCol="0">
                <a:spAutoFit/>
              </a:bodyPr>
              <a:lstStyle/>
              <a:p>
                <a:pPr algn="ctr" defTabSz="914302"/>
                <a:r>
                  <a:rPr lang="en-US" sz="1200" dirty="0">
                    <a:solidFill>
                      <a:prstClr val="black"/>
                    </a:solidFill>
                  </a:rPr>
                  <a:t>Light Green 50%</a:t>
                </a:r>
              </a:p>
            </p:txBody>
          </p:sp>
          <p:sp>
            <p:nvSpPr>
              <p:cNvPr id="55" name="Rounded Rectangle 54"/>
              <p:cNvSpPr/>
              <p:nvPr>
                <p:custDataLst>
                  <p:tags r:id="rId47"/>
                </p:custDataLst>
              </p:nvPr>
            </p:nvSpPr>
            <p:spPr>
              <a:xfrm>
                <a:off x="6858000" y="4826000"/>
                <a:ext cx="1016000" cy="1016000"/>
              </a:xfrm>
              <a:prstGeom prst="roundRect">
                <a:avLst/>
              </a:prstGeom>
              <a:solidFill>
                <a:srgbClr val="FBFBF1"/>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51</a:t>
                </a:r>
              </a:p>
              <a:p>
                <a:pPr defTabSz="914302"/>
                <a:r>
                  <a:rPr lang="en-US" sz="1200" dirty="0">
                    <a:solidFill>
                      <a:prstClr val="white"/>
                    </a:solidFill>
                  </a:rPr>
                  <a:t>251</a:t>
                </a:r>
              </a:p>
              <a:p>
                <a:pPr defTabSz="914302"/>
                <a:r>
                  <a:rPr lang="en-US" sz="1200" dirty="0">
                    <a:solidFill>
                      <a:prstClr val="white"/>
                    </a:solidFill>
                  </a:rPr>
                  <a:t>241</a:t>
                </a:r>
              </a:p>
            </p:txBody>
          </p:sp>
          <p:sp>
            <p:nvSpPr>
              <p:cNvPr id="56" name="TextBox 55"/>
              <p:cNvSpPr txBox="1"/>
              <p:nvPr>
                <p:custDataLst>
                  <p:tags r:id="rId48"/>
                </p:custDataLst>
              </p:nvPr>
            </p:nvSpPr>
            <p:spPr>
              <a:xfrm>
                <a:off x="6667500" y="5842000"/>
                <a:ext cx="1397000" cy="276999"/>
              </a:xfrm>
              <a:prstGeom prst="rect">
                <a:avLst/>
              </a:prstGeom>
              <a:noFill/>
            </p:spPr>
            <p:txBody>
              <a:bodyPr vert="horz" rtlCol="0">
                <a:spAutoFit/>
              </a:bodyPr>
              <a:lstStyle/>
              <a:p>
                <a:pPr algn="ctr" defTabSz="914302"/>
                <a:r>
                  <a:rPr lang="en-US" sz="1200" dirty="0">
                    <a:solidFill>
                      <a:prstClr val="black"/>
                    </a:solidFill>
                  </a:rPr>
                  <a:t>Light Green 25%</a:t>
                </a:r>
              </a:p>
            </p:txBody>
          </p:sp>
        </p:grpSp>
        <p:sp>
          <p:nvSpPr>
            <p:cNvPr id="8" name="TextBox 7"/>
            <p:cNvSpPr txBox="1"/>
            <p:nvPr/>
          </p:nvSpPr>
          <p:spPr>
            <a:xfrm>
              <a:off x="127000" y="0"/>
              <a:ext cx="2540000" cy="369332"/>
            </a:xfrm>
            <a:prstGeom prst="rect">
              <a:avLst/>
            </a:prstGeom>
            <a:noFill/>
          </p:spPr>
          <p:txBody>
            <a:bodyPr vert="horz" rtlCol="0">
              <a:spAutoFit/>
            </a:bodyPr>
            <a:lstStyle/>
            <a:p>
              <a:pPr defTabSz="914302"/>
              <a:r>
                <a:rPr lang="en-US" dirty="0">
                  <a:solidFill>
                    <a:prstClr val="black"/>
                  </a:solidFill>
                </a:rPr>
                <a:t>Title and Content</a:t>
              </a:r>
            </a:p>
          </p:txBody>
        </p:sp>
      </p:grpSp>
      <p:pic>
        <p:nvPicPr>
          <p:cNvPr id="6" name="Picture 4"/>
          <p:cNvPicPr>
            <a:picLocks noChangeAspect="1" noChangeArrowheads="1"/>
          </p:cNvPicPr>
          <p:nvPr/>
        </p:nvPicPr>
        <p:blipFill>
          <a:blip r:embed="rId50" cstate="print"/>
          <a:srcRect l="19609" t="20313" r="5391" b="9277"/>
          <a:stretch>
            <a:fillRect/>
          </a:stretch>
        </p:blipFill>
        <p:spPr bwMode="auto">
          <a:xfrm>
            <a:off x="0" y="-9525"/>
            <a:ext cx="12192000" cy="6867525"/>
          </a:xfrm>
          <a:prstGeom prst="rect">
            <a:avLst/>
          </a:prstGeom>
          <a:noFill/>
          <a:ln w="9525">
            <a:noFill/>
            <a:miter lim="800000"/>
            <a:headEnd/>
            <a:tailEnd/>
          </a:ln>
          <a:effectLst/>
        </p:spPr>
      </p:pic>
      <p:sp>
        <p:nvSpPr>
          <p:cNvPr id="2" name="Title 1"/>
          <p:cNvSpPr>
            <a:spLocks noGrp="1"/>
          </p:cNvSpPr>
          <p:nvPr>
            <p:ph type="ctrTitle"/>
          </p:nvPr>
        </p:nvSpPr>
        <p:spPr>
          <a:xfrm>
            <a:off x="497840" y="3444241"/>
            <a:ext cx="11226800" cy="685800"/>
          </a:xfrm>
        </p:spPr>
        <p:txBody>
          <a:bodyPr>
            <a:normAutofit/>
          </a:bodyPr>
          <a:lstStyle>
            <a:lvl1pPr algn="l">
              <a:defRPr kumimoji="0" lang="en-US" sz="3800" b="0" i="0" u="none" strike="noStrike" kern="1200" cap="none" normalizeH="0" baseline="0" dirty="0">
                <a:ln>
                  <a:noFill/>
                </a:ln>
                <a:solidFill>
                  <a:srgbClr val="FFFFFF"/>
                </a:solidFill>
                <a:effectLst/>
                <a:latin typeface="Myriad Pro" pitchFamily="34" charset="0"/>
                <a:ea typeface="+mn-ea"/>
                <a:cs typeface="+mn-cs"/>
              </a:defRPr>
            </a:lvl1pPr>
          </a:lstStyle>
          <a:p>
            <a:pPr marL="0" marR="0" lvl="0" indent="0" algn="l" defTabSz="914400" rtl="0" eaLnBrk="1" fontAlgn="base" latinLnBrk="0" hangingPunct="1">
              <a:lnSpc>
                <a:spcPct val="100000"/>
              </a:lnSpc>
              <a:spcBef>
                <a:spcPct val="0"/>
              </a:spcBef>
              <a:spcAft>
                <a:spcPct val="0"/>
              </a:spcAft>
              <a:buClrTx/>
              <a:buSzTx/>
              <a:buFontTx/>
              <a:buNone/>
              <a:tabLst/>
            </a:pPr>
            <a:r>
              <a:rPr lang="en-US" smtClean="0"/>
              <a:t>Click to edit Master title style</a:t>
            </a:r>
            <a:endParaRPr lang="en-US" dirty="0"/>
          </a:p>
        </p:txBody>
      </p:sp>
      <p:sp>
        <p:nvSpPr>
          <p:cNvPr id="3" name="Subtitle 2"/>
          <p:cNvSpPr>
            <a:spLocks noGrp="1"/>
          </p:cNvSpPr>
          <p:nvPr>
            <p:ph type="subTitle" idx="1"/>
          </p:nvPr>
        </p:nvSpPr>
        <p:spPr>
          <a:xfrm>
            <a:off x="482600" y="4133850"/>
            <a:ext cx="11252200" cy="609600"/>
          </a:xfrm>
          <a:prstGeom prst="rect">
            <a:avLst/>
          </a:prstGeom>
        </p:spPr>
        <p:txBody>
          <a:bodyPr>
            <a:normAutofit/>
          </a:bodyPr>
          <a:lstStyle>
            <a:lvl1pPr marL="0" indent="0" algn="l">
              <a:buNone/>
              <a:defRPr kumimoji="0" lang="en-US" sz="3400" b="0" i="0" u="none" strike="noStrike" kern="1200" cap="none" normalizeH="0" baseline="0" dirty="0">
                <a:ln>
                  <a:noFill/>
                </a:ln>
                <a:solidFill>
                  <a:srgbClr val="FFFFFF"/>
                </a:solidFill>
                <a:effectLst/>
                <a:latin typeface="Myriad Pro Light" pitchFamily="34" charset="0"/>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smtClean="0"/>
              <a:t>Click to edit Master subtitle style</a:t>
            </a:r>
            <a:endParaRPr lang="en-US" dirty="0"/>
          </a:p>
        </p:txBody>
      </p:sp>
    </p:spTree>
    <p:extLst>
      <p:ext uri="{BB962C8B-B14F-4D97-AF65-F5344CB8AC3E}">
        <p14:creationId xmlns:p14="http://schemas.microsoft.com/office/powerpoint/2010/main" val="27904381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603790"/>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603790"/>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56687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0191500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03121"/>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03121"/>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58680085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69486"/>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69486"/>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9782556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4" name="Group 4"/>
          <p:cNvGrpSpPr/>
          <p:nvPr/>
        </p:nvGrpSpPr>
        <p:grpSpPr>
          <a:xfrm>
            <a:off x="169334" y="1"/>
            <a:ext cx="10583333" cy="6118999"/>
            <a:chOff x="127000" y="0"/>
            <a:chExt cx="7937500" cy="6118999"/>
          </a:xfrm>
        </p:grpSpPr>
        <p:grpSp>
          <p:nvGrpSpPr>
            <p:cNvPr id="5" name="Group 53"/>
            <p:cNvGrpSpPr/>
            <p:nvPr/>
          </p:nvGrpSpPr>
          <p:grpSpPr>
            <a:xfrm>
              <a:off x="952500" y="508000"/>
              <a:ext cx="7112000" cy="5610999"/>
              <a:chOff x="952500" y="508000"/>
              <a:chExt cx="7112000" cy="5610999"/>
            </a:xfrm>
          </p:grpSpPr>
          <p:sp>
            <p:nvSpPr>
              <p:cNvPr id="9" name="Rounded Rectangle 8"/>
              <p:cNvSpPr/>
              <p:nvPr>
                <p:custDataLst>
                  <p:tags r:id="rId1"/>
                </p:custDataLst>
              </p:nvPr>
            </p:nvSpPr>
            <p:spPr>
              <a:xfrm>
                <a:off x="1143000" y="508000"/>
                <a:ext cx="1016000" cy="1016000"/>
              </a:xfrm>
              <a:prstGeom prst="roundRect">
                <a:avLst/>
              </a:prstGeom>
              <a:solidFill>
                <a:srgbClr val="6DCF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109</a:t>
                </a:r>
              </a:p>
              <a:p>
                <a:pPr defTabSz="914302"/>
                <a:r>
                  <a:rPr lang="en-US" sz="1200" dirty="0">
                    <a:solidFill>
                      <a:prstClr val="white"/>
                    </a:solidFill>
                  </a:rPr>
                  <a:t>207</a:t>
                </a:r>
              </a:p>
              <a:p>
                <a:pPr defTabSz="914302"/>
                <a:r>
                  <a:rPr lang="en-US" sz="1200" dirty="0">
                    <a:solidFill>
                      <a:prstClr val="white"/>
                    </a:solidFill>
                  </a:rPr>
                  <a:t>246</a:t>
                </a:r>
              </a:p>
            </p:txBody>
          </p:sp>
          <p:sp>
            <p:nvSpPr>
              <p:cNvPr id="10" name="TextBox 9"/>
              <p:cNvSpPr txBox="1"/>
              <p:nvPr>
                <p:custDataLst>
                  <p:tags r:id="rId2"/>
                </p:custDataLst>
              </p:nvPr>
            </p:nvSpPr>
            <p:spPr>
              <a:xfrm>
                <a:off x="952500" y="1524000"/>
                <a:ext cx="1397000" cy="276999"/>
              </a:xfrm>
              <a:prstGeom prst="rect">
                <a:avLst/>
              </a:prstGeom>
              <a:noFill/>
            </p:spPr>
            <p:txBody>
              <a:bodyPr vert="horz" rtlCol="0">
                <a:spAutoFit/>
              </a:bodyPr>
              <a:lstStyle/>
              <a:p>
                <a:pPr algn="ctr" defTabSz="914302"/>
                <a:r>
                  <a:rPr lang="en-US" sz="1200" dirty="0">
                    <a:solidFill>
                      <a:prstClr val="black"/>
                    </a:solidFill>
                  </a:rPr>
                  <a:t>Dark 1</a:t>
                </a:r>
              </a:p>
            </p:txBody>
          </p:sp>
          <p:sp>
            <p:nvSpPr>
              <p:cNvPr id="11" name="Rounded Rectangle 10"/>
              <p:cNvSpPr/>
              <p:nvPr>
                <p:custDataLst>
                  <p:tags r:id="rId3"/>
                </p:custDataLst>
              </p:nvPr>
            </p:nvSpPr>
            <p:spPr>
              <a:xfrm>
                <a:off x="2286000" y="508000"/>
                <a:ext cx="1016000" cy="1016000"/>
              </a:xfrm>
              <a:prstGeom prst="round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srgbClr val="1F497D"/>
                    </a:solidFill>
                  </a:rPr>
                  <a:t>255</a:t>
                </a:r>
              </a:p>
              <a:p>
                <a:pPr defTabSz="914302"/>
                <a:r>
                  <a:rPr lang="en-US" sz="1200" dirty="0">
                    <a:solidFill>
                      <a:srgbClr val="1F497D"/>
                    </a:solidFill>
                  </a:rPr>
                  <a:t>255</a:t>
                </a:r>
              </a:p>
              <a:p>
                <a:pPr defTabSz="914302"/>
                <a:r>
                  <a:rPr lang="en-US" sz="1200" dirty="0">
                    <a:solidFill>
                      <a:srgbClr val="1F497D"/>
                    </a:solidFill>
                  </a:rPr>
                  <a:t>255</a:t>
                </a:r>
              </a:p>
            </p:txBody>
          </p:sp>
          <p:sp>
            <p:nvSpPr>
              <p:cNvPr id="12" name="TextBox 11"/>
              <p:cNvSpPr txBox="1"/>
              <p:nvPr>
                <p:custDataLst>
                  <p:tags r:id="rId4"/>
                </p:custDataLst>
              </p:nvPr>
            </p:nvSpPr>
            <p:spPr>
              <a:xfrm>
                <a:off x="2095500" y="1524000"/>
                <a:ext cx="1397000" cy="276999"/>
              </a:xfrm>
              <a:prstGeom prst="rect">
                <a:avLst/>
              </a:prstGeom>
              <a:noFill/>
            </p:spPr>
            <p:txBody>
              <a:bodyPr vert="horz" rtlCol="0">
                <a:spAutoFit/>
              </a:bodyPr>
              <a:lstStyle/>
              <a:p>
                <a:pPr algn="ctr" defTabSz="914302"/>
                <a:r>
                  <a:rPr lang="en-US" sz="1200" dirty="0">
                    <a:solidFill>
                      <a:prstClr val="black"/>
                    </a:solidFill>
                  </a:rPr>
                  <a:t>Light 1</a:t>
                </a:r>
              </a:p>
            </p:txBody>
          </p:sp>
          <p:sp>
            <p:nvSpPr>
              <p:cNvPr id="13" name="Rounded Rectangle 12"/>
              <p:cNvSpPr/>
              <p:nvPr>
                <p:custDataLst>
                  <p:tags r:id="rId5"/>
                </p:custDataLst>
              </p:nvPr>
            </p:nvSpPr>
            <p:spPr>
              <a:xfrm>
                <a:off x="3429000" y="508000"/>
                <a:ext cx="1016000" cy="1016000"/>
              </a:xfrm>
              <a:prstGeom prst="roundRect">
                <a:avLst/>
              </a:prstGeom>
              <a:solidFill>
                <a:srgbClr val="8338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131</a:t>
                </a:r>
              </a:p>
              <a:p>
                <a:pPr defTabSz="914302"/>
                <a:r>
                  <a:rPr lang="en-US" sz="1200" dirty="0">
                    <a:solidFill>
                      <a:prstClr val="white"/>
                    </a:solidFill>
                  </a:rPr>
                  <a:t>56</a:t>
                </a:r>
              </a:p>
              <a:p>
                <a:pPr defTabSz="914302"/>
                <a:r>
                  <a:rPr lang="en-US" sz="1200" dirty="0">
                    <a:solidFill>
                      <a:prstClr val="white"/>
                    </a:solidFill>
                  </a:rPr>
                  <a:t>155</a:t>
                </a:r>
              </a:p>
            </p:txBody>
          </p:sp>
          <p:sp>
            <p:nvSpPr>
              <p:cNvPr id="14" name="TextBox 13"/>
              <p:cNvSpPr txBox="1"/>
              <p:nvPr>
                <p:custDataLst>
                  <p:tags r:id="rId6"/>
                </p:custDataLst>
              </p:nvPr>
            </p:nvSpPr>
            <p:spPr>
              <a:xfrm>
                <a:off x="3238500" y="1524000"/>
                <a:ext cx="1397000" cy="276999"/>
              </a:xfrm>
              <a:prstGeom prst="rect">
                <a:avLst/>
              </a:prstGeom>
              <a:noFill/>
            </p:spPr>
            <p:txBody>
              <a:bodyPr vert="horz" rtlCol="0">
                <a:spAutoFit/>
              </a:bodyPr>
              <a:lstStyle/>
              <a:p>
                <a:pPr algn="ctr" defTabSz="914302"/>
                <a:r>
                  <a:rPr lang="en-US" sz="1200" dirty="0">
                    <a:solidFill>
                      <a:prstClr val="black"/>
                    </a:solidFill>
                  </a:rPr>
                  <a:t>Dark 2</a:t>
                </a:r>
              </a:p>
            </p:txBody>
          </p:sp>
          <p:sp>
            <p:nvSpPr>
              <p:cNvPr id="15" name="Rounded Rectangle 14"/>
              <p:cNvSpPr/>
              <p:nvPr>
                <p:custDataLst>
                  <p:tags r:id="rId7"/>
                </p:custDataLst>
              </p:nvPr>
            </p:nvSpPr>
            <p:spPr>
              <a:xfrm>
                <a:off x="4572000" y="508000"/>
                <a:ext cx="1016000" cy="1016000"/>
              </a:xfrm>
              <a:prstGeom prst="roundRect">
                <a:avLst/>
              </a:prstGeom>
              <a:solidFill>
                <a:srgbClr val="0063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0</a:t>
                </a:r>
              </a:p>
              <a:p>
                <a:pPr defTabSz="914302"/>
                <a:r>
                  <a:rPr lang="en-US" sz="1200" dirty="0">
                    <a:solidFill>
                      <a:prstClr val="white"/>
                    </a:solidFill>
                  </a:rPr>
                  <a:t>99</a:t>
                </a:r>
              </a:p>
              <a:p>
                <a:pPr defTabSz="914302"/>
                <a:r>
                  <a:rPr lang="en-US" sz="1200" dirty="0">
                    <a:solidFill>
                      <a:prstClr val="white"/>
                    </a:solidFill>
                  </a:rPr>
                  <a:t>190</a:t>
                </a:r>
              </a:p>
            </p:txBody>
          </p:sp>
          <p:sp>
            <p:nvSpPr>
              <p:cNvPr id="16" name="TextBox 15"/>
              <p:cNvSpPr txBox="1"/>
              <p:nvPr>
                <p:custDataLst>
                  <p:tags r:id="rId8"/>
                </p:custDataLst>
              </p:nvPr>
            </p:nvSpPr>
            <p:spPr>
              <a:xfrm>
                <a:off x="4381500" y="1524000"/>
                <a:ext cx="1397000" cy="276999"/>
              </a:xfrm>
              <a:prstGeom prst="rect">
                <a:avLst/>
              </a:prstGeom>
              <a:noFill/>
            </p:spPr>
            <p:txBody>
              <a:bodyPr vert="horz" rtlCol="0">
                <a:spAutoFit/>
              </a:bodyPr>
              <a:lstStyle/>
              <a:p>
                <a:pPr algn="ctr" defTabSz="914302"/>
                <a:r>
                  <a:rPr lang="en-US" sz="1200" dirty="0">
                    <a:solidFill>
                      <a:prstClr val="black"/>
                    </a:solidFill>
                  </a:rPr>
                  <a:t>Light 2</a:t>
                </a:r>
              </a:p>
            </p:txBody>
          </p:sp>
          <p:sp>
            <p:nvSpPr>
              <p:cNvPr id="17" name="Rounded Rectangle 16"/>
              <p:cNvSpPr/>
              <p:nvPr>
                <p:custDataLst>
                  <p:tags r:id="rId9"/>
                </p:custDataLst>
              </p:nvPr>
            </p:nvSpPr>
            <p:spPr>
              <a:xfrm>
                <a:off x="5715000" y="508000"/>
                <a:ext cx="1016000" cy="1016000"/>
              </a:xfrm>
              <a:prstGeom prst="roundRect">
                <a:avLst/>
              </a:prstGeom>
              <a:solidFill>
                <a:srgbClr val="55A5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85</a:t>
                </a:r>
              </a:p>
              <a:p>
                <a:pPr defTabSz="914302"/>
                <a:r>
                  <a:rPr lang="en-US" sz="1200" dirty="0">
                    <a:solidFill>
                      <a:prstClr val="white"/>
                    </a:solidFill>
                  </a:rPr>
                  <a:t>165</a:t>
                </a:r>
              </a:p>
              <a:p>
                <a:pPr defTabSz="914302"/>
                <a:r>
                  <a:rPr lang="en-US" sz="1200" dirty="0">
                    <a:solidFill>
                      <a:prstClr val="white"/>
                    </a:solidFill>
                  </a:rPr>
                  <a:t>28</a:t>
                </a:r>
              </a:p>
            </p:txBody>
          </p:sp>
          <p:sp>
            <p:nvSpPr>
              <p:cNvPr id="18" name="TextBox 17"/>
              <p:cNvSpPr txBox="1"/>
              <p:nvPr>
                <p:custDataLst>
                  <p:tags r:id="rId10"/>
                </p:custDataLst>
              </p:nvPr>
            </p:nvSpPr>
            <p:spPr>
              <a:xfrm>
                <a:off x="5524500" y="1524000"/>
                <a:ext cx="1397000" cy="276999"/>
              </a:xfrm>
              <a:prstGeom prst="rect">
                <a:avLst/>
              </a:prstGeom>
              <a:noFill/>
            </p:spPr>
            <p:txBody>
              <a:bodyPr vert="horz" rtlCol="0">
                <a:spAutoFit/>
              </a:bodyPr>
              <a:lstStyle/>
              <a:p>
                <a:pPr algn="ctr" defTabSz="914302"/>
                <a:r>
                  <a:rPr lang="en-US" sz="1200" dirty="0">
                    <a:solidFill>
                      <a:prstClr val="black"/>
                    </a:solidFill>
                  </a:rPr>
                  <a:t>Accent 1</a:t>
                </a:r>
              </a:p>
            </p:txBody>
          </p:sp>
          <p:sp>
            <p:nvSpPr>
              <p:cNvPr id="19" name="Rounded Rectangle 18"/>
              <p:cNvSpPr/>
              <p:nvPr>
                <p:custDataLst>
                  <p:tags r:id="rId11"/>
                </p:custDataLst>
              </p:nvPr>
            </p:nvSpPr>
            <p:spPr>
              <a:xfrm>
                <a:off x="6858000" y="508000"/>
                <a:ext cx="1016000" cy="1016000"/>
              </a:xfrm>
              <a:prstGeom prst="roundRect">
                <a:avLst/>
              </a:prstGeom>
              <a:solidFill>
                <a:srgbClr val="D649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14</a:t>
                </a:r>
              </a:p>
              <a:p>
                <a:pPr defTabSz="914302"/>
                <a:r>
                  <a:rPr lang="en-US" sz="1200" dirty="0">
                    <a:solidFill>
                      <a:prstClr val="white"/>
                    </a:solidFill>
                  </a:rPr>
                  <a:t>73</a:t>
                </a:r>
              </a:p>
              <a:p>
                <a:pPr defTabSz="914302"/>
                <a:r>
                  <a:rPr lang="en-US" sz="1200" dirty="0">
                    <a:solidFill>
                      <a:prstClr val="white"/>
                    </a:solidFill>
                  </a:rPr>
                  <a:t>42</a:t>
                </a:r>
              </a:p>
            </p:txBody>
          </p:sp>
          <p:sp>
            <p:nvSpPr>
              <p:cNvPr id="20" name="TextBox 19"/>
              <p:cNvSpPr txBox="1"/>
              <p:nvPr>
                <p:custDataLst>
                  <p:tags r:id="rId12"/>
                </p:custDataLst>
              </p:nvPr>
            </p:nvSpPr>
            <p:spPr>
              <a:xfrm>
                <a:off x="6667500" y="1524000"/>
                <a:ext cx="1397000" cy="276999"/>
              </a:xfrm>
              <a:prstGeom prst="rect">
                <a:avLst/>
              </a:prstGeom>
              <a:noFill/>
            </p:spPr>
            <p:txBody>
              <a:bodyPr vert="horz" rtlCol="0">
                <a:spAutoFit/>
              </a:bodyPr>
              <a:lstStyle/>
              <a:p>
                <a:pPr algn="ctr" defTabSz="914302"/>
                <a:r>
                  <a:rPr lang="en-US" sz="1200" dirty="0">
                    <a:solidFill>
                      <a:prstClr val="black"/>
                    </a:solidFill>
                  </a:rPr>
                  <a:t>Accent 2</a:t>
                </a:r>
              </a:p>
            </p:txBody>
          </p:sp>
          <p:sp>
            <p:nvSpPr>
              <p:cNvPr id="21" name="Rounded Rectangle 20"/>
              <p:cNvSpPr/>
              <p:nvPr>
                <p:custDataLst>
                  <p:tags r:id="rId13"/>
                </p:custDataLst>
              </p:nvPr>
            </p:nvSpPr>
            <p:spPr>
              <a:xfrm>
                <a:off x="1143000" y="1905000"/>
                <a:ext cx="1016000" cy="1016000"/>
              </a:xfrm>
              <a:prstGeom prst="roundRect">
                <a:avLst/>
              </a:prstGeom>
              <a:solidFill>
                <a:srgbClr val="B9AF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185</a:t>
                </a:r>
              </a:p>
              <a:p>
                <a:pPr defTabSz="914302"/>
                <a:r>
                  <a:rPr lang="en-US" sz="1200" dirty="0">
                    <a:solidFill>
                      <a:prstClr val="white"/>
                    </a:solidFill>
                  </a:rPr>
                  <a:t>175</a:t>
                </a:r>
              </a:p>
              <a:p>
                <a:pPr defTabSz="914302"/>
                <a:r>
                  <a:rPr lang="en-US" sz="1200" dirty="0">
                    <a:solidFill>
                      <a:prstClr val="white"/>
                    </a:solidFill>
                  </a:rPr>
                  <a:t>164</a:t>
                </a:r>
              </a:p>
            </p:txBody>
          </p:sp>
          <p:sp>
            <p:nvSpPr>
              <p:cNvPr id="22" name="TextBox 21"/>
              <p:cNvSpPr txBox="1"/>
              <p:nvPr>
                <p:custDataLst>
                  <p:tags r:id="rId14"/>
                </p:custDataLst>
              </p:nvPr>
            </p:nvSpPr>
            <p:spPr>
              <a:xfrm>
                <a:off x="952500" y="2921000"/>
                <a:ext cx="1397000" cy="276999"/>
              </a:xfrm>
              <a:prstGeom prst="rect">
                <a:avLst/>
              </a:prstGeom>
              <a:noFill/>
            </p:spPr>
            <p:txBody>
              <a:bodyPr vert="horz" rtlCol="0">
                <a:spAutoFit/>
              </a:bodyPr>
              <a:lstStyle/>
              <a:p>
                <a:pPr algn="ctr" defTabSz="914302"/>
                <a:r>
                  <a:rPr lang="en-US" sz="1200" dirty="0">
                    <a:solidFill>
                      <a:prstClr val="black"/>
                    </a:solidFill>
                  </a:rPr>
                  <a:t>Accent 3</a:t>
                </a:r>
              </a:p>
            </p:txBody>
          </p:sp>
          <p:sp>
            <p:nvSpPr>
              <p:cNvPr id="23" name="Rounded Rectangle 22"/>
              <p:cNvSpPr/>
              <p:nvPr>
                <p:custDataLst>
                  <p:tags r:id="rId15"/>
                </p:custDataLst>
              </p:nvPr>
            </p:nvSpPr>
            <p:spPr>
              <a:xfrm>
                <a:off x="2286000" y="1905000"/>
                <a:ext cx="1016000" cy="1016000"/>
              </a:xfrm>
              <a:prstGeom prst="roundRect">
                <a:avLst/>
              </a:prstGeom>
              <a:solidFill>
                <a:srgbClr val="974B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151</a:t>
                </a:r>
              </a:p>
              <a:p>
                <a:pPr defTabSz="914302"/>
                <a:r>
                  <a:rPr lang="en-US" sz="1200" dirty="0">
                    <a:solidFill>
                      <a:prstClr val="white"/>
                    </a:solidFill>
                  </a:rPr>
                  <a:t>75</a:t>
                </a:r>
              </a:p>
              <a:p>
                <a:pPr defTabSz="914302"/>
                <a:r>
                  <a:rPr lang="en-US" sz="1200" dirty="0">
                    <a:solidFill>
                      <a:prstClr val="white"/>
                    </a:solidFill>
                  </a:rPr>
                  <a:t>7</a:t>
                </a:r>
              </a:p>
            </p:txBody>
          </p:sp>
          <p:sp>
            <p:nvSpPr>
              <p:cNvPr id="24" name="TextBox 23"/>
              <p:cNvSpPr txBox="1"/>
              <p:nvPr>
                <p:custDataLst>
                  <p:tags r:id="rId16"/>
                </p:custDataLst>
              </p:nvPr>
            </p:nvSpPr>
            <p:spPr>
              <a:xfrm>
                <a:off x="2095500" y="2921000"/>
                <a:ext cx="1397000" cy="276999"/>
              </a:xfrm>
              <a:prstGeom prst="rect">
                <a:avLst/>
              </a:prstGeom>
              <a:noFill/>
            </p:spPr>
            <p:txBody>
              <a:bodyPr vert="horz" rtlCol="0">
                <a:spAutoFit/>
              </a:bodyPr>
              <a:lstStyle/>
              <a:p>
                <a:pPr algn="ctr" defTabSz="914302"/>
                <a:r>
                  <a:rPr lang="en-US" sz="1200" dirty="0">
                    <a:solidFill>
                      <a:prstClr val="black"/>
                    </a:solidFill>
                  </a:rPr>
                  <a:t>Accent 4</a:t>
                </a:r>
              </a:p>
            </p:txBody>
          </p:sp>
          <p:sp>
            <p:nvSpPr>
              <p:cNvPr id="25" name="Rounded Rectangle 24"/>
              <p:cNvSpPr/>
              <p:nvPr>
                <p:custDataLst>
                  <p:tags r:id="rId17"/>
                </p:custDataLst>
              </p:nvPr>
            </p:nvSpPr>
            <p:spPr>
              <a:xfrm>
                <a:off x="3429000" y="1905000"/>
                <a:ext cx="1016000" cy="1016000"/>
              </a:xfrm>
              <a:prstGeom prst="roundRect">
                <a:avLst/>
              </a:prstGeom>
              <a:solidFill>
                <a:srgbClr val="C1B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193</a:t>
                </a:r>
              </a:p>
              <a:p>
                <a:pPr defTabSz="914302"/>
                <a:r>
                  <a:rPr lang="en-US" sz="1200" dirty="0">
                    <a:solidFill>
                      <a:prstClr val="white"/>
                    </a:solidFill>
                  </a:rPr>
                  <a:t>187</a:t>
                </a:r>
              </a:p>
              <a:p>
                <a:pPr defTabSz="914302"/>
                <a:r>
                  <a:rPr lang="en-US" sz="1200" dirty="0">
                    <a:solidFill>
                      <a:prstClr val="white"/>
                    </a:solidFill>
                  </a:rPr>
                  <a:t>0</a:t>
                </a:r>
              </a:p>
            </p:txBody>
          </p:sp>
          <p:sp>
            <p:nvSpPr>
              <p:cNvPr id="26" name="TextBox 25"/>
              <p:cNvSpPr txBox="1"/>
              <p:nvPr>
                <p:custDataLst>
                  <p:tags r:id="rId18"/>
                </p:custDataLst>
              </p:nvPr>
            </p:nvSpPr>
            <p:spPr>
              <a:xfrm>
                <a:off x="3238500" y="2921000"/>
                <a:ext cx="1397000" cy="276999"/>
              </a:xfrm>
              <a:prstGeom prst="rect">
                <a:avLst/>
              </a:prstGeom>
              <a:noFill/>
            </p:spPr>
            <p:txBody>
              <a:bodyPr vert="horz" rtlCol="0">
                <a:spAutoFit/>
              </a:bodyPr>
              <a:lstStyle/>
              <a:p>
                <a:pPr algn="ctr" defTabSz="914302"/>
                <a:r>
                  <a:rPr lang="en-US" sz="1200" dirty="0">
                    <a:solidFill>
                      <a:prstClr val="black"/>
                    </a:solidFill>
                  </a:rPr>
                  <a:t>Accent 5</a:t>
                </a:r>
              </a:p>
            </p:txBody>
          </p:sp>
          <p:sp>
            <p:nvSpPr>
              <p:cNvPr id="27" name="Rounded Rectangle 26"/>
              <p:cNvSpPr/>
              <p:nvPr>
                <p:custDataLst>
                  <p:tags r:id="rId19"/>
                </p:custDataLst>
              </p:nvPr>
            </p:nvSpPr>
            <p:spPr>
              <a:xfrm>
                <a:off x="4572000" y="1905000"/>
                <a:ext cx="1016000" cy="1016000"/>
              </a:xfrm>
              <a:prstGeom prst="roundRect">
                <a:avLst/>
              </a:prstGeom>
              <a:solidFill>
                <a:srgbClr val="FFDD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55</a:t>
                </a:r>
              </a:p>
              <a:p>
                <a:pPr defTabSz="914302"/>
                <a:r>
                  <a:rPr lang="en-US" sz="1200" dirty="0">
                    <a:solidFill>
                      <a:prstClr val="white"/>
                    </a:solidFill>
                  </a:rPr>
                  <a:t>221</a:t>
                </a:r>
              </a:p>
              <a:p>
                <a:pPr defTabSz="914302"/>
                <a:r>
                  <a:rPr lang="en-US" sz="1200" dirty="0">
                    <a:solidFill>
                      <a:prstClr val="white"/>
                    </a:solidFill>
                  </a:rPr>
                  <a:t>62</a:t>
                </a:r>
              </a:p>
            </p:txBody>
          </p:sp>
          <p:sp>
            <p:nvSpPr>
              <p:cNvPr id="28" name="TextBox 27"/>
              <p:cNvSpPr txBox="1"/>
              <p:nvPr>
                <p:custDataLst>
                  <p:tags r:id="rId20"/>
                </p:custDataLst>
              </p:nvPr>
            </p:nvSpPr>
            <p:spPr>
              <a:xfrm>
                <a:off x="4381500" y="2921000"/>
                <a:ext cx="1397000" cy="276999"/>
              </a:xfrm>
              <a:prstGeom prst="rect">
                <a:avLst/>
              </a:prstGeom>
              <a:noFill/>
            </p:spPr>
            <p:txBody>
              <a:bodyPr vert="horz" rtlCol="0">
                <a:spAutoFit/>
              </a:bodyPr>
              <a:lstStyle/>
              <a:p>
                <a:pPr algn="ctr" defTabSz="914302"/>
                <a:r>
                  <a:rPr lang="en-US" sz="1200" dirty="0">
                    <a:solidFill>
                      <a:prstClr val="black"/>
                    </a:solidFill>
                  </a:rPr>
                  <a:t>Accent 6</a:t>
                </a:r>
              </a:p>
            </p:txBody>
          </p:sp>
          <p:sp>
            <p:nvSpPr>
              <p:cNvPr id="29" name="Rounded Rectangle 28"/>
              <p:cNvSpPr/>
              <p:nvPr>
                <p:custDataLst>
                  <p:tags r:id="rId21"/>
                </p:custDataLst>
              </p:nvPr>
            </p:nvSpPr>
            <p:spPr>
              <a:xfrm>
                <a:off x="5715000" y="1905000"/>
                <a:ext cx="1016000" cy="1016000"/>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55</a:t>
                </a:r>
              </a:p>
              <a:p>
                <a:pPr defTabSz="914302"/>
                <a:r>
                  <a:rPr lang="en-US" sz="1200" dirty="0">
                    <a:solidFill>
                      <a:prstClr val="white"/>
                    </a:solidFill>
                  </a:rPr>
                  <a:t>255</a:t>
                </a:r>
              </a:p>
              <a:p>
                <a:pPr defTabSz="914302"/>
                <a:r>
                  <a:rPr lang="en-US" sz="1200" dirty="0">
                    <a:solidFill>
                      <a:prstClr val="white"/>
                    </a:solidFill>
                  </a:rPr>
                  <a:t>255</a:t>
                </a:r>
              </a:p>
            </p:txBody>
          </p:sp>
          <p:sp>
            <p:nvSpPr>
              <p:cNvPr id="30" name="TextBox 29"/>
              <p:cNvSpPr txBox="1"/>
              <p:nvPr>
                <p:custDataLst>
                  <p:tags r:id="rId22"/>
                </p:custDataLst>
              </p:nvPr>
            </p:nvSpPr>
            <p:spPr>
              <a:xfrm>
                <a:off x="5524500" y="2921000"/>
                <a:ext cx="1397000" cy="276999"/>
              </a:xfrm>
              <a:prstGeom prst="rect">
                <a:avLst/>
              </a:prstGeom>
              <a:noFill/>
            </p:spPr>
            <p:txBody>
              <a:bodyPr vert="horz" rtlCol="0">
                <a:spAutoFit/>
              </a:bodyPr>
              <a:lstStyle/>
              <a:p>
                <a:pPr algn="ctr" defTabSz="914302"/>
                <a:r>
                  <a:rPr lang="en-US" sz="1200" dirty="0">
                    <a:solidFill>
                      <a:prstClr val="black"/>
                    </a:solidFill>
                  </a:rPr>
                  <a:t>Hyperlink</a:t>
                </a:r>
              </a:p>
            </p:txBody>
          </p:sp>
          <p:sp>
            <p:nvSpPr>
              <p:cNvPr id="31" name="Rounded Rectangle 30"/>
              <p:cNvSpPr/>
              <p:nvPr>
                <p:custDataLst>
                  <p:tags r:id="rId23"/>
                </p:custDataLst>
              </p:nvPr>
            </p:nvSpPr>
            <p:spPr>
              <a:xfrm>
                <a:off x="6858000" y="1905000"/>
                <a:ext cx="1016000" cy="1016000"/>
              </a:xfrm>
              <a:prstGeom prst="roundRect">
                <a:avLst/>
              </a:prstGeom>
              <a:solidFill>
                <a:srgbClr val="EC89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36</a:t>
                </a:r>
              </a:p>
              <a:p>
                <a:pPr defTabSz="914302"/>
                <a:r>
                  <a:rPr lang="en-US" sz="1200" dirty="0">
                    <a:solidFill>
                      <a:prstClr val="white"/>
                    </a:solidFill>
                  </a:rPr>
                  <a:t>137</a:t>
                </a:r>
              </a:p>
              <a:p>
                <a:pPr defTabSz="914302"/>
                <a:r>
                  <a:rPr lang="en-US" sz="1200" dirty="0">
                    <a:solidFill>
                      <a:prstClr val="white"/>
                    </a:solidFill>
                  </a:rPr>
                  <a:t>29</a:t>
                </a:r>
              </a:p>
            </p:txBody>
          </p:sp>
          <p:sp>
            <p:nvSpPr>
              <p:cNvPr id="32" name="TextBox 31"/>
              <p:cNvSpPr txBox="1"/>
              <p:nvPr>
                <p:custDataLst>
                  <p:tags r:id="rId24"/>
                </p:custDataLst>
              </p:nvPr>
            </p:nvSpPr>
            <p:spPr>
              <a:xfrm>
                <a:off x="6667500" y="2921000"/>
                <a:ext cx="1397000" cy="276999"/>
              </a:xfrm>
              <a:prstGeom prst="rect">
                <a:avLst/>
              </a:prstGeom>
              <a:noFill/>
            </p:spPr>
            <p:txBody>
              <a:bodyPr vert="horz" rtlCol="0">
                <a:spAutoFit/>
              </a:bodyPr>
              <a:lstStyle/>
              <a:p>
                <a:pPr algn="ctr" defTabSz="914302"/>
                <a:r>
                  <a:rPr lang="en-US" sz="1200" dirty="0">
                    <a:solidFill>
                      <a:prstClr val="black"/>
                    </a:solidFill>
                  </a:rPr>
                  <a:t>Followed Hyperlink</a:t>
                </a:r>
              </a:p>
            </p:txBody>
          </p:sp>
          <p:sp>
            <p:nvSpPr>
              <p:cNvPr id="33" name="Rounded Rectangle 32"/>
              <p:cNvSpPr/>
              <p:nvPr>
                <p:custDataLst>
                  <p:tags r:id="rId25"/>
                </p:custDataLst>
              </p:nvPr>
            </p:nvSpPr>
            <p:spPr>
              <a:xfrm>
                <a:off x="1143000" y="3429000"/>
                <a:ext cx="1016000" cy="1016000"/>
              </a:xfrm>
              <a:prstGeom prst="roundRect">
                <a:avLst/>
              </a:prstGeom>
              <a:solidFill>
                <a:srgbClr val="7FAFDD"/>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127</a:t>
                </a:r>
              </a:p>
              <a:p>
                <a:pPr defTabSz="914302"/>
                <a:r>
                  <a:rPr lang="en-US" sz="1200" dirty="0">
                    <a:solidFill>
                      <a:prstClr val="white"/>
                    </a:solidFill>
                  </a:rPr>
                  <a:t>175</a:t>
                </a:r>
              </a:p>
              <a:p>
                <a:pPr defTabSz="914302"/>
                <a:r>
                  <a:rPr lang="en-US" sz="1200" dirty="0">
                    <a:solidFill>
                      <a:prstClr val="white"/>
                    </a:solidFill>
                  </a:rPr>
                  <a:t>221</a:t>
                </a:r>
              </a:p>
            </p:txBody>
          </p:sp>
          <p:sp>
            <p:nvSpPr>
              <p:cNvPr id="34" name="TextBox 33"/>
              <p:cNvSpPr txBox="1"/>
              <p:nvPr>
                <p:custDataLst>
                  <p:tags r:id="rId26"/>
                </p:custDataLst>
              </p:nvPr>
            </p:nvSpPr>
            <p:spPr>
              <a:xfrm>
                <a:off x="952500" y="4445000"/>
                <a:ext cx="1397000" cy="276999"/>
              </a:xfrm>
              <a:prstGeom prst="rect">
                <a:avLst/>
              </a:prstGeom>
              <a:noFill/>
            </p:spPr>
            <p:txBody>
              <a:bodyPr vert="horz" rtlCol="0">
                <a:spAutoFit/>
              </a:bodyPr>
              <a:lstStyle/>
              <a:p>
                <a:pPr algn="ctr" defTabSz="914302"/>
                <a:r>
                  <a:rPr lang="en-US" sz="1200" dirty="0">
                    <a:solidFill>
                      <a:prstClr val="black"/>
                    </a:solidFill>
                  </a:rPr>
                  <a:t>Tata Blue 50%</a:t>
                </a:r>
              </a:p>
            </p:txBody>
          </p:sp>
          <p:sp>
            <p:nvSpPr>
              <p:cNvPr id="35" name="Rounded Rectangle 34"/>
              <p:cNvSpPr/>
              <p:nvPr>
                <p:custDataLst>
                  <p:tags r:id="rId27"/>
                </p:custDataLst>
              </p:nvPr>
            </p:nvSpPr>
            <p:spPr>
              <a:xfrm>
                <a:off x="2286000" y="3429000"/>
                <a:ext cx="1016000" cy="1016000"/>
              </a:xfrm>
              <a:prstGeom prst="roundRect">
                <a:avLst/>
              </a:prstGeom>
              <a:solidFill>
                <a:srgbClr val="CBD7EE"/>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03</a:t>
                </a:r>
              </a:p>
              <a:p>
                <a:pPr defTabSz="914302"/>
                <a:r>
                  <a:rPr lang="en-US" sz="1200" dirty="0">
                    <a:solidFill>
                      <a:prstClr val="white"/>
                    </a:solidFill>
                  </a:rPr>
                  <a:t>215</a:t>
                </a:r>
              </a:p>
              <a:p>
                <a:pPr defTabSz="914302"/>
                <a:r>
                  <a:rPr lang="en-US" sz="1200" dirty="0">
                    <a:solidFill>
                      <a:prstClr val="white"/>
                    </a:solidFill>
                  </a:rPr>
                  <a:t>238</a:t>
                </a:r>
              </a:p>
            </p:txBody>
          </p:sp>
          <p:sp>
            <p:nvSpPr>
              <p:cNvPr id="36" name="TextBox 35"/>
              <p:cNvSpPr txBox="1"/>
              <p:nvPr>
                <p:custDataLst>
                  <p:tags r:id="rId28"/>
                </p:custDataLst>
              </p:nvPr>
            </p:nvSpPr>
            <p:spPr>
              <a:xfrm>
                <a:off x="2095500" y="4445000"/>
                <a:ext cx="1397000" cy="276999"/>
              </a:xfrm>
              <a:prstGeom prst="rect">
                <a:avLst/>
              </a:prstGeom>
              <a:noFill/>
            </p:spPr>
            <p:txBody>
              <a:bodyPr vert="horz" rtlCol="0">
                <a:spAutoFit/>
              </a:bodyPr>
              <a:lstStyle/>
              <a:p>
                <a:pPr algn="ctr" defTabSz="914302"/>
                <a:r>
                  <a:rPr lang="en-US" sz="1200" dirty="0">
                    <a:solidFill>
                      <a:prstClr val="black"/>
                    </a:solidFill>
                  </a:rPr>
                  <a:t>Tata Blue 25%</a:t>
                </a:r>
              </a:p>
            </p:txBody>
          </p:sp>
          <p:sp>
            <p:nvSpPr>
              <p:cNvPr id="37" name="Rounded Rectangle 36"/>
              <p:cNvSpPr/>
              <p:nvPr>
                <p:custDataLst>
                  <p:tags r:id="rId29"/>
                </p:custDataLst>
              </p:nvPr>
            </p:nvSpPr>
            <p:spPr>
              <a:xfrm>
                <a:off x="3429000" y="3429000"/>
                <a:ext cx="1016000" cy="1016000"/>
              </a:xfrm>
              <a:prstGeom prst="roundRect">
                <a:avLst/>
              </a:prstGeom>
              <a:solidFill>
                <a:srgbClr val="B395C5"/>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srgbClr val="1F497D"/>
                    </a:solidFill>
                  </a:rPr>
                  <a:t>179</a:t>
                </a:r>
              </a:p>
              <a:p>
                <a:pPr defTabSz="914302"/>
                <a:r>
                  <a:rPr lang="en-US" sz="1200" dirty="0">
                    <a:solidFill>
                      <a:srgbClr val="1F497D"/>
                    </a:solidFill>
                  </a:rPr>
                  <a:t>149</a:t>
                </a:r>
              </a:p>
              <a:p>
                <a:pPr defTabSz="914302"/>
                <a:r>
                  <a:rPr lang="en-US" sz="1200" dirty="0">
                    <a:solidFill>
                      <a:srgbClr val="1F497D"/>
                    </a:solidFill>
                  </a:rPr>
                  <a:t>197</a:t>
                </a:r>
              </a:p>
            </p:txBody>
          </p:sp>
          <p:sp>
            <p:nvSpPr>
              <p:cNvPr id="38" name="TextBox 37"/>
              <p:cNvSpPr txBox="1"/>
              <p:nvPr>
                <p:custDataLst>
                  <p:tags r:id="rId30"/>
                </p:custDataLst>
              </p:nvPr>
            </p:nvSpPr>
            <p:spPr>
              <a:xfrm>
                <a:off x="3238500" y="4445000"/>
                <a:ext cx="1397000" cy="276999"/>
              </a:xfrm>
              <a:prstGeom prst="rect">
                <a:avLst/>
              </a:prstGeom>
              <a:noFill/>
            </p:spPr>
            <p:txBody>
              <a:bodyPr vert="horz" rtlCol="0">
                <a:spAutoFit/>
              </a:bodyPr>
              <a:lstStyle/>
              <a:p>
                <a:pPr algn="ctr" defTabSz="914302"/>
                <a:r>
                  <a:rPr lang="en-US" sz="1200" dirty="0">
                    <a:solidFill>
                      <a:prstClr val="black"/>
                    </a:solidFill>
                  </a:rPr>
                  <a:t>Purple 50 %</a:t>
                </a:r>
              </a:p>
            </p:txBody>
          </p:sp>
          <p:sp>
            <p:nvSpPr>
              <p:cNvPr id="39" name="Rounded Rectangle 38"/>
              <p:cNvSpPr/>
              <p:nvPr>
                <p:custDataLst>
                  <p:tags r:id="rId31"/>
                </p:custDataLst>
              </p:nvPr>
            </p:nvSpPr>
            <p:spPr>
              <a:xfrm>
                <a:off x="4572000" y="3429000"/>
                <a:ext cx="1016000" cy="1016000"/>
              </a:xfrm>
              <a:prstGeom prst="roundRect">
                <a:avLst/>
              </a:prstGeom>
              <a:solidFill>
                <a:srgbClr val="D4C3DF"/>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12</a:t>
                </a:r>
              </a:p>
              <a:p>
                <a:pPr defTabSz="914302"/>
                <a:r>
                  <a:rPr lang="en-US" sz="1200" dirty="0">
                    <a:solidFill>
                      <a:prstClr val="white"/>
                    </a:solidFill>
                  </a:rPr>
                  <a:t>195</a:t>
                </a:r>
              </a:p>
              <a:p>
                <a:pPr defTabSz="914302"/>
                <a:r>
                  <a:rPr lang="en-US" sz="1200" dirty="0">
                    <a:solidFill>
                      <a:prstClr val="white"/>
                    </a:solidFill>
                  </a:rPr>
                  <a:t>223</a:t>
                </a:r>
              </a:p>
            </p:txBody>
          </p:sp>
          <p:sp>
            <p:nvSpPr>
              <p:cNvPr id="40" name="TextBox 39"/>
              <p:cNvSpPr txBox="1"/>
              <p:nvPr>
                <p:custDataLst>
                  <p:tags r:id="rId32"/>
                </p:custDataLst>
              </p:nvPr>
            </p:nvSpPr>
            <p:spPr>
              <a:xfrm>
                <a:off x="4381500" y="4445000"/>
                <a:ext cx="1397000" cy="276999"/>
              </a:xfrm>
              <a:prstGeom prst="rect">
                <a:avLst/>
              </a:prstGeom>
              <a:noFill/>
            </p:spPr>
            <p:txBody>
              <a:bodyPr vert="horz" rtlCol="0">
                <a:spAutoFit/>
              </a:bodyPr>
              <a:lstStyle/>
              <a:p>
                <a:pPr algn="ctr" defTabSz="914302"/>
                <a:r>
                  <a:rPr lang="en-US" sz="1200" dirty="0">
                    <a:solidFill>
                      <a:prstClr val="black"/>
                    </a:solidFill>
                  </a:rPr>
                  <a:t>Purple 25 %</a:t>
                </a:r>
              </a:p>
            </p:txBody>
          </p:sp>
          <p:sp>
            <p:nvSpPr>
              <p:cNvPr id="41" name="Rounded Rectangle 40"/>
              <p:cNvSpPr/>
              <p:nvPr>
                <p:custDataLst>
                  <p:tags r:id="rId33"/>
                </p:custDataLst>
              </p:nvPr>
            </p:nvSpPr>
            <p:spPr>
              <a:xfrm>
                <a:off x="5715000" y="3429000"/>
                <a:ext cx="1016000" cy="1016000"/>
              </a:xfrm>
              <a:prstGeom prst="roundRect">
                <a:avLst/>
              </a:prstGeom>
              <a:solidFill>
                <a:srgbClr val="FFF2AB"/>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55</a:t>
                </a:r>
              </a:p>
              <a:p>
                <a:pPr defTabSz="914302"/>
                <a:r>
                  <a:rPr lang="en-US" sz="1200" dirty="0">
                    <a:solidFill>
                      <a:prstClr val="white"/>
                    </a:solidFill>
                  </a:rPr>
                  <a:t>242</a:t>
                </a:r>
              </a:p>
              <a:p>
                <a:pPr defTabSz="914302"/>
                <a:r>
                  <a:rPr lang="en-US" sz="1200" dirty="0">
                    <a:solidFill>
                      <a:prstClr val="white"/>
                    </a:solidFill>
                  </a:rPr>
                  <a:t>171</a:t>
                </a:r>
              </a:p>
            </p:txBody>
          </p:sp>
          <p:sp>
            <p:nvSpPr>
              <p:cNvPr id="42" name="TextBox 41"/>
              <p:cNvSpPr txBox="1"/>
              <p:nvPr>
                <p:custDataLst>
                  <p:tags r:id="rId34"/>
                </p:custDataLst>
              </p:nvPr>
            </p:nvSpPr>
            <p:spPr>
              <a:xfrm>
                <a:off x="5524500" y="4445000"/>
                <a:ext cx="1397000" cy="276999"/>
              </a:xfrm>
              <a:prstGeom prst="rect">
                <a:avLst/>
              </a:prstGeom>
              <a:noFill/>
            </p:spPr>
            <p:txBody>
              <a:bodyPr vert="horz" rtlCol="0">
                <a:spAutoFit/>
              </a:bodyPr>
              <a:lstStyle/>
              <a:p>
                <a:pPr algn="ctr" defTabSz="914302"/>
                <a:r>
                  <a:rPr lang="en-US" sz="1200" dirty="0">
                    <a:solidFill>
                      <a:prstClr val="black"/>
                    </a:solidFill>
                  </a:rPr>
                  <a:t>Yellow 50 %</a:t>
                </a:r>
              </a:p>
            </p:txBody>
          </p:sp>
          <p:sp>
            <p:nvSpPr>
              <p:cNvPr id="43" name="Rounded Rectangle 42"/>
              <p:cNvSpPr/>
              <p:nvPr>
                <p:custDataLst>
                  <p:tags r:id="rId35"/>
                </p:custDataLst>
              </p:nvPr>
            </p:nvSpPr>
            <p:spPr>
              <a:xfrm>
                <a:off x="6858000" y="3429000"/>
                <a:ext cx="1016000" cy="1016000"/>
              </a:xfrm>
              <a:prstGeom prst="roundRect">
                <a:avLst/>
              </a:prstGeom>
              <a:solidFill>
                <a:srgbClr val="FFF9D5"/>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55</a:t>
                </a:r>
              </a:p>
              <a:p>
                <a:pPr defTabSz="914302"/>
                <a:r>
                  <a:rPr lang="en-US" sz="1200" dirty="0">
                    <a:solidFill>
                      <a:prstClr val="white"/>
                    </a:solidFill>
                  </a:rPr>
                  <a:t>249</a:t>
                </a:r>
              </a:p>
              <a:p>
                <a:pPr defTabSz="914302"/>
                <a:r>
                  <a:rPr lang="en-US" sz="1200" dirty="0">
                    <a:solidFill>
                      <a:prstClr val="white"/>
                    </a:solidFill>
                  </a:rPr>
                  <a:t>213</a:t>
                </a:r>
              </a:p>
            </p:txBody>
          </p:sp>
          <p:sp>
            <p:nvSpPr>
              <p:cNvPr id="44" name="TextBox 43"/>
              <p:cNvSpPr txBox="1"/>
              <p:nvPr>
                <p:custDataLst>
                  <p:tags r:id="rId36"/>
                </p:custDataLst>
              </p:nvPr>
            </p:nvSpPr>
            <p:spPr>
              <a:xfrm>
                <a:off x="6667500" y="4445000"/>
                <a:ext cx="1397000" cy="276999"/>
              </a:xfrm>
              <a:prstGeom prst="rect">
                <a:avLst/>
              </a:prstGeom>
              <a:noFill/>
            </p:spPr>
            <p:txBody>
              <a:bodyPr vert="horz" rtlCol="0">
                <a:spAutoFit/>
              </a:bodyPr>
              <a:lstStyle/>
              <a:p>
                <a:pPr algn="ctr" defTabSz="914302"/>
                <a:r>
                  <a:rPr lang="en-US" sz="1200" dirty="0">
                    <a:solidFill>
                      <a:prstClr val="black"/>
                    </a:solidFill>
                  </a:rPr>
                  <a:t>Yellow 25 %</a:t>
                </a:r>
              </a:p>
            </p:txBody>
          </p:sp>
          <p:sp>
            <p:nvSpPr>
              <p:cNvPr id="45" name="Rounded Rectangle 44"/>
              <p:cNvSpPr/>
              <p:nvPr>
                <p:custDataLst>
                  <p:tags r:id="rId37"/>
                </p:custDataLst>
              </p:nvPr>
            </p:nvSpPr>
            <p:spPr>
              <a:xfrm>
                <a:off x="1143000" y="4826000"/>
                <a:ext cx="1016000" cy="1016000"/>
              </a:xfrm>
              <a:prstGeom prst="roundRect">
                <a:avLst/>
              </a:prstGeom>
              <a:solidFill>
                <a:srgbClr val="E5CDBA"/>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29</a:t>
                </a:r>
              </a:p>
              <a:p>
                <a:pPr defTabSz="914302"/>
                <a:r>
                  <a:rPr lang="en-US" sz="1200" dirty="0">
                    <a:solidFill>
                      <a:prstClr val="white"/>
                    </a:solidFill>
                  </a:rPr>
                  <a:t>205</a:t>
                </a:r>
              </a:p>
              <a:p>
                <a:pPr defTabSz="914302"/>
                <a:r>
                  <a:rPr lang="en-US" sz="1200" dirty="0">
                    <a:solidFill>
                      <a:prstClr val="white"/>
                    </a:solidFill>
                  </a:rPr>
                  <a:t>186</a:t>
                </a:r>
              </a:p>
            </p:txBody>
          </p:sp>
          <p:sp>
            <p:nvSpPr>
              <p:cNvPr id="46" name="TextBox 45"/>
              <p:cNvSpPr txBox="1"/>
              <p:nvPr>
                <p:custDataLst>
                  <p:tags r:id="rId38"/>
                </p:custDataLst>
              </p:nvPr>
            </p:nvSpPr>
            <p:spPr>
              <a:xfrm>
                <a:off x="952500" y="5842000"/>
                <a:ext cx="1397000" cy="276999"/>
              </a:xfrm>
              <a:prstGeom prst="rect">
                <a:avLst/>
              </a:prstGeom>
              <a:noFill/>
            </p:spPr>
            <p:txBody>
              <a:bodyPr vert="horz" rtlCol="0">
                <a:spAutoFit/>
              </a:bodyPr>
              <a:lstStyle/>
              <a:p>
                <a:pPr algn="ctr" defTabSz="914302"/>
                <a:r>
                  <a:rPr lang="en-US" sz="1200" dirty="0">
                    <a:solidFill>
                      <a:prstClr val="black"/>
                    </a:solidFill>
                  </a:rPr>
                  <a:t>Brown 50 %</a:t>
                </a:r>
              </a:p>
            </p:txBody>
          </p:sp>
          <p:sp>
            <p:nvSpPr>
              <p:cNvPr id="47" name="Rounded Rectangle 46"/>
              <p:cNvSpPr/>
              <p:nvPr>
                <p:custDataLst>
                  <p:tags r:id="rId39"/>
                </p:custDataLst>
              </p:nvPr>
            </p:nvSpPr>
            <p:spPr>
              <a:xfrm>
                <a:off x="2286000" y="4826000"/>
                <a:ext cx="1016000" cy="1016000"/>
              </a:xfrm>
              <a:prstGeom prst="roundRect">
                <a:avLst/>
              </a:prstGeom>
              <a:solidFill>
                <a:srgbClr val="F8F1EB"/>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48</a:t>
                </a:r>
              </a:p>
              <a:p>
                <a:pPr defTabSz="914302"/>
                <a:r>
                  <a:rPr lang="en-US" sz="1200" dirty="0">
                    <a:solidFill>
                      <a:prstClr val="white"/>
                    </a:solidFill>
                  </a:rPr>
                  <a:t>241</a:t>
                </a:r>
              </a:p>
              <a:p>
                <a:pPr defTabSz="914302"/>
                <a:r>
                  <a:rPr lang="en-US" sz="1200" dirty="0">
                    <a:solidFill>
                      <a:prstClr val="white"/>
                    </a:solidFill>
                  </a:rPr>
                  <a:t>235</a:t>
                </a:r>
              </a:p>
            </p:txBody>
          </p:sp>
          <p:sp>
            <p:nvSpPr>
              <p:cNvPr id="48" name="TextBox 47"/>
              <p:cNvSpPr txBox="1"/>
              <p:nvPr>
                <p:custDataLst>
                  <p:tags r:id="rId40"/>
                </p:custDataLst>
              </p:nvPr>
            </p:nvSpPr>
            <p:spPr>
              <a:xfrm>
                <a:off x="2095500" y="5842000"/>
                <a:ext cx="1397000" cy="276999"/>
              </a:xfrm>
              <a:prstGeom prst="rect">
                <a:avLst/>
              </a:prstGeom>
              <a:noFill/>
            </p:spPr>
            <p:txBody>
              <a:bodyPr vert="horz" rtlCol="0">
                <a:spAutoFit/>
              </a:bodyPr>
              <a:lstStyle/>
              <a:p>
                <a:pPr algn="ctr" defTabSz="914302"/>
                <a:r>
                  <a:rPr lang="en-US" sz="1200" dirty="0">
                    <a:solidFill>
                      <a:prstClr val="black"/>
                    </a:solidFill>
                  </a:rPr>
                  <a:t>Brown 25 %</a:t>
                </a:r>
              </a:p>
            </p:txBody>
          </p:sp>
          <p:sp>
            <p:nvSpPr>
              <p:cNvPr id="49" name="Rounded Rectangle 48"/>
              <p:cNvSpPr/>
              <p:nvPr>
                <p:custDataLst>
                  <p:tags r:id="rId41"/>
                </p:custDataLst>
              </p:nvPr>
            </p:nvSpPr>
            <p:spPr>
              <a:xfrm>
                <a:off x="3429000" y="4826000"/>
                <a:ext cx="1016000" cy="1016000"/>
              </a:xfrm>
              <a:prstGeom prst="roundRect">
                <a:avLst/>
              </a:prstGeom>
              <a:solidFill>
                <a:srgbClr val="B4D59A"/>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srgbClr val="7FAFDD"/>
                    </a:solidFill>
                  </a:rPr>
                  <a:t>180</a:t>
                </a:r>
              </a:p>
              <a:p>
                <a:pPr defTabSz="914302"/>
                <a:r>
                  <a:rPr lang="en-US" sz="1200" dirty="0">
                    <a:solidFill>
                      <a:srgbClr val="7FAFDD"/>
                    </a:solidFill>
                  </a:rPr>
                  <a:t>213</a:t>
                </a:r>
              </a:p>
              <a:p>
                <a:pPr defTabSz="914302"/>
                <a:r>
                  <a:rPr lang="en-US" sz="1200" dirty="0">
                    <a:solidFill>
                      <a:srgbClr val="7FAFDD"/>
                    </a:solidFill>
                  </a:rPr>
                  <a:t>154</a:t>
                </a:r>
              </a:p>
            </p:txBody>
          </p:sp>
          <p:sp>
            <p:nvSpPr>
              <p:cNvPr id="50" name="TextBox 49"/>
              <p:cNvSpPr txBox="1"/>
              <p:nvPr>
                <p:custDataLst>
                  <p:tags r:id="rId42"/>
                </p:custDataLst>
              </p:nvPr>
            </p:nvSpPr>
            <p:spPr>
              <a:xfrm>
                <a:off x="3238500" y="5842000"/>
                <a:ext cx="1397000" cy="276999"/>
              </a:xfrm>
              <a:prstGeom prst="rect">
                <a:avLst/>
              </a:prstGeom>
              <a:noFill/>
            </p:spPr>
            <p:txBody>
              <a:bodyPr vert="horz" rtlCol="0">
                <a:spAutoFit/>
              </a:bodyPr>
              <a:lstStyle/>
              <a:p>
                <a:pPr algn="ctr" defTabSz="914302"/>
                <a:r>
                  <a:rPr lang="en-US" sz="1200" dirty="0">
                    <a:solidFill>
                      <a:prstClr val="black"/>
                    </a:solidFill>
                  </a:rPr>
                  <a:t>Green 50 %</a:t>
                </a:r>
              </a:p>
            </p:txBody>
          </p:sp>
          <p:sp>
            <p:nvSpPr>
              <p:cNvPr id="51" name="Rounded Rectangle 50"/>
              <p:cNvSpPr/>
              <p:nvPr>
                <p:custDataLst>
                  <p:tags r:id="rId43"/>
                </p:custDataLst>
              </p:nvPr>
            </p:nvSpPr>
            <p:spPr>
              <a:xfrm>
                <a:off x="4572000" y="4826000"/>
                <a:ext cx="1016000" cy="1016000"/>
              </a:xfrm>
              <a:prstGeom prst="roundRect">
                <a:avLst/>
              </a:prstGeom>
              <a:solidFill>
                <a:srgbClr val="D6E7C8"/>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14</a:t>
                </a:r>
              </a:p>
              <a:p>
                <a:pPr defTabSz="914302"/>
                <a:r>
                  <a:rPr lang="en-US" sz="1200" dirty="0">
                    <a:solidFill>
                      <a:prstClr val="white"/>
                    </a:solidFill>
                  </a:rPr>
                  <a:t>231</a:t>
                </a:r>
              </a:p>
              <a:p>
                <a:pPr defTabSz="914302"/>
                <a:r>
                  <a:rPr lang="en-US" sz="1200" dirty="0">
                    <a:solidFill>
                      <a:prstClr val="white"/>
                    </a:solidFill>
                  </a:rPr>
                  <a:t>200</a:t>
                </a:r>
              </a:p>
            </p:txBody>
          </p:sp>
          <p:sp>
            <p:nvSpPr>
              <p:cNvPr id="52" name="TextBox 51"/>
              <p:cNvSpPr txBox="1"/>
              <p:nvPr>
                <p:custDataLst>
                  <p:tags r:id="rId44"/>
                </p:custDataLst>
              </p:nvPr>
            </p:nvSpPr>
            <p:spPr>
              <a:xfrm>
                <a:off x="4381500" y="5842000"/>
                <a:ext cx="1397000" cy="276999"/>
              </a:xfrm>
              <a:prstGeom prst="rect">
                <a:avLst/>
              </a:prstGeom>
              <a:noFill/>
            </p:spPr>
            <p:txBody>
              <a:bodyPr vert="horz" rtlCol="0">
                <a:spAutoFit/>
              </a:bodyPr>
              <a:lstStyle/>
              <a:p>
                <a:pPr algn="ctr" defTabSz="914302"/>
                <a:r>
                  <a:rPr lang="en-US" sz="1200" dirty="0">
                    <a:solidFill>
                      <a:prstClr val="black"/>
                    </a:solidFill>
                  </a:rPr>
                  <a:t>Green 25 %</a:t>
                </a:r>
              </a:p>
            </p:txBody>
          </p:sp>
          <p:sp>
            <p:nvSpPr>
              <p:cNvPr id="53" name="Rounded Rectangle 52"/>
              <p:cNvSpPr/>
              <p:nvPr>
                <p:custDataLst>
                  <p:tags r:id="rId45"/>
                </p:custDataLst>
              </p:nvPr>
            </p:nvSpPr>
            <p:spPr>
              <a:xfrm>
                <a:off x="5715000" y="4826000"/>
                <a:ext cx="1016000" cy="1016000"/>
              </a:xfrm>
              <a:prstGeom prst="roundRect">
                <a:avLst/>
              </a:prstGeom>
              <a:solidFill>
                <a:srgbClr val="F1F0CA"/>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41</a:t>
                </a:r>
              </a:p>
              <a:p>
                <a:pPr defTabSz="914302"/>
                <a:r>
                  <a:rPr lang="en-US" sz="1200" dirty="0">
                    <a:solidFill>
                      <a:prstClr val="white"/>
                    </a:solidFill>
                  </a:rPr>
                  <a:t>240</a:t>
                </a:r>
              </a:p>
              <a:p>
                <a:pPr defTabSz="914302"/>
                <a:r>
                  <a:rPr lang="en-US" sz="1200" dirty="0">
                    <a:solidFill>
                      <a:prstClr val="white"/>
                    </a:solidFill>
                  </a:rPr>
                  <a:t>202</a:t>
                </a:r>
              </a:p>
            </p:txBody>
          </p:sp>
          <p:sp>
            <p:nvSpPr>
              <p:cNvPr id="54" name="TextBox 53"/>
              <p:cNvSpPr txBox="1"/>
              <p:nvPr>
                <p:custDataLst>
                  <p:tags r:id="rId46"/>
                </p:custDataLst>
              </p:nvPr>
            </p:nvSpPr>
            <p:spPr>
              <a:xfrm>
                <a:off x="5524500" y="5842000"/>
                <a:ext cx="1397000" cy="276999"/>
              </a:xfrm>
              <a:prstGeom prst="rect">
                <a:avLst/>
              </a:prstGeom>
              <a:noFill/>
            </p:spPr>
            <p:txBody>
              <a:bodyPr vert="horz" rtlCol="0">
                <a:spAutoFit/>
              </a:bodyPr>
              <a:lstStyle/>
              <a:p>
                <a:pPr algn="ctr" defTabSz="914302"/>
                <a:r>
                  <a:rPr lang="en-US" sz="1200" dirty="0">
                    <a:solidFill>
                      <a:prstClr val="black"/>
                    </a:solidFill>
                  </a:rPr>
                  <a:t>Light Green 50%</a:t>
                </a:r>
              </a:p>
            </p:txBody>
          </p:sp>
          <p:sp>
            <p:nvSpPr>
              <p:cNvPr id="55" name="Rounded Rectangle 54"/>
              <p:cNvSpPr/>
              <p:nvPr>
                <p:custDataLst>
                  <p:tags r:id="rId47"/>
                </p:custDataLst>
              </p:nvPr>
            </p:nvSpPr>
            <p:spPr>
              <a:xfrm>
                <a:off x="6858000" y="4826000"/>
                <a:ext cx="1016000" cy="1016000"/>
              </a:xfrm>
              <a:prstGeom prst="roundRect">
                <a:avLst/>
              </a:prstGeom>
              <a:solidFill>
                <a:srgbClr val="FBFBF1"/>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51</a:t>
                </a:r>
              </a:p>
              <a:p>
                <a:pPr defTabSz="914302"/>
                <a:r>
                  <a:rPr lang="en-US" sz="1200" dirty="0">
                    <a:solidFill>
                      <a:prstClr val="white"/>
                    </a:solidFill>
                  </a:rPr>
                  <a:t>251</a:t>
                </a:r>
              </a:p>
              <a:p>
                <a:pPr defTabSz="914302"/>
                <a:r>
                  <a:rPr lang="en-US" sz="1200" dirty="0">
                    <a:solidFill>
                      <a:prstClr val="white"/>
                    </a:solidFill>
                  </a:rPr>
                  <a:t>241</a:t>
                </a:r>
              </a:p>
            </p:txBody>
          </p:sp>
          <p:sp>
            <p:nvSpPr>
              <p:cNvPr id="56" name="TextBox 55"/>
              <p:cNvSpPr txBox="1"/>
              <p:nvPr>
                <p:custDataLst>
                  <p:tags r:id="rId48"/>
                </p:custDataLst>
              </p:nvPr>
            </p:nvSpPr>
            <p:spPr>
              <a:xfrm>
                <a:off x="6667500" y="5842000"/>
                <a:ext cx="1397000" cy="276999"/>
              </a:xfrm>
              <a:prstGeom prst="rect">
                <a:avLst/>
              </a:prstGeom>
              <a:noFill/>
            </p:spPr>
            <p:txBody>
              <a:bodyPr vert="horz" rtlCol="0">
                <a:spAutoFit/>
              </a:bodyPr>
              <a:lstStyle/>
              <a:p>
                <a:pPr algn="ctr" defTabSz="914302"/>
                <a:r>
                  <a:rPr lang="en-US" sz="1200" dirty="0">
                    <a:solidFill>
                      <a:prstClr val="black"/>
                    </a:solidFill>
                  </a:rPr>
                  <a:t>Light Green 25%</a:t>
                </a:r>
              </a:p>
            </p:txBody>
          </p:sp>
        </p:grpSp>
        <p:sp>
          <p:nvSpPr>
            <p:cNvPr id="8" name="TextBox 7"/>
            <p:cNvSpPr txBox="1"/>
            <p:nvPr/>
          </p:nvSpPr>
          <p:spPr>
            <a:xfrm>
              <a:off x="127000" y="0"/>
              <a:ext cx="2540000" cy="369332"/>
            </a:xfrm>
            <a:prstGeom prst="rect">
              <a:avLst/>
            </a:prstGeom>
            <a:noFill/>
          </p:spPr>
          <p:txBody>
            <a:bodyPr vert="horz" rtlCol="0">
              <a:spAutoFit/>
            </a:bodyPr>
            <a:lstStyle/>
            <a:p>
              <a:pPr defTabSz="914302"/>
              <a:r>
                <a:rPr lang="en-US" dirty="0">
                  <a:solidFill>
                    <a:prstClr val="black"/>
                  </a:solidFill>
                </a:rPr>
                <a:t>Title and Content</a:t>
              </a:r>
            </a:p>
          </p:txBody>
        </p:sp>
      </p:grpSp>
      <p:pic>
        <p:nvPicPr>
          <p:cNvPr id="6" name="Picture 4"/>
          <p:cNvPicPr>
            <a:picLocks noChangeAspect="1" noChangeArrowheads="1"/>
          </p:cNvPicPr>
          <p:nvPr/>
        </p:nvPicPr>
        <p:blipFill>
          <a:blip r:embed="rId50" cstate="print"/>
          <a:srcRect l="19609" t="20313" r="5391" b="9277"/>
          <a:stretch>
            <a:fillRect/>
          </a:stretch>
        </p:blipFill>
        <p:spPr bwMode="auto">
          <a:xfrm>
            <a:off x="0" y="-9525"/>
            <a:ext cx="12192000" cy="6867525"/>
          </a:xfrm>
          <a:prstGeom prst="rect">
            <a:avLst/>
          </a:prstGeom>
          <a:noFill/>
          <a:ln w="9525">
            <a:noFill/>
            <a:miter lim="800000"/>
            <a:headEnd/>
            <a:tailEnd/>
          </a:ln>
          <a:effectLst/>
        </p:spPr>
      </p:pic>
      <p:sp>
        <p:nvSpPr>
          <p:cNvPr id="2" name="Title 1"/>
          <p:cNvSpPr>
            <a:spLocks noGrp="1"/>
          </p:cNvSpPr>
          <p:nvPr>
            <p:ph type="ctrTitle"/>
          </p:nvPr>
        </p:nvSpPr>
        <p:spPr>
          <a:xfrm>
            <a:off x="497840" y="3444241"/>
            <a:ext cx="11226800" cy="685800"/>
          </a:xfrm>
        </p:spPr>
        <p:txBody>
          <a:bodyPr>
            <a:normAutofit/>
          </a:bodyPr>
          <a:lstStyle>
            <a:lvl1pPr algn="l">
              <a:defRPr kumimoji="0" lang="en-US" sz="3800" b="0" i="0" u="none" strike="noStrike" kern="1200" cap="none" normalizeH="0" baseline="0" dirty="0">
                <a:ln>
                  <a:noFill/>
                </a:ln>
                <a:solidFill>
                  <a:srgbClr val="FFFFFF"/>
                </a:solidFill>
                <a:effectLst/>
                <a:latin typeface="Myriad Pro" pitchFamily="34" charset="0"/>
                <a:ea typeface="+mn-ea"/>
                <a:cs typeface="+mn-cs"/>
              </a:defRPr>
            </a:lvl1pPr>
          </a:lstStyle>
          <a:p>
            <a:pPr marL="0" marR="0" lvl="0" indent="0" algn="l" defTabSz="914400" rtl="0" eaLnBrk="1" fontAlgn="base" latinLnBrk="0" hangingPunct="1">
              <a:lnSpc>
                <a:spcPct val="100000"/>
              </a:lnSpc>
              <a:spcBef>
                <a:spcPct val="0"/>
              </a:spcBef>
              <a:spcAft>
                <a:spcPct val="0"/>
              </a:spcAft>
              <a:buClrTx/>
              <a:buSzTx/>
              <a:buFontTx/>
              <a:buNone/>
              <a:tabLst/>
            </a:pPr>
            <a:r>
              <a:rPr lang="en-US" smtClean="0"/>
              <a:t>Click to edit Master title style</a:t>
            </a:r>
            <a:endParaRPr lang="en-US" dirty="0"/>
          </a:p>
        </p:txBody>
      </p:sp>
      <p:sp>
        <p:nvSpPr>
          <p:cNvPr id="3" name="Subtitle 2"/>
          <p:cNvSpPr>
            <a:spLocks noGrp="1"/>
          </p:cNvSpPr>
          <p:nvPr>
            <p:ph type="subTitle" idx="1"/>
          </p:nvPr>
        </p:nvSpPr>
        <p:spPr>
          <a:xfrm>
            <a:off x="482600" y="4133850"/>
            <a:ext cx="11252200" cy="609600"/>
          </a:xfrm>
          <a:prstGeom prst="rect">
            <a:avLst/>
          </a:prstGeom>
        </p:spPr>
        <p:txBody>
          <a:bodyPr>
            <a:normAutofit/>
          </a:bodyPr>
          <a:lstStyle>
            <a:lvl1pPr marL="0" indent="0" algn="l">
              <a:buNone/>
              <a:defRPr kumimoji="0" lang="en-US" sz="3400" b="0" i="0" u="none" strike="noStrike" kern="1200" cap="none" normalizeH="0" baseline="0" dirty="0">
                <a:ln>
                  <a:noFill/>
                </a:ln>
                <a:solidFill>
                  <a:srgbClr val="FFFFFF"/>
                </a:solidFill>
                <a:effectLst/>
                <a:latin typeface="Myriad Pro Light" pitchFamily="34" charset="0"/>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smtClean="0"/>
              <a:t>Click to edit Master subtitle style</a:t>
            </a:r>
            <a:endParaRPr lang="en-US" dirty="0"/>
          </a:p>
        </p:txBody>
      </p:sp>
    </p:spTree>
    <p:extLst>
      <p:ext uri="{BB962C8B-B14F-4D97-AF65-F5344CB8AC3E}">
        <p14:creationId xmlns:p14="http://schemas.microsoft.com/office/powerpoint/2010/main" val="16080982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3854723-61CE-498E-9CC7-1B6C22BDDA1F}" type="slidenum">
              <a:rPr lang="en-US" smtClean="0">
                <a:solidFill>
                  <a:prstClr val="black">
                    <a:tint val="75000"/>
                  </a:prstClr>
                </a:solidFill>
              </a:rPr>
              <a:pPr/>
              <a:t>‹#›</a:t>
            </a:fld>
            <a:endParaRPr lang="en-US" dirty="0">
              <a:solidFill>
                <a:prstClr val="black">
                  <a:tint val="75000"/>
                </a:prstClr>
              </a:solidFill>
            </a:endParaRPr>
          </a:p>
        </p:txBody>
      </p:sp>
      <p:sp>
        <p:nvSpPr>
          <p:cNvPr id="6" name="Text Placeholder 5"/>
          <p:cNvSpPr>
            <a:spLocks noGrp="1"/>
          </p:cNvSpPr>
          <p:nvPr>
            <p:ph type="body" sz="quarter" idx="10"/>
          </p:nvPr>
        </p:nvSpPr>
        <p:spPr>
          <a:xfrm>
            <a:off x="475488" y="911352"/>
            <a:ext cx="11253216" cy="914400"/>
          </a:xfrm>
        </p:spPr>
        <p:txBody>
          <a:bodyPr>
            <a:noAutofit/>
          </a:bodyPr>
          <a:lstStyle>
            <a:lvl1pPr>
              <a:defRPr lang="en-US" sz="2200" b="0" kern="1200" noProof="0" dirty="0" smtClean="0">
                <a:solidFill>
                  <a:srgbClr val="4E84C4"/>
                </a:solidFill>
                <a:latin typeface="Myriad Pro" pitchFamily="34" charset="0"/>
                <a:ea typeface="+mn-ea"/>
                <a:cs typeface="+mn-cs"/>
              </a:defRPr>
            </a:lvl1pPr>
            <a:lvl2pPr>
              <a:defRPr lang="en-US" sz="2200" kern="1200" dirty="0" smtClean="0">
                <a:solidFill>
                  <a:srgbClr val="4E84C4"/>
                </a:solidFill>
                <a:latin typeface="Myriad Pro" pitchFamily="34" charset="0"/>
                <a:ea typeface="+mn-ea"/>
                <a:cs typeface="+mn-cs"/>
              </a:defRPr>
            </a:lvl2pPr>
          </a:lstStyle>
          <a:p>
            <a:pPr marL="342900" marR="0" lvl="0" indent="-342900" algn="l" defTabSz="914400" rtl="0" eaLnBrk="1" fontAlgn="base" latinLnBrk="0" hangingPunct="1">
              <a:lnSpc>
                <a:spcPct val="100000"/>
              </a:lnSpc>
              <a:spcBef>
                <a:spcPct val="20000"/>
              </a:spcBef>
              <a:spcAft>
                <a:spcPct val="0"/>
              </a:spcAft>
              <a:buClr>
                <a:srgbClr val="4E84C4"/>
              </a:buClr>
              <a:buSzTx/>
              <a:buFont typeface="Wingdings" pitchFamily="2" charset="2"/>
              <a:buChar char="§"/>
              <a:tabLst/>
              <a:defRPr/>
            </a:pPr>
            <a:r>
              <a:rPr lang="en-US" smtClean="0"/>
              <a:t>Click to edit Master text styles</a:t>
            </a:r>
          </a:p>
          <a:p>
            <a:pPr marL="342900" marR="0" lvl="1" indent="-342900" algn="l" defTabSz="914400" rtl="0" eaLnBrk="1" fontAlgn="base" latinLnBrk="0" hangingPunct="1">
              <a:lnSpc>
                <a:spcPct val="100000"/>
              </a:lnSpc>
              <a:spcBef>
                <a:spcPct val="20000"/>
              </a:spcBef>
              <a:spcAft>
                <a:spcPct val="0"/>
              </a:spcAft>
              <a:buClr>
                <a:srgbClr val="4E84C4"/>
              </a:buClr>
              <a:buSzTx/>
              <a:buFont typeface="Wingdings" pitchFamily="2" charset="2"/>
              <a:buChar char="§"/>
              <a:tabLst/>
              <a:defRPr/>
            </a:pPr>
            <a:r>
              <a:rPr lang="en-US" smtClean="0"/>
              <a:t>Second level</a:t>
            </a:r>
          </a:p>
        </p:txBody>
      </p:sp>
    </p:spTree>
    <p:extLst>
      <p:ext uri="{BB962C8B-B14F-4D97-AF65-F5344CB8AC3E}">
        <p14:creationId xmlns:p14="http://schemas.microsoft.com/office/powerpoint/2010/main" val="27303739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a:xfrm>
            <a:off x="609600" y="6356352"/>
            <a:ext cx="2844800" cy="365125"/>
          </a:xfrm>
          <a:prstGeom prst="rect">
            <a:avLst/>
          </a:prstGeom>
        </p:spPr>
        <p:txBody>
          <a:bodyPr/>
          <a:lstStyle/>
          <a:p>
            <a:pPr defTabSz="914302"/>
            <a:fld id="{1B04968C-FA51-4247-9E50-D2BB65697EE7}" type="datetimeFigureOut">
              <a:rPr lang="en-GB">
                <a:solidFill>
                  <a:prstClr val="black"/>
                </a:solidFill>
              </a:rPr>
              <a:pPr defTabSz="914302"/>
              <a:t>20/01/2019</a:t>
            </a:fld>
            <a:endParaRPr lang="en-GB" dirty="0">
              <a:solidFill>
                <a:prstClr val="black"/>
              </a:solidFill>
            </a:endParaRPr>
          </a:p>
        </p:txBody>
      </p:sp>
      <p:sp>
        <p:nvSpPr>
          <p:cNvPr id="4" name="Footer Placeholder 3"/>
          <p:cNvSpPr>
            <a:spLocks noGrp="1"/>
          </p:cNvSpPr>
          <p:nvPr>
            <p:ph type="ftr" sz="quarter" idx="11"/>
          </p:nvPr>
        </p:nvSpPr>
        <p:spPr>
          <a:xfrm>
            <a:off x="4165600" y="6356352"/>
            <a:ext cx="3860800" cy="365125"/>
          </a:xfrm>
          <a:prstGeom prst="rect">
            <a:avLst/>
          </a:prstGeom>
        </p:spPr>
        <p:txBody>
          <a:bodyPr/>
          <a:lstStyle/>
          <a:p>
            <a:pPr defTabSz="914302"/>
            <a:endParaRPr lang="en-GB" dirty="0">
              <a:solidFill>
                <a:prstClr val="black"/>
              </a:solidFill>
            </a:endParaRPr>
          </a:p>
        </p:txBody>
      </p:sp>
      <p:sp>
        <p:nvSpPr>
          <p:cNvPr id="5" name="Slide Number Placeholder 4"/>
          <p:cNvSpPr>
            <a:spLocks noGrp="1"/>
          </p:cNvSpPr>
          <p:nvPr>
            <p:ph type="sldNum" sz="quarter" idx="12"/>
          </p:nvPr>
        </p:nvSpPr>
        <p:spPr/>
        <p:txBody>
          <a:bodyPr/>
          <a:lstStyle/>
          <a:p>
            <a:fld id="{6EC25DB8-7745-48B0-958C-306CBD3764C2}"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8112423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358714"/>
            <a:ext cx="10240453" cy="748025"/>
          </a:xfrm>
        </p:spPr>
        <p:txBody>
          <a:bodyPr anchor="b" anchorCtr="0"/>
          <a:lstStyle>
            <a:lvl1pPr>
              <a:defRPr sz="5401"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5"/>
            <a:ext cx="10240453"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6224629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494683" cy="896518"/>
          </a:xfrm>
        </p:spPr>
        <p:txBody>
          <a:bodyPr/>
          <a:lstStyle>
            <a:lvl1pPr>
              <a:defRPr sz="426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9"/>
            <a:ext cx="11494371" cy="4902995"/>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93830532"/>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169FE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4"/>
            <a:ext cx="11653523" cy="1796217"/>
          </a:xfrm>
          <a:noFill/>
        </p:spPr>
        <p:txBody>
          <a:bodyPr anchorCtr="0"/>
          <a:lstStyle>
            <a:lvl1pPr>
              <a:defRPr sz="7200" spc="-82"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2393980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3854723-61CE-498E-9CC7-1B6C22BDDA1F}" type="slidenum">
              <a:rPr lang="en-US" smtClean="0">
                <a:solidFill>
                  <a:prstClr val="black">
                    <a:tint val="75000"/>
                  </a:prstClr>
                </a:solidFill>
              </a:rPr>
              <a:pPr/>
              <a:t>‹#›</a:t>
            </a:fld>
            <a:endParaRPr lang="en-US" dirty="0">
              <a:solidFill>
                <a:prstClr val="black">
                  <a:tint val="75000"/>
                </a:prstClr>
              </a:solidFill>
            </a:endParaRPr>
          </a:p>
        </p:txBody>
      </p:sp>
      <p:sp>
        <p:nvSpPr>
          <p:cNvPr id="6" name="Text Placeholder 5"/>
          <p:cNvSpPr>
            <a:spLocks noGrp="1"/>
          </p:cNvSpPr>
          <p:nvPr>
            <p:ph type="body" sz="quarter" idx="10"/>
          </p:nvPr>
        </p:nvSpPr>
        <p:spPr>
          <a:xfrm>
            <a:off x="475488" y="911352"/>
            <a:ext cx="11253216" cy="914400"/>
          </a:xfrm>
        </p:spPr>
        <p:txBody>
          <a:bodyPr>
            <a:noAutofit/>
          </a:bodyPr>
          <a:lstStyle>
            <a:lvl1pPr>
              <a:defRPr lang="en-US" sz="2200" b="0" kern="1200" noProof="0" dirty="0" smtClean="0">
                <a:solidFill>
                  <a:srgbClr val="4E84C4"/>
                </a:solidFill>
                <a:latin typeface="Myriad Pro" pitchFamily="34" charset="0"/>
                <a:ea typeface="+mn-ea"/>
                <a:cs typeface="+mn-cs"/>
              </a:defRPr>
            </a:lvl1pPr>
            <a:lvl2pPr>
              <a:defRPr lang="en-US" sz="2200" kern="1200" dirty="0" smtClean="0">
                <a:solidFill>
                  <a:srgbClr val="4E84C4"/>
                </a:solidFill>
                <a:latin typeface="Myriad Pro" pitchFamily="34" charset="0"/>
                <a:ea typeface="+mn-ea"/>
                <a:cs typeface="+mn-cs"/>
              </a:defRPr>
            </a:lvl2pPr>
          </a:lstStyle>
          <a:p>
            <a:pPr marL="342900" marR="0" lvl="0" indent="-342900" algn="l" defTabSz="914400" rtl="0" eaLnBrk="1" fontAlgn="base" latinLnBrk="0" hangingPunct="1">
              <a:lnSpc>
                <a:spcPct val="100000"/>
              </a:lnSpc>
              <a:spcBef>
                <a:spcPct val="20000"/>
              </a:spcBef>
              <a:spcAft>
                <a:spcPct val="0"/>
              </a:spcAft>
              <a:buClr>
                <a:srgbClr val="4E84C4"/>
              </a:buClr>
              <a:buSzTx/>
              <a:buFont typeface="Wingdings" pitchFamily="2" charset="2"/>
              <a:buChar char="§"/>
              <a:tabLst/>
              <a:defRPr/>
            </a:pPr>
            <a:r>
              <a:rPr lang="en-US" smtClean="0"/>
              <a:t>Click to edit Master text styles</a:t>
            </a:r>
          </a:p>
          <a:p>
            <a:pPr marL="342900" marR="0" lvl="1" indent="-342900" algn="l" defTabSz="914400" rtl="0" eaLnBrk="1" fontAlgn="base" latinLnBrk="0" hangingPunct="1">
              <a:lnSpc>
                <a:spcPct val="100000"/>
              </a:lnSpc>
              <a:spcBef>
                <a:spcPct val="20000"/>
              </a:spcBef>
              <a:spcAft>
                <a:spcPct val="0"/>
              </a:spcAft>
              <a:buClr>
                <a:srgbClr val="4E84C4"/>
              </a:buClr>
              <a:buSzTx/>
              <a:buFont typeface="Wingdings" pitchFamily="2" charset="2"/>
              <a:buChar char="§"/>
              <a:tabLst/>
              <a:defRPr/>
            </a:pPr>
            <a:r>
              <a:rPr lang="en-US" smtClean="0"/>
              <a:t>Second level</a:t>
            </a:r>
          </a:p>
        </p:txBody>
      </p:sp>
    </p:spTree>
    <p:extLst>
      <p:ext uri="{BB962C8B-B14F-4D97-AF65-F5344CB8AC3E}">
        <p14:creationId xmlns:p14="http://schemas.microsoft.com/office/powerpoint/2010/main" val="25133617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4" name="Group 4"/>
          <p:cNvGrpSpPr/>
          <p:nvPr/>
        </p:nvGrpSpPr>
        <p:grpSpPr>
          <a:xfrm>
            <a:off x="169334" y="1"/>
            <a:ext cx="10583333" cy="6118999"/>
            <a:chOff x="127000" y="0"/>
            <a:chExt cx="7937500" cy="6118999"/>
          </a:xfrm>
        </p:grpSpPr>
        <p:grpSp>
          <p:nvGrpSpPr>
            <p:cNvPr id="5" name="Group 53"/>
            <p:cNvGrpSpPr/>
            <p:nvPr/>
          </p:nvGrpSpPr>
          <p:grpSpPr>
            <a:xfrm>
              <a:off x="952500" y="508000"/>
              <a:ext cx="7112000" cy="5610999"/>
              <a:chOff x="952500" y="508000"/>
              <a:chExt cx="7112000" cy="5610999"/>
            </a:xfrm>
          </p:grpSpPr>
          <p:sp>
            <p:nvSpPr>
              <p:cNvPr id="9" name="Rounded Rectangle 8"/>
              <p:cNvSpPr/>
              <p:nvPr>
                <p:custDataLst>
                  <p:tags r:id="rId1"/>
                </p:custDataLst>
              </p:nvPr>
            </p:nvSpPr>
            <p:spPr>
              <a:xfrm>
                <a:off x="1143000" y="508000"/>
                <a:ext cx="1016000" cy="1016000"/>
              </a:xfrm>
              <a:prstGeom prst="roundRect">
                <a:avLst/>
              </a:prstGeom>
              <a:solidFill>
                <a:srgbClr val="6DCF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109</a:t>
                </a:r>
              </a:p>
              <a:p>
                <a:pPr defTabSz="914302"/>
                <a:r>
                  <a:rPr lang="en-US" sz="1200" dirty="0">
                    <a:solidFill>
                      <a:prstClr val="white"/>
                    </a:solidFill>
                  </a:rPr>
                  <a:t>207</a:t>
                </a:r>
              </a:p>
              <a:p>
                <a:pPr defTabSz="914302"/>
                <a:r>
                  <a:rPr lang="en-US" sz="1200" dirty="0">
                    <a:solidFill>
                      <a:prstClr val="white"/>
                    </a:solidFill>
                  </a:rPr>
                  <a:t>246</a:t>
                </a:r>
              </a:p>
            </p:txBody>
          </p:sp>
          <p:sp>
            <p:nvSpPr>
              <p:cNvPr id="10" name="TextBox 9"/>
              <p:cNvSpPr txBox="1"/>
              <p:nvPr>
                <p:custDataLst>
                  <p:tags r:id="rId2"/>
                </p:custDataLst>
              </p:nvPr>
            </p:nvSpPr>
            <p:spPr>
              <a:xfrm>
                <a:off x="952500" y="1524000"/>
                <a:ext cx="1397000" cy="276999"/>
              </a:xfrm>
              <a:prstGeom prst="rect">
                <a:avLst/>
              </a:prstGeom>
              <a:noFill/>
            </p:spPr>
            <p:txBody>
              <a:bodyPr vert="horz" rtlCol="0">
                <a:spAutoFit/>
              </a:bodyPr>
              <a:lstStyle/>
              <a:p>
                <a:pPr algn="ctr" defTabSz="914302"/>
                <a:r>
                  <a:rPr lang="en-US" sz="1200" dirty="0">
                    <a:solidFill>
                      <a:prstClr val="black"/>
                    </a:solidFill>
                  </a:rPr>
                  <a:t>Dark 1</a:t>
                </a:r>
              </a:p>
            </p:txBody>
          </p:sp>
          <p:sp>
            <p:nvSpPr>
              <p:cNvPr id="11" name="Rounded Rectangle 10"/>
              <p:cNvSpPr/>
              <p:nvPr>
                <p:custDataLst>
                  <p:tags r:id="rId3"/>
                </p:custDataLst>
              </p:nvPr>
            </p:nvSpPr>
            <p:spPr>
              <a:xfrm>
                <a:off x="2286000" y="508000"/>
                <a:ext cx="1016000" cy="1016000"/>
              </a:xfrm>
              <a:prstGeom prst="round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srgbClr val="1F497D"/>
                    </a:solidFill>
                  </a:rPr>
                  <a:t>255</a:t>
                </a:r>
              </a:p>
              <a:p>
                <a:pPr defTabSz="914302"/>
                <a:r>
                  <a:rPr lang="en-US" sz="1200" dirty="0">
                    <a:solidFill>
                      <a:srgbClr val="1F497D"/>
                    </a:solidFill>
                  </a:rPr>
                  <a:t>255</a:t>
                </a:r>
              </a:p>
              <a:p>
                <a:pPr defTabSz="914302"/>
                <a:r>
                  <a:rPr lang="en-US" sz="1200" dirty="0">
                    <a:solidFill>
                      <a:srgbClr val="1F497D"/>
                    </a:solidFill>
                  </a:rPr>
                  <a:t>255</a:t>
                </a:r>
              </a:p>
            </p:txBody>
          </p:sp>
          <p:sp>
            <p:nvSpPr>
              <p:cNvPr id="12" name="TextBox 11"/>
              <p:cNvSpPr txBox="1"/>
              <p:nvPr>
                <p:custDataLst>
                  <p:tags r:id="rId4"/>
                </p:custDataLst>
              </p:nvPr>
            </p:nvSpPr>
            <p:spPr>
              <a:xfrm>
                <a:off x="2095500" y="1524000"/>
                <a:ext cx="1397000" cy="276999"/>
              </a:xfrm>
              <a:prstGeom prst="rect">
                <a:avLst/>
              </a:prstGeom>
              <a:noFill/>
            </p:spPr>
            <p:txBody>
              <a:bodyPr vert="horz" rtlCol="0">
                <a:spAutoFit/>
              </a:bodyPr>
              <a:lstStyle/>
              <a:p>
                <a:pPr algn="ctr" defTabSz="914302"/>
                <a:r>
                  <a:rPr lang="en-US" sz="1200" dirty="0">
                    <a:solidFill>
                      <a:prstClr val="black"/>
                    </a:solidFill>
                  </a:rPr>
                  <a:t>Light 1</a:t>
                </a:r>
              </a:p>
            </p:txBody>
          </p:sp>
          <p:sp>
            <p:nvSpPr>
              <p:cNvPr id="13" name="Rounded Rectangle 12"/>
              <p:cNvSpPr/>
              <p:nvPr>
                <p:custDataLst>
                  <p:tags r:id="rId5"/>
                </p:custDataLst>
              </p:nvPr>
            </p:nvSpPr>
            <p:spPr>
              <a:xfrm>
                <a:off x="3429000" y="508000"/>
                <a:ext cx="1016000" cy="1016000"/>
              </a:xfrm>
              <a:prstGeom prst="roundRect">
                <a:avLst/>
              </a:prstGeom>
              <a:solidFill>
                <a:srgbClr val="8338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131</a:t>
                </a:r>
              </a:p>
              <a:p>
                <a:pPr defTabSz="914302"/>
                <a:r>
                  <a:rPr lang="en-US" sz="1200" dirty="0">
                    <a:solidFill>
                      <a:prstClr val="white"/>
                    </a:solidFill>
                  </a:rPr>
                  <a:t>56</a:t>
                </a:r>
              </a:p>
              <a:p>
                <a:pPr defTabSz="914302"/>
                <a:r>
                  <a:rPr lang="en-US" sz="1200" dirty="0">
                    <a:solidFill>
                      <a:prstClr val="white"/>
                    </a:solidFill>
                  </a:rPr>
                  <a:t>155</a:t>
                </a:r>
              </a:p>
            </p:txBody>
          </p:sp>
          <p:sp>
            <p:nvSpPr>
              <p:cNvPr id="14" name="TextBox 13"/>
              <p:cNvSpPr txBox="1"/>
              <p:nvPr>
                <p:custDataLst>
                  <p:tags r:id="rId6"/>
                </p:custDataLst>
              </p:nvPr>
            </p:nvSpPr>
            <p:spPr>
              <a:xfrm>
                <a:off x="3238500" y="1524000"/>
                <a:ext cx="1397000" cy="276999"/>
              </a:xfrm>
              <a:prstGeom prst="rect">
                <a:avLst/>
              </a:prstGeom>
              <a:noFill/>
            </p:spPr>
            <p:txBody>
              <a:bodyPr vert="horz" rtlCol="0">
                <a:spAutoFit/>
              </a:bodyPr>
              <a:lstStyle/>
              <a:p>
                <a:pPr algn="ctr" defTabSz="914302"/>
                <a:r>
                  <a:rPr lang="en-US" sz="1200" dirty="0">
                    <a:solidFill>
                      <a:prstClr val="black"/>
                    </a:solidFill>
                  </a:rPr>
                  <a:t>Dark 2</a:t>
                </a:r>
              </a:p>
            </p:txBody>
          </p:sp>
          <p:sp>
            <p:nvSpPr>
              <p:cNvPr id="15" name="Rounded Rectangle 14"/>
              <p:cNvSpPr/>
              <p:nvPr>
                <p:custDataLst>
                  <p:tags r:id="rId7"/>
                </p:custDataLst>
              </p:nvPr>
            </p:nvSpPr>
            <p:spPr>
              <a:xfrm>
                <a:off x="4572000" y="508000"/>
                <a:ext cx="1016000" cy="1016000"/>
              </a:xfrm>
              <a:prstGeom prst="roundRect">
                <a:avLst/>
              </a:prstGeom>
              <a:solidFill>
                <a:srgbClr val="0063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0</a:t>
                </a:r>
              </a:p>
              <a:p>
                <a:pPr defTabSz="914302"/>
                <a:r>
                  <a:rPr lang="en-US" sz="1200" dirty="0">
                    <a:solidFill>
                      <a:prstClr val="white"/>
                    </a:solidFill>
                  </a:rPr>
                  <a:t>99</a:t>
                </a:r>
              </a:p>
              <a:p>
                <a:pPr defTabSz="914302"/>
                <a:r>
                  <a:rPr lang="en-US" sz="1200" dirty="0">
                    <a:solidFill>
                      <a:prstClr val="white"/>
                    </a:solidFill>
                  </a:rPr>
                  <a:t>190</a:t>
                </a:r>
              </a:p>
            </p:txBody>
          </p:sp>
          <p:sp>
            <p:nvSpPr>
              <p:cNvPr id="16" name="TextBox 15"/>
              <p:cNvSpPr txBox="1"/>
              <p:nvPr>
                <p:custDataLst>
                  <p:tags r:id="rId8"/>
                </p:custDataLst>
              </p:nvPr>
            </p:nvSpPr>
            <p:spPr>
              <a:xfrm>
                <a:off x="4381500" y="1524000"/>
                <a:ext cx="1397000" cy="276999"/>
              </a:xfrm>
              <a:prstGeom prst="rect">
                <a:avLst/>
              </a:prstGeom>
              <a:noFill/>
            </p:spPr>
            <p:txBody>
              <a:bodyPr vert="horz" rtlCol="0">
                <a:spAutoFit/>
              </a:bodyPr>
              <a:lstStyle/>
              <a:p>
                <a:pPr algn="ctr" defTabSz="914302"/>
                <a:r>
                  <a:rPr lang="en-US" sz="1200" dirty="0">
                    <a:solidFill>
                      <a:prstClr val="black"/>
                    </a:solidFill>
                  </a:rPr>
                  <a:t>Light 2</a:t>
                </a:r>
              </a:p>
            </p:txBody>
          </p:sp>
          <p:sp>
            <p:nvSpPr>
              <p:cNvPr id="17" name="Rounded Rectangle 16"/>
              <p:cNvSpPr/>
              <p:nvPr>
                <p:custDataLst>
                  <p:tags r:id="rId9"/>
                </p:custDataLst>
              </p:nvPr>
            </p:nvSpPr>
            <p:spPr>
              <a:xfrm>
                <a:off x="5715000" y="508000"/>
                <a:ext cx="1016000" cy="1016000"/>
              </a:xfrm>
              <a:prstGeom prst="roundRect">
                <a:avLst/>
              </a:prstGeom>
              <a:solidFill>
                <a:srgbClr val="55A5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85</a:t>
                </a:r>
              </a:p>
              <a:p>
                <a:pPr defTabSz="914302"/>
                <a:r>
                  <a:rPr lang="en-US" sz="1200" dirty="0">
                    <a:solidFill>
                      <a:prstClr val="white"/>
                    </a:solidFill>
                  </a:rPr>
                  <a:t>165</a:t>
                </a:r>
              </a:p>
              <a:p>
                <a:pPr defTabSz="914302"/>
                <a:r>
                  <a:rPr lang="en-US" sz="1200" dirty="0">
                    <a:solidFill>
                      <a:prstClr val="white"/>
                    </a:solidFill>
                  </a:rPr>
                  <a:t>28</a:t>
                </a:r>
              </a:p>
            </p:txBody>
          </p:sp>
          <p:sp>
            <p:nvSpPr>
              <p:cNvPr id="18" name="TextBox 17"/>
              <p:cNvSpPr txBox="1"/>
              <p:nvPr>
                <p:custDataLst>
                  <p:tags r:id="rId10"/>
                </p:custDataLst>
              </p:nvPr>
            </p:nvSpPr>
            <p:spPr>
              <a:xfrm>
                <a:off x="5524500" y="1524000"/>
                <a:ext cx="1397000" cy="276999"/>
              </a:xfrm>
              <a:prstGeom prst="rect">
                <a:avLst/>
              </a:prstGeom>
              <a:noFill/>
            </p:spPr>
            <p:txBody>
              <a:bodyPr vert="horz" rtlCol="0">
                <a:spAutoFit/>
              </a:bodyPr>
              <a:lstStyle/>
              <a:p>
                <a:pPr algn="ctr" defTabSz="914302"/>
                <a:r>
                  <a:rPr lang="en-US" sz="1200" dirty="0">
                    <a:solidFill>
                      <a:prstClr val="black"/>
                    </a:solidFill>
                  </a:rPr>
                  <a:t>Accent 1</a:t>
                </a:r>
              </a:p>
            </p:txBody>
          </p:sp>
          <p:sp>
            <p:nvSpPr>
              <p:cNvPr id="19" name="Rounded Rectangle 18"/>
              <p:cNvSpPr/>
              <p:nvPr>
                <p:custDataLst>
                  <p:tags r:id="rId11"/>
                </p:custDataLst>
              </p:nvPr>
            </p:nvSpPr>
            <p:spPr>
              <a:xfrm>
                <a:off x="6858000" y="508000"/>
                <a:ext cx="1016000" cy="1016000"/>
              </a:xfrm>
              <a:prstGeom prst="roundRect">
                <a:avLst/>
              </a:prstGeom>
              <a:solidFill>
                <a:srgbClr val="D649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14</a:t>
                </a:r>
              </a:p>
              <a:p>
                <a:pPr defTabSz="914302"/>
                <a:r>
                  <a:rPr lang="en-US" sz="1200" dirty="0">
                    <a:solidFill>
                      <a:prstClr val="white"/>
                    </a:solidFill>
                  </a:rPr>
                  <a:t>73</a:t>
                </a:r>
              </a:p>
              <a:p>
                <a:pPr defTabSz="914302"/>
                <a:r>
                  <a:rPr lang="en-US" sz="1200" dirty="0">
                    <a:solidFill>
                      <a:prstClr val="white"/>
                    </a:solidFill>
                  </a:rPr>
                  <a:t>42</a:t>
                </a:r>
              </a:p>
            </p:txBody>
          </p:sp>
          <p:sp>
            <p:nvSpPr>
              <p:cNvPr id="20" name="TextBox 19"/>
              <p:cNvSpPr txBox="1"/>
              <p:nvPr>
                <p:custDataLst>
                  <p:tags r:id="rId12"/>
                </p:custDataLst>
              </p:nvPr>
            </p:nvSpPr>
            <p:spPr>
              <a:xfrm>
                <a:off x="6667500" y="1524000"/>
                <a:ext cx="1397000" cy="276999"/>
              </a:xfrm>
              <a:prstGeom prst="rect">
                <a:avLst/>
              </a:prstGeom>
              <a:noFill/>
            </p:spPr>
            <p:txBody>
              <a:bodyPr vert="horz" rtlCol="0">
                <a:spAutoFit/>
              </a:bodyPr>
              <a:lstStyle/>
              <a:p>
                <a:pPr algn="ctr" defTabSz="914302"/>
                <a:r>
                  <a:rPr lang="en-US" sz="1200" dirty="0">
                    <a:solidFill>
                      <a:prstClr val="black"/>
                    </a:solidFill>
                  </a:rPr>
                  <a:t>Accent 2</a:t>
                </a:r>
              </a:p>
            </p:txBody>
          </p:sp>
          <p:sp>
            <p:nvSpPr>
              <p:cNvPr id="21" name="Rounded Rectangle 20"/>
              <p:cNvSpPr/>
              <p:nvPr>
                <p:custDataLst>
                  <p:tags r:id="rId13"/>
                </p:custDataLst>
              </p:nvPr>
            </p:nvSpPr>
            <p:spPr>
              <a:xfrm>
                <a:off x="1143000" y="1905000"/>
                <a:ext cx="1016000" cy="1016000"/>
              </a:xfrm>
              <a:prstGeom prst="roundRect">
                <a:avLst/>
              </a:prstGeom>
              <a:solidFill>
                <a:srgbClr val="B9AF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185</a:t>
                </a:r>
              </a:p>
              <a:p>
                <a:pPr defTabSz="914302"/>
                <a:r>
                  <a:rPr lang="en-US" sz="1200" dirty="0">
                    <a:solidFill>
                      <a:prstClr val="white"/>
                    </a:solidFill>
                  </a:rPr>
                  <a:t>175</a:t>
                </a:r>
              </a:p>
              <a:p>
                <a:pPr defTabSz="914302"/>
                <a:r>
                  <a:rPr lang="en-US" sz="1200" dirty="0">
                    <a:solidFill>
                      <a:prstClr val="white"/>
                    </a:solidFill>
                  </a:rPr>
                  <a:t>164</a:t>
                </a:r>
              </a:p>
            </p:txBody>
          </p:sp>
          <p:sp>
            <p:nvSpPr>
              <p:cNvPr id="22" name="TextBox 21"/>
              <p:cNvSpPr txBox="1"/>
              <p:nvPr>
                <p:custDataLst>
                  <p:tags r:id="rId14"/>
                </p:custDataLst>
              </p:nvPr>
            </p:nvSpPr>
            <p:spPr>
              <a:xfrm>
                <a:off x="952500" y="2921000"/>
                <a:ext cx="1397000" cy="276999"/>
              </a:xfrm>
              <a:prstGeom prst="rect">
                <a:avLst/>
              </a:prstGeom>
              <a:noFill/>
            </p:spPr>
            <p:txBody>
              <a:bodyPr vert="horz" rtlCol="0">
                <a:spAutoFit/>
              </a:bodyPr>
              <a:lstStyle/>
              <a:p>
                <a:pPr algn="ctr" defTabSz="914302"/>
                <a:r>
                  <a:rPr lang="en-US" sz="1200" dirty="0">
                    <a:solidFill>
                      <a:prstClr val="black"/>
                    </a:solidFill>
                  </a:rPr>
                  <a:t>Accent 3</a:t>
                </a:r>
              </a:p>
            </p:txBody>
          </p:sp>
          <p:sp>
            <p:nvSpPr>
              <p:cNvPr id="23" name="Rounded Rectangle 22"/>
              <p:cNvSpPr/>
              <p:nvPr>
                <p:custDataLst>
                  <p:tags r:id="rId15"/>
                </p:custDataLst>
              </p:nvPr>
            </p:nvSpPr>
            <p:spPr>
              <a:xfrm>
                <a:off x="2286000" y="1905000"/>
                <a:ext cx="1016000" cy="1016000"/>
              </a:xfrm>
              <a:prstGeom prst="roundRect">
                <a:avLst/>
              </a:prstGeom>
              <a:solidFill>
                <a:srgbClr val="974B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151</a:t>
                </a:r>
              </a:p>
              <a:p>
                <a:pPr defTabSz="914302"/>
                <a:r>
                  <a:rPr lang="en-US" sz="1200" dirty="0">
                    <a:solidFill>
                      <a:prstClr val="white"/>
                    </a:solidFill>
                  </a:rPr>
                  <a:t>75</a:t>
                </a:r>
              </a:p>
              <a:p>
                <a:pPr defTabSz="914302"/>
                <a:r>
                  <a:rPr lang="en-US" sz="1200" dirty="0">
                    <a:solidFill>
                      <a:prstClr val="white"/>
                    </a:solidFill>
                  </a:rPr>
                  <a:t>7</a:t>
                </a:r>
              </a:p>
            </p:txBody>
          </p:sp>
          <p:sp>
            <p:nvSpPr>
              <p:cNvPr id="24" name="TextBox 23"/>
              <p:cNvSpPr txBox="1"/>
              <p:nvPr>
                <p:custDataLst>
                  <p:tags r:id="rId16"/>
                </p:custDataLst>
              </p:nvPr>
            </p:nvSpPr>
            <p:spPr>
              <a:xfrm>
                <a:off x="2095500" y="2921000"/>
                <a:ext cx="1397000" cy="276999"/>
              </a:xfrm>
              <a:prstGeom prst="rect">
                <a:avLst/>
              </a:prstGeom>
              <a:noFill/>
            </p:spPr>
            <p:txBody>
              <a:bodyPr vert="horz" rtlCol="0">
                <a:spAutoFit/>
              </a:bodyPr>
              <a:lstStyle/>
              <a:p>
                <a:pPr algn="ctr" defTabSz="914302"/>
                <a:r>
                  <a:rPr lang="en-US" sz="1200" dirty="0">
                    <a:solidFill>
                      <a:prstClr val="black"/>
                    </a:solidFill>
                  </a:rPr>
                  <a:t>Accent 4</a:t>
                </a:r>
              </a:p>
            </p:txBody>
          </p:sp>
          <p:sp>
            <p:nvSpPr>
              <p:cNvPr id="25" name="Rounded Rectangle 24"/>
              <p:cNvSpPr/>
              <p:nvPr>
                <p:custDataLst>
                  <p:tags r:id="rId17"/>
                </p:custDataLst>
              </p:nvPr>
            </p:nvSpPr>
            <p:spPr>
              <a:xfrm>
                <a:off x="3429000" y="1905000"/>
                <a:ext cx="1016000" cy="1016000"/>
              </a:xfrm>
              <a:prstGeom prst="roundRect">
                <a:avLst/>
              </a:prstGeom>
              <a:solidFill>
                <a:srgbClr val="C1B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193</a:t>
                </a:r>
              </a:p>
              <a:p>
                <a:pPr defTabSz="914302"/>
                <a:r>
                  <a:rPr lang="en-US" sz="1200" dirty="0">
                    <a:solidFill>
                      <a:prstClr val="white"/>
                    </a:solidFill>
                  </a:rPr>
                  <a:t>187</a:t>
                </a:r>
              </a:p>
              <a:p>
                <a:pPr defTabSz="914302"/>
                <a:r>
                  <a:rPr lang="en-US" sz="1200" dirty="0">
                    <a:solidFill>
                      <a:prstClr val="white"/>
                    </a:solidFill>
                  </a:rPr>
                  <a:t>0</a:t>
                </a:r>
              </a:p>
            </p:txBody>
          </p:sp>
          <p:sp>
            <p:nvSpPr>
              <p:cNvPr id="26" name="TextBox 25"/>
              <p:cNvSpPr txBox="1"/>
              <p:nvPr>
                <p:custDataLst>
                  <p:tags r:id="rId18"/>
                </p:custDataLst>
              </p:nvPr>
            </p:nvSpPr>
            <p:spPr>
              <a:xfrm>
                <a:off x="3238500" y="2921000"/>
                <a:ext cx="1397000" cy="276999"/>
              </a:xfrm>
              <a:prstGeom prst="rect">
                <a:avLst/>
              </a:prstGeom>
              <a:noFill/>
            </p:spPr>
            <p:txBody>
              <a:bodyPr vert="horz" rtlCol="0">
                <a:spAutoFit/>
              </a:bodyPr>
              <a:lstStyle/>
              <a:p>
                <a:pPr algn="ctr" defTabSz="914302"/>
                <a:r>
                  <a:rPr lang="en-US" sz="1200" dirty="0">
                    <a:solidFill>
                      <a:prstClr val="black"/>
                    </a:solidFill>
                  </a:rPr>
                  <a:t>Accent 5</a:t>
                </a:r>
              </a:p>
            </p:txBody>
          </p:sp>
          <p:sp>
            <p:nvSpPr>
              <p:cNvPr id="27" name="Rounded Rectangle 26"/>
              <p:cNvSpPr/>
              <p:nvPr>
                <p:custDataLst>
                  <p:tags r:id="rId19"/>
                </p:custDataLst>
              </p:nvPr>
            </p:nvSpPr>
            <p:spPr>
              <a:xfrm>
                <a:off x="4572000" y="1905000"/>
                <a:ext cx="1016000" cy="1016000"/>
              </a:xfrm>
              <a:prstGeom prst="roundRect">
                <a:avLst/>
              </a:prstGeom>
              <a:solidFill>
                <a:srgbClr val="FFDD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55</a:t>
                </a:r>
              </a:p>
              <a:p>
                <a:pPr defTabSz="914302"/>
                <a:r>
                  <a:rPr lang="en-US" sz="1200" dirty="0">
                    <a:solidFill>
                      <a:prstClr val="white"/>
                    </a:solidFill>
                  </a:rPr>
                  <a:t>221</a:t>
                </a:r>
              </a:p>
              <a:p>
                <a:pPr defTabSz="914302"/>
                <a:r>
                  <a:rPr lang="en-US" sz="1200" dirty="0">
                    <a:solidFill>
                      <a:prstClr val="white"/>
                    </a:solidFill>
                  </a:rPr>
                  <a:t>62</a:t>
                </a:r>
              </a:p>
            </p:txBody>
          </p:sp>
          <p:sp>
            <p:nvSpPr>
              <p:cNvPr id="28" name="TextBox 27"/>
              <p:cNvSpPr txBox="1"/>
              <p:nvPr>
                <p:custDataLst>
                  <p:tags r:id="rId20"/>
                </p:custDataLst>
              </p:nvPr>
            </p:nvSpPr>
            <p:spPr>
              <a:xfrm>
                <a:off x="4381500" y="2921000"/>
                <a:ext cx="1397000" cy="276999"/>
              </a:xfrm>
              <a:prstGeom prst="rect">
                <a:avLst/>
              </a:prstGeom>
              <a:noFill/>
            </p:spPr>
            <p:txBody>
              <a:bodyPr vert="horz" rtlCol="0">
                <a:spAutoFit/>
              </a:bodyPr>
              <a:lstStyle/>
              <a:p>
                <a:pPr algn="ctr" defTabSz="914302"/>
                <a:r>
                  <a:rPr lang="en-US" sz="1200" dirty="0">
                    <a:solidFill>
                      <a:prstClr val="black"/>
                    </a:solidFill>
                  </a:rPr>
                  <a:t>Accent 6</a:t>
                </a:r>
              </a:p>
            </p:txBody>
          </p:sp>
          <p:sp>
            <p:nvSpPr>
              <p:cNvPr id="29" name="Rounded Rectangle 28"/>
              <p:cNvSpPr/>
              <p:nvPr>
                <p:custDataLst>
                  <p:tags r:id="rId21"/>
                </p:custDataLst>
              </p:nvPr>
            </p:nvSpPr>
            <p:spPr>
              <a:xfrm>
                <a:off x="5715000" y="1905000"/>
                <a:ext cx="1016000" cy="1016000"/>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55</a:t>
                </a:r>
              </a:p>
              <a:p>
                <a:pPr defTabSz="914302"/>
                <a:r>
                  <a:rPr lang="en-US" sz="1200" dirty="0">
                    <a:solidFill>
                      <a:prstClr val="white"/>
                    </a:solidFill>
                  </a:rPr>
                  <a:t>255</a:t>
                </a:r>
              </a:p>
              <a:p>
                <a:pPr defTabSz="914302"/>
                <a:r>
                  <a:rPr lang="en-US" sz="1200" dirty="0">
                    <a:solidFill>
                      <a:prstClr val="white"/>
                    </a:solidFill>
                  </a:rPr>
                  <a:t>255</a:t>
                </a:r>
              </a:p>
            </p:txBody>
          </p:sp>
          <p:sp>
            <p:nvSpPr>
              <p:cNvPr id="30" name="TextBox 29"/>
              <p:cNvSpPr txBox="1"/>
              <p:nvPr>
                <p:custDataLst>
                  <p:tags r:id="rId22"/>
                </p:custDataLst>
              </p:nvPr>
            </p:nvSpPr>
            <p:spPr>
              <a:xfrm>
                <a:off x="5524500" y="2921000"/>
                <a:ext cx="1397000" cy="276999"/>
              </a:xfrm>
              <a:prstGeom prst="rect">
                <a:avLst/>
              </a:prstGeom>
              <a:noFill/>
            </p:spPr>
            <p:txBody>
              <a:bodyPr vert="horz" rtlCol="0">
                <a:spAutoFit/>
              </a:bodyPr>
              <a:lstStyle/>
              <a:p>
                <a:pPr algn="ctr" defTabSz="914302"/>
                <a:r>
                  <a:rPr lang="en-US" sz="1200" dirty="0">
                    <a:solidFill>
                      <a:prstClr val="black"/>
                    </a:solidFill>
                  </a:rPr>
                  <a:t>Hyperlink</a:t>
                </a:r>
              </a:p>
            </p:txBody>
          </p:sp>
          <p:sp>
            <p:nvSpPr>
              <p:cNvPr id="31" name="Rounded Rectangle 30"/>
              <p:cNvSpPr/>
              <p:nvPr>
                <p:custDataLst>
                  <p:tags r:id="rId23"/>
                </p:custDataLst>
              </p:nvPr>
            </p:nvSpPr>
            <p:spPr>
              <a:xfrm>
                <a:off x="6858000" y="1905000"/>
                <a:ext cx="1016000" cy="1016000"/>
              </a:xfrm>
              <a:prstGeom prst="roundRect">
                <a:avLst/>
              </a:prstGeom>
              <a:solidFill>
                <a:srgbClr val="EC89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36</a:t>
                </a:r>
              </a:p>
              <a:p>
                <a:pPr defTabSz="914302"/>
                <a:r>
                  <a:rPr lang="en-US" sz="1200" dirty="0">
                    <a:solidFill>
                      <a:prstClr val="white"/>
                    </a:solidFill>
                  </a:rPr>
                  <a:t>137</a:t>
                </a:r>
              </a:p>
              <a:p>
                <a:pPr defTabSz="914302"/>
                <a:r>
                  <a:rPr lang="en-US" sz="1200" dirty="0">
                    <a:solidFill>
                      <a:prstClr val="white"/>
                    </a:solidFill>
                  </a:rPr>
                  <a:t>29</a:t>
                </a:r>
              </a:p>
            </p:txBody>
          </p:sp>
          <p:sp>
            <p:nvSpPr>
              <p:cNvPr id="32" name="TextBox 31"/>
              <p:cNvSpPr txBox="1"/>
              <p:nvPr>
                <p:custDataLst>
                  <p:tags r:id="rId24"/>
                </p:custDataLst>
              </p:nvPr>
            </p:nvSpPr>
            <p:spPr>
              <a:xfrm>
                <a:off x="6667500" y="2921000"/>
                <a:ext cx="1397000" cy="276999"/>
              </a:xfrm>
              <a:prstGeom prst="rect">
                <a:avLst/>
              </a:prstGeom>
              <a:noFill/>
            </p:spPr>
            <p:txBody>
              <a:bodyPr vert="horz" rtlCol="0">
                <a:spAutoFit/>
              </a:bodyPr>
              <a:lstStyle/>
              <a:p>
                <a:pPr algn="ctr" defTabSz="914302"/>
                <a:r>
                  <a:rPr lang="en-US" sz="1200" dirty="0">
                    <a:solidFill>
                      <a:prstClr val="black"/>
                    </a:solidFill>
                  </a:rPr>
                  <a:t>Followed Hyperlink</a:t>
                </a:r>
              </a:p>
            </p:txBody>
          </p:sp>
          <p:sp>
            <p:nvSpPr>
              <p:cNvPr id="33" name="Rounded Rectangle 32"/>
              <p:cNvSpPr/>
              <p:nvPr>
                <p:custDataLst>
                  <p:tags r:id="rId25"/>
                </p:custDataLst>
              </p:nvPr>
            </p:nvSpPr>
            <p:spPr>
              <a:xfrm>
                <a:off x="1143000" y="3429000"/>
                <a:ext cx="1016000" cy="1016000"/>
              </a:xfrm>
              <a:prstGeom prst="roundRect">
                <a:avLst/>
              </a:prstGeom>
              <a:solidFill>
                <a:srgbClr val="7FAFDD"/>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127</a:t>
                </a:r>
              </a:p>
              <a:p>
                <a:pPr defTabSz="914302"/>
                <a:r>
                  <a:rPr lang="en-US" sz="1200" dirty="0">
                    <a:solidFill>
                      <a:prstClr val="white"/>
                    </a:solidFill>
                  </a:rPr>
                  <a:t>175</a:t>
                </a:r>
              </a:p>
              <a:p>
                <a:pPr defTabSz="914302"/>
                <a:r>
                  <a:rPr lang="en-US" sz="1200" dirty="0">
                    <a:solidFill>
                      <a:prstClr val="white"/>
                    </a:solidFill>
                  </a:rPr>
                  <a:t>221</a:t>
                </a:r>
              </a:p>
            </p:txBody>
          </p:sp>
          <p:sp>
            <p:nvSpPr>
              <p:cNvPr id="34" name="TextBox 33"/>
              <p:cNvSpPr txBox="1"/>
              <p:nvPr>
                <p:custDataLst>
                  <p:tags r:id="rId26"/>
                </p:custDataLst>
              </p:nvPr>
            </p:nvSpPr>
            <p:spPr>
              <a:xfrm>
                <a:off x="952500" y="4445000"/>
                <a:ext cx="1397000" cy="276999"/>
              </a:xfrm>
              <a:prstGeom prst="rect">
                <a:avLst/>
              </a:prstGeom>
              <a:noFill/>
            </p:spPr>
            <p:txBody>
              <a:bodyPr vert="horz" rtlCol="0">
                <a:spAutoFit/>
              </a:bodyPr>
              <a:lstStyle/>
              <a:p>
                <a:pPr algn="ctr" defTabSz="914302"/>
                <a:r>
                  <a:rPr lang="en-US" sz="1200" dirty="0">
                    <a:solidFill>
                      <a:prstClr val="black"/>
                    </a:solidFill>
                  </a:rPr>
                  <a:t>Tata Blue 50%</a:t>
                </a:r>
              </a:p>
            </p:txBody>
          </p:sp>
          <p:sp>
            <p:nvSpPr>
              <p:cNvPr id="35" name="Rounded Rectangle 34"/>
              <p:cNvSpPr/>
              <p:nvPr>
                <p:custDataLst>
                  <p:tags r:id="rId27"/>
                </p:custDataLst>
              </p:nvPr>
            </p:nvSpPr>
            <p:spPr>
              <a:xfrm>
                <a:off x="2286000" y="3429000"/>
                <a:ext cx="1016000" cy="1016000"/>
              </a:xfrm>
              <a:prstGeom prst="roundRect">
                <a:avLst/>
              </a:prstGeom>
              <a:solidFill>
                <a:srgbClr val="CBD7EE"/>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03</a:t>
                </a:r>
              </a:p>
              <a:p>
                <a:pPr defTabSz="914302"/>
                <a:r>
                  <a:rPr lang="en-US" sz="1200" dirty="0">
                    <a:solidFill>
                      <a:prstClr val="white"/>
                    </a:solidFill>
                  </a:rPr>
                  <a:t>215</a:t>
                </a:r>
              </a:p>
              <a:p>
                <a:pPr defTabSz="914302"/>
                <a:r>
                  <a:rPr lang="en-US" sz="1200" dirty="0">
                    <a:solidFill>
                      <a:prstClr val="white"/>
                    </a:solidFill>
                  </a:rPr>
                  <a:t>238</a:t>
                </a:r>
              </a:p>
            </p:txBody>
          </p:sp>
          <p:sp>
            <p:nvSpPr>
              <p:cNvPr id="36" name="TextBox 35"/>
              <p:cNvSpPr txBox="1"/>
              <p:nvPr>
                <p:custDataLst>
                  <p:tags r:id="rId28"/>
                </p:custDataLst>
              </p:nvPr>
            </p:nvSpPr>
            <p:spPr>
              <a:xfrm>
                <a:off x="2095500" y="4445000"/>
                <a:ext cx="1397000" cy="276999"/>
              </a:xfrm>
              <a:prstGeom prst="rect">
                <a:avLst/>
              </a:prstGeom>
              <a:noFill/>
            </p:spPr>
            <p:txBody>
              <a:bodyPr vert="horz" rtlCol="0">
                <a:spAutoFit/>
              </a:bodyPr>
              <a:lstStyle/>
              <a:p>
                <a:pPr algn="ctr" defTabSz="914302"/>
                <a:r>
                  <a:rPr lang="en-US" sz="1200" dirty="0">
                    <a:solidFill>
                      <a:prstClr val="black"/>
                    </a:solidFill>
                  </a:rPr>
                  <a:t>Tata Blue 25%</a:t>
                </a:r>
              </a:p>
            </p:txBody>
          </p:sp>
          <p:sp>
            <p:nvSpPr>
              <p:cNvPr id="37" name="Rounded Rectangle 36"/>
              <p:cNvSpPr/>
              <p:nvPr>
                <p:custDataLst>
                  <p:tags r:id="rId29"/>
                </p:custDataLst>
              </p:nvPr>
            </p:nvSpPr>
            <p:spPr>
              <a:xfrm>
                <a:off x="3429000" y="3429000"/>
                <a:ext cx="1016000" cy="1016000"/>
              </a:xfrm>
              <a:prstGeom prst="roundRect">
                <a:avLst/>
              </a:prstGeom>
              <a:solidFill>
                <a:srgbClr val="B395C5"/>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srgbClr val="1F497D"/>
                    </a:solidFill>
                  </a:rPr>
                  <a:t>179</a:t>
                </a:r>
              </a:p>
              <a:p>
                <a:pPr defTabSz="914302"/>
                <a:r>
                  <a:rPr lang="en-US" sz="1200" dirty="0">
                    <a:solidFill>
                      <a:srgbClr val="1F497D"/>
                    </a:solidFill>
                  </a:rPr>
                  <a:t>149</a:t>
                </a:r>
              </a:p>
              <a:p>
                <a:pPr defTabSz="914302"/>
                <a:r>
                  <a:rPr lang="en-US" sz="1200" dirty="0">
                    <a:solidFill>
                      <a:srgbClr val="1F497D"/>
                    </a:solidFill>
                  </a:rPr>
                  <a:t>197</a:t>
                </a:r>
              </a:p>
            </p:txBody>
          </p:sp>
          <p:sp>
            <p:nvSpPr>
              <p:cNvPr id="38" name="TextBox 37"/>
              <p:cNvSpPr txBox="1"/>
              <p:nvPr>
                <p:custDataLst>
                  <p:tags r:id="rId30"/>
                </p:custDataLst>
              </p:nvPr>
            </p:nvSpPr>
            <p:spPr>
              <a:xfrm>
                <a:off x="3238500" y="4445000"/>
                <a:ext cx="1397000" cy="276999"/>
              </a:xfrm>
              <a:prstGeom prst="rect">
                <a:avLst/>
              </a:prstGeom>
              <a:noFill/>
            </p:spPr>
            <p:txBody>
              <a:bodyPr vert="horz" rtlCol="0">
                <a:spAutoFit/>
              </a:bodyPr>
              <a:lstStyle/>
              <a:p>
                <a:pPr algn="ctr" defTabSz="914302"/>
                <a:r>
                  <a:rPr lang="en-US" sz="1200" dirty="0">
                    <a:solidFill>
                      <a:prstClr val="black"/>
                    </a:solidFill>
                  </a:rPr>
                  <a:t>Purple 50 %</a:t>
                </a:r>
              </a:p>
            </p:txBody>
          </p:sp>
          <p:sp>
            <p:nvSpPr>
              <p:cNvPr id="39" name="Rounded Rectangle 38"/>
              <p:cNvSpPr/>
              <p:nvPr>
                <p:custDataLst>
                  <p:tags r:id="rId31"/>
                </p:custDataLst>
              </p:nvPr>
            </p:nvSpPr>
            <p:spPr>
              <a:xfrm>
                <a:off x="4572000" y="3429000"/>
                <a:ext cx="1016000" cy="1016000"/>
              </a:xfrm>
              <a:prstGeom prst="roundRect">
                <a:avLst/>
              </a:prstGeom>
              <a:solidFill>
                <a:srgbClr val="D4C3DF"/>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12</a:t>
                </a:r>
              </a:p>
              <a:p>
                <a:pPr defTabSz="914302"/>
                <a:r>
                  <a:rPr lang="en-US" sz="1200" dirty="0">
                    <a:solidFill>
                      <a:prstClr val="white"/>
                    </a:solidFill>
                  </a:rPr>
                  <a:t>195</a:t>
                </a:r>
              </a:p>
              <a:p>
                <a:pPr defTabSz="914302"/>
                <a:r>
                  <a:rPr lang="en-US" sz="1200" dirty="0">
                    <a:solidFill>
                      <a:prstClr val="white"/>
                    </a:solidFill>
                  </a:rPr>
                  <a:t>223</a:t>
                </a:r>
              </a:p>
            </p:txBody>
          </p:sp>
          <p:sp>
            <p:nvSpPr>
              <p:cNvPr id="40" name="TextBox 39"/>
              <p:cNvSpPr txBox="1"/>
              <p:nvPr>
                <p:custDataLst>
                  <p:tags r:id="rId32"/>
                </p:custDataLst>
              </p:nvPr>
            </p:nvSpPr>
            <p:spPr>
              <a:xfrm>
                <a:off x="4381500" y="4445000"/>
                <a:ext cx="1397000" cy="276999"/>
              </a:xfrm>
              <a:prstGeom prst="rect">
                <a:avLst/>
              </a:prstGeom>
              <a:noFill/>
            </p:spPr>
            <p:txBody>
              <a:bodyPr vert="horz" rtlCol="0">
                <a:spAutoFit/>
              </a:bodyPr>
              <a:lstStyle/>
              <a:p>
                <a:pPr algn="ctr" defTabSz="914302"/>
                <a:r>
                  <a:rPr lang="en-US" sz="1200" dirty="0">
                    <a:solidFill>
                      <a:prstClr val="black"/>
                    </a:solidFill>
                  </a:rPr>
                  <a:t>Purple 25 %</a:t>
                </a:r>
              </a:p>
            </p:txBody>
          </p:sp>
          <p:sp>
            <p:nvSpPr>
              <p:cNvPr id="41" name="Rounded Rectangle 40"/>
              <p:cNvSpPr/>
              <p:nvPr>
                <p:custDataLst>
                  <p:tags r:id="rId33"/>
                </p:custDataLst>
              </p:nvPr>
            </p:nvSpPr>
            <p:spPr>
              <a:xfrm>
                <a:off x="5715000" y="3429000"/>
                <a:ext cx="1016000" cy="1016000"/>
              </a:xfrm>
              <a:prstGeom prst="roundRect">
                <a:avLst/>
              </a:prstGeom>
              <a:solidFill>
                <a:srgbClr val="FFF2AB"/>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55</a:t>
                </a:r>
              </a:p>
              <a:p>
                <a:pPr defTabSz="914302"/>
                <a:r>
                  <a:rPr lang="en-US" sz="1200" dirty="0">
                    <a:solidFill>
                      <a:prstClr val="white"/>
                    </a:solidFill>
                  </a:rPr>
                  <a:t>242</a:t>
                </a:r>
              </a:p>
              <a:p>
                <a:pPr defTabSz="914302"/>
                <a:r>
                  <a:rPr lang="en-US" sz="1200" dirty="0">
                    <a:solidFill>
                      <a:prstClr val="white"/>
                    </a:solidFill>
                  </a:rPr>
                  <a:t>171</a:t>
                </a:r>
              </a:p>
            </p:txBody>
          </p:sp>
          <p:sp>
            <p:nvSpPr>
              <p:cNvPr id="42" name="TextBox 41"/>
              <p:cNvSpPr txBox="1"/>
              <p:nvPr>
                <p:custDataLst>
                  <p:tags r:id="rId34"/>
                </p:custDataLst>
              </p:nvPr>
            </p:nvSpPr>
            <p:spPr>
              <a:xfrm>
                <a:off x="5524500" y="4445000"/>
                <a:ext cx="1397000" cy="276999"/>
              </a:xfrm>
              <a:prstGeom prst="rect">
                <a:avLst/>
              </a:prstGeom>
              <a:noFill/>
            </p:spPr>
            <p:txBody>
              <a:bodyPr vert="horz" rtlCol="0">
                <a:spAutoFit/>
              </a:bodyPr>
              <a:lstStyle/>
              <a:p>
                <a:pPr algn="ctr" defTabSz="914302"/>
                <a:r>
                  <a:rPr lang="en-US" sz="1200" dirty="0">
                    <a:solidFill>
                      <a:prstClr val="black"/>
                    </a:solidFill>
                  </a:rPr>
                  <a:t>Yellow 50 %</a:t>
                </a:r>
              </a:p>
            </p:txBody>
          </p:sp>
          <p:sp>
            <p:nvSpPr>
              <p:cNvPr id="43" name="Rounded Rectangle 42"/>
              <p:cNvSpPr/>
              <p:nvPr>
                <p:custDataLst>
                  <p:tags r:id="rId35"/>
                </p:custDataLst>
              </p:nvPr>
            </p:nvSpPr>
            <p:spPr>
              <a:xfrm>
                <a:off x="6858000" y="3429000"/>
                <a:ext cx="1016000" cy="1016000"/>
              </a:xfrm>
              <a:prstGeom prst="roundRect">
                <a:avLst/>
              </a:prstGeom>
              <a:solidFill>
                <a:srgbClr val="FFF9D5"/>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55</a:t>
                </a:r>
              </a:p>
              <a:p>
                <a:pPr defTabSz="914302"/>
                <a:r>
                  <a:rPr lang="en-US" sz="1200" dirty="0">
                    <a:solidFill>
                      <a:prstClr val="white"/>
                    </a:solidFill>
                  </a:rPr>
                  <a:t>249</a:t>
                </a:r>
              </a:p>
              <a:p>
                <a:pPr defTabSz="914302"/>
                <a:r>
                  <a:rPr lang="en-US" sz="1200" dirty="0">
                    <a:solidFill>
                      <a:prstClr val="white"/>
                    </a:solidFill>
                  </a:rPr>
                  <a:t>213</a:t>
                </a:r>
              </a:p>
            </p:txBody>
          </p:sp>
          <p:sp>
            <p:nvSpPr>
              <p:cNvPr id="44" name="TextBox 43"/>
              <p:cNvSpPr txBox="1"/>
              <p:nvPr>
                <p:custDataLst>
                  <p:tags r:id="rId36"/>
                </p:custDataLst>
              </p:nvPr>
            </p:nvSpPr>
            <p:spPr>
              <a:xfrm>
                <a:off x="6667500" y="4445000"/>
                <a:ext cx="1397000" cy="276999"/>
              </a:xfrm>
              <a:prstGeom prst="rect">
                <a:avLst/>
              </a:prstGeom>
              <a:noFill/>
            </p:spPr>
            <p:txBody>
              <a:bodyPr vert="horz" rtlCol="0">
                <a:spAutoFit/>
              </a:bodyPr>
              <a:lstStyle/>
              <a:p>
                <a:pPr algn="ctr" defTabSz="914302"/>
                <a:r>
                  <a:rPr lang="en-US" sz="1200" dirty="0">
                    <a:solidFill>
                      <a:prstClr val="black"/>
                    </a:solidFill>
                  </a:rPr>
                  <a:t>Yellow 25 %</a:t>
                </a:r>
              </a:p>
            </p:txBody>
          </p:sp>
          <p:sp>
            <p:nvSpPr>
              <p:cNvPr id="45" name="Rounded Rectangle 44"/>
              <p:cNvSpPr/>
              <p:nvPr>
                <p:custDataLst>
                  <p:tags r:id="rId37"/>
                </p:custDataLst>
              </p:nvPr>
            </p:nvSpPr>
            <p:spPr>
              <a:xfrm>
                <a:off x="1143000" y="4826000"/>
                <a:ext cx="1016000" cy="1016000"/>
              </a:xfrm>
              <a:prstGeom prst="roundRect">
                <a:avLst/>
              </a:prstGeom>
              <a:solidFill>
                <a:srgbClr val="E5CDBA"/>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29</a:t>
                </a:r>
              </a:p>
              <a:p>
                <a:pPr defTabSz="914302"/>
                <a:r>
                  <a:rPr lang="en-US" sz="1200" dirty="0">
                    <a:solidFill>
                      <a:prstClr val="white"/>
                    </a:solidFill>
                  </a:rPr>
                  <a:t>205</a:t>
                </a:r>
              </a:p>
              <a:p>
                <a:pPr defTabSz="914302"/>
                <a:r>
                  <a:rPr lang="en-US" sz="1200" dirty="0">
                    <a:solidFill>
                      <a:prstClr val="white"/>
                    </a:solidFill>
                  </a:rPr>
                  <a:t>186</a:t>
                </a:r>
              </a:p>
            </p:txBody>
          </p:sp>
          <p:sp>
            <p:nvSpPr>
              <p:cNvPr id="46" name="TextBox 45"/>
              <p:cNvSpPr txBox="1"/>
              <p:nvPr>
                <p:custDataLst>
                  <p:tags r:id="rId38"/>
                </p:custDataLst>
              </p:nvPr>
            </p:nvSpPr>
            <p:spPr>
              <a:xfrm>
                <a:off x="952500" y="5842000"/>
                <a:ext cx="1397000" cy="276999"/>
              </a:xfrm>
              <a:prstGeom prst="rect">
                <a:avLst/>
              </a:prstGeom>
              <a:noFill/>
            </p:spPr>
            <p:txBody>
              <a:bodyPr vert="horz" rtlCol="0">
                <a:spAutoFit/>
              </a:bodyPr>
              <a:lstStyle/>
              <a:p>
                <a:pPr algn="ctr" defTabSz="914302"/>
                <a:r>
                  <a:rPr lang="en-US" sz="1200" dirty="0">
                    <a:solidFill>
                      <a:prstClr val="black"/>
                    </a:solidFill>
                  </a:rPr>
                  <a:t>Brown 50 %</a:t>
                </a:r>
              </a:p>
            </p:txBody>
          </p:sp>
          <p:sp>
            <p:nvSpPr>
              <p:cNvPr id="47" name="Rounded Rectangle 46"/>
              <p:cNvSpPr/>
              <p:nvPr>
                <p:custDataLst>
                  <p:tags r:id="rId39"/>
                </p:custDataLst>
              </p:nvPr>
            </p:nvSpPr>
            <p:spPr>
              <a:xfrm>
                <a:off x="2286000" y="4826000"/>
                <a:ext cx="1016000" cy="1016000"/>
              </a:xfrm>
              <a:prstGeom prst="roundRect">
                <a:avLst/>
              </a:prstGeom>
              <a:solidFill>
                <a:srgbClr val="F8F1EB"/>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48</a:t>
                </a:r>
              </a:p>
              <a:p>
                <a:pPr defTabSz="914302"/>
                <a:r>
                  <a:rPr lang="en-US" sz="1200" dirty="0">
                    <a:solidFill>
                      <a:prstClr val="white"/>
                    </a:solidFill>
                  </a:rPr>
                  <a:t>241</a:t>
                </a:r>
              </a:p>
              <a:p>
                <a:pPr defTabSz="914302"/>
                <a:r>
                  <a:rPr lang="en-US" sz="1200" dirty="0">
                    <a:solidFill>
                      <a:prstClr val="white"/>
                    </a:solidFill>
                  </a:rPr>
                  <a:t>235</a:t>
                </a:r>
              </a:p>
            </p:txBody>
          </p:sp>
          <p:sp>
            <p:nvSpPr>
              <p:cNvPr id="48" name="TextBox 47"/>
              <p:cNvSpPr txBox="1"/>
              <p:nvPr>
                <p:custDataLst>
                  <p:tags r:id="rId40"/>
                </p:custDataLst>
              </p:nvPr>
            </p:nvSpPr>
            <p:spPr>
              <a:xfrm>
                <a:off x="2095500" y="5842000"/>
                <a:ext cx="1397000" cy="276999"/>
              </a:xfrm>
              <a:prstGeom prst="rect">
                <a:avLst/>
              </a:prstGeom>
              <a:noFill/>
            </p:spPr>
            <p:txBody>
              <a:bodyPr vert="horz" rtlCol="0">
                <a:spAutoFit/>
              </a:bodyPr>
              <a:lstStyle/>
              <a:p>
                <a:pPr algn="ctr" defTabSz="914302"/>
                <a:r>
                  <a:rPr lang="en-US" sz="1200" dirty="0">
                    <a:solidFill>
                      <a:prstClr val="black"/>
                    </a:solidFill>
                  </a:rPr>
                  <a:t>Brown 25 %</a:t>
                </a:r>
              </a:p>
            </p:txBody>
          </p:sp>
          <p:sp>
            <p:nvSpPr>
              <p:cNvPr id="49" name="Rounded Rectangle 48"/>
              <p:cNvSpPr/>
              <p:nvPr>
                <p:custDataLst>
                  <p:tags r:id="rId41"/>
                </p:custDataLst>
              </p:nvPr>
            </p:nvSpPr>
            <p:spPr>
              <a:xfrm>
                <a:off x="3429000" y="4826000"/>
                <a:ext cx="1016000" cy="1016000"/>
              </a:xfrm>
              <a:prstGeom prst="roundRect">
                <a:avLst/>
              </a:prstGeom>
              <a:solidFill>
                <a:srgbClr val="B4D59A"/>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srgbClr val="7FAFDD"/>
                    </a:solidFill>
                  </a:rPr>
                  <a:t>180</a:t>
                </a:r>
              </a:p>
              <a:p>
                <a:pPr defTabSz="914302"/>
                <a:r>
                  <a:rPr lang="en-US" sz="1200" dirty="0">
                    <a:solidFill>
                      <a:srgbClr val="7FAFDD"/>
                    </a:solidFill>
                  </a:rPr>
                  <a:t>213</a:t>
                </a:r>
              </a:p>
              <a:p>
                <a:pPr defTabSz="914302"/>
                <a:r>
                  <a:rPr lang="en-US" sz="1200" dirty="0">
                    <a:solidFill>
                      <a:srgbClr val="7FAFDD"/>
                    </a:solidFill>
                  </a:rPr>
                  <a:t>154</a:t>
                </a:r>
              </a:p>
            </p:txBody>
          </p:sp>
          <p:sp>
            <p:nvSpPr>
              <p:cNvPr id="50" name="TextBox 49"/>
              <p:cNvSpPr txBox="1"/>
              <p:nvPr>
                <p:custDataLst>
                  <p:tags r:id="rId42"/>
                </p:custDataLst>
              </p:nvPr>
            </p:nvSpPr>
            <p:spPr>
              <a:xfrm>
                <a:off x="3238500" y="5842000"/>
                <a:ext cx="1397000" cy="276999"/>
              </a:xfrm>
              <a:prstGeom prst="rect">
                <a:avLst/>
              </a:prstGeom>
              <a:noFill/>
            </p:spPr>
            <p:txBody>
              <a:bodyPr vert="horz" rtlCol="0">
                <a:spAutoFit/>
              </a:bodyPr>
              <a:lstStyle/>
              <a:p>
                <a:pPr algn="ctr" defTabSz="914302"/>
                <a:r>
                  <a:rPr lang="en-US" sz="1200" dirty="0">
                    <a:solidFill>
                      <a:prstClr val="black"/>
                    </a:solidFill>
                  </a:rPr>
                  <a:t>Green 50 %</a:t>
                </a:r>
              </a:p>
            </p:txBody>
          </p:sp>
          <p:sp>
            <p:nvSpPr>
              <p:cNvPr id="51" name="Rounded Rectangle 50"/>
              <p:cNvSpPr/>
              <p:nvPr>
                <p:custDataLst>
                  <p:tags r:id="rId43"/>
                </p:custDataLst>
              </p:nvPr>
            </p:nvSpPr>
            <p:spPr>
              <a:xfrm>
                <a:off x="4572000" y="4826000"/>
                <a:ext cx="1016000" cy="1016000"/>
              </a:xfrm>
              <a:prstGeom prst="roundRect">
                <a:avLst/>
              </a:prstGeom>
              <a:solidFill>
                <a:srgbClr val="D6E7C8"/>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14</a:t>
                </a:r>
              </a:p>
              <a:p>
                <a:pPr defTabSz="914302"/>
                <a:r>
                  <a:rPr lang="en-US" sz="1200" dirty="0">
                    <a:solidFill>
                      <a:prstClr val="white"/>
                    </a:solidFill>
                  </a:rPr>
                  <a:t>231</a:t>
                </a:r>
              </a:p>
              <a:p>
                <a:pPr defTabSz="914302"/>
                <a:r>
                  <a:rPr lang="en-US" sz="1200" dirty="0">
                    <a:solidFill>
                      <a:prstClr val="white"/>
                    </a:solidFill>
                  </a:rPr>
                  <a:t>200</a:t>
                </a:r>
              </a:p>
            </p:txBody>
          </p:sp>
          <p:sp>
            <p:nvSpPr>
              <p:cNvPr id="52" name="TextBox 51"/>
              <p:cNvSpPr txBox="1"/>
              <p:nvPr>
                <p:custDataLst>
                  <p:tags r:id="rId44"/>
                </p:custDataLst>
              </p:nvPr>
            </p:nvSpPr>
            <p:spPr>
              <a:xfrm>
                <a:off x="4381500" y="5842000"/>
                <a:ext cx="1397000" cy="276999"/>
              </a:xfrm>
              <a:prstGeom prst="rect">
                <a:avLst/>
              </a:prstGeom>
              <a:noFill/>
            </p:spPr>
            <p:txBody>
              <a:bodyPr vert="horz" rtlCol="0">
                <a:spAutoFit/>
              </a:bodyPr>
              <a:lstStyle/>
              <a:p>
                <a:pPr algn="ctr" defTabSz="914302"/>
                <a:r>
                  <a:rPr lang="en-US" sz="1200" dirty="0">
                    <a:solidFill>
                      <a:prstClr val="black"/>
                    </a:solidFill>
                  </a:rPr>
                  <a:t>Green 25 %</a:t>
                </a:r>
              </a:p>
            </p:txBody>
          </p:sp>
          <p:sp>
            <p:nvSpPr>
              <p:cNvPr id="53" name="Rounded Rectangle 52"/>
              <p:cNvSpPr/>
              <p:nvPr>
                <p:custDataLst>
                  <p:tags r:id="rId45"/>
                </p:custDataLst>
              </p:nvPr>
            </p:nvSpPr>
            <p:spPr>
              <a:xfrm>
                <a:off x="5715000" y="4826000"/>
                <a:ext cx="1016000" cy="1016000"/>
              </a:xfrm>
              <a:prstGeom prst="roundRect">
                <a:avLst/>
              </a:prstGeom>
              <a:solidFill>
                <a:srgbClr val="F1F0CA"/>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41</a:t>
                </a:r>
              </a:p>
              <a:p>
                <a:pPr defTabSz="914302"/>
                <a:r>
                  <a:rPr lang="en-US" sz="1200" dirty="0">
                    <a:solidFill>
                      <a:prstClr val="white"/>
                    </a:solidFill>
                  </a:rPr>
                  <a:t>240</a:t>
                </a:r>
              </a:p>
              <a:p>
                <a:pPr defTabSz="914302"/>
                <a:r>
                  <a:rPr lang="en-US" sz="1200" dirty="0">
                    <a:solidFill>
                      <a:prstClr val="white"/>
                    </a:solidFill>
                  </a:rPr>
                  <a:t>202</a:t>
                </a:r>
              </a:p>
            </p:txBody>
          </p:sp>
          <p:sp>
            <p:nvSpPr>
              <p:cNvPr id="54" name="TextBox 53"/>
              <p:cNvSpPr txBox="1"/>
              <p:nvPr>
                <p:custDataLst>
                  <p:tags r:id="rId46"/>
                </p:custDataLst>
              </p:nvPr>
            </p:nvSpPr>
            <p:spPr>
              <a:xfrm>
                <a:off x="5524500" y="5842000"/>
                <a:ext cx="1397000" cy="276999"/>
              </a:xfrm>
              <a:prstGeom prst="rect">
                <a:avLst/>
              </a:prstGeom>
              <a:noFill/>
            </p:spPr>
            <p:txBody>
              <a:bodyPr vert="horz" rtlCol="0">
                <a:spAutoFit/>
              </a:bodyPr>
              <a:lstStyle/>
              <a:p>
                <a:pPr algn="ctr" defTabSz="914302"/>
                <a:r>
                  <a:rPr lang="en-US" sz="1200" dirty="0">
                    <a:solidFill>
                      <a:prstClr val="black"/>
                    </a:solidFill>
                  </a:rPr>
                  <a:t>Light Green 50%</a:t>
                </a:r>
              </a:p>
            </p:txBody>
          </p:sp>
          <p:sp>
            <p:nvSpPr>
              <p:cNvPr id="55" name="Rounded Rectangle 54"/>
              <p:cNvSpPr/>
              <p:nvPr>
                <p:custDataLst>
                  <p:tags r:id="rId47"/>
                </p:custDataLst>
              </p:nvPr>
            </p:nvSpPr>
            <p:spPr>
              <a:xfrm>
                <a:off x="6858000" y="4826000"/>
                <a:ext cx="1016000" cy="1016000"/>
              </a:xfrm>
              <a:prstGeom prst="roundRect">
                <a:avLst/>
              </a:prstGeom>
              <a:solidFill>
                <a:srgbClr val="FBFBF1"/>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02"/>
                <a:r>
                  <a:rPr lang="en-US" sz="1200" dirty="0">
                    <a:solidFill>
                      <a:prstClr val="white"/>
                    </a:solidFill>
                  </a:rPr>
                  <a:t>251</a:t>
                </a:r>
              </a:p>
              <a:p>
                <a:pPr defTabSz="914302"/>
                <a:r>
                  <a:rPr lang="en-US" sz="1200" dirty="0">
                    <a:solidFill>
                      <a:prstClr val="white"/>
                    </a:solidFill>
                  </a:rPr>
                  <a:t>251</a:t>
                </a:r>
              </a:p>
              <a:p>
                <a:pPr defTabSz="914302"/>
                <a:r>
                  <a:rPr lang="en-US" sz="1200" dirty="0">
                    <a:solidFill>
                      <a:prstClr val="white"/>
                    </a:solidFill>
                  </a:rPr>
                  <a:t>241</a:t>
                </a:r>
              </a:p>
            </p:txBody>
          </p:sp>
          <p:sp>
            <p:nvSpPr>
              <p:cNvPr id="56" name="TextBox 55"/>
              <p:cNvSpPr txBox="1"/>
              <p:nvPr>
                <p:custDataLst>
                  <p:tags r:id="rId48"/>
                </p:custDataLst>
              </p:nvPr>
            </p:nvSpPr>
            <p:spPr>
              <a:xfrm>
                <a:off x="6667500" y="5842000"/>
                <a:ext cx="1397000" cy="276999"/>
              </a:xfrm>
              <a:prstGeom prst="rect">
                <a:avLst/>
              </a:prstGeom>
              <a:noFill/>
            </p:spPr>
            <p:txBody>
              <a:bodyPr vert="horz" rtlCol="0">
                <a:spAutoFit/>
              </a:bodyPr>
              <a:lstStyle/>
              <a:p>
                <a:pPr algn="ctr" defTabSz="914302"/>
                <a:r>
                  <a:rPr lang="en-US" sz="1200" dirty="0">
                    <a:solidFill>
                      <a:prstClr val="black"/>
                    </a:solidFill>
                  </a:rPr>
                  <a:t>Light Green 25%</a:t>
                </a:r>
              </a:p>
            </p:txBody>
          </p:sp>
        </p:grpSp>
        <p:sp>
          <p:nvSpPr>
            <p:cNvPr id="8" name="TextBox 7"/>
            <p:cNvSpPr txBox="1"/>
            <p:nvPr/>
          </p:nvSpPr>
          <p:spPr>
            <a:xfrm>
              <a:off x="127000" y="0"/>
              <a:ext cx="2540000" cy="369332"/>
            </a:xfrm>
            <a:prstGeom prst="rect">
              <a:avLst/>
            </a:prstGeom>
            <a:noFill/>
          </p:spPr>
          <p:txBody>
            <a:bodyPr vert="horz" rtlCol="0">
              <a:spAutoFit/>
            </a:bodyPr>
            <a:lstStyle/>
            <a:p>
              <a:pPr defTabSz="914302"/>
              <a:r>
                <a:rPr lang="en-US" dirty="0">
                  <a:solidFill>
                    <a:prstClr val="black"/>
                  </a:solidFill>
                </a:rPr>
                <a:t>Title and Content</a:t>
              </a:r>
            </a:p>
          </p:txBody>
        </p:sp>
      </p:grpSp>
      <p:pic>
        <p:nvPicPr>
          <p:cNvPr id="6" name="Picture 4"/>
          <p:cNvPicPr>
            <a:picLocks noChangeAspect="1" noChangeArrowheads="1"/>
          </p:cNvPicPr>
          <p:nvPr/>
        </p:nvPicPr>
        <p:blipFill>
          <a:blip r:embed="rId50" cstate="print"/>
          <a:srcRect l="19609" t="20313" r="5391" b="9277"/>
          <a:stretch>
            <a:fillRect/>
          </a:stretch>
        </p:blipFill>
        <p:spPr bwMode="auto">
          <a:xfrm>
            <a:off x="0" y="-9525"/>
            <a:ext cx="12192000" cy="6867525"/>
          </a:xfrm>
          <a:prstGeom prst="rect">
            <a:avLst/>
          </a:prstGeom>
          <a:noFill/>
          <a:ln w="9525">
            <a:noFill/>
            <a:miter lim="800000"/>
            <a:headEnd/>
            <a:tailEnd/>
          </a:ln>
          <a:effectLst/>
        </p:spPr>
      </p:pic>
      <p:sp>
        <p:nvSpPr>
          <p:cNvPr id="2" name="Title 1"/>
          <p:cNvSpPr>
            <a:spLocks noGrp="1"/>
          </p:cNvSpPr>
          <p:nvPr>
            <p:ph type="ctrTitle"/>
          </p:nvPr>
        </p:nvSpPr>
        <p:spPr>
          <a:xfrm>
            <a:off x="497840" y="3444241"/>
            <a:ext cx="11226800" cy="685800"/>
          </a:xfrm>
        </p:spPr>
        <p:txBody>
          <a:bodyPr>
            <a:normAutofit/>
          </a:bodyPr>
          <a:lstStyle>
            <a:lvl1pPr algn="l">
              <a:defRPr kumimoji="0" lang="en-US" sz="3800" b="0" i="0" u="none" strike="noStrike" kern="1200" cap="none" normalizeH="0" baseline="0" dirty="0">
                <a:ln>
                  <a:noFill/>
                </a:ln>
                <a:solidFill>
                  <a:srgbClr val="FFFFFF"/>
                </a:solidFill>
                <a:effectLst/>
                <a:latin typeface="Myriad Pro" pitchFamily="34" charset="0"/>
                <a:ea typeface="+mn-ea"/>
                <a:cs typeface="+mn-cs"/>
              </a:defRPr>
            </a:lvl1pPr>
          </a:lstStyle>
          <a:p>
            <a:pPr marL="0" marR="0" lvl="0" indent="0" algn="l" defTabSz="914400" rtl="0" eaLnBrk="1" fontAlgn="base" latinLnBrk="0" hangingPunct="1">
              <a:lnSpc>
                <a:spcPct val="100000"/>
              </a:lnSpc>
              <a:spcBef>
                <a:spcPct val="0"/>
              </a:spcBef>
              <a:spcAft>
                <a:spcPct val="0"/>
              </a:spcAft>
              <a:buClrTx/>
              <a:buSzTx/>
              <a:buFontTx/>
              <a:buNone/>
              <a:tabLst/>
            </a:pPr>
            <a:r>
              <a:rPr lang="en-US" smtClean="0"/>
              <a:t>Click to edit Master title style</a:t>
            </a:r>
            <a:endParaRPr lang="en-US" dirty="0"/>
          </a:p>
        </p:txBody>
      </p:sp>
      <p:sp>
        <p:nvSpPr>
          <p:cNvPr id="3" name="Subtitle 2"/>
          <p:cNvSpPr>
            <a:spLocks noGrp="1"/>
          </p:cNvSpPr>
          <p:nvPr>
            <p:ph type="subTitle" idx="1"/>
          </p:nvPr>
        </p:nvSpPr>
        <p:spPr>
          <a:xfrm>
            <a:off x="482600" y="4133850"/>
            <a:ext cx="11252200" cy="609600"/>
          </a:xfrm>
          <a:prstGeom prst="rect">
            <a:avLst/>
          </a:prstGeom>
        </p:spPr>
        <p:txBody>
          <a:bodyPr>
            <a:normAutofit/>
          </a:bodyPr>
          <a:lstStyle>
            <a:lvl1pPr marL="0" indent="0" algn="l">
              <a:buNone/>
              <a:defRPr kumimoji="0" lang="en-US" sz="3400" b="0" i="0" u="none" strike="noStrike" kern="1200" cap="none" normalizeH="0" baseline="0" dirty="0">
                <a:ln>
                  <a:noFill/>
                </a:ln>
                <a:solidFill>
                  <a:srgbClr val="FFFFFF"/>
                </a:solidFill>
                <a:effectLst/>
                <a:latin typeface="Myriad Pro Light" pitchFamily="34" charset="0"/>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smtClean="0"/>
              <a:t>Click to edit Master subtitle style</a:t>
            </a:r>
            <a:endParaRPr lang="en-US" dirty="0"/>
          </a:p>
        </p:txBody>
      </p:sp>
    </p:spTree>
    <p:extLst>
      <p:ext uri="{BB962C8B-B14F-4D97-AF65-F5344CB8AC3E}">
        <p14:creationId xmlns:p14="http://schemas.microsoft.com/office/powerpoint/2010/main" val="25657805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3854723-61CE-498E-9CC7-1B6C22BDDA1F}" type="slidenum">
              <a:rPr lang="en-US" smtClean="0">
                <a:solidFill>
                  <a:prstClr val="black">
                    <a:tint val="75000"/>
                  </a:prstClr>
                </a:solidFill>
              </a:rPr>
              <a:pPr/>
              <a:t>‹#›</a:t>
            </a:fld>
            <a:endParaRPr lang="en-US" dirty="0">
              <a:solidFill>
                <a:prstClr val="black">
                  <a:tint val="75000"/>
                </a:prstClr>
              </a:solidFill>
            </a:endParaRPr>
          </a:p>
        </p:txBody>
      </p:sp>
      <p:sp>
        <p:nvSpPr>
          <p:cNvPr id="6" name="Text Placeholder 5"/>
          <p:cNvSpPr>
            <a:spLocks noGrp="1"/>
          </p:cNvSpPr>
          <p:nvPr>
            <p:ph type="body" sz="quarter" idx="10"/>
          </p:nvPr>
        </p:nvSpPr>
        <p:spPr>
          <a:xfrm>
            <a:off x="475488" y="911352"/>
            <a:ext cx="11253216" cy="914400"/>
          </a:xfrm>
        </p:spPr>
        <p:txBody>
          <a:bodyPr>
            <a:noAutofit/>
          </a:bodyPr>
          <a:lstStyle>
            <a:lvl1pPr>
              <a:defRPr lang="en-US" sz="2200" b="0" kern="1200" noProof="0" dirty="0" smtClean="0">
                <a:solidFill>
                  <a:srgbClr val="4E84C4"/>
                </a:solidFill>
                <a:latin typeface="Myriad Pro" pitchFamily="34" charset="0"/>
                <a:ea typeface="+mn-ea"/>
                <a:cs typeface="+mn-cs"/>
              </a:defRPr>
            </a:lvl1pPr>
            <a:lvl2pPr>
              <a:defRPr lang="en-US" sz="2200" kern="1200" dirty="0" smtClean="0">
                <a:solidFill>
                  <a:srgbClr val="4E84C4"/>
                </a:solidFill>
                <a:latin typeface="Myriad Pro" pitchFamily="34" charset="0"/>
                <a:ea typeface="+mn-ea"/>
                <a:cs typeface="+mn-cs"/>
              </a:defRPr>
            </a:lvl2pPr>
          </a:lstStyle>
          <a:p>
            <a:pPr marL="342900" marR="0" lvl="0" indent="-342900" algn="l" defTabSz="914400" rtl="0" eaLnBrk="1" fontAlgn="base" latinLnBrk="0" hangingPunct="1">
              <a:lnSpc>
                <a:spcPct val="100000"/>
              </a:lnSpc>
              <a:spcBef>
                <a:spcPct val="20000"/>
              </a:spcBef>
              <a:spcAft>
                <a:spcPct val="0"/>
              </a:spcAft>
              <a:buClr>
                <a:srgbClr val="4E84C4"/>
              </a:buClr>
              <a:buSzTx/>
              <a:buFont typeface="Wingdings" pitchFamily="2" charset="2"/>
              <a:buChar char="§"/>
              <a:tabLst/>
              <a:defRPr/>
            </a:pPr>
            <a:r>
              <a:rPr lang="en-US" smtClean="0"/>
              <a:t>Click to edit Master text styles</a:t>
            </a:r>
          </a:p>
          <a:p>
            <a:pPr marL="342900" marR="0" lvl="1" indent="-342900" algn="l" defTabSz="914400" rtl="0" eaLnBrk="1" fontAlgn="base" latinLnBrk="0" hangingPunct="1">
              <a:lnSpc>
                <a:spcPct val="100000"/>
              </a:lnSpc>
              <a:spcBef>
                <a:spcPct val="20000"/>
              </a:spcBef>
              <a:spcAft>
                <a:spcPct val="0"/>
              </a:spcAft>
              <a:buClr>
                <a:srgbClr val="4E84C4"/>
              </a:buClr>
              <a:buSzTx/>
              <a:buFont typeface="Wingdings" pitchFamily="2" charset="2"/>
              <a:buChar char="§"/>
              <a:tabLst/>
              <a:defRPr/>
            </a:pPr>
            <a:r>
              <a:rPr lang="en-US" smtClean="0"/>
              <a:t>Second level</a:t>
            </a:r>
          </a:p>
        </p:txBody>
      </p:sp>
    </p:spTree>
    <p:extLst>
      <p:ext uri="{BB962C8B-B14F-4D97-AF65-F5344CB8AC3E}">
        <p14:creationId xmlns:p14="http://schemas.microsoft.com/office/powerpoint/2010/main" val="22442391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a:xfrm>
            <a:off x="609600" y="6356352"/>
            <a:ext cx="2844800" cy="365125"/>
          </a:xfrm>
          <a:prstGeom prst="rect">
            <a:avLst/>
          </a:prstGeom>
        </p:spPr>
        <p:txBody>
          <a:bodyPr/>
          <a:lstStyle/>
          <a:p>
            <a:pPr defTabSz="914302"/>
            <a:fld id="{1B04968C-FA51-4247-9E50-D2BB65697EE7}" type="datetimeFigureOut">
              <a:rPr lang="en-GB">
                <a:solidFill>
                  <a:prstClr val="black"/>
                </a:solidFill>
              </a:rPr>
              <a:pPr defTabSz="914302"/>
              <a:t>20/01/2019</a:t>
            </a:fld>
            <a:endParaRPr lang="en-GB" dirty="0">
              <a:solidFill>
                <a:prstClr val="black"/>
              </a:solidFill>
            </a:endParaRPr>
          </a:p>
        </p:txBody>
      </p:sp>
      <p:sp>
        <p:nvSpPr>
          <p:cNvPr id="4" name="Footer Placeholder 3"/>
          <p:cNvSpPr>
            <a:spLocks noGrp="1"/>
          </p:cNvSpPr>
          <p:nvPr>
            <p:ph type="ftr" sz="quarter" idx="11"/>
          </p:nvPr>
        </p:nvSpPr>
        <p:spPr>
          <a:xfrm>
            <a:off x="4165600" y="6356352"/>
            <a:ext cx="3860800" cy="365125"/>
          </a:xfrm>
          <a:prstGeom prst="rect">
            <a:avLst/>
          </a:prstGeom>
        </p:spPr>
        <p:txBody>
          <a:bodyPr/>
          <a:lstStyle/>
          <a:p>
            <a:pPr defTabSz="914302"/>
            <a:endParaRPr lang="en-GB" dirty="0">
              <a:solidFill>
                <a:prstClr val="black"/>
              </a:solidFill>
            </a:endParaRPr>
          </a:p>
        </p:txBody>
      </p:sp>
      <p:sp>
        <p:nvSpPr>
          <p:cNvPr id="5" name="Slide Number Placeholder 4"/>
          <p:cNvSpPr>
            <a:spLocks noGrp="1"/>
          </p:cNvSpPr>
          <p:nvPr>
            <p:ph type="sldNum" sz="quarter" idx="12"/>
          </p:nvPr>
        </p:nvSpPr>
        <p:spPr/>
        <p:txBody>
          <a:bodyPr/>
          <a:lstStyle/>
          <a:p>
            <a:fld id="{6EC25DB8-7745-48B0-958C-306CBD3764C2}"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3204444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358714"/>
            <a:ext cx="10240453" cy="748025"/>
          </a:xfrm>
        </p:spPr>
        <p:txBody>
          <a:bodyPr anchor="b" anchorCtr="0"/>
          <a:lstStyle>
            <a:lvl1pPr>
              <a:defRPr sz="5401"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5"/>
            <a:ext cx="10240453"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2539652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494683" cy="896518"/>
          </a:xfrm>
        </p:spPr>
        <p:txBody>
          <a:bodyPr/>
          <a:lstStyle>
            <a:lvl1pPr>
              <a:defRPr sz="426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9"/>
            <a:ext cx="11494371" cy="4902995"/>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6678574"/>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169FE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4"/>
            <a:ext cx="11653523" cy="1796217"/>
          </a:xfrm>
          <a:noFill/>
        </p:spPr>
        <p:txBody>
          <a:bodyPr anchorCtr="0"/>
          <a:lstStyle>
            <a:lvl1pPr>
              <a:defRPr sz="7200" spc="-82"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222249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25B7A701-8DC6-4F54-BDEE-F686C47EAA16}" type="datetimeFigureOut">
              <a:rPr lang="en-US" smtClean="0"/>
              <a:pPr/>
              <a:t>1/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B01229-ACE8-49A3-9DD7-4858DA2EF58D}" type="slidenum">
              <a:rPr lang="en-US" smtClean="0"/>
              <a:pPr/>
              <a:t>‹#›</a:t>
            </a:fld>
            <a:endParaRPr lang="en-US"/>
          </a:p>
        </p:txBody>
      </p:sp>
    </p:spTree>
    <p:extLst>
      <p:ext uri="{BB962C8B-B14F-4D97-AF65-F5344CB8AC3E}">
        <p14:creationId xmlns:p14="http://schemas.microsoft.com/office/powerpoint/2010/main" val="18316057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5B7A701-8DC6-4F54-BDEE-F686C47EAA16}" type="datetimeFigureOut">
              <a:rPr lang="en-US" smtClean="0"/>
              <a:pPr/>
              <a:t>1/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854723-61CE-498E-9CC7-1B6C22BDDA1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065572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25B7A701-8DC6-4F54-BDEE-F686C47EAA16}" type="datetimeFigureOut">
              <a:rPr lang="en-US" smtClean="0"/>
              <a:pPr/>
              <a:t>1/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defTabSz="914302"/>
            <a:fld id="{F3854723-61CE-498E-9CC7-1B6C22BDDA1F}" type="slidenum">
              <a:rPr lang="en-US" smtClean="0">
                <a:solidFill>
                  <a:prstClr val="black">
                    <a:tint val="75000"/>
                  </a:prstClr>
                </a:solidFill>
              </a:rPr>
              <a:pPr defTabSz="914302"/>
              <a:t>‹#›</a:t>
            </a:fld>
            <a:endParaRPr lang="en-US" dirty="0">
              <a:solidFill>
                <a:prstClr val="black">
                  <a:tint val="75000"/>
                </a:prstClr>
              </a:solidFill>
            </a:endParaRPr>
          </a:p>
        </p:txBody>
      </p:sp>
    </p:spTree>
    <p:extLst>
      <p:ext uri="{BB962C8B-B14F-4D97-AF65-F5344CB8AC3E}">
        <p14:creationId xmlns:p14="http://schemas.microsoft.com/office/powerpoint/2010/main" val="9928506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25B7A701-8DC6-4F54-BDEE-F686C47EAA16}" type="datetimeFigureOut">
              <a:rPr lang="en-US" smtClean="0"/>
              <a:pPr/>
              <a:t>1/2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pPr defTabSz="914302"/>
            <a:fld id="{F3854723-61CE-498E-9CC7-1B6C22BDDA1F}" type="slidenum">
              <a:rPr lang="en-US" smtClean="0">
                <a:solidFill>
                  <a:prstClr val="black">
                    <a:tint val="75000"/>
                  </a:prstClr>
                </a:solidFill>
              </a:rPr>
              <a:pPr defTabSz="914302"/>
              <a:t>‹#›</a:t>
            </a:fld>
            <a:endParaRPr lang="en-US" dirty="0">
              <a:solidFill>
                <a:prstClr val="black">
                  <a:tint val="75000"/>
                </a:prstClr>
              </a:solidFill>
            </a:endParaRPr>
          </a:p>
        </p:txBody>
      </p:sp>
    </p:spTree>
    <p:extLst>
      <p:ext uri="{BB962C8B-B14F-4D97-AF65-F5344CB8AC3E}">
        <p14:creationId xmlns:p14="http://schemas.microsoft.com/office/powerpoint/2010/main" val="31962261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a:xfrm>
            <a:off x="609600" y="6356352"/>
            <a:ext cx="2844800" cy="365125"/>
          </a:xfrm>
          <a:prstGeom prst="rect">
            <a:avLst/>
          </a:prstGeom>
        </p:spPr>
        <p:txBody>
          <a:bodyPr/>
          <a:lstStyle/>
          <a:p>
            <a:pPr defTabSz="914302"/>
            <a:fld id="{1B04968C-FA51-4247-9E50-D2BB65697EE7}" type="datetimeFigureOut">
              <a:rPr lang="en-GB">
                <a:solidFill>
                  <a:prstClr val="black"/>
                </a:solidFill>
              </a:rPr>
              <a:pPr defTabSz="914302"/>
              <a:t>20/01/2019</a:t>
            </a:fld>
            <a:endParaRPr lang="en-GB" dirty="0">
              <a:solidFill>
                <a:prstClr val="black"/>
              </a:solidFill>
            </a:endParaRPr>
          </a:p>
        </p:txBody>
      </p:sp>
      <p:sp>
        <p:nvSpPr>
          <p:cNvPr id="4" name="Footer Placeholder 3"/>
          <p:cNvSpPr>
            <a:spLocks noGrp="1"/>
          </p:cNvSpPr>
          <p:nvPr>
            <p:ph type="ftr" sz="quarter" idx="11"/>
          </p:nvPr>
        </p:nvSpPr>
        <p:spPr>
          <a:xfrm>
            <a:off x="4165600" y="6356352"/>
            <a:ext cx="3860800" cy="365125"/>
          </a:xfrm>
          <a:prstGeom prst="rect">
            <a:avLst/>
          </a:prstGeom>
        </p:spPr>
        <p:txBody>
          <a:bodyPr/>
          <a:lstStyle/>
          <a:p>
            <a:pPr defTabSz="914302"/>
            <a:endParaRPr lang="en-GB" dirty="0">
              <a:solidFill>
                <a:prstClr val="black"/>
              </a:solidFill>
            </a:endParaRPr>
          </a:p>
        </p:txBody>
      </p:sp>
      <p:sp>
        <p:nvSpPr>
          <p:cNvPr id="5" name="Slide Number Placeholder 4"/>
          <p:cNvSpPr>
            <a:spLocks noGrp="1"/>
          </p:cNvSpPr>
          <p:nvPr>
            <p:ph type="sldNum" sz="quarter" idx="12"/>
          </p:nvPr>
        </p:nvSpPr>
        <p:spPr/>
        <p:txBody>
          <a:bodyPr/>
          <a:lstStyle/>
          <a:p>
            <a:fld id="{6EC25DB8-7745-48B0-958C-306CBD3764C2}"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7499970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25B7A701-8DC6-4F54-BDEE-F686C47EAA16}" type="datetimeFigureOut">
              <a:rPr lang="en-US" smtClean="0"/>
              <a:pPr/>
              <a:t>1/20/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pPr defTabSz="914302"/>
            <a:fld id="{F3854723-61CE-498E-9CC7-1B6C22BDDA1F}" type="slidenum">
              <a:rPr lang="en-US" smtClean="0">
                <a:solidFill>
                  <a:prstClr val="black">
                    <a:tint val="75000"/>
                  </a:prstClr>
                </a:solidFill>
              </a:rPr>
              <a:pPr defTabSz="914302"/>
              <a:t>‹#›</a:t>
            </a:fld>
            <a:endParaRPr lang="en-US" dirty="0">
              <a:solidFill>
                <a:prstClr val="black">
                  <a:tint val="75000"/>
                </a:prstClr>
              </a:solidFill>
            </a:endParaRPr>
          </a:p>
        </p:txBody>
      </p:sp>
    </p:spTree>
    <p:extLst>
      <p:ext uri="{BB962C8B-B14F-4D97-AF65-F5344CB8AC3E}">
        <p14:creationId xmlns:p14="http://schemas.microsoft.com/office/powerpoint/2010/main" val="39814777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pPr defTabSz="914302"/>
            <a:fld id="{1B04968C-FA51-4247-9E50-D2BB65697EE7}" type="datetimeFigureOut">
              <a:rPr lang="en-GB" smtClean="0">
                <a:solidFill>
                  <a:prstClr val="black"/>
                </a:solidFill>
              </a:rPr>
              <a:pPr defTabSz="914302"/>
              <a:t>20/01/2019</a:t>
            </a:fld>
            <a:endParaRPr lang="en-GB" dirty="0">
              <a:solidFill>
                <a:prstClr val="black"/>
              </a:solidFill>
            </a:endParaRPr>
          </a:p>
        </p:txBody>
      </p:sp>
      <p:sp>
        <p:nvSpPr>
          <p:cNvPr id="4" name="Footer Placeholder 3"/>
          <p:cNvSpPr>
            <a:spLocks noGrp="1"/>
          </p:cNvSpPr>
          <p:nvPr>
            <p:ph type="ftr" sz="quarter" idx="11"/>
          </p:nvPr>
        </p:nvSpPr>
        <p:spPr/>
        <p:txBody>
          <a:bodyPr/>
          <a:lstStyle/>
          <a:p>
            <a:pPr defTabSz="914302"/>
            <a:endParaRPr lang="en-GB" dirty="0">
              <a:solidFill>
                <a:prstClr val="black"/>
              </a:solidFill>
            </a:endParaRPr>
          </a:p>
        </p:txBody>
      </p:sp>
      <p:sp>
        <p:nvSpPr>
          <p:cNvPr id="5" name="Slide Number Placeholder 4"/>
          <p:cNvSpPr>
            <a:spLocks noGrp="1"/>
          </p:cNvSpPr>
          <p:nvPr>
            <p:ph type="sldNum" sz="quarter" idx="12"/>
          </p:nvPr>
        </p:nvSpPr>
        <p:spPr/>
        <p:txBody>
          <a:bodyPr/>
          <a:lstStyle/>
          <a:p>
            <a:fld id="{6EC25DB8-7745-48B0-958C-306CBD3764C2}"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4463730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5B7A701-8DC6-4F54-BDEE-F686C47EAA16}" type="datetimeFigureOut">
              <a:rPr lang="en-US" smtClean="0"/>
              <a:pPr/>
              <a:t>1/20/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pPr defTabSz="914302"/>
            <a:fld id="{F3854723-61CE-498E-9CC7-1B6C22BDDA1F}" type="slidenum">
              <a:rPr lang="en-US" smtClean="0">
                <a:solidFill>
                  <a:prstClr val="black">
                    <a:tint val="75000"/>
                  </a:prstClr>
                </a:solidFill>
              </a:rPr>
              <a:pPr defTabSz="914302"/>
              <a:t>‹#›</a:t>
            </a:fld>
            <a:endParaRPr lang="en-US" dirty="0">
              <a:solidFill>
                <a:prstClr val="black">
                  <a:tint val="75000"/>
                </a:prstClr>
              </a:solidFill>
            </a:endParaRPr>
          </a:p>
        </p:txBody>
      </p:sp>
    </p:spTree>
    <p:extLst>
      <p:ext uri="{BB962C8B-B14F-4D97-AF65-F5344CB8AC3E}">
        <p14:creationId xmlns:p14="http://schemas.microsoft.com/office/powerpoint/2010/main" val="35074580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25B7A701-8DC6-4F54-BDEE-F686C47EAA16}" type="datetimeFigureOut">
              <a:rPr lang="en-US" smtClean="0"/>
              <a:pPr/>
              <a:t>1/2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pPr defTabSz="914302"/>
            <a:fld id="{F3854723-61CE-498E-9CC7-1B6C22BDDA1F}" type="slidenum">
              <a:rPr lang="en-US" smtClean="0">
                <a:solidFill>
                  <a:prstClr val="black">
                    <a:tint val="75000"/>
                  </a:prstClr>
                </a:solidFill>
              </a:rPr>
              <a:pPr defTabSz="914302"/>
              <a:t>‹#›</a:t>
            </a:fld>
            <a:endParaRPr lang="en-US" dirty="0">
              <a:solidFill>
                <a:prstClr val="black">
                  <a:tint val="75000"/>
                </a:prstClr>
              </a:solidFill>
            </a:endParaRPr>
          </a:p>
        </p:txBody>
      </p:sp>
    </p:spTree>
    <p:extLst>
      <p:ext uri="{BB962C8B-B14F-4D97-AF65-F5344CB8AC3E}">
        <p14:creationId xmlns:p14="http://schemas.microsoft.com/office/powerpoint/2010/main" val="24780525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25B7A701-8DC6-4F54-BDEE-F686C47EAA16}" type="datetimeFigureOut">
              <a:rPr lang="en-US" smtClean="0"/>
              <a:pPr/>
              <a:t>1/2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pPr defTabSz="914302"/>
            <a:fld id="{F3854723-61CE-498E-9CC7-1B6C22BDDA1F}" type="slidenum">
              <a:rPr lang="en-US" smtClean="0">
                <a:solidFill>
                  <a:prstClr val="black">
                    <a:tint val="75000"/>
                  </a:prstClr>
                </a:solidFill>
              </a:rPr>
              <a:pPr defTabSz="914302"/>
              <a:t>‹#›</a:t>
            </a:fld>
            <a:endParaRPr lang="en-US" dirty="0">
              <a:solidFill>
                <a:prstClr val="black">
                  <a:tint val="75000"/>
                </a:prstClr>
              </a:solidFill>
            </a:endParaRPr>
          </a:p>
        </p:txBody>
      </p:sp>
    </p:spTree>
    <p:extLst>
      <p:ext uri="{BB962C8B-B14F-4D97-AF65-F5344CB8AC3E}">
        <p14:creationId xmlns:p14="http://schemas.microsoft.com/office/powerpoint/2010/main" val="8552153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5B7A701-8DC6-4F54-BDEE-F686C47EAA16}" type="datetimeFigureOut">
              <a:rPr lang="en-US" smtClean="0"/>
              <a:pPr/>
              <a:t>1/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defTabSz="914302"/>
            <a:fld id="{F3854723-61CE-498E-9CC7-1B6C22BDDA1F}" type="slidenum">
              <a:rPr lang="en-US" smtClean="0">
                <a:solidFill>
                  <a:prstClr val="black">
                    <a:tint val="75000"/>
                  </a:prstClr>
                </a:solidFill>
              </a:rPr>
              <a:pPr defTabSz="914302"/>
              <a:t>‹#›</a:t>
            </a:fld>
            <a:endParaRPr lang="en-US" dirty="0">
              <a:solidFill>
                <a:prstClr val="black">
                  <a:tint val="75000"/>
                </a:prstClr>
              </a:solidFill>
            </a:endParaRPr>
          </a:p>
        </p:txBody>
      </p:sp>
    </p:spTree>
    <p:extLst>
      <p:ext uri="{BB962C8B-B14F-4D97-AF65-F5344CB8AC3E}">
        <p14:creationId xmlns:p14="http://schemas.microsoft.com/office/powerpoint/2010/main" val="42947900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5B7A701-8DC6-4F54-BDEE-F686C47EAA16}" type="datetimeFigureOut">
              <a:rPr lang="en-US" smtClean="0"/>
              <a:pPr/>
              <a:t>1/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defTabSz="914302"/>
            <a:fld id="{F3854723-61CE-498E-9CC7-1B6C22BDDA1F}" type="slidenum">
              <a:rPr lang="en-US" smtClean="0">
                <a:solidFill>
                  <a:prstClr val="black">
                    <a:tint val="75000"/>
                  </a:prstClr>
                </a:solidFill>
              </a:rPr>
              <a:pPr defTabSz="914302"/>
              <a:t>‹#›</a:t>
            </a:fld>
            <a:endParaRPr lang="en-US" dirty="0">
              <a:solidFill>
                <a:prstClr val="black">
                  <a:tint val="75000"/>
                </a:prstClr>
              </a:solidFill>
            </a:endParaRPr>
          </a:p>
        </p:txBody>
      </p:sp>
    </p:spTree>
    <p:extLst>
      <p:ext uri="{BB962C8B-B14F-4D97-AF65-F5344CB8AC3E}">
        <p14:creationId xmlns:p14="http://schemas.microsoft.com/office/powerpoint/2010/main" val="11597334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28600"/>
            <a:ext cx="11582401" cy="863600"/>
          </a:xfrm>
        </p:spPr>
        <p:txBody>
          <a:bodyPr anchor="t" anchorCtr="0">
            <a:noAutofit/>
          </a:bodyPr>
          <a:lstStyle>
            <a:lvl1pPr>
              <a:defRPr sz="5331"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62652565"/>
      </p:ext>
    </p:extLst>
  </p:cSld>
  <p:clrMapOvr>
    <a:masterClrMapping/>
  </p:clrMapOvr>
  <p:transition spd="slow">
    <p:push/>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358714"/>
            <a:ext cx="10240453" cy="748025"/>
          </a:xfrm>
        </p:spPr>
        <p:txBody>
          <a:bodyPr anchor="b" anchorCtr="0"/>
          <a:lstStyle>
            <a:lvl1pPr>
              <a:defRPr sz="5401"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5"/>
            <a:ext cx="10240453"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8752398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dirty="0"/>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850630" y="6356350"/>
            <a:ext cx="2743200" cy="365125"/>
          </a:xfrm>
        </p:spPr>
        <p:txBody>
          <a:bodyPr/>
          <a:lstStyle/>
          <a:p>
            <a:fld id="{AFFF257A-30C5-4AFB-911B-BE4CEEA1EA82}" type="slidenum">
              <a:rPr lang="en-US" smtClean="0"/>
              <a:pPr/>
              <a:t>‹#›</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0897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358714"/>
            <a:ext cx="10240453" cy="748025"/>
          </a:xfrm>
        </p:spPr>
        <p:txBody>
          <a:bodyPr anchor="b" anchorCtr="0"/>
          <a:lstStyle>
            <a:lvl1pPr>
              <a:defRPr sz="5401"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5"/>
            <a:ext cx="10240453"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6247891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55312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603790"/>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603790"/>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514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904237468"/>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03121"/>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03121"/>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505836375"/>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69486"/>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69486"/>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4111664002"/>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494683" cy="896518"/>
          </a:xfrm>
        </p:spPr>
        <p:txBody>
          <a:bodyPr/>
          <a:lstStyle>
            <a:lvl1pPr>
              <a:defRPr sz="426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9"/>
            <a:ext cx="11494371" cy="4902995"/>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44424353"/>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169FE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4"/>
            <a:ext cx="11653523" cy="1796217"/>
          </a:xfrm>
          <a:noFill/>
        </p:spPr>
        <p:txBody>
          <a:bodyPr anchorCtr="0"/>
          <a:lstStyle>
            <a:lvl1pPr>
              <a:defRPr sz="7200" spc="-82"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8138412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28600"/>
            <a:ext cx="11582401" cy="863600"/>
          </a:xfrm>
        </p:spPr>
        <p:txBody>
          <a:bodyPr anchor="t" anchorCtr="0">
            <a:noAutofit/>
          </a:bodyPr>
          <a:lstStyle>
            <a:lvl1pPr>
              <a:defRPr sz="5331"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3270830692"/>
      </p:ext>
    </p:extLst>
  </p:cSld>
  <p:clrMapOvr>
    <a:masterClrMapping/>
  </p:clrMapOvr>
  <p:transition spd="slow">
    <p:push/>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dirty="0"/>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850630" y="6356350"/>
            <a:ext cx="2743200" cy="365125"/>
          </a:xfrm>
        </p:spPr>
        <p:txBody>
          <a:bodyPr/>
          <a:lstStyle/>
          <a:p>
            <a:fld id="{AFFF257A-30C5-4AFB-911B-BE4CEEA1EA82}" type="slidenum">
              <a:rPr lang="en-US" smtClean="0"/>
              <a:pPr/>
              <a:t>‹#›</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403757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998498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6.xml"/><Relationship Id="rId7"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22.xml"/><Relationship Id="rId7"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theme" Target="../theme/theme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3"/>
          <p:cNvPicPr>
            <a:picLocks noChangeAspect="1" noChangeArrowheads="1"/>
          </p:cNvPicPr>
          <p:nvPr/>
        </p:nvPicPr>
        <p:blipFill>
          <a:blip r:embed="rId15" cstate="print"/>
          <a:srcRect l="19375" t="20410" r="5469" b="9375"/>
          <a:stretch>
            <a:fillRect/>
          </a:stretch>
        </p:blipFill>
        <p:spPr bwMode="auto">
          <a:xfrm>
            <a:off x="-38100" y="1"/>
            <a:ext cx="12217400" cy="6848475"/>
          </a:xfrm>
          <a:prstGeom prst="rect">
            <a:avLst/>
          </a:prstGeom>
          <a:noFill/>
          <a:ln w="9525">
            <a:noFill/>
            <a:miter lim="800000"/>
            <a:headEnd/>
            <a:tailEnd/>
          </a:ln>
          <a:effectLst/>
        </p:spPr>
      </p:pic>
      <p:sp>
        <p:nvSpPr>
          <p:cNvPr id="2" name="Title Placeholder 1"/>
          <p:cNvSpPr>
            <a:spLocks noGrp="1"/>
          </p:cNvSpPr>
          <p:nvPr>
            <p:ph type="title"/>
          </p:nvPr>
        </p:nvSpPr>
        <p:spPr>
          <a:xfrm>
            <a:off x="1706880" y="67056"/>
            <a:ext cx="9956800" cy="563562"/>
          </a:xfrm>
          <a:prstGeom prst="rect">
            <a:avLst/>
          </a:prstGeom>
        </p:spPr>
        <p:txBody>
          <a:bodyPr vert="horz" lIns="91440" tIns="45720" rIns="91440" bIns="45720" rtlCol="0" anchor="ctr">
            <a:normAutofit/>
          </a:bodyPr>
          <a:lstStyle/>
          <a:p>
            <a:pPr lvl="0" algn="l" defTabSz="914400" rtl="0" eaLnBrk="1" fontAlgn="base" latinLnBrk="0" hangingPunct="1">
              <a:lnSpc>
                <a:spcPct val="115000"/>
              </a:lnSpc>
              <a:spcBef>
                <a:spcPct val="0"/>
              </a:spcBef>
              <a:spcAft>
                <a:spcPct val="0"/>
              </a:spcAft>
              <a:buNone/>
            </a:pPr>
            <a:r>
              <a:rPr lang="en-US" smtClean="0"/>
              <a:t>Click to edit Master title style</a:t>
            </a:r>
            <a:endParaRPr lang="en-US" dirty="0"/>
          </a:p>
        </p:txBody>
      </p:sp>
      <p:sp>
        <p:nvSpPr>
          <p:cNvPr id="3" name="Text Placeholder 2"/>
          <p:cNvSpPr>
            <a:spLocks noGrp="1"/>
          </p:cNvSpPr>
          <p:nvPr>
            <p:ph type="body" idx="1"/>
          </p:nvPr>
        </p:nvSpPr>
        <p:spPr>
          <a:xfrm>
            <a:off x="487680" y="905257"/>
            <a:ext cx="10972800" cy="4525963"/>
          </a:xfrm>
          <a:prstGeom prst="rect">
            <a:avLst/>
          </a:prstGeom>
        </p:spPr>
        <p:txBody>
          <a:bodyPr vert="horz" lIns="91440" tIns="45720" rIns="91440" bIns="45720" rtlCol="0">
            <a:normAutofit/>
          </a:bodyPr>
          <a:lstStyle/>
          <a:p>
            <a:pPr marL="342900" marR="0" lvl="0" indent="-342900" algn="l" defTabSz="914400" rtl="0" eaLnBrk="1" fontAlgn="base" latinLnBrk="0" hangingPunct="1">
              <a:lnSpc>
                <a:spcPct val="100000"/>
              </a:lnSpc>
              <a:spcBef>
                <a:spcPct val="20000"/>
              </a:spcBef>
              <a:spcAft>
                <a:spcPct val="0"/>
              </a:spcAft>
              <a:buClr>
                <a:srgbClr val="4E84C4"/>
              </a:buClr>
              <a:buSzTx/>
              <a:buFont typeface="Wingdings" pitchFamily="2" charset="2"/>
              <a:buChar char="§"/>
              <a:tabLst/>
              <a:defRPr/>
            </a:pPr>
            <a:r>
              <a:rPr lang="en-US" dirty="0" smtClean="0"/>
              <a:t>Click to edit Master text styles</a:t>
            </a:r>
          </a:p>
          <a:p>
            <a:pPr marL="741363" lvl="1" indent="-285750" algn="l" defTabSz="914400" rtl="0" eaLnBrk="1" fontAlgn="base" latinLnBrk="0" hangingPunct="1">
              <a:spcBef>
                <a:spcPct val="20000"/>
              </a:spcBef>
              <a:spcAft>
                <a:spcPct val="0"/>
              </a:spcAft>
              <a:buClr>
                <a:srgbClr val="6CCFF6"/>
              </a:buClr>
              <a:buFont typeface="Wingdings" pitchFamily="2" charset="2"/>
              <a:buChar char="§"/>
            </a:pPr>
            <a:r>
              <a:rPr lang="en-US" dirty="0" smtClean="0"/>
              <a:t>Second level</a:t>
            </a:r>
          </a:p>
        </p:txBody>
      </p:sp>
      <p:sp>
        <p:nvSpPr>
          <p:cNvPr id="8"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302"/>
            <a:fld id="{F3854723-61CE-498E-9CC7-1B6C22BDDA1F}" type="slidenum">
              <a:rPr lang="en-US" smtClean="0">
                <a:solidFill>
                  <a:prstClr val="black">
                    <a:tint val="75000"/>
                  </a:prstClr>
                </a:solidFill>
              </a:rPr>
              <a:pPr defTabSz="914302"/>
              <a:t>‹#›</a:t>
            </a:fld>
            <a:endParaRPr lang="en-US" dirty="0">
              <a:solidFill>
                <a:prstClr val="black">
                  <a:tint val="75000"/>
                </a:prstClr>
              </a:solidFill>
            </a:endParaRPr>
          </a:p>
        </p:txBody>
      </p:sp>
    </p:spTree>
    <p:extLst>
      <p:ext uri="{BB962C8B-B14F-4D97-AF65-F5344CB8AC3E}">
        <p14:creationId xmlns:p14="http://schemas.microsoft.com/office/powerpoint/2010/main" val="202396196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82" r:id="rId7"/>
    <p:sldLayoutId id="2147483683" r:id="rId8"/>
    <p:sldLayoutId id="2147483684" r:id="rId9"/>
    <p:sldLayoutId id="2147483685" r:id="rId10"/>
    <p:sldLayoutId id="2147483686" r:id="rId11"/>
    <p:sldLayoutId id="2147483687" r:id="rId12"/>
    <p:sldLayoutId id="2147483688" r:id="rId13"/>
  </p:sldLayoutIdLst>
  <p:timing>
    <p:tnLst>
      <p:par>
        <p:cTn id="1" dur="indefinite" restart="never" nodeType="tmRoot"/>
      </p:par>
    </p:tnLst>
  </p:timing>
  <p:txStyles>
    <p:titleStyle>
      <a:lvl1pPr eaLnBrk="1" hangingPunct="1">
        <a:defRPr lang="en-US" sz="2800" b="0" kern="1200" dirty="0" smtClean="0">
          <a:solidFill>
            <a:schemeClr val="bg1"/>
          </a:solidFill>
          <a:latin typeface="Myriad Pro" pitchFamily="34" charset="0"/>
          <a:ea typeface="+mj-ea"/>
          <a:cs typeface="+mj-cs"/>
        </a:defRPr>
      </a:lvl1pPr>
    </p:titleStyle>
    <p:bodyStyle>
      <a:lvl1pPr marL="342900" indent="-342900" algn="l" defTabSz="914400" rtl="0" eaLnBrk="1" fontAlgn="base" latinLnBrk="0" hangingPunct="1">
        <a:spcBef>
          <a:spcPct val="20000"/>
        </a:spcBef>
        <a:spcAft>
          <a:spcPct val="0"/>
        </a:spcAft>
        <a:buFont typeface="Wingdings" pitchFamily="2" charset="2"/>
        <a:buChar char="§"/>
        <a:tabLst/>
        <a:defRPr lang="en-US" sz="2200" b="0" kern="1200" noProof="0" dirty="0" smtClean="0">
          <a:solidFill>
            <a:srgbClr val="4E84C4"/>
          </a:solidFill>
          <a:latin typeface="Myriad Pro" pitchFamily="34" charset="0"/>
          <a:ea typeface="+mn-ea"/>
          <a:cs typeface="+mn-cs"/>
        </a:defRPr>
      </a:lvl1pPr>
      <a:lvl2pPr algn="l" defTabSz="914400" rtl="0" eaLnBrk="1" fontAlgn="base" latinLnBrk="0" hangingPunct="1">
        <a:spcBef>
          <a:spcPct val="20000"/>
        </a:spcBef>
        <a:spcAft>
          <a:spcPct val="0"/>
        </a:spcAft>
        <a:buFont typeface="Wingdings" pitchFamily="2" charset="2"/>
        <a:buChar char="§"/>
        <a:defRPr lang="en-US" sz="2200" kern="1200" dirty="0" smtClean="0">
          <a:solidFill>
            <a:srgbClr val="4E84C4"/>
          </a:solidFill>
          <a:latin typeface="Myriad Pro" pitchFamily="34" charset="0"/>
          <a:ea typeface="+mn-ea"/>
          <a:cs typeface="+mn-cs"/>
        </a:defRPr>
      </a:lvl2pPr>
      <a:lvl3pPr algn="l" defTabSz="914400" rtl="0" eaLnBrk="1" fontAlgn="base" latinLnBrk="0" hangingPunct="1">
        <a:spcBef>
          <a:spcPct val="20000"/>
        </a:spcBef>
        <a:spcAft>
          <a:spcPct val="0"/>
        </a:spcAft>
        <a:buFont typeface="Wingdings" pitchFamily="2" charset="2"/>
        <a:buNone/>
        <a:defRPr lang="en-US" sz="2200" kern="1200" dirty="0" smtClean="0">
          <a:solidFill>
            <a:srgbClr val="4E84C4"/>
          </a:solidFill>
          <a:latin typeface="Myriad Pro" pitchFamily="34" charset="0"/>
          <a:ea typeface="+mn-ea"/>
          <a:cs typeface="+mn-cs"/>
        </a:defRPr>
      </a:lvl3pPr>
    </p:bodyStyle>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3"/>
          <p:cNvPicPr>
            <a:picLocks noChangeAspect="1" noChangeArrowheads="1"/>
          </p:cNvPicPr>
          <p:nvPr/>
        </p:nvPicPr>
        <p:blipFill>
          <a:blip r:embed="rId8" cstate="print"/>
          <a:srcRect l="19375" t="20410" r="5469" b="9375"/>
          <a:stretch>
            <a:fillRect/>
          </a:stretch>
        </p:blipFill>
        <p:spPr bwMode="auto">
          <a:xfrm>
            <a:off x="-38100" y="1"/>
            <a:ext cx="12217400" cy="6848475"/>
          </a:xfrm>
          <a:prstGeom prst="rect">
            <a:avLst/>
          </a:prstGeom>
          <a:noFill/>
          <a:ln w="9525">
            <a:noFill/>
            <a:miter lim="800000"/>
            <a:headEnd/>
            <a:tailEnd/>
          </a:ln>
          <a:effectLst/>
        </p:spPr>
      </p:pic>
      <p:sp>
        <p:nvSpPr>
          <p:cNvPr id="2" name="Title Placeholder 1"/>
          <p:cNvSpPr>
            <a:spLocks noGrp="1"/>
          </p:cNvSpPr>
          <p:nvPr>
            <p:ph type="title"/>
          </p:nvPr>
        </p:nvSpPr>
        <p:spPr>
          <a:xfrm>
            <a:off x="1706880" y="67056"/>
            <a:ext cx="9956800" cy="563562"/>
          </a:xfrm>
          <a:prstGeom prst="rect">
            <a:avLst/>
          </a:prstGeom>
        </p:spPr>
        <p:txBody>
          <a:bodyPr vert="horz" lIns="91440" tIns="45720" rIns="91440" bIns="45720" rtlCol="0" anchor="ctr">
            <a:normAutofit/>
          </a:bodyPr>
          <a:lstStyle/>
          <a:p>
            <a:pPr lvl="0" algn="l" defTabSz="914400" rtl="0" eaLnBrk="1" fontAlgn="base" latinLnBrk="0" hangingPunct="1">
              <a:lnSpc>
                <a:spcPct val="115000"/>
              </a:lnSpc>
              <a:spcBef>
                <a:spcPct val="0"/>
              </a:spcBef>
              <a:spcAft>
                <a:spcPct val="0"/>
              </a:spcAft>
              <a:buNone/>
            </a:pPr>
            <a:r>
              <a:rPr lang="en-US" smtClean="0"/>
              <a:t>Click to edit Master title style</a:t>
            </a:r>
            <a:endParaRPr lang="en-US" dirty="0"/>
          </a:p>
        </p:txBody>
      </p:sp>
      <p:sp>
        <p:nvSpPr>
          <p:cNvPr id="3" name="Text Placeholder 2"/>
          <p:cNvSpPr>
            <a:spLocks noGrp="1"/>
          </p:cNvSpPr>
          <p:nvPr>
            <p:ph type="body" idx="1"/>
          </p:nvPr>
        </p:nvSpPr>
        <p:spPr>
          <a:xfrm>
            <a:off x="487680" y="905257"/>
            <a:ext cx="10972800" cy="4525963"/>
          </a:xfrm>
          <a:prstGeom prst="rect">
            <a:avLst/>
          </a:prstGeom>
        </p:spPr>
        <p:txBody>
          <a:bodyPr vert="horz" lIns="91440" tIns="45720" rIns="91440" bIns="45720" rtlCol="0">
            <a:normAutofit/>
          </a:bodyPr>
          <a:lstStyle/>
          <a:p>
            <a:pPr marL="342900" marR="0" lvl="0" indent="-342900" algn="l" defTabSz="914400" rtl="0" eaLnBrk="1" fontAlgn="base" latinLnBrk="0" hangingPunct="1">
              <a:lnSpc>
                <a:spcPct val="100000"/>
              </a:lnSpc>
              <a:spcBef>
                <a:spcPct val="20000"/>
              </a:spcBef>
              <a:spcAft>
                <a:spcPct val="0"/>
              </a:spcAft>
              <a:buClr>
                <a:srgbClr val="4E84C4"/>
              </a:buClr>
              <a:buSzTx/>
              <a:buFont typeface="Wingdings" pitchFamily="2" charset="2"/>
              <a:buChar char="§"/>
              <a:tabLst/>
              <a:defRPr/>
            </a:pPr>
            <a:r>
              <a:rPr lang="en-US" dirty="0" smtClean="0"/>
              <a:t>Click to edit Master text styles</a:t>
            </a:r>
          </a:p>
          <a:p>
            <a:pPr marL="741363" lvl="1" indent="-285750" algn="l" defTabSz="914400" rtl="0" eaLnBrk="1" fontAlgn="base" latinLnBrk="0" hangingPunct="1">
              <a:spcBef>
                <a:spcPct val="20000"/>
              </a:spcBef>
              <a:spcAft>
                <a:spcPct val="0"/>
              </a:spcAft>
              <a:buClr>
                <a:srgbClr val="6CCFF6"/>
              </a:buClr>
              <a:buFont typeface="Wingdings" pitchFamily="2" charset="2"/>
              <a:buChar char="§"/>
            </a:pPr>
            <a:r>
              <a:rPr lang="en-US" dirty="0" smtClean="0"/>
              <a:t>Second level</a:t>
            </a:r>
          </a:p>
        </p:txBody>
      </p:sp>
      <p:sp>
        <p:nvSpPr>
          <p:cNvPr id="8"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302"/>
            <a:fld id="{F3854723-61CE-498E-9CC7-1B6C22BDDA1F}" type="slidenum">
              <a:rPr lang="en-US" smtClean="0">
                <a:solidFill>
                  <a:prstClr val="black">
                    <a:tint val="75000"/>
                  </a:prstClr>
                </a:solidFill>
              </a:rPr>
              <a:pPr defTabSz="914302"/>
              <a:t>‹#›</a:t>
            </a:fld>
            <a:endParaRPr lang="en-US" dirty="0">
              <a:solidFill>
                <a:prstClr val="black">
                  <a:tint val="75000"/>
                </a:prstClr>
              </a:solidFill>
            </a:endParaRPr>
          </a:p>
        </p:txBody>
      </p:sp>
    </p:spTree>
    <p:extLst>
      <p:ext uri="{BB962C8B-B14F-4D97-AF65-F5344CB8AC3E}">
        <p14:creationId xmlns:p14="http://schemas.microsoft.com/office/powerpoint/2010/main" val="59133365"/>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Lst>
  <p:timing>
    <p:tnLst>
      <p:par>
        <p:cTn id="1" dur="indefinite" restart="never" nodeType="tmRoot"/>
      </p:par>
    </p:tnLst>
  </p:timing>
  <p:txStyles>
    <p:titleStyle>
      <a:lvl1pPr eaLnBrk="1" hangingPunct="1">
        <a:defRPr lang="en-US" sz="2800" b="0" kern="1200" dirty="0" smtClean="0">
          <a:solidFill>
            <a:schemeClr val="bg1"/>
          </a:solidFill>
          <a:latin typeface="Myriad Pro" pitchFamily="34" charset="0"/>
          <a:ea typeface="+mj-ea"/>
          <a:cs typeface="+mj-cs"/>
        </a:defRPr>
      </a:lvl1pPr>
    </p:titleStyle>
    <p:bodyStyle>
      <a:lvl1pPr marL="342900" indent="-342900" algn="l" defTabSz="914400" rtl="0" eaLnBrk="1" fontAlgn="base" latinLnBrk="0" hangingPunct="1">
        <a:spcBef>
          <a:spcPct val="20000"/>
        </a:spcBef>
        <a:spcAft>
          <a:spcPct val="0"/>
        </a:spcAft>
        <a:buFont typeface="Wingdings" pitchFamily="2" charset="2"/>
        <a:buChar char="§"/>
        <a:tabLst/>
        <a:defRPr lang="en-US" sz="2200" b="0" kern="1200" noProof="0" dirty="0" smtClean="0">
          <a:solidFill>
            <a:srgbClr val="4E84C4"/>
          </a:solidFill>
          <a:latin typeface="Myriad Pro" pitchFamily="34" charset="0"/>
          <a:ea typeface="+mn-ea"/>
          <a:cs typeface="+mn-cs"/>
        </a:defRPr>
      </a:lvl1pPr>
      <a:lvl2pPr algn="l" defTabSz="914400" rtl="0" eaLnBrk="1" fontAlgn="base" latinLnBrk="0" hangingPunct="1">
        <a:spcBef>
          <a:spcPct val="20000"/>
        </a:spcBef>
        <a:spcAft>
          <a:spcPct val="0"/>
        </a:spcAft>
        <a:buFont typeface="Wingdings" pitchFamily="2" charset="2"/>
        <a:buChar char="§"/>
        <a:defRPr lang="en-US" sz="2200" kern="1200" dirty="0" smtClean="0">
          <a:solidFill>
            <a:srgbClr val="4E84C4"/>
          </a:solidFill>
          <a:latin typeface="Myriad Pro" pitchFamily="34" charset="0"/>
          <a:ea typeface="+mn-ea"/>
          <a:cs typeface="+mn-cs"/>
        </a:defRPr>
      </a:lvl2pPr>
      <a:lvl3pPr algn="l" defTabSz="914400" rtl="0" eaLnBrk="1" fontAlgn="base" latinLnBrk="0" hangingPunct="1">
        <a:spcBef>
          <a:spcPct val="20000"/>
        </a:spcBef>
        <a:spcAft>
          <a:spcPct val="0"/>
        </a:spcAft>
        <a:buFont typeface="Wingdings" pitchFamily="2" charset="2"/>
        <a:buNone/>
        <a:defRPr lang="en-US" sz="2200" kern="1200" dirty="0" smtClean="0">
          <a:solidFill>
            <a:srgbClr val="4E84C4"/>
          </a:solidFill>
          <a:latin typeface="Myriad Pro" pitchFamily="34" charset="0"/>
          <a:ea typeface="+mn-ea"/>
          <a:cs typeface="+mn-cs"/>
        </a:defRPr>
      </a:lvl3pPr>
    </p:bodyStyle>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3"/>
          <p:cNvPicPr>
            <a:picLocks noChangeAspect="1" noChangeArrowheads="1"/>
          </p:cNvPicPr>
          <p:nvPr/>
        </p:nvPicPr>
        <p:blipFill>
          <a:blip r:embed="rId8" cstate="print"/>
          <a:srcRect l="19375" t="20410" r="5469" b="9375"/>
          <a:stretch>
            <a:fillRect/>
          </a:stretch>
        </p:blipFill>
        <p:spPr bwMode="auto">
          <a:xfrm>
            <a:off x="-38100" y="1"/>
            <a:ext cx="12217400" cy="6848475"/>
          </a:xfrm>
          <a:prstGeom prst="rect">
            <a:avLst/>
          </a:prstGeom>
          <a:noFill/>
          <a:ln w="9525">
            <a:noFill/>
            <a:miter lim="800000"/>
            <a:headEnd/>
            <a:tailEnd/>
          </a:ln>
          <a:effectLst/>
        </p:spPr>
      </p:pic>
      <p:sp>
        <p:nvSpPr>
          <p:cNvPr id="2" name="Title Placeholder 1"/>
          <p:cNvSpPr>
            <a:spLocks noGrp="1"/>
          </p:cNvSpPr>
          <p:nvPr>
            <p:ph type="title"/>
          </p:nvPr>
        </p:nvSpPr>
        <p:spPr>
          <a:xfrm>
            <a:off x="1706880" y="67056"/>
            <a:ext cx="9956800" cy="563562"/>
          </a:xfrm>
          <a:prstGeom prst="rect">
            <a:avLst/>
          </a:prstGeom>
        </p:spPr>
        <p:txBody>
          <a:bodyPr vert="horz" lIns="91440" tIns="45720" rIns="91440" bIns="45720" rtlCol="0" anchor="ctr">
            <a:normAutofit/>
          </a:bodyPr>
          <a:lstStyle/>
          <a:p>
            <a:pPr lvl="0" algn="l" defTabSz="914400" rtl="0" eaLnBrk="1" fontAlgn="base" latinLnBrk="0" hangingPunct="1">
              <a:lnSpc>
                <a:spcPct val="115000"/>
              </a:lnSpc>
              <a:spcBef>
                <a:spcPct val="0"/>
              </a:spcBef>
              <a:spcAft>
                <a:spcPct val="0"/>
              </a:spcAft>
              <a:buNone/>
            </a:pPr>
            <a:r>
              <a:rPr lang="en-US" smtClean="0"/>
              <a:t>Click to edit Master title style</a:t>
            </a:r>
            <a:endParaRPr lang="en-US" dirty="0"/>
          </a:p>
        </p:txBody>
      </p:sp>
      <p:sp>
        <p:nvSpPr>
          <p:cNvPr id="3" name="Text Placeholder 2"/>
          <p:cNvSpPr>
            <a:spLocks noGrp="1"/>
          </p:cNvSpPr>
          <p:nvPr>
            <p:ph type="body" idx="1"/>
          </p:nvPr>
        </p:nvSpPr>
        <p:spPr>
          <a:xfrm>
            <a:off x="487680" y="905257"/>
            <a:ext cx="10972800" cy="4525963"/>
          </a:xfrm>
          <a:prstGeom prst="rect">
            <a:avLst/>
          </a:prstGeom>
        </p:spPr>
        <p:txBody>
          <a:bodyPr vert="horz" lIns="91440" tIns="45720" rIns="91440" bIns="45720" rtlCol="0">
            <a:normAutofit/>
          </a:bodyPr>
          <a:lstStyle/>
          <a:p>
            <a:pPr marL="342900" marR="0" lvl="0" indent="-342900" algn="l" defTabSz="914400" rtl="0" eaLnBrk="1" fontAlgn="base" latinLnBrk="0" hangingPunct="1">
              <a:lnSpc>
                <a:spcPct val="100000"/>
              </a:lnSpc>
              <a:spcBef>
                <a:spcPct val="20000"/>
              </a:spcBef>
              <a:spcAft>
                <a:spcPct val="0"/>
              </a:spcAft>
              <a:buClr>
                <a:srgbClr val="4E84C4"/>
              </a:buClr>
              <a:buSzTx/>
              <a:buFont typeface="Wingdings" pitchFamily="2" charset="2"/>
              <a:buChar char="§"/>
              <a:tabLst/>
              <a:defRPr/>
            </a:pPr>
            <a:r>
              <a:rPr lang="en-US" dirty="0" smtClean="0"/>
              <a:t>Click to edit Master text styles</a:t>
            </a:r>
          </a:p>
          <a:p>
            <a:pPr marL="741363" lvl="1" indent="-285750" algn="l" defTabSz="914400" rtl="0" eaLnBrk="1" fontAlgn="base" latinLnBrk="0" hangingPunct="1">
              <a:spcBef>
                <a:spcPct val="20000"/>
              </a:spcBef>
              <a:spcAft>
                <a:spcPct val="0"/>
              </a:spcAft>
              <a:buClr>
                <a:srgbClr val="6CCFF6"/>
              </a:buClr>
              <a:buFont typeface="Wingdings" pitchFamily="2" charset="2"/>
              <a:buChar char="§"/>
            </a:pPr>
            <a:r>
              <a:rPr lang="en-US" dirty="0" smtClean="0"/>
              <a:t>Second level</a:t>
            </a:r>
          </a:p>
        </p:txBody>
      </p:sp>
      <p:sp>
        <p:nvSpPr>
          <p:cNvPr id="8"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302"/>
            <a:fld id="{F3854723-61CE-498E-9CC7-1B6C22BDDA1F}" type="slidenum">
              <a:rPr lang="en-US" smtClean="0">
                <a:solidFill>
                  <a:prstClr val="black">
                    <a:tint val="75000"/>
                  </a:prstClr>
                </a:solidFill>
              </a:rPr>
              <a:pPr defTabSz="914302"/>
              <a:t>‹#›</a:t>
            </a:fld>
            <a:endParaRPr lang="en-US" dirty="0">
              <a:solidFill>
                <a:prstClr val="black">
                  <a:tint val="75000"/>
                </a:prstClr>
              </a:solidFill>
            </a:endParaRPr>
          </a:p>
        </p:txBody>
      </p:sp>
    </p:spTree>
    <p:extLst>
      <p:ext uri="{BB962C8B-B14F-4D97-AF65-F5344CB8AC3E}">
        <p14:creationId xmlns:p14="http://schemas.microsoft.com/office/powerpoint/2010/main" val="3381583838"/>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Lst>
  <p:timing>
    <p:tnLst>
      <p:par>
        <p:cTn id="1" dur="indefinite" restart="never" nodeType="tmRoot"/>
      </p:par>
    </p:tnLst>
  </p:timing>
  <p:txStyles>
    <p:titleStyle>
      <a:lvl1pPr eaLnBrk="1" hangingPunct="1">
        <a:defRPr lang="en-US" sz="2800" b="0" kern="1200" dirty="0" smtClean="0">
          <a:solidFill>
            <a:schemeClr val="bg1"/>
          </a:solidFill>
          <a:latin typeface="Myriad Pro" pitchFamily="34" charset="0"/>
          <a:ea typeface="+mj-ea"/>
          <a:cs typeface="+mj-cs"/>
        </a:defRPr>
      </a:lvl1pPr>
    </p:titleStyle>
    <p:bodyStyle>
      <a:lvl1pPr marL="342900" indent="-342900" algn="l" defTabSz="914400" rtl="0" eaLnBrk="1" fontAlgn="base" latinLnBrk="0" hangingPunct="1">
        <a:spcBef>
          <a:spcPct val="20000"/>
        </a:spcBef>
        <a:spcAft>
          <a:spcPct val="0"/>
        </a:spcAft>
        <a:buFont typeface="Wingdings" pitchFamily="2" charset="2"/>
        <a:buChar char="§"/>
        <a:tabLst/>
        <a:defRPr lang="en-US" sz="2200" b="0" kern="1200" noProof="0" dirty="0" smtClean="0">
          <a:solidFill>
            <a:srgbClr val="4E84C4"/>
          </a:solidFill>
          <a:latin typeface="Myriad Pro" pitchFamily="34" charset="0"/>
          <a:ea typeface="+mn-ea"/>
          <a:cs typeface="+mn-cs"/>
        </a:defRPr>
      </a:lvl1pPr>
      <a:lvl2pPr algn="l" defTabSz="914400" rtl="0" eaLnBrk="1" fontAlgn="base" latinLnBrk="0" hangingPunct="1">
        <a:spcBef>
          <a:spcPct val="20000"/>
        </a:spcBef>
        <a:spcAft>
          <a:spcPct val="0"/>
        </a:spcAft>
        <a:buFont typeface="Wingdings" pitchFamily="2" charset="2"/>
        <a:buChar char="§"/>
        <a:defRPr lang="en-US" sz="2200" kern="1200" dirty="0" smtClean="0">
          <a:solidFill>
            <a:srgbClr val="4E84C4"/>
          </a:solidFill>
          <a:latin typeface="Myriad Pro" pitchFamily="34" charset="0"/>
          <a:ea typeface="+mn-ea"/>
          <a:cs typeface="+mn-cs"/>
        </a:defRPr>
      </a:lvl2pPr>
      <a:lvl3pPr algn="l" defTabSz="914400" rtl="0" eaLnBrk="1" fontAlgn="base" latinLnBrk="0" hangingPunct="1">
        <a:spcBef>
          <a:spcPct val="20000"/>
        </a:spcBef>
        <a:spcAft>
          <a:spcPct val="0"/>
        </a:spcAft>
        <a:buFont typeface="Wingdings" pitchFamily="2" charset="2"/>
        <a:buNone/>
        <a:defRPr lang="en-US" sz="2200" kern="1200" dirty="0" smtClean="0">
          <a:solidFill>
            <a:srgbClr val="4E84C4"/>
          </a:solidFill>
          <a:latin typeface="Myriad Pro" pitchFamily="34" charset="0"/>
          <a:ea typeface="+mn-ea"/>
          <a:cs typeface="+mn-cs"/>
        </a:defRPr>
      </a:lvl3pPr>
    </p:bodyStyle>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pPr/>
              <a:t>1/20/2019</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302"/>
            <a:fld id="{F3854723-61CE-498E-9CC7-1B6C22BDDA1F}" type="slidenum">
              <a:rPr lang="en-US" smtClean="0">
                <a:solidFill>
                  <a:prstClr val="black">
                    <a:tint val="75000"/>
                  </a:prstClr>
                </a:solidFill>
              </a:rPr>
              <a:pPr defTabSz="914302"/>
              <a:t>‹#›</a:t>
            </a:fld>
            <a:endParaRPr lang="en-US" dirty="0">
              <a:solidFill>
                <a:prstClr val="black">
                  <a:tint val="75000"/>
                </a:prstClr>
              </a:solidFill>
            </a:endParaRPr>
          </a:p>
        </p:txBody>
      </p:sp>
    </p:spTree>
    <p:extLst>
      <p:ext uri="{BB962C8B-B14F-4D97-AF65-F5344CB8AC3E}">
        <p14:creationId xmlns:p14="http://schemas.microsoft.com/office/powerpoint/2010/main" val="675920751"/>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7" r:id="rId15"/>
    <p:sldLayoutId id="2147483888" r:id="rId16"/>
    <p:sldLayoutId id="2147483889" r:id="rId17"/>
    <p:sldLayoutId id="2147483890" r:id="rId18"/>
    <p:sldLayoutId id="2147483891"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0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hyperlink" Target="https://docs.microsoft.com/en-us/azure/traffic-manager/traffic-manager-routing-methods" TargetMode="External"/><Relationship Id="rId1" Type="http://schemas.openxmlformats.org/officeDocument/2006/relationships/slideLayout" Target="../slideLayouts/slideLayout27.xml"/></Relationships>
</file>

<file path=ppt/slides/_rels/slide101.xml.rels><?xml version="1.0" encoding="UTF-8" standalone="yes"?>
<Relationships xmlns="http://schemas.openxmlformats.org/package/2006/relationships"><Relationship Id="rId3" Type="http://schemas.openxmlformats.org/officeDocument/2006/relationships/hyperlink" Target="https://docs.microsoft.com/en-us/azure/traffic-manager/traffic-manager-routing-methods" TargetMode="External"/><Relationship Id="rId2" Type="http://schemas.openxmlformats.org/officeDocument/2006/relationships/notesSlide" Target="../notesSlides/notesSlide65.xml"/><Relationship Id="rId1" Type="http://schemas.openxmlformats.org/officeDocument/2006/relationships/slideLayout" Target="../slideLayouts/slideLayout27.xml"/><Relationship Id="rId4" Type="http://schemas.openxmlformats.org/officeDocument/2006/relationships/image" Target="../media/image68.png"/></Relationships>
</file>

<file path=ppt/slides/_rels/slide102.xml.rels><?xml version="1.0" encoding="UTF-8" standalone="yes"?>
<Relationships xmlns="http://schemas.openxmlformats.org/package/2006/relationships"><Relationship Id="rId3" Type="http://schemas.openxmlformats.org/officeDocument/2006/relationships/hyperlink" Target="https://docs.microsoft.com/en-us/azure/traffic-manager/traffic-manager-routing-methods" TargetMode="External"/><Relationship Id="rId2" Type="http://schemas.openxmlformats.org/officeDocument/2006/relationships/notesSlide" Target="../notesSlides/notesSlide66.xml"/><Relationship Id="rId1" Type="http://schemas.openxmlformats.org/officeDocument/2006/relationships/slideLayout" Target="../slideLayouts/slideLayout27.xml"/><Relationship Id="rId4" Type="http://schemas.openxmlformats.org/officeDocument/2006/relationships/image" Target="../media/image69.png"/></Relationships>
</file>

<file path=ppt/slides/_rels/slide10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hyperlink" Target="https://docs.microsoft.com/en-us/azure/traffic-manager/traffic-manager-routing-methods" TargetMode="External"/><Relationship Id="rId1" Type="http://schemas.openxmlformats.org/officeDocument/2006/relationships/slideLayout" Target="../slideLayouts/slideLayout27.xml"/></Relationships>
</file>

<file path=ppt/slides/_rels/slide10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67.xml"/><Relationship Id="rId1" Type="http://schemas.openxmlformats.org/officeDocument/2006/relationships/slideLayout" Target="../slideLayouts/slideLayout27.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7.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7.xml"/></Relationships>
</file>

<file path=ppt/slides/_rels/slide10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70.xml"/><Relationship Id="rId1" Type="http://schemas.openxmlformats.org/officeDocument/2006/relationships/slideLayout" Target="../slideLayouts/slideLayout27.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11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72.xml"/><Relationship Id="rId1" Type="http://schemas.openxmlformats.org/officeDocument/2006/relationships/slideLayout" Target="../slideLayouts/slideLayout27.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7.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7.xml"/></Relationships>
</file>

<file path=ppt/slides/_rels/slide11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75.xml"/><Relationship Id="rId1" Type="http://schemas.openxmlformats.org/officeDocument/2006/relationships/slideLayout" Target="../slideLayouts/slideLayout27.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7.xml"/></Relationships>
</file>

<file path=ppt/slides/_rels/slide11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77.xml"/><Relationship Id="rId1" Type="http://schemas.openxmlformats.org/officeDocument/2006/relationships/slideLayout" Target="../slideLayouts/slideLayout27.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7.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2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2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80.xml"/><Relationship Id="rId1" Type="http://schemas.openxmlformats.org/officeDocument/2006/relationships/slideLayout" Target="../slideLayouts/slideLayout27.xml"/></Relationships>
</file>

<file path=ppt/slides/_rels/slide12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81.xml"/><Relationship Id="rId1" Type="http://schemas.openxmlformats.org/officeDocument/2006/relationships/slideLayout" Target="../slideLayouts/slideLayout27.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2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82.xml"/><Relationship Id="rId1" Type="http://schemas.openxmlformats.org/officeDocument/2006/relationships/slideLayout" Target="../slideLayouts/slideLayout27.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7.xml"/></Relationships>
</file>

<file path=ppt/slides/_rels/slide12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84.xml"/><Relationship Id="rId1" Type="http://schemas.openxmlformats.org/officeDocument/2006/relationships/slideLayout" Target="../slideLayouts/slideLayout27.xml"/><Relationship Id="rId4" Type="http://schemas.openxmlformats.org/officeDocument/2006/relationships/image" Target="cid:image001.png@01D117E3.6F48EBC0"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85.xml"/><Relationship Id="rId1" Type="http://schemas.openxmlformats.org/officeDocument/2006/relationships/slideLayout" Target="../slideLayouts/slideLayout27.xml"/><Relationship Id="rId4" Type="http://schemas.openxmlformats.org/officeDocument/2006/relationships/image" Target="cid:image002.png@01D117E3.6F48EBC0" TargetMode="Externa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27.xml"/><Relationship Id="rId4" Type="http://schemas.openxmlformats.org/officeDocument/2006/relationships/image" Target="../media/image4.png"/></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7.xml"/></Relationships>
</file>

<file path=ppt/slides/_rels/slide13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88.xml"/><Relationship Id="rId1" Type="http://schemas.openxmlformats.org/officeDocument/2006/relationships/slideLayout" Target="../slideLayouts/slideLayout27.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3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89.xml"/><Relationship Id="rId1" Type="http://schemas.openxmlformats.org/officeDocument/2006/relationships/slideLayout" Target="../slideLayouts/slideLayout27.xml"/></Relationships>
</file>

<file path=ppt/slides/_rels/slide13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90.xml"/><Relationship Id="rId1" Type="http://schemas.openxmlformats.org/officeDocument/2006/relationships/slideLayout" Target="../slideLayouts/slideLayout27.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3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7.xml"/></Relationships>
</file>

<file path=ppt/slides/_rels/slide13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91.xml"/><Relationship Id="rId1" Type="http://schemas.openxmlformats.org/officeDocument/2006/relationships/slideLayout" Target="../slideLayouts/slideLayout27.xml"/></Relationships>
</file>

<file path=ppt/slides/_rels/slide13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92.xml"/><Relationship Id="rId1" Type="http://schemas.openxmlformats.org/officeDocument/2006/relationships/slideLayout" Target="../slideLayouts/slideLayout27.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7.xml"/></Relationships>
</file>

<file path=ppt/slides/_rels/slide14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27.xml"/></Relationships>
</file>

<file path=ppt/slides/_rels/slide14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95.xml"/><Relationship Id="rId1" Type="http://schemas.openxmlformats.org/officeDocument/2006/relationships/slideLayout" Target="../slideLayouts/slideLayout27.xml"/></Relationships>
</file>

<file path=ppt/slides/_rels/slide14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96.xml"/><Relationship Id="rId1" Type="http://schemas.openxmlformats.org/officeDocument/2006/relationships/slideLayout" Target="../slideLayouts/slideLayout27.xml"/></Relationships>
</file>

<file path=ppt/slides/_rels/slide14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7.xml"/></Relationships>
</file>

<file path=ppt/slides/_rels/slide14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7.xml"/></Relationships>
</file>

<file path=ppt/slides/_rels/slide14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97.xml"/><Relationship Id="rId1" Type="http://schemas.openxmlformats.org/officeDocument/2006/relationships/slideLayout" Target="../slideLayouts/slideLayout27.xml"/></Relationships>
</file>

<file path=ppt/slides/_rels/slide14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7.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7.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7.xml"/></Relationships>
</file>

<file path=ppt/slides/_rels/slide151.xml.rels><?xml version="1.0" encoding="UTF-8" standalone="yes"?>
<Relationships xmlns="http://schemas.openxmlformats.org/package/2006/relationships"><Relationship Id="rId8" Type="http://schemas.openxmlformats.org/officeDocument/2006/relationships/notesSlide" Target="../notesSlides/notesSlide101.xml"/><Relationship Id="rId13" Type="http://schemas.openxmlformats.org/officeDocument/2006/relationships/image" Target="../media/image98.png"/><Relationship Id="rId3" Type="http://schemas.openxmlformats.org/officeDocument/2006/relationships/tags" Target="../tags/tag176.xml"/><Relationship Id="rId7" Type="http://schemas.openxmlformats.org/officeDocument/2006/relationships/slideLayout" Target="../slideLayouts/slideLayout27.xml"/><Relationship Id="rId12" Type="http://schemas.openxmlformats.org/officeDocument/2006/relationships/image" Target="../media/image97.png"/><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tags" Target="../tags/tag179.xml"/><Relationship Id="rId11" Type="http://schemas.openxmlformats.org/officeDocument/2006/relationships/image" Target="../media/image96.png"/><Relationship Id="rId5" Type="http://schemas.openxmlformats.org/officeDocument/2006/relationships/tags" Target="../tags/tag178.xml"/><Relationship Id="rId10" Type="http://schemas.openxmlformats.org/officeDocument/2006/relationships/image" Target="../media/image95.png"/><Relationship Id="rId4" Type="http://schemas.openxmlformats.org/officeDocument/2006/relationships/tags" Target="../tags/tag177.xml"/><Relationship Id="rId9" Type="http://schemas.openxmlformats.org/officeDocument/2006/relationships/image" Target="../media/image94.png"/></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7.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7.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7.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7.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7.xml"/></Relationships>
</file>

<file path=ppt/slides/_rels/slide157.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image" Target="../media/image98.png"/><Relationship Id="rId3" Type="http://schemas.openxmlformats.org/officeDocument/2006/relationships/tags" Target="../tags/tag182.xml"/><Relationship Id="rId7" Type="http://schemas.openxmlformats.org/officeDocument/2006/relationships/tags" Target="../tags/tag186.xml"/><Relationship Id="rId12" Type="http://schemas.openxmlformats.org/officeDocument/2006/relationships/image" Target="../media/image101.png"/><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tags" Target="../tags/tag185.xml"/><Relationship Id="rId11" Type="http://schemas.openxmlformats.org/officeDocument/2006/relationships/image" Target="../media/image100.png"/><Relationship Id="rId5" Type="http://schemas.openxmlformats.org/officeDocument/2006/relationships/tags" Target="../tags/tag184.xml"/><Relationship Id="rId10" Type="http://schemas.openxmlformats.org/officeDocument/2006/relationships/image" Target="../media/image99.png"/><Relationship Id="rId4" Type="http://schemas.openxmlformats.org/officeDocument/2006/relationships/tags" Target="../tags/tag183.xml"/><Relationship Id="rId9" Type="http://schemas.openxmlformats.org/officeDocument/2006/relationships/notesSlide" Target="../notesSlides/notesSlide107.xml"/><Relationship Id="rId14" Type="http://schemas.openxmlformats.org/officeDocument/2006/relationships/image" Target="../media/image102.png"/></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7.xml"/></Relationships>
</file>

<file path=ppt/slides/_rels/slide159.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109.xml"/><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1.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7.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7.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7.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27.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7.xml"/></Relationships>
</file>

<file path=ppt/slides/_rels/slide16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15.xml"/><Relationship Id="rId1" Type="http://schemas.openxmlformats.org/officeDocument/2006/relationships/slideLayout" Target="../slideLayouts/slideLayout27.xml"/></Relationships>
</file>

<file path=ppt/slides/_rels/slide16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16.xml"/><Relationship Id="rId1" Type="http://schemas.openxmlformats.org/officeDocument/2006/relationships/slideLayout" Target="../slideLayouts/slideLayout27.xml"/></Relationships>
</file>

<file path=ppt/slides/_rels/slide16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17.xml"/><Relationship Id="rId1" Type="http://schemas.openxmlformats.org/officeDocument/2006/relationships/slideLayout" Target="../slideLayouts/slideLayout27.xml"/></Relationships>
</file>

<file path=ppt/slides/_rels/slide16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18.xml"/><Relationship Id="rId1" Type="http://schemas.openxmlformats.org/officeDocument/2006/relationships/slideLayout" Target="../slideLayouts/slideLayout27.xml"/></Relationships>
</file>

<file path=ppt/slides/_rels/slide16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19.xml"/><Relationship Id="rId1" Type="http://schemas.openxmlformats.org/officeDocument/2006/relationships/slideLayout" Target="../slideLayouts/slideLayout27.xml"/><Relationship Id="rId4" Type="http://schemas.openxmlformats.org/officeDocument/2006/relationships/image" Target="../media/image109.png"/></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37.xml"/><Relationship Id="rId5" Type="http://schemas.openxmlformats.org/officeDocument/2006/relationships/image" Target="../media/image7.png"/><Relationship Id="rId4" Type="http://schemas.openxmlformats.org/officeDocument/2006/relationships/image" Target="../media/image6.png"/></Relationships>
</file>

<file path=ppt/slides/_rels/slide17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20.xml"/><Relationship Id="rId1" Type="http://schemas.openxmlformats.org/officeDocument/2006/relationships/slideLayout" Target="../slideLayouts/slideLayout27.xml"/></Relationships>
</file>

<file path=ppt/slides/_rels/slide171.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27.xml"/></Relationships>
</file>

<file path=ppt/slides/_rels/slide172.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27.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74.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32.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32.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32.xml"/></Relationships>
</file>

<file path=ppt/slides/_rels/slide177.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32.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1.xml"/><Relationship Id="rId1" Type="http://schemas.openxmlformats.org/officeDocument/2006/relationships/tags" Target="../tags/tag145.xml"/></Relationships>
</file>

<file path=ppt/slides/_rels/slide180.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24.xml"/><Relationship Id="rId1" Type="http://schemas.openxmlformats.org/officeDocument/2006/relationships/slideLayout" Target="../slideLayouts/slideLayout38.xml"/></Relationships>
</file>

<file path=ppt/slides/_rels/slide18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25.xml"/><Relationship Id="rId1" Type="http://schemas.openxmlformats.org/officeDocument/2006/relationships/slideLayout" Target="../slideLayouts/slideLayout38.xml"/></Relationships>
</file>

<file path=ppt/slides/_rels/slide182.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38.xml"/></Relationships>
</file>

<file path=ppt/slides/_rels/slide18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26.xml"/><Relationship Id="rId1" Type="http://schemas.openxmlformats.org/officeDocument/2006/relationships/slideLayout" Target="../slideLayouts/slideLayout38.xml"/></Relationships>
</file>

<file path=ppt/slides/_rels/slide184.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38.xml"/></Relationships>
</file>

<file path=ppt/slides/_rels/slide18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27.xml"/><Relationship Id="rId1" Type="http://schemas.openxmlformats.org/officeDocument/2006/relationships/slideLayout" Target="../slideLayouts/slideLayout38.xml"/></Relationships>
</file>

<file path=ppt/slides/_rels/slide186.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38.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38.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32.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notesSlide" Target="../notesSlides/notesSlide13.xml"/><Relationship Id="rId7" Type="http://schemas.openxmlformats.org/officeDocument/2006/relationships/image" Target="../media/image11.emf"/><Relationship Id="rId2" Type="http://schemas.openxmlformats.org/officeDocument/2006/relationships/slideLayout" Target="../slideLayouts/slideLayout31.xml"/><Relationship Id="rId1" Type="http://schemas.openxmlformats.org/officeDocument/2006/relationships/tags" Target="../tags/tag146.x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image" Target="../media/image8.emf"/><Relationship Id="rId9" Type="http://schemas.openxmlformats.org/officeDocument/2006/relationships/image" Target="../media/image13.emf"/></Relationships>
</file>

<file path=ppt/slides/_rels/slide190.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32.xml"/></Relationships>
</file>

<file path=ppt/slides/_rels/slide19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3.png"/><Relationship Id="rId1" Type="http://schemas.openxmlformats.org/officeDocument/2006/relationships/slideLayout" Target="../slideLayouts/slideLayout32.xml"/></Relationships>
</file>

<file path=ppt/slides/_rels/slide192.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24.png"/><Relationship Id="rId1" Type="http://schemas.openxmlformats.org/officeDocument/2006/relationships/slideLayout" Target="../slideLayouts/slideLayout32.xml"/></Relationships>
</file>

<file path=ppt/slides/_rels/slide193.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25.png"/><Relationship Id="rId7" Type="http://schemas.openxmlformats.org/officeDocument/2006/relationships/image" Target="../media/image129.png"/><Relationship Id="rId2" Type="http://schemas.openxmlformats.org/officeDocument/2006/relationships/image" Target="../media/image124.png"/><Relationship Id="rId1" Type="http://schemas.openxmlformats.org/officeDocument/2006/relationships/slideLayout" Target="../slideLayouts/slideLayout32.xml"/><Relationship Id="rId6" Type="http://schemas.openxmlformats.org/officeDocument/2006/relationships/image" Target="../media/image128.png"/><Relationship Id="rId11" Type="http://schemas.openxmlformats.org/officeDocument/2006/relationships/image" Target="../media/image133.png"/><Relationship Id="rId5" Type="http://schemas.openxmlformats.org/officeDocument/2006/relationships/image" Target="../media/image127.pn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png"/></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95.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32.xml"/></Relationships>
</file>

<file path=ppt/slides/_rels/slide196.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32.xml"/></Relationships>
</file>

<file path=ppt/slides/_rels/slide197.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32.xml"/></Relationships>
</file>

<file path=ppt/slides/_rels/slide198.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3" Type="http://schemas.openxmlformats.org/officeDocument/2006/relationships/hyperlink" Target="https://manage.windowsazure.com/" TargetMode="External"/><Relationship Id="rId2" Type="http://schemas.openxmlformats.org/officeDocument/2006/relationships/hyperlink" Target="https://account.windowsazure.com/Home/Index" TargetMode="External"/><Relationship Id="rId1" Type="http://schemas.openxmlformats.org/officeDocument/2006/relationships/slideLayout" Target="../slideLayouts/slideLayout31.xml"/><Relationship Id="rId4" Type="http://schemas.openxmlformats.org/officeDocument/2006/relationships/image" Target="../media/image15.png"/></Relationships>
</file>

<file path=ppt/slides/_rels/slide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31.xml"/></Relationships>
</file>

<file path=ppt/slides/_rels/slide3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3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1.xml"/></Relationships>
</file>

<file path=ppt/slides/_rels/slide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9.xml"/><Relationship Id="rId1" Type="http://schemas.openxmlformats.org/officeDocument/2006/relationships/slideLayout" Target="../slideLayouts/slideLayout3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7.xml"/></Relationships>
</file>

<file path=ppt/slides/_rels/slide4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5.xml"/><Relationship Id="rId1" Type="http://schemas.openxmlformats.org/officeDocument/2006/relationships/slideLayout" Target="../slideLayouts/slideLayout2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7.xml"/></Relationships>
</file>

<file path=ppt/slides/_rels/slide4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5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31.xml"/><Relationship Id="rId1" Type="http://schemas.openxmlformats.org/officeDocument/2006/relationships/slideLayout" Target="../slideLayouts/slideLayout31.xml"/></Relationships>
</file>

<file path=ppt/slides/_rels/slide5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32.xml"/><Relationship Id="rId1" Type="http://schemas.openxmlformats.org/officeDocument/2006/relationships/slideLayout" Target="../slideLayouts/slideLayout31.xml"/><Relationship Id="rId4" Type="http://schemas.openxmlformats.org/officeDocument/2006/relationships/image" Target="../media/image25.emf"/></Relationships>
</file>

<file path=ppt/slides/_rels/slide5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1.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30.gif"/><Relationship Id="rId2" Type="http://schemas.openxmlformats.org/officeDocument/2006/relationships/slideLayout" Target="../slideLayouts/slideLayout39.xml"/><Relationship Id="rId1" Type="http://schemas.openxmlformats.org/officeDocument/2006/relationships/tags" Target="../tags/tag147.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55.xml.rels><?xml version="1.0" encoding="UTF-8" standalone="yes"?>
<Relationships xmlns="http://schemas.openxmlformats.org/package/2006/relationships"><Relationship Id="rId3" Type="http://schemas.openxmlformats.org/officeDocument/2006/relationships/hyperlink" Target="http://support.microsoft.com/kb/2721672" TargetMode="External"/><Relationship Id="rId2" Type="http://schemas.openxmlformats.org/officeDocument/2006/relationships/notesSlide" Target="../notesSlides/notesSlide35.xml"/><Relationship Id="rId1" Type="http://schemas.openxmlformats.org/officeDocument/2006/relationships/slideLayout" Target="../slideLayouts/slideLayout39.xml"/></Relationships>
</file>

<file path=ppt/slides/_rels/slide5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36.xml"/><Relationship Id="rId1" Type="http://schemas.openxmlformats.org/officeDocument/2006/relationships/slideLayout" Target="../slideLayouts/slideLayout40.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9.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0.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video" Target="../media/media1.gif"/><Relationship Id="rId1" Type="http://schemas.microsoft.com/office/2007/relationships/media" Target="../media/media1.gif"/><Relationship Id="rId4" Type="http://schemas.openxmlformats.org/officeDocument/2006/relationships/image" Target="../media/image35.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video" Target="../media/media2.gif"/><Relationship Id="rId1" Type="http://schemas.microsoft.com/office/2007/relationships/media" Target="../media/media2.gif"/><Relationship Id="rId4" Type="http://schemas.openxmlformats.org/officeDocument/2006/relationships/image" Target="../media/image36.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9.xml"/></Relationships>
</file>

<file path=ppt/slides/_rels/slide69.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tags" Target="../tags/tag160.xml"/><Relationship Id="rId3" Type="http://schemas.openxmlformats.org/officeDocument/2006/relationships/tags" Target="../tags/tag150.xml"/><Relationship Id="rId7" Type="http://schemas.openxmlformats.org/officeDocument/2006/relationships/tags" Target="../tags/tag154.xml"/><Relationship Id="rId12" Type="http://schemas.openxmlformats.org/officeDocument/2006/relationships/tags" Target="../tags/tag159.xml"/><Relationship Id="rId2" Type="http://schemas.openxmlformats.org/officeDocument/2006/relationships/tags" Target="../tags/tag149.xml"/><Relationship Id="rId16" Type="http://schemas.openxmlformats.org/officeDocument/2006/relationships/notesSlide" Target="../notesSlides/notesSlide42.xml"/><Relationship Id="rId1" Type="http://schemas.openxmlformats.org/officeDocument/2006/relationships/tags" Target="../tags/tag148.xml"/><Relationship Id="rId6" Type="http://schemas.openxmlformats.org/officeDocument/2006/relationships/tags" Target="../tags/tag153.xml"/><Relationship Id="rId11" Type="http://schemas.openxmlformats.org/officeDocument/2006/relationships/tags" Target="../tags/tag158.xml"/><Relationship Id="rId5" Type="http://schemas.openxmlformats.org/officeDocument/2006/relationships/tags" Target="../tags/tag152.xml"/><Relationship Id="rId15" Type="http://schemas.openxmlformats.org/officeDocument/2006/relationships/slideLayout" Target="../slideLayouts/slideLayout39.xml"/><Relationship Id="rId10" Type="http://schemas.openxmlformats.org/officeDocument/2006/relationships/tags" Target="../tags/tag157.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tags" Target="../tags/tag16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0.xml.rels><?xml version="1.0" encoding="UTF-8" standalone="yes"?>
<Relationships xmlns="http://schemas.openxmlformats.org/package/2006/relationships"><Relationship Id="rId8" Type="http://schemas.openxmlformats.org/officeDocument/2006/relationships/tags" Target="../tags/tag168.xml"/><Relationship Id="rId13" Type="http://schemas.openxmlformats.org/officeDocument/2006/relationships/image" Target="../media/image38.png"/><Relationship Id="rId3" Type="http://schemas.openxmlformats.org/officeDocument/2006/relationships/tags" Target="../tags/tag163.xml"/><Relationship Id="rId7" Type="http://schemas.openxmlformats.org/officeDocument/2006/relationships/tags" Target="../tags/tag167.xml"/><Relationship Id="rId12" Type="http://schemas.openxmlformats.org/officeDocument/2006/relationships/image" Target="../media/image37.emf"/><Relationship Id="rId2" Type="http://schemas.openxmlformats.org/officeDocument/2006/relationships/tags" Target="../tags/tag162.xml"/><Relationship Id="rId1" Type="http://schemas.openxmlformats.org/officeDocument/2006/relationships/vmlDrawing" Target="../drawings/vmlDrawing1.vml"/><Relationship Id="rId6" Type="http://schemas.openxmlformats.org/officeDocument/2006/relationships/tags" Target="../tags/tag166.xml"/><Relationship Id="rId11" Type="http://schemas.openxmlformats.org/officeDocument/2006/relationships/oleObject" Target="../embeddings/oleObject1.bin"/><Relationship Id="rId5" Type="http://schemas.openxmlformats.org/officeDocument/2006/relationships/tags" Target="../tags/tag165.xml"/><Relationship Id="rId10" Type="http://schemas.openxmlformats.org/officeDocument/2006/relationships/notesSlide" Target="../notesSlides/notesSlide43.xml"/><Relationship Id="rId4" Type="http://schemas.openxmlformats.org/officeDocument/2006/relationships/tags" Target="../tags/tag164.xml"/><Relationship Id="rId9" Type="http://schemas.openxmlformats.org/officeDocument/2006/relationships/slideLayout" Target="../slideLayouts/slideLayout39.xml"/></Relationships>
</file>

<file path=ppt/slides/_rels/slide7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4.xml"/><Relationship Id="rId1" Type="http://schemas.openxmlformats.org/officeDocument/2006/relationships/slideLayout" Target="../slideLayouts/slideLayout39.xml"/><Relationship Id="rId4" Type="http://schemas.microsoft.com/office/2007/relationships/hdphoto" Target="../media/hdphoto1.wdp"/></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9.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39.xml"/><Relationship Id="rId1" Type="http://schemas.openxmlformats.org/officeDocument/2006/relationships/tags" Target="../tags/tag169.xml"/><Relationship Id="rId5" Type="http://schemas.openxmlformats.org/officeDocument/2006/relationships/image" Target="../media/image41.png"/><Relationship Id="rId4" Type="http://schemas.openxmlformats.org/officeDocument/2006/relationships/image" Target="../media/image40.pn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39.xml"/><Relationship Id="rId1" Type="http://schemas.openxmlformats.org/officeDocument/2006/relationships/tags" Target="../tags/tag170.xml"/><Relationship Id="rId5" Type="http://schemas.openxmlformats.org/officeDocument/2006/relationships/image" Target="../media/image43.png"/><Relationship Id="rId4" Type="http://schemas.openxmlformats.org/officeDocument/2006/relationships/image" Target="../media/image42.pn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39.xml"/><Relationship Id="rId1" Type="http://schemas.openxmlformats.org/officeDocument/2006/relationships/tags" Target="../tags/tag171.xml"/><Relationship Id="rId5" Type="http://schemas.openxmlformats.org/officeDocument/2006/relationships/image" Target="../media/image45.png"/><Relationship Id="rId4" Type="http://schemas.openxmlformats.org/officeDocument/2006/relationships/image" Target="../media/image44.png"/></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9.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0.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8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7.xml"/></Relationships>
</file>

<file path=ppt/slides/_rels/slide83.xml.rels><?xml version="1.0" encoding="UTF-8" standalone="yes"?>
<Relationships xmlns="http://schemas.openxmlformats.org/package/2006/relationships"><Relationship Id="rId2" Type="http://schemas.openxmlformats.org/officeDocument/2006/relationships/hyperlink" Target="https://docs.microsoft.com/en-us/azure/virtual-network/virtual-networks-overview" TargetMode="External"/><Relationship Id="rId1" Type="http://schemas.openxmlformats.org/officeDocument/2006/relationships/slideLayout" Target="../slideLayouts/slideLayout27.xml"/></Relationships>
</file>

<file path=ppt/slides/_rels/slide8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3.xml"/><Relationship Id="rId1" Type="http://schemas.openxmlformats.org/officeDocument/2006/relationships/slideLayout" Target="../slideLayouts/slideLayout27.xml"/></Relationships>
</file>

<file path=ppt/slides/_rels/slide85.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54.xml"/><Relationship Id="rId1" Type="http://schemas.openxmlformats.org/officeDocument/2006/relationships/slideLayout" Target="../slideLayouts/slideLayout2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7.xml"/></Relationships>
</file>

<file path=ppt/slides/_rels/slide8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6.xml"/><Relationship Id="rId1" Type="http://schemas.openxmlformats.org/officeDocument/2006/relationships/slideLayout" Target="../slideLayouts/slideLayout27.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9.xml"/></Relationships>
</file>

<file path=ppt/slides/_rels/slide8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8.xml"/><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9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59.xml"/><Relationship Id="rId1" Type="http://schemas.openxmlformats.org/officeDocument/2006/relationships/slideLayout" Target="../slideLayouts/slideLayout42.xml"/></Relationships>
</file>

<file path=ppt/slides/_rels/slide91.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43.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57.emf"/><Relationship Id="rId5" Type="http://schemas.openxmlformats.org/officeDocument/2006/relationships/image" Target="../media/image56.png"/><Relationship Id="rId4" Type="http://schemas.openxmlformats.org/officeDocument/2006/relationships/notesSlide" Target="../notesSlides/notesSlide60.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2.xml"/></Relationships>
</file>

<file path=ppt/slides/_rels/slide9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2.xml"/><Relationship Id="rId1" Type="http://schemas.openxmlformats.org/officeDocument/2006/relationships/slideLayout" Target="../slideLayouts/slideLayout44.xml"/></Relationships>
</file>

<file path=ppt/slides/_rels/slide95.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63.xml"/><Relationship Id="rId1" Type="http://schemas.openxmlformats.org/officeDocument/2006/relationships/slideLayout" Target="../slideLayouts/slideLayout27.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9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hyperlink" Target="https://docs.microsoft.com/en-us/azure/load-balancer/load-balancer-internet-overview" TargetMode="External"/><Relationship Id="rId1" Type="http://schemas.openxmlformats.org/officeDocument/2006/relationships/slideLayout" Target="../slideLayouts/slideLayout27.xml"/></Relationships>
</file>

<file path=ppt/slides/_rels/slide97.xml.rels><?xml version="1.0" encoding="UTF-8" standalone="yes"?>
<Relationships xmlns="http://schemas.openxmlformats.org/package/2006/relationships"><Relationship Id="rId2" Type="http://schemas.openxmlformats.org/officeDocument/2006/relationships/hyperlink" Target="https://docs.microsoft.com/en-us/azure/load-balancer/load-balancer-internet-overview" TargetMode="External"/><Relationship Id="rId1" Type="http://schemas.openxmlformats.org/officeDocument/2006/relationships/slideLayout" Target="../slideLayouts/slideLayout27.xml"/></Relationships>
</file>

<file path=ppt/slides/_rels/slide9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7.xml"/></Relationships>
</file>

<file path=ppt/slides/_rels/slide9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64.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idx="1"/>
          </p:nvPr>
        </p:nvSpPr>
        <p:spPr>
          <a:xfrm>
            <a:off x="3513909" y="1123405"/>
            <a:ext cx="4754880" cy="1436915"/>
          </a:xfrm>
        </p:spPr>
        <p:txBody>
          <a:bodyPr>
            <a:noAutofit/>
          </a:bodyPr>
          <a:lstStyle/>
          <a:p>
            <a:endParaRPr lang="en-US" sz="4400" b="1" dirty="0" smtClean="0"/>
          </a:p>
          <a:p>
            <a:endParaRPr lang="en-US" sz="4400" b="1" dirty="0"/>
          </a:p>
          <a:p>
            <a:pPr marL="0" indent="0">
              <a:buNone/>
            </a:pPr>
            <a:r>
              <a:rPr lang="en-US" sz="4400" b="1" u="sng" dirty="0" smtClean="0">
                <a:effectLst>
                  <a:outerShdw blurRad="38100" dist="38100" dir="2700000" algn="tl">
                    <a:srgbClr val="000000">
                      <a:alpha val="43137"/>
                    </a:srgbClr>
                  </a:outerShdw>
                </a:effectLst>
              </a:rPr>
              <a:t>Microsoft Azure</a:t>
            </a:r>
            <a:endParaRPr lang="en-US" sz="4400" b="1" u="sng"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5193288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302" y="0"/>
            <a:ext cx="10515600" cy="1325563"/>
          </a:xfrm>
        </p:spPr>
        <p:txBody>
          <a:bodyPr>
            <a:normAutofit/>
          </a:bodyPr>
          <a:lstStyle/>
          <a:p>
            <a:pPr algn="l"/>
            <a:r>
              <a:rPr lang="en-US" sz="3600" b="1" u="sng" dirty="0">
                <a:effectLst>
                  <a:outerShdw blurRad="38100" dist="38100" dir="2700000" algn="tl">
                    <a:srgbClr val="000000">
                      <a:alpha val="43137"/>
                    </a:srgbClr>
                  </a:outerShdw>
                </a:effectLst>
                <a:latin typeface="Segoe UI Symbol" panose="020B0502040204020203" pitchFamily="34" charset="0"/>
                <a:ea typeface="Segoe UI Symbol" panose="020B0502040204020203" pitchFamily="34" charset="0"/>
              </a:rPr>
              <a:t>Definition</a:t>
            </a:r>
          </a:p>
        </p:txBody>
      </p:sp>
      <p:sp>
        <p:nvSpPr>
          <p:cNvPr id="68" name="TextBox 67"/>
          <p:cNvSpPr txBox="1"/>
          <p:nvPr/>
        </p:nvSpPr>
        <p:spPr>
          <a:xfrm>
            <a:off x="524302" y="1144875"/>
            <a:ext cx="10801200" cy="1323439"/>
          </a:xfrm>
          <a:prstGeom prst="rect">
            <a:avLst/>
          </a:prstGeom>
          <a:noFill/>
        </p:spPr>
        <p:txBody>
          <a:bodyPr wrap="square" rtlCol="0">
            <a:spAutoFit/>
          </a:bodyPr>
          <a:lstStyle/>
          <a:p>
            <a:r>
              <a:rPr lang="en-US" sz="2000" dirty="0"/>
              <a:t>As per US-National Institute of Standards and Technology (NIST) the definition </a:t>
            </a:r>
            <a:r>
              <a:rPr lang="en-US" sz="2000" i="1" dirty="0"/>
              <a:t>of Cloud is a model for enabling access to a shared pool of configurable computing resources (e.g., networks, servers, storage, applications, and services) that can be rapidly provisioned and released with minimal management effort or service provider interaction</a:t>
            </a:r>
            <a:r>
              <a:rPr lang="en-US" sz="2000" dirty="0"/>
              <a:t>. </a:t>
            </a:r>
            <a:endParaRPr lang="en-GB" sz="2000" dirty="0">
              <a:latin typeface="Book Antiqua" panose="02040602050305030304" pitchFamily="18" charset="0"/>
            </a:endParaRPr>
          </a:p>
        </p:txBody>
      </p:sp>
      <p:graphicFrame>
        <p:nvGraphicFramePr>
          <p:cNvPr id="3" name="Diagram 2"/>
          <p:cNvGraphicFramePr/>
          <p:nvPr>
            <p:extLst>
              <p:ext uri="{D42A27DB-BD31-4B8C-83A1-F6EECF244321}">
                <p14:modId xmlns:p14="http://schemas.microsoft.com/office/powerpoint/2010/main" val="1150676475"/>
              </p:ext>
            </p:extLst>
          </p:nvPr>
        </p:nvGraphicFramePr>
        <p:xfrm>
          <a:off x="524302" y="2468314"/>
          <a:ext cx="9289032" cy="37391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285910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74319"/>
            <a:ext cx="10515600" cy="1965008"/>
          </a:xfrm>
        </p:spPr>
        <p:txBody>
          <a:bodyPr>
            <a:normAutofit/>
          </a:bodyPr>
          <a:lstStyle/>
          <a:p>
            <a:r>
              <a:rPr lang="en-IN" sz="3600" b="1" u="sng" dirty="0" smtClean="0">
                <a:effectLst>
                  <a:outerShdw blurRad="38100" dist="38100" dir="2700000" algn="tl">
                    <a:srgbClr val="000000">
                      <a:alpha val="43137"/>
                    </a:srgbClr>
                  </a:outerShdw>
                </a:effectLst>
              </a:rPr>
              <a:t>Traffic Manager Rules</a:t>
            </a:r>
            <a:endParaRPr lang="en-IN" sz="3600" b="1" u="sng"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838200" y="1264920"/>
            <a:ext cx="10515600" cy="4912043"/>
          </a:xfrm>
        </p:spPr>
        <p:txBody>
          <a:bodyPr>
            <a:normAutofit/>
          </a:bodyPr>
          <a:lstStyle/>
          <a:p>
            <a:r>
              <a:rPr lang="en-IN" b="1" dirty="0">
                <a:hlinkClick r:id="rId2"/>
              </a:rPr>
              <a:t>Priority</a:t>
            </a:r>
            <a:r>
              <a:rPr lang="en-IN" b="1" dirty="0"/>
              <a:t>:</a:t>
            </a:r>
            <a:r>
              <a:rPr lang="en-IN" dirty="0"/>
              <a:t> Select </a:t>
            </a:r>
            <a:r>
              <a:rPr lang="en-IN" b="1" dirty="0"/>
              <a:t>Priority</a:t>
            </a:r>
            <a:r>
              <a:rPr lang="en-IN" dirty="0"/>
              <a:t> when you want to use a primary service endpoint for all traffic, and provide backups in case the primary or the backup endpoints are unavailable</a:t>
            </a:r>
            <a:r>
              <a:rPr lang="en-IN" dirty="0" smtClean="0"/>
              <a:t>.</a:t>
            </a:r>
          </a:p>
          <a:p>
            <a:endParaRPr lang="en-IN" dirty="0"/>
          </a:p>
          <a:p>
            <a:endParaRPr lang="en-IN" dirty="0" smtClean="0"/>
          </a:p>
          <a:p>
            <a:endParaRPr lang="en-IN" dirty="0" smtClean="0"/>
          </a:p>
          <a:p>
            <a:endParaRPr lang="en-IN" dirty="0"/>
          </a:p>
        </p:txBody>
      </p:sp>
      <p:pic>
        <p:nvPicPr>
          <p:cNvPr id="4" name="Picture 3"/>
          <p:cNvPicPr>
            <a:picLocks noChangeAspect="1"/>
          </p:cNvPicPr>
          <p:nvPr/>
        </p:nvPicPr>
        <p:blipFill>
          <a:blip r:embed="rId3"/>
          <a:stretch>
            <a:fillRect/>
          </a:stretch>
        </p:blipFill>
        <p:spPr>
          <a:xfrm>
            <a:off x="3074670" y="2438400"/>
            <a:ext cx="5829300" cy="4419600"/>
          </a:xfrm>
          <a:prstGeom prst="rect">
            <a:avLst/>
          </a:prstGeom>
        </p:spPr>
      </p:pic>
    </p:spTree>
    <p:extLst>
      <p:ext uri="{BB962C8B-B14F-4D97-AF65-F5344CB8AC3E}">
        <p14:creationId xmlns:p14="http://schemas.microsoft.com/office/powerpoint/2010/main" val="2465182140"/>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768475"/>
          </a:xfrm>
        </p:spPr>
        <p:txBody>
          <a:bodyPr>
            <a:normAutofit/>
          </a:bodyPr>
          <a:lstStyle/>
          <a:p>
            <a:r>
              <a:rPr lang="en-IN" sz="3100" b="1" dirty="0">
                <a:hlinkClick r:id="rId3"/>
              </a:rPr>
              <a:t>Weighted</a:t>
            </a:r>
            <a:r>
              <a:rPr lang="en-IN" b="1" dirty="0"/>
              <a:t>:</a:t>
            </a:r>
            <a:r>
              <a:rPr lang="en-IN" dirty="0"/>
              <a:t> </a:t>
            </a:r>
            <a:r>
              <a:rPr lang="en-IN" sz="2700" dirty="0"/>
              <a:t>Select </a:t>
            </a:r>
            <a:r>
              <a:rPr lang="en-IN" sz="2700" b="1" dirty="0"/>
              <a:t>Weighted</a:t>
            </a:r>
            <a:r>
              <a:rPr lang="en-IN" sz="2700" dirty="0"/>
              <a:t> when you want to distribute traffic across a set of endpoints, either evenly or according to weights, which you define.</a:t>
            </a:r>
            <a:br>
              <a:rPr lang="en-IN" sz="2700" dirty="0"/>
            </a:br>
            <a:endParaRPr lang="en-IN" sz="2700" dirty="0"/>
          </a:p>
        </p:txBody>
      </p:sp>
      <p:sp>
        <p:nvSpPr>
          <p:cNvPr id="3" name="Content Placeholder 2"/>
          <p:cNvSpPr>
            <a:spLocks noGrp="1"/>
          </p:cNvSpPr>
          <p:nvPr>
            <p:ph idx="1"/>
          </p:nvPr>
        </p:nvSpPr>
        <p:spPr/>
        <p:txBody>
          <a:bodyPr>
            <a:normAutofit/>
          </a:bodyPr>
          <a:lstStyle/>
          <a:p>
            <a:endParaRPr lang="en-IN" dirty="0"/>
          </a:p>
          <a:p>
            <a:endParaRPr lang="en-IN" dirty="0"/>
          </a:p>
          <a:p>
            <a:endParaRPr lang="en-IN" dirty="0"/>
          </a:p>
        </p:txBody>
      </p:sp>
      <p:pic>
        <p:nvPicPr>
          <p:cNvPr id="4" name="Picture 3"/>
          <p:cNvPicPr>
            <a:picLocks noChangeAspect="1"/>
          </p:cNvPicPr>
          <p:nvPr/>
        </p:nvPicPr>
        <p:blipFill>
          <a:blip r:embed="rId4"/>
          <a:stretch>
            <a:fillRect/>
          </a:stretch>
        </p:blipFill>
        <p:spPr>
          <a:xfrm>
            <a:off x="3286125" y="2133600"/>
            <a:ext cx="5619750" cy="4724400"/>
          </a:xfrm>
          <a:prstGeom prst="rect">
            <a:avLst/>
          </a:prstGeom>
        </p:spPr>
      </p:pic>
    </p:spTree>
    <p:extLst>
      <p:ext uri="{BB962C8B-B14F-4D97-AF65-F5344CB8AC3E}">
        <p14:creationId xmlns:p14="http://schemas.microsoft.com/office/powerpoint/2010/main" val="570569509"/>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IN" sz="2800" b="1" dirty="0">
                <a:hlinkClick r:id="rId3"/>
              </a:rPr>
              <a:t>Performance</a:t>
            </a:r>
            <a:r>
              <a:rPr lang="en-IN" sz="2800" b="1" dirty="0"/>
              <a:t>:</a:t>
            </a:r>
            <a:r>
              <a:rPr lang="en-IN" sz="2400" dirty="0"/>
              <a:t> Select </a:t>
            </a:r>
            <a:r>
              <a:rPr lang="en-IN" sz="2400" b="1" dirty="0"/>
              <a:t>Performance</a:t>
            </a:r>
            <a:r>
              <a:rPr lang="en-IN" sz="2400" dirty="0"/>
              <a:t> when you have endpoints in different geographic locations and you want end users to use the "closest" endpoint in terms of the lowest network latency.</a:t>
            </a:r>
            <a:br>
              <a:rPr lang="en-IN" sz="2400" dirty="0"/>
            </a:br>
            <a:endParaRPr lang="en-IN" sz="2400" dirty="0"/>
          </a:p>
        </p:txBody>
      </p:sp>
      <p:sp>
        <p:nvSpPr>
          <p:cNvPr id="3" name="Content Placeholder 2"/>
          <p:cNvSpPr>
            <a:spLocks noGrp="1"/>
          </p:cNvSpPr>
          <p:nvPr>
            <p:ph idx="1"/>
          </p:nvPr>
        </p:nvSpPr>
        <p:spPr/>
        <p:txBody>
          <a:bodyPr>
            <a:normAutofit/>
          </a:bodyPr>
          <a:lstStyle/>
          <a:p>
            <a:pPr marL="0" indent="0">
              <a:buNone/>
            </a:pPr>
            <a:endParaRPr lang="en-IN" dirty="0"/>
          </a:p>
          <a:p>
            <a:endParaRPr lang="en-IN" dirty="0"/>
          </a:p>
          <a:p>
            <a:endParaRPr lang="en-IN" dirty="0"/>
          </a:p>
          <a:p>
            <a:endParaRPr lang="en-IN" dirty="0"/>
          </a:p>
        </p:txBody>
      </p:sp>
      <p:pic>
        <p:nvPicPr>
          <p:cNvPr id="4" name="Picture 3"/>
          <p:cNvPicPr>
            <a:picLocks noChangeAspect="1"/>
          </p:cNvPicPr>
          <p:nvPr/>
        </p:nvPicPr>
        <p:blipFill>
          <a:blip r:embed="rId4"/>
          <a:stretch>
            <a:fillRect/>
          </a:stretch>
        </p:blipFill>
        <p:spPr>
          <a:xfrm>
            <a:off x="2628900" y="1825625"/>
            <a:ext cx="6629400" cy="4876800"/>
          </a:xfrm>
          <a:prstGeom prst="rect">
            <a:avLst/>
          </a:prstGeom>
        </p:spPr>
      </p:pic>
    </p:spTree>
    <p:extLst>
      <p:ext uri="{BB962C8B-B14F-4D97-AF65-F5344CB8AC3E}">
        <p14:creationId xmlns:p14="http://schemas.microsoft.com/office/powerpoint/2010/main" val="82443712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730885"/>
            <a:ext cx="10515600" cy="1325563"/>
          </a:xfrm>
        </p:spPr>
        <p:txBody>
          <a:bodyPr>
            <a:noAutofit/>
          </a:bodyPr>
          <a:lstStyle/>
          <a:p>
            <a:r>
              <a:rPr lang="en-IN" sz="2800" b="1" dirty="0">
                <a:hlinkClick r:id="rId2"/>
              </a:rPr>
              <a:t>Geographic</a:t>
            </a:r>
            <a:r>
              <a:rPr lang="en-IN" sz="2800" b="1" dirty="0"/>
              <a:t>:</a:t>
            </a:r>
            <a:r>
              <a:rPr lang="en-IN" sz="2400" dirty="0"/>
              <a:t> Select </a:t>
            </a:r>
            <a:r>
              <a:rPr lang="en-IN" sz="2400" b="1" dirty="0"/>
              <a:t>Geographic</a:t>
            </a:r>
            <a:r>
              <a:rPr lang="en-IN" sz="2400" dirty="0"/>
              <a:t> so that users are directed to specific endpoints (Azure, External, or Nested) based on which geographic location their DNS query originates from. This empowers Traffic Manager customers to enable scenarios where knowing a user’s geographic region and routing them based on that is important. Examples include complying with data sovereignty mandates, localization of content &amp; user experience and measuring traffic from different regions.</a:t>
            </a:r>
            <a:br>
              <a:rPr lang="en-IN" sz="2400" dirty="0"/>
            </a:br>
            <a:endParaRPr lang="en-IN" sz="2400" dirty="0"/>
          </a:p>
        </p:txBody>
      </p:sp>
      <p:pic>
        <p:nvPicPr>
          <p:cNvPr id="4" name="Picture 3"/>
          <p:cNvPicPr>
            <a:picLocks noChangeAspect="1"/>
          </p:cNvPicPr>
          <p:nvPr/>
        </p:nvPicPr>
        <p:blipFill>
          <a:blip r:embed="rId3"/>
          <a:stretch>
            <a:fillRect/>
          </a:stretch>
        </p:blipFill>
        <p:spPr>
          <a:xfrm>
            <a:off x="2719387" y="2255520"/>
            <a:ext cx="6753225" cy="4602480"/>
          </a:xfrm>
          <a:prstGeom prst="rect">
            <a:avLst/>
          </a:prstGeom>
        </p:spPr>
      </p:pic>
    </p:spTree>
    <p:extLst>
      <p:ext uri="{BB962C8B-B14F-4D97-AF65-F5344CB8AC3E}">
        <p14:creationId xmlns:p14="http://schemas.microsoft.com/office/powerpoint/2010/main" val="6509357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514349"/>
            <a:ext cx="11353800" cy="2205038"/>
          </a:xfrm>
        </p:spPr>
        <p:txBody>
          <a:bodyPr>
            <a:normAutofit/>
          </a:bodyPr>
          <a:lstStyle/>
          <a:p>
            <a:r>
              <a:rPr lang="en-IN" sz="3600" b="1" u="sng" dirty="0" smtClean="0">
                <a:effectLst>
                  <a:outerShdw blurRad="38100" dist="38100" dir="2700000" algn="tl">
                    <a:srgbClr val="000000">
                      <a:alpha val="43137"/>
                    </a:srgbClr>
                  </a:outerShdw>
                </a:effectLst>
              </a:rPr>
              <a:t>Site to Site VPN Connectivity</a:t>
            </a:r>
            <a:endParaRPr lang="en-IN" sz="3600" b="1" u="sng"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0" y="1104900"/>
            <a:ext cx="12534900" cy="7829550"/>
          </a:xfrm>
        </p:spPr>
        <p:txBody>
          <a:bodyPr>
            <a:normAutofit/>
          </a:bodyPr>
          <a:lstStyle/>
          <a:p>
            <a:pPr marL="0" indent="0">
              <a:buNone/>
            </a:pPr>
            <a:r>
              <a:rPr lang="en-IN" sz="2400" dirty="0"/>
              <a:t>Using site-to-site VPN gateway can provide better continuity for your workloads in hybrid cloud setup with </a:t>
            </a:r>
            <a:r>
              <a:rPr lang="en-IN" sz="2400" dirty="0" smtClean="0"/>
              <a:t>Azure</a:t>
            </a:r>
          </a:p>
          <a:p>
            <a:pPr marL="0" indent="0">
              <a:buNone/>
            </a:pPr>
            <a:endParaRPr lang="en-IN" sz="2400" dirty="0"/>
          </a:p>
          <a:p>
            <a:pPr marL="0" indent="0">
              <a:buNone/>
            </a:pPr>
            <a:endParaRPr lang="en-IN" sz="2400" dirty="0" smtClean="0"/>
          </a:p>
          <a:p>
            <a:pPr marL="0" indent="0">
              <a:buNone/>
            </a:pPr>
            <a:endParaRPr lang="en-IN" sz="2400" dirty="0" smtClean="0"/>
          </a:p>
          <a:p>
            <a:pPr marL="0" indent="0">
              <a:buNone/>
            </a:pPr>
            <a:endParaRPr lang="en-IN" sz="2400" dirty="0" smtClean="0"/>
          </a:p>
          <a:p>
            <a:pPr marL="0" indent="0">
              <a:buNone/>
            </a:pPr>
            <a:endParaRPr lang="en-IN" sz="2400" dirty="0"/>
          </a:p>
          <a:p>
            <a:pPr marL="0" indent="0">
              <a:buNone/>
            </a:pPr>
            <a:r>
              <a:rPr lang="en-IN" sz="2400" dirty="0" smtClean="0"/>
              <a:t>Before start make sure you have following in place.</a:t>
            </a:r>
          </a:p>
          <a:p>
            <a:r>
              <a:rPr lang="en-IN" sz="2400" dirty="0" smtClean="0"/>
              <a:t>1) </a:t>
            </a:r>
            <a:r>
              <a:rPr lang="en-IN" sz="2400" b="1" dirty="0" smtClean="0"/>
              <a:t>VPN device: </a:t>
            </a:r>
            <a:r>
              <a:rPr lang="en-IN" sz="2400" dirty="0" smtClean="0"/>
              <a:t>A VPN device is needed </a:t>
            </a:r>
            <a:r>
              <a:rPr lang="en-IN" sz="2400" dirty="0" err="1" smtClean="0"/>
              <a:t>on-premise</a:t>
            </a:r>
            <a:r>
              <a:rPr lang="en-IN" sz="2400" dirty="0" smtClean="0"/>
              <a:t> to create the VPN connection with Azure. A 2) </a:t>
            </a:r>
            <a:r>
              <a:rPr lang="en-IN" sz="2400" b="1" dirty="0" smtClean="0"/>
              <a:t>Static Public IP address: </a:t>
            </a:r>
            <a:r>
              <a:rPr lang="en-IN" sz="2400" dirty="0" smtClean="0"/>
              <a:t>The VPN device should have external public IP address and it </a:t>
            </a:r>
          </a:p>
          <a:p>
            <a:pPr marL="0" indent="0">
              <a:buNone/>
            </a:pPr>
            <a:r>
              <a:rPr lang="en-IN" sz="2400" dirty="0" smtClean="0"/>
              <a:t>        shouldn't be NAT.</a:t>
            </a:r>
          </a:p>
          <a:p>
            <a:r>
              <a:rPr lang="en-IN" sz="2400" dirty="0" smtClean="0"/>
              <a:t>3) </a:t>
            </a:r>
            <a:r>
              <a:rPr lang="en-IN" sz="2400" b="1" dirty="0" smtClean="0"/>
              <a:t>Valid Azure Subscription</a:t>
            </a:r>
          </a:p>
          <a:p>
            <a:endParaRPr lang="en-IN" sz="2400" b="1" dirty="0" smtClean="0"/>
          </a:p>
          <a:p>
            <a:endParaRPr lang="en-IN" dirty="0"/>
          </a:p>
        </p:txBody>
      </p:sp>
      <p:pic>
        <p:nvPicPr>
          <p:cNvPr id="2052" name="Picture 4" descr="Site-to-Site VPN Gateway cross-premises connection diagra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914525"/>
            <a:ext cx="7143750" cy="1619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0583997"/>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3600" b="1" u="sng" dirty="0" smtClean="0">
                <a:effectLst>
                  <a:outerShdw blurRad="38100" dist="38100" dir="2700000" algn="tl">
                    <a:srgbClr val="000000">
                      <a:alpha val="43137"/>
                    </a:srgbClr>
                  </a:outerShdw>
                </a:effectLst>
              </a:rPr>
              <a:t>Site-to-Site </a:t>
            </a:r>
            <a:r>
              <a:rPr lang="en-IN" sz="3600" b="1" u="sng" dirty="0">
                <a:effectLst>
                  <a:outerShdw blurRad="38100" dist="38100" dir="2700000" algn="tl">
                    <a:srgbClr val="000000">
                      <a:alpha val="43137"/>
                    </a:srgbClr>
                  </a:outerShdw>
                </a:effectLst>
              </a:rPr>
              <a:t>VPN creation steps:</a:t>
            </a:r>
            <a:br>
              <a:rPr lang="en-IN" sz="3600" b="1" u="sng" dirty="0">
                <a:effectLst>
                  <a:outerShdw blurRad="38100" dist="38100" dir="2700000" algn="tl">
                    <a:srgbClr val="000000">
                      <a:alpha val="43137"/>
                    </a:srgbClr>
                  </a:outerShdw>
                </a:effectLst>
              </a:rPr>
            </a:br>
            <a:endParaRPr lang="en-IN" sz="3600" u="sng"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0" y="1143000"/>
            <a:ext cx="11353800" cy="5033963"/>
          </a:xfrm>
        </p:spPr>
        <p:txBody>
          <a:bodyPr/>
          <a:lstStyle/>
          <a:p>
            <a:pPr marL="457200" indent="-457200">
              <a:buFont typeface="+mj-lt"/>
              <a:buAutoNum type="arabicPeriod"/>
            </a:pPr>
            <a:r>
              <a:rPr lang="en-IN" b="1" dirty="0" smtClean="0"/>
              <a:t>Create </a:t>
            </a:r>
            <a:r>
              <a:rPr lang="en-IN" b="1" dirty="0"/>
              <a:t>Virtual Network </a:t>
            </a:r>
          </a:p>
          <a:p>
            <a:pPr marL="457200" indent="-457200">
              <a:buFont typeface="+mj-lt"/>
              <a:buAutoNum type="arabicPeriod"/>
            </a:pPr>
            <a:r>
              <a:rPr lang="en-IN" b="1" dirty="0"/>
              <a:t>Create Gateway Subnet </a:t>
            </a:r>
          </a:p>
          <a:p>
            <a:pPr marL="514350" indent="-514350">
              <a:buFont typeface="+mj-lt"/>
              <a:buAutoNum type="arabicPeriod"/>
            </a:pPr>
            <a:r>
              <a:rPr lang="en-IN" b="1" dirty="0"/>
              <a:t>Create Virtual Network Gateway</a:t>
            </a:r>
          </a:p>
          <a:p>
            <a:pPr marL="514350" indent="-514350">
              <a:buFont typeface="+mj-lt"/>
              <a:buAutoNum type="arabicPeriod"/>
            </a:pPr>
            <a:r>
              <a:rPr lang="en-IN" b="1" dirty="0"/>
              <a:t>Create Local Network </a:t>
            </a:r>
            <a:r>
              <a:rPr lang="en-IN" b="1" dirty="0" smtClean="0"/>
              <a:t>Gateway</a:t>
            </a:r>
          </a:p>
          <a:p>
            <a:pPr marL="514350" indent="-514350">
              <a:buFont typeface="+mj-lt"/>
              <a:buAutoNum type="arabicPeriod"/>
            </a:pPr>
            <a:r>
              <a:rPr lang="en-IN" b="1" dirty="0"/>
              <a:t>Create Site-to-Site VPN</a:t>
            </a:r>
            <a:endParaRPr lang="en-IN" dirty="0"/>
          </a:p>
          <a:p>
            <a:endParaRPr lang="en-IN" dirty="0"/>
          </a:p>
        </p:txBody>
      </p:sp>
    </p:spTree>
    <p:extLst>
      <p:ext uri="{BB962C8B-B14F-4D97-AF65-F5344CB8AC3E}">
        <p14:creationId xmlns:p14="http://schemas.microsoft.com/office/powerpoint/2010/main" val="1414631414"/>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2847045614"/>
              </p:ext>
            </p:extLst>
          </p:nvPr>
        </p:nvGraphicFramePr>
        <p:xfrm>
          <a:off x="134332" y="615494"/>
          <a:ext cx="11468104" cy="2606040"/>
        </p:xfrm>
        <a:graphic>
          <a:graphicData uri="http://schemas.openxmlformats.org/drawingml/2006/table">
            <a:tbl>
              <a:tblPr/>
              <a:tblGrid>
                <a:gridCol w="2867026">
                  <a:extLst>
                    <a:ext uri="{9D8B030D-6E8A-4147-A177-3AD203B41FA5}">
                      <a16:colId xmlns:a16="http://schemas.microsoft.com/office/drawing/2014/main" xmlns="" val="3162693861"/>
                    </a:ext>
                  </a:extLst>
                </a:gridCol>
                <a:gridCol w="2867026">
                  <a:extLst>
                    <a:ext uri="{9D8B030D-6E8A-4147-A177-3AD203B41FA5}">
                      <a16:colId xmlns:a16="http://schemas.microsoft.com/office/drawing/2014/main" xmlns="" val="704666740"/>
                    </a:ext>
                  </a:extLst>
                </a:gridCol>
                <a:gridCol w="2867026">
                  <a:extLst>
                    <a:ext uri="{9D8B030D-6E8A-4147-A177-3AD203B41FA5}">
                      <a16:colId xmlns:a16="http://schemas.microsoft.com/office/drawing/2014/main" xmlns="" val="1816195462"/>
                    </a:ext>
                  </a:extLst>
                </a:gridCol>
                <a:gridCol w="2867026">
                  <a:extLst>
                    <a:ext uri="{9D8B030D-6E8A-4147-A177-3AD203B41FA5}">
                      <a16:colId xmlns:a16="http://schemas.microsoft.com/office/drawing/2014/main" xmlns="" val="1517297337"/>
                    </a:ext>
                  </a:extLst>
                </a:gridCol>
              </a:tblGrid>
              <a:tr h="630140">
                <a:tc>
                  <a:txBody>
                    <a:bodyPr/>
                    <a:lstStyle/>
                    <a:p>
                      <a:pPr algn="l" fontAlgn="b"/>
                      <a:r>
                        <a:rPr lang="en-IN" sz="1600" b="1">
                          <a:solidFill>
                            <a:srgbClr val="FF0000"/>
                          </a:solidFill>
                          <a:effectLst/>
                          <a:latin typeface="+mn-lt"/>
                        </a:rPr>
                        <a:t>SKU</a:t>
                      </a:r>
                      <a:endParaRPr lang="en-IN" sz="1600" b="0">
                        <a:solidFill>
                          <a:srgbClr val="FF0000"/>
                        </a:solidFill>
                        <a:effectLst/>
                        <a:latin typeface="+mn-lt"/>
                      </a:endParaRPr>
                    </a:p>
                  </a:txBody>
                  <a:tcPr marL="152400" marR="152400" marT="114300" marB="114300"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IN" sz="1600" b="1">
                          <a:solidFill>
                            <a:srgbClr val="FF0000"/>
                          </a:solidFill>
                          <a:effectLst/>
                          <a:latin typeface="+mn-lt"/>
                        </a:rPr>
                        <a:t>S2S/VNet-to-VNet</a:t>
                      </a:r>
                      <a:br>
                        <a:rPr lang="en-IN" sz="1600" b="1">
                          <a:solidFill>
                            <a:srgbClr val="FF0000"/>
                          </a:solidFill>
                          <a:effectLst/>
                          <a:latin typeface="+mn-lt"/>
                        </a:rPr>
                      </a:br>
                      <a:r>
                        <a:rPr lang="en-IN" sz="1600" b="1">
                          <a:solidFill>
                            <a:srgbClr val="FF0000"/>
                          </a:solidFill>
                          <a:effectLst/>
                          <a:latin typeface="+mn-lt"/>
                        </a:rPr>
                        <a:t>Tunnels</a:t>
                      </a:r>
                      <a:endParaRPr lang="en-IN" sz="1600" b="0">
                        <a:solidFill>
                          <a:srgbClr val="FF0000"/>
                        </a:solidFill>
                        <a:effectLst/>
                        <a:latin typeface="+mn-lt"/>
                      </a:endParaRPr>
                    </a:p>
                  </a:txBody>
                  <a:tcPr marL="152400" marR="152400" marT="114300" marB="114300"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IN" sz="1600" b="1" dirty="0">
                          <a:solidFill>
                            <a:srgbClr val="FF0000"/>
                          </a:solidFill>
                          <a:effectLst/>
                          <a:latin typeface="+mn-lt"/>
                        </a:rPr>
                        <a:t>P2S</a:t>
                      </a:r>
                      <a:br>
                        <a:rPr lang="en-IN" sz="1600" b="1" dirty="0">
                          <a:solidFill>
                            <a:srgbClr val="FF0000"/>
                          </a:solidFill>
                          <a:effectLst/>
                          <a:latin typeface="+mn-lt"/>
                        </a:rPr>
                      </a:br>
                      <a:r>
                        <a:rPr lang="en-IN" sz="1600" b="1" dirty="0">
                          <a:solidFill>
                            <a:srgbClr val="FF0000"/>
                          </a:solidFill>
                          <a:effectLst/>
                          <a:latin typeface="+mn-lt"/>
                        </a:rPr>
                        <a:t>Connections</a:t>
                      </a:r>
                      <a:endParaRPr lang="en-IN" sz="1600" b="0" dirty="0">
                        <a:solidFill>
                          <a:srgbClr val="FF0000"/>
                        </a:solidFill>
                        <a:effectLst/>
                        <a:latin typeface="+mn-lt"/>
                      </a:endParaRPr>
                    </a:p>
                  </a:txBody>
                  <a:tcPr marL="152400" marR="152400" marT="114300" marB="114300"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IN" sz="1600" b="1" dirty="0">
                          <a:solidFill>
                            <a:srgbClr val="FF0000"/>
                          </a:solidFill>
                          <a:effectLst/>
                          <a:latin typeface="+mn-lt"/>
                        </a:rPr>
                        <a:t>Aggregate</a:t>
                      </a:r>
                      <a:br>
                        <a:rPr lang="en-IN" sz="1600" b="1" dirty="0">
                          <a:solidFill>
                            <a:srgbClr val="FF0000"/>
                          </a:solidFill>
                          <a:effectLst/>
                          <a:latin typeface="+mn-lt"/>
                        </a:rPr>
                      </a:br>
                      <a:r>
                        <a:rPr lang="en-IN" sz="1600" b="1" dirty="0">
                          <a:solidFill>
                            <a:srgbClr val="FF0000"/>
                          </a:solidFill>
                          <a:effectLst/>
                          <a:latin typeface="+mn-lt"/>
                        </a:rPr>
                        <a:t>Throughput Benchmark</a:t>
                      </a:r>
                      <a:endParaRPr lang="en-IN" sz="1600" b="0" dirty="0">
                        <a:solidFill>
                          <a:srgbClr val="FF0000"/>
                        </a:solidFill>
                        <a:effectLst/>
                        <a:latin typeface="+mn-lt"/>
                      </a:endParaRPr>
                    </a:p>
                  </a:txBody>
                  <a:tcPr marL="152400" marR="152400" marT="114300" marB="114300"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1964000169"/>
                  </a:ext>
                </a:extLst>
              </a:tr>
              <a:tr h="301371">
                <a:tc>
                  <a:txBody>
                    <a:bodyPr/>
                    <a:lstStyle/>
                    <a:p>
                      <a:pPr fontAlgn="t"/>
                      <a:r>
                        <a:rPr lang="en-IN" sz="1600" b="1" dirty="0">
                          <a:effectLst/>
                          <a:latin typeface="+mn-lt"/>
                        </a:rPr>
                        <a:t>VpnGw1</a:t>
                      </a:r>
                      <a:endParaRPr lang="en-IN" sz="1600" dirty="0">
                        <a:effectLst/>
                        <a:latin typeface="+mn-lt"/>
                      </a:endParaRP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600">
                          <a:effectLst/>
                          <a:latin typeface="+mn-lt"/>
                        </a:rPr>
                        <a:t>Max. 30</a:t>
                      </a: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600">
                          <a:effectLst/>
                          <a:latin typeface="+mn-lt"/>
                        </a:rPr>
                        <a:t>Max. 128</a:t>
                      </a: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600">
                          <a:effectLst/>
                          <a:latin typeface="+mn-lt"/>
                        </a:rPr>
                        <a:t>650 Mbps</a:t>
                      </a: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1197496808"/>
                  </a:ext>
                </a:extLst>
              </a:tr>
              <a:tr h="301371">
                <a:tc>
                  <a:txBody>
                    <a:bodyPr/>
                    <a:lstStyle/>
                    <a:p>
                      <a:pPr fontAlgn="t"/>
                      <a:r>
                        <a:rPr lang="en-IN" sz="1600" b="1" dirty="0">
                          <a:effectLst/>
                          <a:latin typeface="+mn-lt"/>
                        </a:rPr>
                        <a:t>VpnGw2</a:t>
                      </a:r>
                      <a:endParaRPr lang="en-IN" sz="1600" dirty="0">
                        <a:effectLst/>
                        <a:latin typeface="+mn-lt"/>
                      </a:endParaRP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600" dirty="0">
                          <a:effectLst/>
                          <a:latin typeface="+mn-lt"/>
                        </a:rPr>
                        <a:t>Max. 30</a:t>
                      </a: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600">
                          <a:effectLst/>
                          <a:latin typeface="+mn-lt"/>
                        </a:rPr>
                        <a:t>Max. 128</a:t>
                      </a: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600">
                          <a:effectLst/>
                          <a:latin typeface="+mn-lt"/>
                        </a:rPr>
                        <a:t>1 Gbps</a:t>
                      </a: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2233900032"/>
                  </a:ext>
                </a:extLst>
              </a:tr>
              <a:tr h="301371">
                <a:tc>
                  <a:txBody>
                    <a:bodyPr/>
                    <a:lstStyle/>
                    <a:p>
                      <a:pPr fontAlgn="t"/>
                      <a:r>
                        <a:rPr lang="en-IN" sz="1600" b="1" dirty="0">
                          <a:effectLst/>
                          <a:latin typeface="+mn-lt"/>
                        </a:rPr>
                        <a:t>VpnGw3</a:t>
                      </a:r>
                      <a:endParaRPr lang="en-IN" sz="1600" dirty="0">
                        <a:effectLst/>
                        <a:latin typeface="+mn-lt"/>
                      </a:endParaRP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600">
                          <a:effectLst/>
                          <a:latin typeface="+mn-lt"/>
                        </a:rPr>
                        <a:t>Max. 30</a:t>
                      </a: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600">
                          <a:effectLst/>
                          <a:latin typeface="+mn-lt"/>
                        </a:rPr>
                        <a:t>Max. 128</a:t>
                      </a: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600">
                          <a:effectLst/>
                          <a:latin typeface="+mn-lt"/>
                        </a:rPr>
                        <a:t>1.25 Gbps</a:t>
                      </a: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3123554417"/>
                  </a:ext>
                </a:extLst>
              </a:tr>
              <a:tr h="301371">
                <a:tc>
                  <a:txBody>
                    <a:bodyPr/>
                    <a:lstStyle/>
                    <a:p>
                      <a:pPr fontAlgn="t"/>
                      <a:r>
                        <a:rPr lang="en-IN" sz="1600" b="1">
                          <a:effectLst/>
                          <a:latin typeface="+mn-lt"/>
                        </a:rPr>
                        <a:t>Basic</a:t>
                      </a:r>
                      <a:endParaRPr lang="en-IN" sz="1600">
                        <a:effectLst/>
                        <a:latin typeface="+mn-lt"/>
                      </a:endParaRP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IN" sz="1600">
                          <a:effectLst/>
                          <a:latin typeface="+mn-lt"/>
                        </a:rPr>
                        <a:t>Max. 10</a:t>
                      </a: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IN" sz="1600">
                          <a:effectLst/>
                          <a:latin typeface="+mn-lt"/>
                        </a:rPr>
                        <a:t>Max. 128</a:t>
                      </a: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IN" sz="1600" dirty="0">
                          <a:effectLst/>
                          <a:latin typeface="+mn-lt"/>
                        </a:rPr>
                        <a:t>100 Mbps</a:t>
                      </a: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3830293114"/>
                  </a:ext>
                </a:extLst>
              </a:tr>
            </a:tbl>
          </a:graphicData>
        </a:graphic>
      </p:graphicFrame>
      <p:sp>
        <p:nvSpPr>
          <p:cNvPr id="5" name="Rectangle 4"/>
          <p:cNvSpPr/>
          <p:nvPr/>
        </p:nvSpPr>
        <p:spPr>
          <a:xfrm>
            <a:off x="134332" y="215384"/>
            <a:ext cx="6666518" cy="400110"/>
          </a:xfrm>
          <a:prstGeom prst="rect">
            <a:avLst/>
          </a:prstGeom>
        </p:spPr>
        <p:txBody>
          <a:bodyPr wrap="square">
            <a:spAutoFit/>
          </a:bodyPr>
          <a:lstStyle/>
          <a:p>
            <a:r>
              <a:rPr lang="en-IN" sz="2000" b="1" dirty="0">
                <a:solidFill>
                  <a:srgbClr val="222222"/>
                </a:solidFill>
                <a:latin typeface="segoe-ui_normal"/>
              </a:rPr>
              <a:t>Azure offers the following VPN gateway SKUs:</a:t>
            </a:r>
            <a:endParaRPr lang="en-IN" sz="2000" b="1" dirty="0"/>
          </a:p>
        </p:txBody>
      </p:sp>
      <p:graphicFrame>
        <p:nvGraphicFramePr>
          <p:cNvPr id="6" name="Table 5"/>
          <p:cNvGraphicFramePr>
            <a:graphicFrameLocks noGrp="1"/>
          </p:cNvGraphicFramePr>
          <p:nvPr>
            <p:extLst>
              <p:ext uri="{D42A27DB-BD31-4B8C-83A1-F6EECF244321}">
                <p14:modId xmlns:p14="http://schemas.microsoft.com/office/powerpoint/2010/main" val="320842751"/>
              </p:ext>
            </p:extLst>
          </p:nvPr>
        </p:nvGraphicFramePr>
        <p:xfrm>
          <a:off x="134332" y="3221534"/>
          <a:ext cx="11468104" cy="1417320"/>
        </p:xfrm>
        <a:graphic>
          <a:graphicData uri="http://schemas.openxmlformats.org/drawingml/2006/table">
            <a:tbl>
              <a:tblPr/>
              <a:tblGrid>
                <a:gridCol w="5734052">
                  <a:extLst>
                    <a:ext uri="{9D8B030D-6E8A-4147-A177-3AD203B41FA5}">
                      <a16:colId xmlns:a16="http://schemas.microsoft.com/office/drawing/2014/main" xmlns="" val="1897648584"/>
                    </a:ext>
                  </a:extLst>
                </a:gridCol>
                <a:gridCol w="5734052">
                  <a:extLst>
                    <a:ext uri="{9D8B030D-6E8A-4147-A177-3AD203B41FA5}">
                      <a16:colId xmlns:a16="http://schemas.microsoft.com/office/drawing/2014/main" xmlns="" val="1381275323"/>
                    </a:ext>
                  </a:extLst>
                </a:gridCol>
              </a:tblGrid>
              <a:tr h="0">
                <a:tc>
                  <a:txBody>
                    <a:bodyPr/>
                    <a:lstStyle/>
                    <a:p>
                      <a:pPr algn="l" fontAlgn="b"/>
                      <a:r>
                        <a:rPr lang="en-IN" sz="1600" b="1" dirty="0">
                          <a:solidFill>
                            <a:schemeClr val="accent6"/>
                          </a:solidFill>
                          <a:effectLst/>
                          <a:latin typeface="+mn-lt"/>
                        </a:rPr>
                        <a:t>Workload</a:t>
                      </a:r>
                      <a:endParaRPr lang="en-IN" sz="1600" b="0" dirty="0">
                        <a:solidFill>
                          <a:schemeClr val="accent6"/>
                        </a:solidFill>
                        <a:effectLst/>
                        <a:latin typeface="+mn-lt"/>
                      </a:endParaRPr>
                    </a:p>
                  </a:txBody>
                  <a:tcPr marL="152400" marR="152400" marT="114300" marB="114300"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IN" sz="1600" b="1" dirty="0">
                          <a:solidFill>
                            <a:schemeClr val="accent6"/>
                          </a:solidFill>
                          <a:effectLst/>
                          <a:latin typeface="+mn-lt"/>
                        </a:rPr>
                        <a:t>SKUs</a:t>
                      </a:r>
                      <a:endParaRPr lang="en-IN" sz="1600" b="0" dirty="0">
                        <a:solidFill>
                          <a:schemeClr val="accent6"/>
                        </a:solidFill>
                        <a:effectLst/>
                        <a:latin typeface="+mn-lt"/>
                      </a:endParaRPr>
                    </a:p>
                  </a:txBody>
                  <a:tcPr marL="152400" marR="152400" marT="114300" marB="114300"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1312965717"/>
                  </a:ext>
                </a:extLst>
              </a:tr>
              <a:tr h="0">
                <a:tc>
                  <a:txBody>
                    <a:bodyPr/>
                    <a:lstStyle/>
                    <a:p>
                      <a:pPr fontAlgn="t"/>
                      <a:r>
                        <a:rPr lang="en-IN" sz="1600" b="1" dirty="0">
                          <a:effectLst/>
                          <a:latin typeface="+mn-lt"/>
                        </a:rPr>
                        <a:t>Production, critical workloads</a:t>
                      </a:r>
                      <a:endParaRPr lang="en-IN" sz="1600" dirty="0">
                        <a:effectLst/>
                        <a:latin typeface="+mn-lt"/>
                      </a:endParaRP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600" dirty="0">
                          <a:effectLst/>
                          <a:latin typeface="+mn-lt"/>
                        </a:rPr>
                        <a:t>VpnGw1, VpnGw2, VpnGw3</a:t>
                      </a: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959398889"/>
                  </a:ext>
                </a:extLst>
              </a:tr>
              <a:tr h="0">
                <a:tc>
                  <a:txBody>
                    <a:bodyPr/>
                    <a:lstStyle/>
                    <a:p>
                      <a:pPr fontAlgn="t"/>
                      <a:r>
                        <a:rPr lang="en-IN" sz="1600" b="1">
                          <a:effectLst/>
                          <a:latin typeface="+mn-lt"/>
                        </a:rPr>
                        <a:t>Dev-test or proof of concept</a:t>
                      </a:r>
                      <a:endParaRPr lang="en-IN" sz="1600">
                        <a:effectLst/>
                        <a:latin typeface="+mn-lt"/>
                      </a:endParaRP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IN" sz="1600" dirty="0">
                          <a:effectLst/>
                          <a:latin typeface="+mn-lt"/>
                        </a:rPr>
                        <a:t>Basic</a:t>
                      </a: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1813478150"/>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620657423"/>
              </p:ext>
            </p:extLst>
          </p:nvPr>
        </p:nvGraphicFramePr>
        <p:xfrm>
          <a:off x="134332" y="4638854"/>
          <a:ext cx="11677650" cy="2148840"/>
        </p:xfrm>
        <a:graphic>
          <a:graphicData uri="http://schemas.openxmlformats.org/drawingml/2006/table">
            <a:tbl>
              <a:tblPr/>
              <a:tblGrid>
                <a:gridCol w="5703760">
                  <a:extLst>
                    <a:ext uri="{9D8B030D-6E8A-4147-A177-3AD203B41FA5}">
                      <a16:colId xmlns:a16="http://schemas.microsoft.com/office/drawing/2014/main" xmlns="" val="2361244269"/>
                    </a:ext>
                  </a:extLst>
                </a:gridCol>
                <a:gridCol w="5973890">
                  <a:extLst>
                    <a:ext uri="{9D8B030D-6E8A-4147-A177-3AD203B41FA5}">
                      <a16:colId xmlns:a16="http://schemas.microsoft.com/office/drawing/2014/main" xmlns="" val="1344065969"/>
                    </a:ext>
                  </a:extLst>
                </a:gridCol>
              </a:tblGrid>
              <a:tr h="0">
                <a:tc>
                  <a:txBody>
                    <a:bodyPr/>
                    <a:lstStyle/>
                    <a:p>
                      <a:pPr algn="l" fontAlgn="b"/>
                      <a:r>
                        <a:rPr lang="en-IN" sz="1600" b="1" dirty="0">
                          <a:solidFill>
                            <a:srgbClr val="FFFF00"/>
                          </a:solidFill>
                          <a:effectLst/>
                          <a:latin typeface="+mn-lt"/>
                        </a:rPr>
                        <a:t>SKU</a:t>
                      </a:r>
                      <a:endParaRPr lang="en-IN" sz="1600" b="0" dirty="0">
                        <a:solidFill>
                          <a:srgbClr val="FFFF00"/>
                        </a:solidFill>
                        <a:effectLst/>
                        <a:latin typeface="+mn-lt"/>
                      </a:endParaRPr>
                    </a:p>
                  </a:txBody>
                  <a:tcPr marL="152400" marR="152400" marT="114300" marB="114300"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IN" sz="1600" b="1" dirty="0">
                          <a:solidFill>
                            <a:srgbClr val="FFFF00"/>
                          </a:solidFill>
                          <a:effectLst/>
                          <a:latin typeface="+mn-lt"/>
                        </a:rPr>
                        <a:t>Features</a:t>
                      </a:r>
                      <a:endParaRPr lang="en-IN" sz="1600" b="0" dirty="0">
                        <a:solidFill>
                          <a:srgbClr val="FFFF00"/>
                        </a:solidFill>
                        <a:effectLst/>
                        <a:latin typeface="+mn-lt"/>
                      </a:endParaRPr>
                    </a:p>
                  </a:txBody>
                  <a:tcPr marL="152400" marR="152400" marT="114300" marB="114300"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165074813"/>
                  </a:ext>
                </a:extLst>
              </a:tr>
              <a:tr h="0">
                <a:tc>
                  <a:txBody>
                    <a:bodyPr/>
                    <a:lstStyle/>
                    <a:p>
                      <a:pPr fontAlgn="t"/>
                      <a:r>
                        <a:rPr lang="en-IN" sz="1600" b="1" dirty="0">
                          <a:effectLst/>
                          <a:latin typeface="+mn-lt"/>
                        </a:rPr>
                        <a:t>Basic</a:t>
                      </a:r>
                      <a:endParaRPr lang="en-IN" sz="1600" dirty="0">
                        <a:effectLst/>
                        <a:latin typeface="+mn-lt"/>
                      </a:endParaRP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600" b="1" dirty="0">
                          <a:effectLst/>
                          <a:latin typeface="+mn-lt"/>
                        </a:rPr>
                        <a:t>Route-based VPN</a:t>
                      </a:r>
                      <a:r>
                        <a:rPr lang="en-IN" sz="1600" dirty="0">
                          <a:effectLst/>
                          <a:latin typeface="+mn-lt"/>
                        </a:rPr>
                        <a:t>: 10 tunnels with P2S</a:t>
                      </a:r>
                      <a:br>
                        <a:rPr lang="en-IN" sz="1600" dirty="0">
                          <a:effectLst/>
                          <a:latin typeface="+mn-lt"/>
                        </a:rPr>
                      </a:br>
                      <a:r>
                        <a:rPr lang="en-IN" sz="1600" dirty="0">
                          <a:effectLst/>
                          <a:latin typeface="+mn-lt"/>
                        </a:rPr>
                        <a:t/>
                      </a:r>
                      <a:br>
                        <a:rPr lang="en-IN" sz="1600" dirty="0">
                          <a:effectLst/>
                          <a:latin typeface="+mn-lt"/>
                        </a:rPr>
                      </a:br>
                      <a:r>
                        <a:rPr lang="en-IN" sz="1600" b="1" dirty="0">
                          <a:effectLst/>
                          <a:latin typeface="+mn-lt"/>
                        </a:rPr>
                        <a:t>Policy-based VPN</a:t>
                      </a:r>
                      <a:r>
                        <a:rPr lang="en-IN" sz="1600" dirty="0">
                          <a:effectLst/>
                          <a:latin typeface="+mn-lt"/>
                        </a:rPr>
                        <a:t>: (IKEv1): 1 tunnel; no P2S</a:t>
                      </a: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485452609"/>
                  </a:ext>
                </a:extLst>
              </a:tr>
              <a:tr h="0">
                <a:tc>
                  <a:txBody>
                    <a:bodyPr/>
                    <a:lstStyle/>
                    <a:p>
                      <a:pPr fontAlgn="t"/>
                      <a:r>
                        <a:rPr lang="en-IN" sz="1600" b="1" dirty="0">
                          <a:effectLst/>
                          <a:latin typeface="+mn-lt"/>
                        </a:rPr>
                        <a:t>VpnGw1, VpnGw2, and VpnGw3</a:t>
                      </a:r>
                      <a:endParaRPr lang="en-IN" sz="1600" dirty="0">
                        <a:effectLst/>
                        <a:latin typeface="+mn-lt"/>
                      </a:endParaRP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IN" sz="1600" b="1" dirty="0">
                          <a:effectLst/>
                          <a:latin typeface="+mn-lt"/>
                        </a:rPr>
                        <a:t>Route-based VPN</a:t>
                      </a:r>
                      <a:r>
                        <a:rPr lang="en-IN" sz="1600" dirty="0">
                          <a:effectLst/>
                          <a:latin typeface="+mn-lt"/>
                        </a:rPr>
                        <a:t>: up to 30 tunnels (*), P2S, BGP, active-active, custom IPsec/IKE policy, ExpressRoute/VPN co-existence</a:t>
                      </a:r>
                    </a:p>
                  </a:txBody>
                  <a:tcPr marL="15240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3756391989"/>
                  </a:ext>
                </a:extLst>
              </a:tr>
            </a:tbl>
          </a:graphicData>
        </a:graphic>
      </p:graphicFrame>
    </p:spTree>
    <p:extLst>
      <p:ext uri="{BB962C8B-B14F-4D97-AF65-F5344CB8AC3E}">
        <p14:creationId xmlns:p14="http://schemas.microsoft.com/office/powerpoint/2010/main" val="3226248379"/>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09549"/>
            <a:ext cx="10515600" cy="1900238"/>
          </a:xfrm>
        </p:spPr>
        <p:txBody>
          <a:bodyPr>
            <a:normAutofit/>
          </a:bodyPr>
          <a:lstStyle/>
          <a:p>
            <a:r>
              <a:rPr lang="en-IN" sz="3600" b="1" u="sng" dirty="0" smtClean="0">
                <a:effectLst>
                  <a:outerShdw blurRad="38100" dist="38100" dir="2700000" algn="tl">
                    <a:srgbClr val="000000">
                      <a:alpha val="43137"/>
                    </a:srgbClr>
                  </a:outerShdw>
                </a:effectLst>
              </a:rPr>
              <a:t>Express Route</a:t>
            </a:r>
            <a:endParaRPr lang="en-IN" sz="3600" b="1" u="sng"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647700" y="1047750"/>
            <a:ext cx="11544300" cy="5638799"/>
          </a:xfrm>
        </p:spPr>
        <p:txBody>
          <a:bodyPr>
            <a:normAutofit/>
          </a:bodyPr>
          <a:lstStyle/>
          <a:p>
            <a:r>
              <a:rPr lang="en-IN" sz="2400" dirty="0"/>
              <a:t>Azure ExpressRoute enables you to create private connections between Azure data </a:t>
            </a:r>
            <a:r>
              <a:rPr lang="en-IN" sz="2400" dirty="0" err="1"/>
              <a:t>centers</a:t>
            </a:r>
            <a:r>
              <a:rPr lang="en-IN" sz="2400" dirty="0"/>
              <a:t> and infrastructure that's on your </a:t>
            </a:r>
            <a:r>
              <a:rPr lang="en-IN" sz="2400" dirty="0" smtClean="0"/>
              <a:t>premises. </a:t>
            </a:r>
            <a:r>
              <a:rPr lang="en-IN" sz="2400" dirty="0"/>
              <a:t>ExpressRoute connections do not go over the public Internet, offering more reliability, faster speeds, lower latencies, and higher security than typical connections. In some cases, using ExpressRoute connections to transfer data between on-premises and Azure can also yield significant cost benefits</a:t>
            </a:r>
            <a:r>
              <a:rPr lang="en-IN" sz="2400" dirty="0" smtClean="0"/>
              <a:t>.</a:t>
            </a:r>
          </a:p>
          <a:p>
            <a:endParaRPr lang="en-IN" sz="2400" dirty="0" smtClean="0"/>
          </a:p>
          <a:p>
            <a:pPr marL="0" indent="0">
              <a:buNone/>
            </a:pPr>
            <a:endParaRPr lang="en-IN" sz="2400" dirty="0" smtClean="0"/>
          </a:p>
        </p:txBody>
      </p:sp>
      <p:sp>
        <p:nvSpPr>
          <p:cNvPr id="4" name="AutoShape 2" descr="Image result for azure express rou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5" name="AutoShape 4" descr="Image result for azure express route"/>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6" name="AutoShape 6" descr="Image result for azure express route"/>
          <p:cNvSpPr>
            <a:spLocks noChangeAspect="1" noChangeArrowheads="1"/>
          </p:cNvSpPr>
          <p:nvPr/>
        </p:nvSpPr>
        <p:spPr bwMode="auto">
          <a:xfrm>
            <a:off x="460374" y="160337"/>
            <a:ext cx="3711575" cy="37115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7" name="AutoShape 8" descr="Image result for azure express route"/>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4114" name="Picture 18" descr="Image result for azure express rou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62100" y="2905124"/>
            <a:ext cx="7429500" cy="3781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021026"/>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71450"/>
            <a:ext cx="11353800" cy="6005513"/>
          </a:xfrm>
        </p:spPr>
        <p:txBody>
          <a:bodyPr/>
          <a:lstStyle/>
          <a:p>
            <a:r>
              <a:rPr lang="en-IN" dirty="0"/>
              <a:t>With ExpressRoute, you can establish connections to Azure at an ExpressRoute location (Exchange Provider facility) or directly connect to Azure from your existing WAN network (such as a MPLS VPN) provided by a network service provider</a:t>
            </a:r>
            <a:r>
              <a:rPr lang="en-IN" dirty="0" smtClean="0"/>
              <a:t>.</a:t>
            </a:r>
          </a:p>
          <a:p>
            <a:endParaRPr lang="en-IN" dirty="0" smtClean="0"/>
          </a:p>
          <a:p>
            <a:pPr marL="0" indent="0">
              <a:buNone/>
            </a:pPr>
            <a:r>
              <a:rPr lang="en-IN" b="1" dirty="0" smtClean="0"/>
              <a:t>Express Route setup:</a:t>
            </a:r>
            <a:endParaRPr lang="en-IN" b="1" dirty="0"/>
          </a:p>
          <a:p>
            <a:r>
              <a:rPr lang="en-IN" dirty="0"/>
              <a:t>Create a new ExpressRoute circuit</a:t>
            </a:r>
          </a:p>
          <a:p>
            <a:endParaRPr lang="en-IN" dirty="0"/>
          </a:p>
          <a:p>
            <a:endParaRPr lang="en-IN" dirty="0"/>
          </a:p>
        </p:txBody>
      </p:sp>
    </p:spTree>
    <p:extLst>
      <p:ext uri="{BB962C8B-B14F-4D97-AF65-F5344CB8AC3E}">
        <p14:creationId xmlns:p14="http://schemas.microsoft.com/office/powerpoint/2010/main" val="2997942093"/>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775950983"/>
              </p:ext>
            </p:extLst>
          </p:nvPr>
        </p:nvGraphicFramePr>
        <p:xfrm>
          <a:off x="0" y="1"/>
          <a:ext cx="11944350" cy="6869460"/>
        </p:xfrm>
        <a:graphic>
          <a:graphicData uri="http://schemas.openxmlformats.org/drawingml/2006/table">
            <a:tbl>
              <a:tblPr/>
              <a:tblGrid>
                <a:gridCol w="7474851">
                  <a:extLst>
                    <a:ext uri="{9D8B030D-6E8A-4147-A177-3AD203B41FA5}">
                      <a16:colId xmlns:a16="http://schemas.microsoft.com/office/drawing/2014/main" xmlns="" val="3251289242"/>
                    </a:ext>
                  </a:extLst>
                </a:gridCol>
                <a:gridCol w="4469499">
                  <a:extLst>
                    <a:ext uri="{9D8B030D-6E8A-4147-A177-3AD203B41FA5}">
                      <a16:colId xmlns:a16="http://schemas.microsoft.com/office/drawing/2014/main" xmlns="" val="3863813269"/>
                    </a:ext>
                  </a:extLst>
                </a:gridCol>
              </a:tblGrid>
              <a:tr h="412230">
                <a:tc>
                  <a:txBody>
                    <a:bodyPr/>
                    <a:lstStyle/>
                    <a:p>
                      <a:pPr algn="l" fontAlgn="b"/>
                      <a:r>
                        <a:rPr lang="en-IN" sz="2000" b="1">
                          <a:effectLst/>
                          <a:latin typeface="+mn-lt"/>
                        </a:rPr>
                        <a:t>Resource</a:t>
                      </a:r>
                    </a:p>
                  </a:txBody>
                  <a:tcPr marL="79259" marR="79259" marT="59445" marB="59445"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IN" sz="2000" b="1" dirty="0">
                          <a:effectLst/>
                          <a:latin typeface="+mn-lt"/>
                        </a:rPr>
                        <a:t>Default Limit</a:t>
                      </a:r>
                    </a:p>
                  </a:txBody>
                  <a:tcPr marL="79259" marR="79259" marT="59445" marB="59445"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3368164744"/>
                  </a:ext>
                </a:extLst>
              </a:tr>
              <a:tr h="637083">
                <a:tc>
                  <a:txBody>
                    <a:bodyPr/>
                    <a:lstStyle/>
                    <a:p>
                      <a:pPr fontAlgn="t"/>
                      <a:r>
                        <a:rPr lang="en-IN" sz="2000">
                          <a:effectLst/>
                          <a:latin typeface="+mn-lt"/>
                        </a:rPr>
                        <a:t>ExpressRoute circuits per subscription</a:t>
                      </a:r>
                    </a:p>
                  </a:txBody>
                  <a:tcPr marL="79259" marR="79259" marT="59445" marB="5944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2000">
                          <a:effectLst/>
                          <a:latin typeface="+mn-lt"/>
                        </a:rPr>
                        <a:t>10</a:t>
                      </a:r>
                    </a:p>
                  </a:txBody>
                  <a:tcPr marL="79259" marR="79259" marT="59445" marB="5944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3691036779"/>
                  </a:ext>
                </a:extLst>
              </a:tr>
              <a:tr h="637083">
                <a:tc>
                  <a:txBody>
                    <a:bodyPr/>
                    <a:lstStyle/>
                    <a:p>
                      <a:pPr fontAlgn="t"/>
                      <a:r>
                        <a:rPr lang="en-IN" sz="2000">
                          <a:effectLst/>
                          <a:latin typeface="+mn-lt"/>
                        </a:rPr>
                        <a:t>ExpressRoute circuits per region per subscription for ARM</a:t>
                      </a:r>
                    </a:p>
                  </a:txBody>
                  <a:tcPr marL="79259" marR="79259" marT="59445" marB="5944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2000">
                          <a:effectLst/>
                          <a:latin typeface="+mn-lt"/>
                        </a:rPr>
                        <a:t>10</a:t>
                      </a:r>
                    </a:p>
                  </a:txBody>
                  <a:tcPr marL="79259" marR="79259" marT="59445" marB="5944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193557342"/>
                  </a:ext>
                </a:extLst>
              </a:tr>
              <a:tr h="861934">
                <a:tc>
                  <a:txBody>
                    <a:bodyPr/>
                    <a:lstStyle/>
                    <a:p>
                      <a:pPr fontAlgn="t"/>
                      <a:r>
                        <a:rPr lang="en-IN" sz="2000">
                          <a:effectLst/>
                          <a:latin typeface="+mn-lt"/>
                        </a:rPr>
                        <a:t>Maximum number of routes for Azure private peering with ExpressRoute standard</a:t>
                      </a:r>
                    </a:p>
                  </a:txBody>
                  <a:tcPr marL="79259" marR="79259" marT="59445" marB="5944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2000" dirty="0">
                          <a:effectLst/>
                          <a:latin typeface="+mn-lt"/>
                        </a:rPr>
                        <a:t>4,000</a:t>
                      </a:r>
                    </a:p>
                  </a:txBody>
                  <a:tcPr marL="79259" marR="79259" marT="59445" marB="5944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2757478094"/>
                  </a:ext>
                </a:extLst>
              </a:tr>
              <a:tr h="861934">
                <a:tc>
                  <a:txBody>
                    <a:bodyPr/>
                    <a:lstStyle/>
                    <a:p>
                      <a:pPr fontAlgn="t"/>
                      <a:r>
                        <a:rPr lang="en-IN" sz="2000" dirty="0">
                          <a:effectLst/>
                          <a:latin typeface="+mn-lt"/>
                        </a:rPr>
                        <a:t>Maximum number of routes for Azure private peering with ExpressRoute premium add-on</a:t>
                      </a:r>
                    </a:p>
                  </a:txBody>
                  <a:tcPr marL="79259" marR="79259" marT="59445" marB="5944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2000">
                          <a:effectLst/>
                          <a:latin typeface="+mn-lt"/>
                        </a:rPr>
                        <a:t>10,000</a:t>
                      </a:r>
                    </a:p>
                  </a:txBody>
                  <a:tcPr marL="79259" marR="79259" marT="59445" marB="5944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2882259774"/>
                  </a:ext>
                </a:extLst>
              </a:tr>
              <a:tr h="861934">
                <a:tc>
                  <a:txBody>
                    <a:bodyPr/>
                    <a:lstStyle/>
                    <a:p>
                      <a:pPr fontAlgn="t"/>
                      <a:r>
                        <a:rPr lang="en-IN" sz="2000">
                          <a:effectLst/>
                          <a:latin typeface="+mn-lt"/>
                        </a:rPr>
                        <a:t>Maximum number of routes for Azure public peering with ExpressRoute standard</a:t>
                      </a:r>
                    </a:p>
                  </a:txBody>
                  <a:tcPr marL="79259" marR="79259" marT="59445" marB="5944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2000" dirty="0">
                          <a:effectLst/>
                          <a:latin typeface="+mn-lt"/>
                        </a:rPr>
                        <a:t>200</a:t>
                      </a:r>
                    </a:p>
                  </a:txBody>
                  <a:tcPr marL="79259" marR="79259" marT="59445" marB="5944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4114134986"/>
                  </a:ext>
                </a:extLst>
              </a:tr>
              <a:tr h="861934">
                <a:tc>
                  <a:txBody>
                    <a:bodyPr/>
                    <a:lstStyle/>
                    <a:p>
                      <a:pPr fontAlgn="t"/>
                      <a:r>
                        <a:rPr lang="en-IN" sz="2000">
                          <a:effectLst/>
                          <a:latin typeface="+mn-lt"/>
                        </a:rPr>
                        <a:t>Maximum number of routes for Azure public peering with ExpressRoute premium add-on</a:t>
                      </a:r>
                    </a:p>
                  </a:txBody>
                  <a:tcPr marL="79259" marR="79259" marT="59445" marB="5944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2000">
                          <a:effectLst/>
                          <a:latin typeface="+mn-lt"/>
                        </a:rPr>
                        <a:t>200</a:t>
                      </a:r>
                    </a:p>
                  </a:txBody>
                  <a:tcPr marL="79259" marR="79259" marT="59445" marB="5944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400662457"/>
                  </a:ext>
                </a:extLst>
              </a:tr>
              <a:tr h="861934">
                <a:tc>
                  <a:txBody>
                    <a:bodyPr/>
                    <a:lstStyle/>
                    <a:p>
                      <a:pPr fontAlgn="t"/>
                      <a:r>
                        <a:rPr lang="en-IN" sz="2000" dirty="0">
                          <a:effectLst/>
                          <a:latin typeface="+mn-lt"/>
                        </a:rPr>
                        <a:t>Maximum number of routes for Azure Microsoft peering with ExpressRoute standard</a:t>
                      </a:r>
                    </a:p>
                  </a:txBody>
                  <a:tcPr marL="79259" marR="79259" marT="59445" marB="5944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2000">
                          <a:effectLst/>
                          <a:latin typeface="+mn-lt"/>
                        </a:rPr>
                        <a:t>200</a:t>
                      </a:r>
                    </a:p>
                  </a:txBody>
                  <a:tcPr marL="79259" marR="79259" marT="59445" marB="5944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1713784025"/>
                  </a:ext>
                </a:extLst>
              </a:tr>
              <a:tr h="861934">
                <a:tc>
                  <a:txBody>
                    <a:bodyPr/>
                    <a:lstStyle/>
                    <a:p>
                      <a:pPr fontAlgn="t"/>
                      <a:r>
                        <a:rPr lang="en-IN" sz="2000">
                          <a:effectLst/>
                          <a:latin typeface="+mn-lt"/>
                        </a:rPr>
                        <a:t>Maximum number of routes for Azure Microsoft peering with ExpressRoute premium add-on</a:t>
                      </a:r>
                    </a:p>
                  </a:txBody>
                  <a:tcPr marL="79259" marR="79259" marT="59445" marB="5944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IN" sz="2000" dirty="0">
                          <a:effectLst/>
                          <a:latin typeface="+mn-lt"/>
                        </a:rPr>
                        <a:t>200</a:t>
                      </a:r>
                    </a:p>
                  </a:txBody>
                  <a:tcPr marL="79259" marR="79259" marT="59445" marB="5944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1792220760"/>
                  </a:ext>
                </a:extLst>
              </a:tr>
            </a:tbl>
          </a:graphicData>
        </a:graphic>
      </p:graphicFrame>
    </p:spTree>
    <p:extLst>
      <p:ext uri="{BB962C8B-B14F-4D97-AF65-F5344CB8AC3E}">
        <p14:creationId xmlns:p14="http://schemas.microsoft.com/office/powerpoint/2010/main" val="245392020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u="sng" dirty="0" smtClean="0">
                <a:effectLst>
                  <a:outerShdw blurRad="38100" dist="38100" dir="2700000" algn="tl">
                    <a:srgbClr val="000000">
                      <a:alpha val="43137"/>
                    </a:srgbClr>
                  </a:outerShdw>
                </a:effectLst>
              </a:rPr>
              <a:t>Overview of cloud computing</a:t>
            </a:r>
            <a:endParaRPr lang="en-US" sz="3600" b="1" u="sng"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838200" y="1457326"/>
            <a:ext cx="10825480" cy="368426"/>
          </a:xfrm>
        </p:spPr>
        <p:txBody>
          <a:bodyPr>
            <a:noAutofit/>
          </a:bodyPr>
          <a:lstStyle/>
          <a:p>
            <a:pPr>
              <a:lnSpc>
                <a:spcPct val="100000"/>
              </a:lnSpc>
              <a:spcBef>
                <a:spcPts val="0"/>
              </a:spcBef>
            </a:pPr>
            <a:r>
              <a:rPr kumimoji="0" lang="en-US" sz="1800" b="1" i="0" u="none" strike="noStrike" kern="0" cap="none" spc="0" normalizeH="0" baseline="0" noProof="0" dirty="0" smtClean="0">
                <a:ln>
                  <a:noFill/>
                </a:ln>
                <a:solidFill>
                  <a:srgbClr val="000000"/>
                </a:solidFill>
                <a:effectLst>
                  <a:outerShdw blurRad="38100" dist="38100" dir="2700000" algn="tl">
                    <a:srgbClr val="000000">
                      <a:alpha val="43137"/>
                    </a:srgbClr>
                  </a:outerShdw>
                </a:effectLst>
                <a:uLnTx/>
                <a:uFillTx/>
              </a:rPr>
              <a:t>Characteristics of cloud-computing solutions:</a:t>
            </a:r>
          </a:p>
          <a:p>
            <a:pPr marL="0" indent="0">
              <a:lnSpc>
                <a:spcPct val="100000"/>
              </a:lnSpc>
              <a:spcBef>
                <a:spcPts val="0"/>
              </a:spcBef>
              <a:buNone/>
            </a:pPr>
            <a:endParaRPr kumimoji="0" lang="en-US" sz="1800" b="1" i="0" u="none" strike="noStrike" kern="0" cap="none" spc="0" normalizeH="0" baseline="0" noProof="0" dirty="0" smtClean="0">
              <a:ln>
                <a:noFill/>
              </a:ln>
              <a:solidFill>
                <a:srgbClr val="000000"/>
              </a:solidFill>
              <a:effectLst>
                <a:outerShdw blurRad="38100" dist="38100" dir="2700000" algn="tl">
                  <a:srgbClr val="000000">
                    <a:alpha val="43137"/>
                  </a:srgbClr>
                </a:outerShdw>
              </a:effectLst>
              <a:uLnTx/>
              <a:uFillTx/>
            </a:endParaRPr>
          </a:p>
          <a:p>
            <a:pPr lvl="1">
              <a:lnSpc>
                <a:spcPct val="100000"/>
              </a:lnSpc>
              <a:spcBef>
                <a:spcPts val="0"/>
              </a:spcBef>
            </a:pPr>
            <a:r>
              <a:rPr kumimoji="0" lang="en-US" sz="1800" b="0" i="0" u="none" strike="noStrike" kern="0" cap="none" spc="0" normalizeH="0" baseline="0" noProof="0" dirty="0" smtClean="0">
                <a:ln>
                  <a:noFill/>
                </a:ln>
                <a:solidFill>
                  <a:srgbClr val="000000"/>
                </a:solidFill>
                <a:effectLst/>
                <a:uLnTx/>
                <a:uFillTx/>
              </a:rPr>
              <a:t>On-demand self-service</a:t>
            </a:r>
          </a:p>
          <a:p>
            <a:pPr lvl="1">
              <a:lnSpc>
                <a:spcPct val="100000"/>
              </a:lnSpc>
              <a:spcBef>
                <a:spcPts val="0"/>
              </a:spcBef>
            </a:pPr>
            <a:r>
              <a:rPr kumimoji="0" lang="en-US" sz="1800" b="0" i="0" u="none" strike="noStrike" kern="0" cap="none" spc="0" normalizeH="0" baseline="0" noProof="0" dirty="0" smtClean="0">
                <a:ln>
                  <a:noFill/>
                </a:ln>
                <a:solidFill>
                  <a:srgbClr val="000000"/>
                </a:solidFill>
                <a:effectLst/>
                <a:uLnTx/>
                <a:uFillTx/>
              </a:rPr>
              <a:t>Broad network access</a:t>
            </a:r>
          </a:p>
          <a:p>
            <a:pPr lvl="1">
              <a:lnSpc>
                <a:spcPct val="100000"/>
              </a:lnSpc>
              <a:spcBef>
                <a:spcPts val="0"/>
              </a:spcBef>
            </a:pPr>
            <a:r>
              <a:rPr kumimoji="0" lang="en-US" sz="1800" b="0" i="0" u="none" strike="noStrike" kern="0" cap="none" spc="0" normalizeH="0" baseline="0" noProof="0" dirty="0" smtClean="0">
                <a:ln>
                  <a:noFill/>
                </a:ln>
                <a:solidFill>
                  <a:srgbClr val="000000"/>
                </a:solidFill>
                <a:effectLst/>
                <a:uLnTx/>
                <a:uFillTx/>
              </a:rPr>
              <a:t>Resource pooling</a:t>
            </a:r>
          </a:p>
          <a:p>
            <a:pPr lvl="1">
              <a:lnSpc>
                <a:spcPct val="100000"/>
              </a:lnSpc>
              <a:spcBef>
                <a:spcPts val="0"/>
              </a:spcBef>
            </a:pPr>
            <a:r>
              <a:rPr kumimoji="0" lang="en-US" sz="1800" b="0" i="0" u="none" strike="noStrike" kern="0" cap="none" spc="0" normalizeH="0" baseline="0" noProof="0" dirty="0" smtClean="0">
                <a:ln>
                  <a:noFill/>
                </a:ln>
                <a:solidFill>
                  <a:srgbClr val="000000"/>
                </a:solidFill>
                <a:effectLst/>
                <a:uLnTx/>
                <a:uFillTx/>
              </a:rPr>
              <a:t>Rapid elasticity</a:t>
            </a:r>
          </a:p>
          <a:p>
            <a:pPr lvl="1">
              <a:lnSpc>
                <a:spcPct val="100000"/>
              </a:lnSpc>
              <a:spcBef>
                <a:spcPts val="0"/>
              </a:spcBef>
            </a:pPr>
            <a:r>
              <a:rPr kumimoji="0" lang="en-US" sz="1800" b="0" i="0" u="none" strike="noStrike" kern="0" cap="none" spc="0" normalizeH="0" baseline="0" noProof="0" dirty="0" smtClean="0">
                <a:ln>
                  <a:noFill/>
                </a:ln>
                <a:solidFill>
                  <a:srgbClr val="000000"/>
                </a:solidFill>
                <a:effectLst/>
                <a:uLnTx/>
                <a:uFillTx/>
              </a:rPr>
              <a:t>Measured service</a:t>
            </a:r>
          </a:p>
          <a:p>
            <a:pPr marL="457200" lvl="1" indent="0">
              <a:lnSpc>
                <a:spcPct val="100000"/>
              </a:lnSpc>
              <a:spcBef>
                <a:spcPts val="0"/>
              </a:spcBef>
              <a:buNone/>
            </a:pPr>
            <a:endParaRPr kumimoji="0" lang="en-US" sz="1800" b="0" i="0" u="none" strike="noStrike" kern="0" cap="none" spc="0" normalizeH="0" baseline="0" noProof="0" dirty="0" smtClean="0">
              <a:ln>
                <a:noFill/>
              </a:ln>
              <a:solidFill>
                <a:srgbClr val="000000"/>
              </a:solidFill>
              <a:effectLst/>
              <a:uLnTx/>
              <a:uFillTx/>
            </a:endParaRPr>
          </a:p>
          <a:p>
            <a:pPr>
              <a:lnSpc>
                <a:spcPct val="100000"/>
              </a:lnSpc>
              <a:spcBef>
                <a:spcPts val="0"/>
              </a:spcBef>
            </a:pPr>
            <a:r>
              <a:rPr kumimoji="0" lang="en-US" sz="1800" b="1" i="0" u="none" strike="noStrike" kern="0" cap="none" spc="0" normalizeH="0" baseline="0" noProof="0" dirty="0" smtClean="0">
                <a:ln>
                  <a:noFill/>
                </a:ln>
                <a:solidFill>
                  <a:srgbClr val="000000"/>
                </a:solidFill>
                <a:effectLst>
                  <a:outerShdw blurRad="38100" dist="38100" dir="2700000" algn="tl">
                    <a:srgbClr val="000000">
                      <a:alpha val="43137"/>
                    </a:srgbClr>
                  </a:outerShdw>
                </a:effectLst>
                <a:uLnTx/>
                <a:uFillTx/>
              </a:rPr>
              <a:t>Advantages of cloud computing:</a:t>
            </a:r>
          </a:p>
          <a:p>
            <a:pPr marL="0" indent="0">
              <a:lnSpc>
                <a:spcPct val="100000"/>
              </a:lnSpc>
              <a:spcBef>
                <a:spcPts val="0"/>
              </a:spcBef>
              <a:buNone/>
            </a:pPr>
            <a:endParaRPr kumimoji="0" lang="en-GB" sz="1800" b="1" i="0" u="none" strike="noStrike" kern="0" cap="none" spc="0" normalizeH="0" baseline="0" noProof="0" dirty="0" smtClean="0">
              <a:ln>
                <a:noFill/>
              </a:ln>
              <a:solidFill>
                <a:srgbClr val="000000"/>
              </a:solidFill>
              <a:effectLst/>
              <a:uLnTx/>
              <a:uFillTx/>
            </a:endParaRPr>
          </a:p>
          <a:p>
            <a:pPr lvl="1">
              <a:lnSpc>
                <a:spcPct val="100000"/>
              </a:lnSpc>
              <a:spcBef>
                <a:spcPts val="0"/>
              </a:spcBef>
            </a:pPr>
            <a:r>
              <a:rPr kumimoji="0" lang="en-GB" sz="1800" b="0" i="0" u="none" strike="noStrike" kern="0" cap="none" spc="0" normalizeH="0" baseline="0" noProof="0" dirty="0" smtClean="0">
                <a:ln>
                  <a:noFill/>
                </a:ln>
                <a:solidFill>
                  <a:srgbClr val="000000"/>
                </a:solidFill>
                <a:effectLst/>
                <a:uLnTx/>
                <a:uFillTx/>
              </a:rPr>
              <a:t>Access to a broad range of managed services </a:t>
            </a:r>
          </a:p>
          <a:p>
            <a:pPr lvl="1">
              <a:lnSpc>
                <a:spcPct val="100000"/>
              </a:lnSpc>
              <a:spcBef>
                <a:spcPts val="0"/>
              </a:spcBef>
            </a:pPr>
            <a:r>
              <a:rPr kumimoji="0" lang="en-GB" sz="1800" b="0" i="0" u="none" strike="noStrike" kern="0" cap="none" spc="0" normalizeH="0" baseline="0" noProof="0" dirty="0" smtClean="0">
                <a:ln>
                  <a:noFill/>
                </a:ln>
                <a:solidFill>
                  <a:srgbClr val="000000"/>
                </a:solidFill>
                <a:effectLst/>
                <a:uLnTx/>
                <a:uFillTx/>
              </a:rPr>
              <a:t>Minimized or eliminated capital expenses</a:t>
            </a:r>
          </a:p>
          <a:p>
            <a:pPr lvl="1">
              <a:lnSpc>
                <a:spcPct val="100000"/>
              </a:lnSpc>
              <a:spcBef>
                <a:spcPts val="0"/>
              </a:spcBef>
            </a:pPr>
            <a:r>
              <a:rPr kumimoji="0" lang="en-GB" sz="1800" b="0" i="0" u="none" strike="noStrike" kern="0" cap="none" spc="0" normalizeH="0" baseline="0" noProof="0" dirty="0" smtClean="0">
                <a:ln>
                  <a:noFill/>
                </a:ln>
                <a:solidFill>
                  <a:srgbClr val="000000"/>
                </a:solidFill>
                <a:effectLst/>
                <a:uLnTx/>
                <a:uFillTx/>
              </a:rPr>
              <a:t>Lowered operational expenses</a:t>
            </a:r>
          </a:p>
          <a:p>
            <a:pPr lvl="1">
              <a:lnSpc>
                <a:spcPct val="100000"/>
              </a:lnSpc>
              <a:spcBef>
                <a:spcPts val="0"/>
              </a:spcBef>
            </a:pPr>
            <a:r>
              <a:rPr kumimoji="0" lang="en-GB" sz="1800" b="0" i="0" u="none" strike="noStrike" kern="0" cap="none" spc="0" normalizeH="0" baseline="0" noProof="0" dirty="0" smtClean="0">
                <a:ln>
                  <a:noFill/>
                </a:ln>
                <a:solidFill>
                  <a:srgbClr val="000000"/>
                </a:solidFill>
                <a:effectLst/>
                <a:uLnTx/>
                <a:uFillTx/>
              </a:rPr>
              <a:t>Usage-based billing model</a:t>
            </a:r>
          </a:p>
          <a:p>
            <a:pPr lvl="1">
              <a:lnSpc>
                <a:spcPct val="100000"/>
              </a:lnSpc>
              <a:spcBef>
                <a:spcPts val="0"/>
              </a:spcBef>
            </a:pPr>
            <a:r>
              <a:rPr kumimoji="0" lang="en-GB" sz="1800" b="0" i="0" u="none" strike="noStrike" kern="0" cap="none" spc="0" normalizeH="0" baseline="0" noProof="0" dirty="0" smtClean="0">
                <a:ln>
                  <a:noFill/>
                </a:ln>
                <a:solidFill>
                  <a:srgbClr val="000000"/>
                </a:solidFill>
                <a:effectLst/>
                <a:uLnTx/>
                <a:uFillTx/>
              </a:rPr>
              <a:t>Improved agility</a:t>
            </a:r>
          </a:p>
          <a:p>
            <a:endParaRPr lang="en-US" sz="1800" dirty="0"/>
          </a:p>
        </p:txBody>
      </p:sp>
    </p:spTree>
    <p:extLst>
      <p:ext uri="{BB962C8B-B14F-4D97-AF65-F5344CB8AC3E}">
        <p14:creationId xmlns:p14="http://schemas.microsoft.com/office/powerpoint/2010/main" val="4211205403"/>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3600" b="1" u="sng" dirty="0" smtClean="0">
                <a:effectLst>
                  <a:outerShdw blurRad="38100" dist="38100" dir="2700000" algn="tl">
                    <a:srgbClr val="000000">
                      <a:alpha val="43137"/>
                    </a:srgbClr>
                  </a:outerShdw>
                </a:effectLst>
              </a:rPr>
              <a:t>Point To Site Connection</a:t>
            </a:r>
            <a:endParaRPr lang="en-IN" sz="3600" b="1" u="sng" dirty="0">
              <a:effectLst>
                <a:outerShdw blurRad="38100" dist="38100" dir="2700000" algn="tl">
                  <a:srgbClr val="000000">
                    <a:alpha val="43137"/>
                  </a:srgbClr>
                </a:outerShdw>
              </a:effectLst>
            </a:endParaRPr>
          </a:p>
        </p:txBody>
      </p:sp>
      <p:pic>
        <p:nvPicPr>
          <p:cNvPr id="6146" name="Picture 2" descr="Point-to-Site-diagra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349751"/>
            <a:ext cx="6477000" cy="376237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838200" y="1409804"/>
            <a:ext cx="11186746" cy="923330"/>
          </a:xfrm>
          <a:prstGeom prst="rect">
            <a:avLst/>
          </a:prstGeom>
        </p:spPr>
        <p:txBody>
          <a:bodyPr wrap="square">
            <a:spAutoFit/>
          </a:bodyPr>
          <a:lstStyle/>
          <a:p>
            <a:r>
              <a:rPr lang="en-IN" dirty="0">
                <a:solidFill>
                  <a:srgbClr val="222222"/>
                </a:solidFill>
                <a:latin typeface="segoe-ui_normal"/>
              </a:rPr>
              <a:t>A Point-to-Site (P2S) VPN gateway lets you create a secure connection to your virtual network from an individual client computer. Point-to-Site VPN connections are useful when you want to connect to your </a:t>
            </a:r>
            <a:r>
              <a:rPr lang="en-IN" dirty="0" err="1">
                <a:solidFill>
                  <a:srgbClr val="222222"/>
                </a:solidFill>
                <a:latin typeface="segoe-ui_normal"/>
              </a:rPr>
              <a:t>VNet</a:t>
            </a:r>
            <a:r>
              <a:rPr lang="en-IN" dirty="0">
                <a:solidFill>
                  <a:srgbClr val="222222"/>
                </a:solidFill>
                <a:latin typeface="segoe-ui_normal"/>
              </a:rPr>
              <a:t> from a remote location, such when you are telecommuting from home or a conference</a:t>
            </a:r>
            <a:endParaRPr lang="en-IN" dirty="0"/>
          </a:p>
        </p:txBody>
      </p:sp>
    </p:spTree>
    <p:extLst>
      <p:ext uri="{BB962C8B-B14F-4D97-AF65-F5344CB8AC3E}">
        <p14:creationId xmlns:p14="http://schemas.microsoft.com/office/powerpoint/2010/main" val="3112352218"/>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89279"/>
            <a:ext cx="10515600" cy="1325563"/>
          </a:xfrm>
        </p:spPr>
        <p:txBody>
          <a:bodyPr>
            <a:normAutofit/>
          </a:bodyPr>
          <a:lstStyle/>
          <a:p>
            <a:r>
              <a:rPr lang="en-IN" sz="3600" b="1" u="sng" dirty="0" smtClean="0">
                <a:effectLst>
                  <a:outerShdw blurRad="38100" dist="38100" dir="2700000" algn="tl">
                    <a:srgbClr val="000000">
                      <a:alpha val="43137"/>
                    </a:srgbClr>
                  </a:outerShdw>
                </a:effectLst>
              </a:rPr>
              <a:t>Point to Site Connection Steps:</a:t>
            </a:r>
            <a:endParaRPr lang="en-IN" sz="3600" b="1" u="sng"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838200" y="1354015"/>
            <a:ext cx="10515600" cy="4822948"/>
          </a:xfrm>
        </p:spPr>
        <p:txBody>
          <a:bodyPr/>
          <a:lstStyle/>
          <a:p>
            <a:pPr marL="457200" indent="-457200">
              <a:buFont typeface="+mj-lt"/>
              <a:buAutoNum type="arabicPeriod"/>
            </a:pPr>
            <a:r>
              <a:rPr lang="en-IN" dirty="0"/>
              <a:t>Create Virtual Network </a:t>
            </a:r>
          </a:p>
          <a:p>
            <a:pPr marL="457200" indent="-457200">
              <a:buFont typeface="+mj-lt"/>
              <a:buAutoNum type="arabicPeriod"/>
            </a:pPr>
            <a:r>
              <a:rPr lang="en-IN" dirty="0"/>
              <a:t>Create Gateway Subnet </a:t>
            </a:r>
          </a:p>
          <a:p>
            <a:pPr marL="514350" indent="-514350">
              <a:buFont typeface="+mj-lt"/>
              <a:buAutoNum type="arabicPeriod"/>
            </a:pPr>
            <a:r>
              <a:rPr lang="en-IN" dirty="0"/>
              <a:t>Create Virtual Network Gateway</a:t>
            </a:r>
          </a:p>
          <a:p>
            <a:pPr marL="514350" indent="-514350">
              <a:buFont typeface="+mj-lt"/>
              <a:buAutoNum type="arabicPeriod"/>
            </a:pPr>
            <a:r>
              <a:rPr lang="en-IN" dirty="0"/>
              <a:t>Virtual Network Gateway-Setting- Point-to-site configuration</a:t>
            </a:r>
          </a:p>
          <a:p>
            <a:pPr marL="514350" indent="-514350">
              <a:buFont typeface="+mj-lt"/>
              <a:buAutoNum type="arabicPeriod"/>
            </a:pPr>
            <a:r>
              <a:rPr lang="en-IN" dirty="0"/>
              <a:t>Provide private IP </a:t>
            </a:r>
            <a:r>
              <a:rPr lang="en-IN" dirty="0" smtClean="0"/>
              <a:t>address</a:t>
            </a:r>
          </a:p>
          <a:p>
            <a:pPr marL="514350" indent="-514350">
              <a:buFont typeface="+mj-lt"/>
              <a:buAutoNum type="arabicPeriod"/>
            </a:pPr>
            <a:r>
              <a:rPr lang="en-IN" dirty="0"/>
              <a:t>Upload the root certificate public certificate </a:t>
            </a:r>
            <a:r>
              <a:rPr lang="en-IN" dirty="0" smtClean="0"/>
              <a:t>data</a:t>
            </a:r>
          </a:p>
          <a:p>
            <a:pPr marL="514350" indent="-514350">
              <a:buFont typeface="+mj-lt"/>
              <a:buAutoNum type="arabicPeriod"/>
            </a:pPr>
            <a:r>
              <a:rPr lang="en-IN" dirty="0"/>
              <a:t>Generate and install the VPN client configuration package</a:t>
            </a:r>
          </a:p>
          <a:p>
            <a:pPr marL="514350" indent="-514350">
              <a:buFont typeface="+mj-lt"/>
              <a:buAutoNum type="arabicPeriod"/>
            </a:pPr>
            <a:endParaRPr lang="en-IN" dirty="0"/>
          </a:p>
          <a:p>
            <a:pPr marL="514350" indent="-514350">
              <a:buFont typeface="+mj-lt"/>
              <a:buAutoNum type="arabicPeriod"/>
            </a:pPr>
            <a:endParaRPr lang="en-IN" dirty="0"/>
          </a:p>
          <a:p>
            <a:endParaRPr lang="en-IN" dirty="0"/>
          </a:p>
        </p:txBody>
      </p:sp>
    </p:spTree>
    <p:extLst>
      <p:ext uri="{BB962C8B-B14F-4D97-AF65-F5344CB8AC3E}">
        <p14:creationId xmlns:p14="http://schemas.microsoft.com/office/powerpoint/2010/main" val="977052724"/>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27363" y="689553"/>
            <a:ext cx="10515600" cy="4351338"/>
          </a:xfrm>
        </p:spPr>
        <p:txBody>
          <a:bodyPr/>
          <a:lstStyle/>
          <a:p>
            <a:pPr marL="0" indent="0">
              <a:buNone/>
            </a:pPr>
            <a:r>
              <a:rPr lang="en-IN" b="1" dirty="0"/>
              <a:t>Obtain the .</a:t>
            </a:r>
            <a:r>
              <a:rPr lang="en-IN" b="1" dirty="0" err="1"/>
              <a:t>cer</a:t>
            </a:r>
            <a:r>
              <a:rPr lang="en-IN" b="1" dirty="0"/>
              <a:t> file for the root certificate</a:t>
            </a:r>
          </a:p>
          <a:p>
            <a:endParaRPr lang="en-IN" b="1" dirty="0" smtClean="0"/>
          </a:p>
          <a:p>
            <a:r>
              <a:rPr lang="en-IN" sz="2400" b="1" dirty="0" smtClean="0"/>
              <a:t>Enterprise </a:t>
            </a:r>
            <a:r>
              <a:rPr lang="en-IN" sz="2400" b="1" dirty="0"/>
              <a:t>certificate:</a:t>
            </a:r>
            <a:r>
              <a:rPr lang="en-IN" sz="2400" dirty="0"/>
              <a:t> If you are using an enterprise solution, you can use your existing certificate chain. Obtain the .</a:t>
            </a:r>
            <a:r>
              <a:rPr lang="en-IN" sz="2400" dirty="0" err="1"/>
              <a:t>cer</a:t>
            </a:r>
            <a:r>
              <a:rPr lang="en-IN" sz="2400" dirty="0"/>
              <a:t> file for the root certificate that you want to use.</a:t>
            </a:r>
          </a:p>
          <a:p>
            <a:r>
              <a:rPr lang="en-IN" sz="2400" b="1" dirty="0"/>
              <a:t>Self-signed root certificate:</a:t>
            </a:r>
            <a:r>
              <a:rPr lang="en-IN" sz="2400" dirty="0"/>
              <a:t> If you aren't using an enterprise certificate solution, you need to create a self-signed root certificate</a:t>
            </a:r>
            <a:r>
              <a:rPr lang="en-IN" dirty="0"/>
              <a:t>. </a:t>
            </a:r>
          </a:p>
          <a:p>
            <a:endParaRPr lang="en-IN" dirty="0"/>
          </a:p>
        </p:txBody>
      </p:sp>
    </p:spTree>
    <p:extLst>
      <p:ext uri="{BB962C8B-B14F-4D97-AF65-F5344CB8AC3E}">
        <p14:creationId xmlns:p14="http://schemas.microsoft.com/office/powerpoint/2010/main" val="83716607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846" y="365125"/>
            <a:ext cx="11177954" cy="1325563"/>
          </a:xfrm>
        </p:spPr>
        <p:txBody>
          <a:bodyPr/>
          <a:lstStyle/>
          <a:p>
            <a:r>
              <a:rPr lang="en-IN" dirty="0" smtClean="0"/>
              <a:t>Create Self Signed Certificate: From </a:t>
            </a:r>
            <a:r>
              <a:rPr lang="en-IN" smtClean="0"/>
              <a:t>powershell</a:t>
            </a:r>
            <a:r>
              <a:rPr lang="en-IN" dirty="0" smtClean="0"/>
              <a:t/>
            </a:r>
            <a:br>
              <a:rPr lang="en-IN" dirty="0" smtClean="0"/>
            </a:br>
            <a:endParaRPr lang="en-IN" dirty="0"/>
          </a:p>
        </p:txBody>
      </p:sp>
      <p:sp>
        <p:nvSpPr>
          <p:cNvPr id="3" name="Content Placeholder 2"/>
          <p:cNvSpPr>
            <a:spLocks noGrp="1"/>
          </p:cNvSpPr>
          <p:nvPr>
            <p:ph idx="1"/>
          </p:nvPr>
        </p:nvSpPr>
        <p:spPr>
          <a:xfrm>
            <a:off x="0" y="1825625"/>
            <a:ext cx="12063046" cy="4351338"/>
          </a:xfrm>
        </p:spPr>
        <p:txBody>
          <a:bodyPr/>
          <a:lstStyle/>
          <a:p>
            <a:pPr marL="0" indent="0">
              <a:buNone/>
            </a:pPr>
            <a:r>
              <a:rPr lang="en-IN" dirty="0"/>
              <a:t>$cert = New-</a:t>
            </a:r>
            <a:r>
              <a:rPr lang="en-IN" dirty="0" err="1"/>
              <a:t>SelfSignedCertificate</a:t>
            </a:r>
            <a:r>
              <a:rPr lang="en-IN" dirty="0"/>
              <a:t> -Type Custom -</a:t>
            </a:r>
            <a:r>
              <a:rPr lang="en-IN" dirty="0" err="1"/>
              <a:t>KeySpec</a:t>
            </a:r>
            <a:r>
              <a:rPr lang="en-IN" dirty="0"/>
              <a:t> Signature `</a:t>
            </a:r>
          </a:p>
          <a:p>
            <a:pPr marL="0" indent="0">
              <a:buNone/>
            </a:pPr>
            <a:r>
              <a:rPr lang="en-IN" dirty="0"/>
              <a:t>-Subject "CN=P2SRootCert" -</a:t>
            </a:r>
            <a:r>
              <a:rPr lang="en-IN" dirty="0" err="1"/>
              <a:t>KeyExportPolicy</a:t>
            </a:r>
            <a:r>
              <a:rPr lang="en-IN" dirty="0"/>
              <a:t> Exportable `</a:t>
            </a:r>
          </a:p>
          <a:p>
            <a:pPr marL="0" indent="0">
              <a:buNone/>
            </a:pPr>
            <a:r>
              <a:rPr lang="en-IN" dirty="0"/>
              <a:t>-</a:t>
            </a:r>
            <a:r>
              <a:rPr lang="en-IN" dirty="0" err="1"/>
              <a:t>HashAlgorithm</a:t>
            </a:r>
            <a:r>
              <a:rPr lang="en-IN" dirty="0"/>
              <a:t> sha256 -</a:t>
            </a:r>
            <a:r>
              <a:rPr lang="en-IN" dirty="0" err="1"/>
              <a:t>KeyLength</a:t>
            </a:r>
            <a:r>
              <a:rPr lang="en-IN" dirty="0"/>
              <a:t> 2048 `</a:t>
            </a:r>
          </a:p>
          <a:p>
            <a:pPr marL="0" indent="0">
              <a:buNone/>
            </a:pPr>
            <a:r>
              <a:rPr lang="en-IN" dirty="0"/>
              <a:t>-</a:t>
            </a:r>
            <a:r>
              <a:rPr lang="en-IN" dirty="0" err="1"/>
              <a:t>CertStoreLocation</a:t>
            </a:r>
            <a:r>
              <a:rPr lang="en-IN" dirty="0"/>
              <a:t> "Cert:\</a:t>
            </a:r>
            <a:r>
              <a:rPr lang="en-IN" dirty="0" err="1"/>
              <a:t>CurrentUser</a:t>
            </a:r>
            <a:r>
              <a:rPr lang="en-IN" dirty="0"/>
              <a:t>\My" -</a:t>
            </a:r>
            <a:r>
              <a:rPr lang="en-IN" dirty="0" err="1"/>
              <a:t>KeyUsageProperty</a:t>
            </a:r>
            <a:r>
              <a:rPr lang="en-IN" dirty="0"/>
              <a:t> Sign -</a:t>
            </a:r>
            <a:r>
              <a:rPr lang="en-IN" dirty="0" err="1"/>
              <a:t>KeyUsage</a:t>
            </a:r>
            <a:r>
              <a:rPr lang="en-IN" dirty="0"/>
              <a:t> </a:t>
            </a:r>
            <a:r>
              <a:rPr lang="en-IN" dirty="0" err="1"/>
              <a:t>CertSign</a:t>
            </a:r>
            <a:endParaRPr lang="en-IN" dirty="0"/>
          </a:p>
        </p:txBody>
      </p:sp>
    </p:spTree>
    <p:extLst>
      <p:ext uri="{BB962C8B-B14F-4D97-AF65-F5344CB8AC3E}">
        <p14:creationId xmlns:p14="http://schemas.microsoft.com/office/powerpoint/2010/main" val="135502253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472" y="129598"/>
            <a:ext cx="10515600" cy="604693"/>
          </a:xfrm>
        </p:spPr>
        <p:txBody>
          <a:bodyPr>
            <a:normAutofit fontScale="90000"/>
          </a:bodyPr>
          <a:lstStyle/>
          <a:p>
            <a:r>
              <a:rPr lang="en-IN" b="1" u="sng" dirty="0" smtClean="0">
                <a:effectLst>
                  <a:outerShdw blurRad="38100" dist="38100" dir="2700000" algn="tl">
                    <a:srgbClr val="000000">
                      <a:alpha val="43137"/>
                    </a:srgbClr>
                  </a:outerShdw>
                </a:effectLst>
              </a:rPr>
              <a:t>VNET Peering</a:t>
            </a:r>
            <a:endParaRPr lang="en-IN" b="1" u="sng" dirty="0">
              <a:effectLst>
                <a:outerShdw blurRad="38100" dist="38100" dir="2700000" algn="tl">
                  <a:srgbClr val="000000">
                    <a:alpha val="43137"/>
                  </a:srgbClr>
                </a:outerShdw>
              </a:effectLst>
            </a:endParaRPr>
          </a:p>
        </p:txBody>
      </p:sp>
      <p:pic>
        <p:nvPicPr>
          <p:cNvPr id="2050" name="Picture 2" descr="virtual network peering transit"/>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704109" y="2536925"/>
            <a:ext cx="7716982" cy="4321075"/>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692727" y="914400"/>
            <a:ext cx="11499273" cy="1200329"/>
          </a:xfrm>
          <a:prstGeom prst="rect">
            <a:avLst/>
          </a:prstGeom>
        </p:spPr>
        <p:txBody>
          <a:bodyPr wrap="square">
            <a:spAutoFit/>
          </a:bodyPr>
          <a:lstStyle/>
          <a:p>
            <a:r>
              <a:rPr lang="en-US" dirty="0">
                <a:solidFill>
                  <a:srgbClr val="222222"/>
                </a:solidFill>
                <a:latin typeface="segoe-ui_normal"/>
              </a:rPr>
              <a:t>Virtual network peering enables you to </a:t>
            </a:r>
            <a:r>
              <a:rPr lang="en-US" dirty="0" smtClean="0">
                <a:solidFill>
                  <a:srgbClr val="222222"/>
                </a:solidFill>
                <a:latin typeface="segoe-ui_normal"/>
              </a:rPr>
              <a:t>seamlessly </a:t>
            </a:r>
            <a:r>
              <a:rPr lang="en-US" dirty="0">
                <a:solidFill>
                  <a:srgbClr val="222222"/>
                </a:solidFill>
                <a:latin typeface="segoe-ui_normal"/>
              </a:rPr>
              <a:t>connect two </a:t>
            </a:r>
            <a:r>
              <a:rPr lang="en-US" dirty="0" smtClean="0">
                <a:solidFill>
                  <a:srgbClr val="222222"/>
                </a:solidFill>
                <a:latin typeface="segoe-ui_normal"/>
              </a:rPr>
              <a:t>Azure virtual Networks. </a:t>
            </a:r>
            <a:r>
              <a:rPr lang="en-US" dirty="0">
                <a:solidFill>
                  <a:srgbClr val="222222"/>
                </a:solidFill>
                <a:latin typeface="segoe-ui_normal"/>
              </a:rPr>
              <a:t>Once peered, the virtual networks appear as one, for connectivity purposes. The traffic between virtual machines in the peered virtual networks is routed through the Microsoft backbone infrastructure, much like traffic is routed between virtual machines in the same virtual network, through </a:t>
            </a:r>
            <a:r>
              <a:rPr lang="en-US" i="1" dirty="0" err="1">
                <a:solidFill>
                  <a:srgbClr val="222222"/>
                </a:solidFill>
                <a:latin typeface="segoe-ui_normal"/>
              </a:rPr>
              <a:t>private</a:t>
            </a:r>
            <a:r>
              <a:rPr lang="en-US" dirty="0" err="1">
                <a:solidFill>
                  <a:srgbClr val="222222"/>
                </a:solidFill>
                <a:latin typeface="segoe-ui_normal"/>
              </a:rPr>
              <a:t>IP</a:t>
            </a:r>
            <a:r>
              <a:rPr lang="en-US" dirty="0">
                <a:solidFill>
                  <a:srgbClr val="222222"/>
                </a:solidFill>
                <a:latin typeface="segoe-ui_normal"/>
              </a:rPr>
              <a:t> addresses only.</a:t>
            </a:r>
            <a:endParaRPr lang="en-IN" dirty="0"/>
          </a:p>
        </p:txBody>
      </p:sp>
    </p:spTree>
    <p:extLst>
      <p:ext uri="{BB962C8B-B14F-4D97-AF65-F5344CB8AC3E}">
        <p14:creationId xmlns:p14="http://schemas.microsoft.com/office/powerpoint/2010/main" val="105646957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1503" y="2324554"/>
            <a:ext cx="10515600" cy="1325563"/>
          </a:xfrm>
        </p:spPr>
        <p:txBody>
          <a:bodyPr>
            <a:normAutofit/>
          </a:bodyPr>
          <a:lstStyle/>
          <a:p>
            <a:r>
              <a:rPr lang="en-US" b="1" u="sng" dirty="0" smtClean="0">
                <a:effectLst>
                  <a:outerShdw blurRad="38100" dist="38100" dir="2700000" algn="tl">
                    <a:srgbClr val="000000">
                      <a:alpha val="43137"/>
                    </a:srgbClr>
                  </a:outerShdw>
                </a:effectLst>
              </a:rPr>
              <a:t>Module 4 Azure storage </a:t>
            </a:r>
            <a:endParaRPr lang="en-US" b="1" u="sng"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349738043"/>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2712"/>
            <a:ext cx="10515600" cy="1325563"/>
          </a:xfrm>
        </p:spPr>
        <p:txBody>
          <a:bodyPr/>
          <a:lstStyle/>
          <a:p>
            <a:r>
              <a:rPr lang="en-US" b="1" u="sng" dirty="0" smtClean="0">
                <a:effectLst>
                  <a:outerShdw blurRad="38100" dist="38100" dir="2700000" algn="tl">
                    <a:srgbClr val="000000">
                      <a:alpha val="43137"/>
                    </a:srgbClr>
                  </a:outerShdw>
                </a:effectLst>
              </a:rPr>
              <a:t>Microsoft Azure Storage</a:t>
            </a:r>
            <a:endParaRPr lang="en-US" b="1" u="sng" dirty="0">
              <a:effectLst>
                <a:outerShdw blurRad="38100" dist="38100" dir="2700000" algn="tl">
                  <a:srgbClr val="000000">
                    <a:alpha val="43137"/>
                  </a:srgbClr>
                </a:outerShdw>
              </a:effectLst>
            </a:endParaRPr>
          </a:p>
        </p:txBody>
      </p:sp>
      <p:sp>
        <p:nvSpPr>
          <p:cNvPr id="3" name="Text Placeholder 2"/>
          <p:cNvSpPr>
            <a:spLocks noGrp="1"/>
          </p:cNvSpPr>
          <p:nvPr>
            <p:ph idx="1"/>
          </p:nvPr>
        </p:nvSpPr>
        <p:spPr>
          <a:xfrm>
            <a:off x="469392" y="675493"/>
            <a:ext cx="11253216" cy="4872228"/>
          </a:xfrm>
        </p:spPr>
        <p:txBody>
          <a:bodyPr>
            <a:normAutofit lnSpcReduction="10000"/>
          </a:bodyPr>
          <a:lstStyle/>
          <a:p>
            <a:pPr>
              <a:lnSpc>
                <a:spcPct val="100000"/>
              </a:lnSpc>
            </a:pPr>
            <a:endParaRPr lang="en-US" dirty="0" smtClean="0"/>
          </a:p>
          <a:p>
            <a:pPr>
              <a:lnSpc>
                <a:spcPct val="100000"/>
              </a:lnSpc>
            </a:pPr>
            <a:r>
              <a:rPr lang="en-US" dirty="0" smtClean="0"/>
              <a:t>Cloud storage </a:t>
            </a:r>
            <a:r>
              <a:rPr lang="en-US" dirty="0"/>
              <a:t>- </a:t>
            </a:r>
            <a:r>
              <a:rPr lang="en-US" dirty="0" smtClean="0"/>
              <a:t>anywhere </a:t>
            </a:r>
            <a:r>
              <a:rPr lang="en-US" dirty="0"/>
              <a:t>and anytime access</a:t>
            </a:r>
          </a:p>
          <a:p>
            <a:pPr lvl="2">
              <a:lnSpc>
                <a:spcPct val="100000"/>
              </a:lnSpc>
            </a:pPr>
            <a:r>
              <a:rPr lang="en-US" dirty="0"/>
              <a:t>Blobs</a:t>
            </a:r>
            <a:r>
              <a:rPr lang="en-US" dirty="0" smtClean="0"/>
              <a:t>, Tables, Queues and Files</a:t>
            </a:r>
            <a:endParaRPr lang="en-US" dirty="0"/>
          </a:p>
          <a:p>
            <a:pPr>
              <a:lnSpc>
                <a:spcPct val="100000"/>
              </a:lnSpc>
            </a:pPr>
            <a:r>
              <a:rPr lang="en-US" dirty="0"/>
              <a:t>Highly </a:t>
            </a:r>
            <a:r>
              <a:rPr lang="en-US" dirty="0" smtClean="0"/>
              <a:t>durable, available and massively scalable </a:t>
            </a:r>
            <a:endParaRPr lang="en-US" dirty="0"/>
          </a:p>
          <a:p>
            <a:pPr lvl="2">
              <a:lnSpc>
                <a:spcPct val="100000"/>
              </a:lnSpc>
            </a:pPr>
            <a:r>
              <a:rPr lang="en-US" dirty="0"/>
              <a:t>Easily build </a:t>
            </a:r>
            <a:r>
              <a:rPr lang="en-US" dirty="0" smtClean="0"/>
              <a:t>“Internet </a:t>
            </a:r>
            <a:r>
              <a:rPr lang="en-US" dirty="0"/>
              <a:t>scale” applications</a:t>
            </a:r>
          </a:p>
          <a:p>
            <a:pPr lvl="2">
              <a:lnSpc>
                <a:spcPct val="100000"/>
              </a:lnSpc>
            </a:pPr>
            <a:r>
              <a:rPr lang="en-US" dirty="0" smtClean="0">
                <a:solidFill>
                  <a:schemeClr val="tx1"/>
                </a:solidFill>
              </a:rPr>
              <a:t>More than 25 </a:t>
            </a:r>
            <a:r>
              <a:rPr lang="en-US" dirty="0">
                <a:solidFill>
                  <a:schemeClr val="tx1"/>
                </a:solidFill>
              </a:rPr>
              <a:t>trillion stored objects</a:t>
            </a:r>
          </a:p>
          <a:p>
            <a:pPr lvl="2">
              <a:lnSpc>
                <a:spcPct val="100000"/>
              </a:lnSpc>
            </a:pPr>
            <a:r>
              <a:rPr lang="en-US" dirty="0" smtClean="0">
                <a:solidFill>
                  <a:schemeClr val="tx1"/>
                </a:solidFill>
              </a:rPr>
              <a:t>2.5+ Million requests/sec </a:t>
            </a:r>
            <a:r>
              <a:rPr lang="en-US" dirty="0">
                <a:solidFill>
                  <a:schemeClr val="tx1"/>
                </a:solidFill>
              </a:rPr>
              <a:t>on </a:t>
            </a:r>
            <a:r>
              <a:rPr lang="en-US" dirty="0" smtClean="0">
                <a:solidFill>
                  <a:schemeClr val="tx1"/>
                </a:solidFill>
              </a:rPr>
              <a:t>average</a:t>
            </a:r>
            <a:endParaRPr lang="en-US" dirty="0">
              <a:solidFill>
                <a:schemeClr val="tx1"/>
              </a:solidFill>
            </a:endParaRPr>
          </a:p>
          <a:p>
            <a:pPr>
              <a:lnSpc>
                <a:spcPct val="100000"/>
              </a:lnSpc>
            </a:pPr>
            <a:r>
              <a:rPr lang="en-US" dirty="0"/>
              <a:t>Pay for what you use</a:t>
            </a:r>
          </a:p>
          <a:p>
            <a:pPr>
              <a:lnSpc>
                <a:spcPct val="100000"/>
              </a:lnSpc>
            </a:pPr>
            <a:r>
              <a:rPr lang="en-US" dirty="0"/>
              <a:t>Exposed via easy and open REST </a:t>
            </a:r>
            <a:r>
              <a:rPr lang="en-US" dirty="0" smtClean="0"/>
              <a:t>APIs (</a:t>
            </a:r>
            <a:r>
              <a:rPr lang="en-US" b="1" dirty="0" err="1" smtClean="0"/>
              <a:t>REpresentational</a:t>
            </a:r>
            <a:r>
              <a:rPr lang="en-US" b="1" dirty="0" smtClean="0"/>
              <a:t> State Transfer-  Application Programming </a:t>
            </a:r>
            <a:r>
              <a:rPr lang="en-US" b="1" dirty="0"/>
              <a:t>I</a:t>
            </a:r>
            <a:r>
              <a:rPr lang="en-US" b="1" dirty="0" smtClean="0"/>
              <a:t>nterface</a:t>
            </a:r>
            <a:r>
              <a:rPr lang="en-US" dirty="0" smtClean="0"/>
              <a:t>), cross-platform client libraries and tools</a:t>
            </a:r>
          </a:p>
          <a:p>
            <a:pPr>
              <a:lnSpc>
                <a:spcPct val="100000"/>
              </a:lnSpc>
            </a:pP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240836065"/>
              </p:ext>
            </p:extLst>
          </p:nvPr>
        </p:nvGraphicFramePr>
        <p:xfrm>
          <a:off x="1866900" y="5356340"/>
          <a:ext cx="8458200" cy="1325880"/>
        </p:xfrm>
        <a:graphic>
          <a:graphicData uri="http://schemas.openxmlformats.org/drawingml/2006/table">
            <a:tbl>
              <a:tblPr/>
              <a:tblGrid>
                <a:gridCol w="4229100">
                  <a:extLst>
                    <a:ext uri="{9D8B030D-6E8A-4147-A177-3AD203B41FA5}">
                      <a16:colId xmlns:a16="http://schemas.microsoft.com/office/drawing/2014/main" xmlns="" val="1865599213"/>
                    </a:ext>
                  </a:extLst>
                </a:gridCol>
                <a:gridCol w="4229100">
                  <a:extLst>
                    <a:ext uri="{9D8B030D-6E8A-4147-A177-3AD203B41FA5}">
                      <a16:colId xmlns:a16="http://schemas.microsoft.com/office/drawing/2014/main" xmlns="" val="1654709130"/>
                    </a:ext>
                  </a:extLst>
                </a:gridCol>
              </a:tblGrid>
              <a:tr h="0">
                <a:tc>
                  <a:txBody>
                    <a:bodyPr/>
                    <a:lstStyle/>
                    <a:p>
                      <a:r>
                        <a:rPr lang="en-IN" dirty="0">
                          <a:effectLst/>
                        </a:rPr>
                        <a:t>Max storage account capacity</a:t>
                      </a:r>
                    </a:p>
                  </a:txBody>
                  <a:tcPr marL="123825" marR="123825" marT="57150" marB="57150" anchor="ctr">
                    <a:lnL w="9525" cap="flat" cmpd="sng" algn="ctr">
                      <a:solidFill>
                        <a:srgbClr val="DFE2E5"/>
                      </a:solidFill>
                      <a:prstDash val="solid"/>
                      <a:round/>
                      <a:headEnd type="none" w="med" len="med"/>
                      <a:tailEnd type="none" w="med" len="med"/>
                    </a:lnL>
                    <a:lnR w="9525" cap="flat" cmpd="sng" algn="ctr">
                      <a:solidFill>
                        <a:srgbClr val="DFE2E5"/>
                      </a:solidFill>
                      <a:prstDash val="solid"/>
                      <a:round/>
                      <a:headEnd type="none" w="med" len="med"/>
                      <a:tailEnd type="none" w="med" len="med"/>
                    </a:lnR>
                    <a:lnT w="9525" cap="flat" cmpd="sng" algn="ctr">
                      <a:solidFill>
                        <a:srgbClr val="DFE2E5"/>
                      </a:solidFill>
                      <a:prstDash val="solid"/>
                      <a:round/>
                      <a:headEnd type="none" w="med" len="med"/>
                      <a:tailEnd type="none" w="med" len="med"/>
                    </a:lnT>
                    <a:lnB w="9525" cap="flat" cmpd="sng" algn="ctr">
                      <a:solidFill>
                        <a:srgbClr val="DFE2E5"/>
                      </a:solidFill>
                      <a:prstDash val="solid"/>
                      <a:round/>
                      <a:headEnd type="none" w="med" len="med"/>
                      <a:tailEnd type="none" w="med" len="med"/>
                    </a:lnB>
                    <a:solidFill>
                      <a:srgbClr val="F6F8FA"/>
                    </a:solidFill>
                  </a:tcPr>
                </a:tc>
                <a:tc>
                  <a:txBody>
                    <a:bodyPr/>
                    <a:lstStyle/>
                    <a:p>
                      <a:r>
                        <a:rPr lang="en-IN">
                          <a:effectLst/>
                        </a:rPr>
                        <a:t>500 TiB</a:t>
                      </a:r>
                      <a:r>
                        <a:rPr lang="en-IN" baseline="30000">
                          <a:effectLst/>
                        </a:rPr>
                        <a:t>2</a:t>
                      </a:r>
                      <a:endParaRPr lang="en-IN">
                        <a:effectLst/>
                      </a:endParaRPr>
                    </a:p>
                  </a:txBody>
                  <a:tcPr marL="123825" marR="123825" marT="57150" marB="57150" anchor="ctr">
                    <a:lnL w="9525" cap="flat" cmpd="sng" algn="ctr">
                      <a:solidFill>
                        <a:srgbClr val="DFE2E5"/>
                      </a:solidFill>
                      <a:prstDash val="solid"/>
                      <a:round/>
                      <a:headEnd type="none" w="med" len="med"/>
                      <a:tailEnd type="none" w="med" len="med"/>
                    </a:lnL>
                    <a:lnR w="9525" cap="flat" cmpd="sng" algn="ctr">
                      <a:solidFill>
                        <a:srgbClr val="DFE2E5"/>
                      </a:solidFill>
                      <a:prstDash val="solid"/>
                      <a:round/>
                      <a:headEnd type="none" w="med" len="med"/>
                      <a:tailEnd type="none" w="med" len="med"/>
                    </a:lnR>
                    <a:lnT w="9525" cap="flat" cmpd="sng" algn="ctr">
                      <a:solidFill>
                        <a:srgbClr val="DFE2E5"/>
                      </a:solidFill>
                      <a:prstDash val="solid"/>
                      <a:round/>
                      <a:headEnd type="none" w="med" len="med"/>
                      <a:tailEnd type="none" w="med" len="med"/>
                    </a:lnT>
                    <a:lnB w="9525" cap="flat" cmpd="sng" algn="ctr">
                      <a:solidFill>
                        <a:srgbClr val="DFE2E5"/>
                      </a:solidFill>
                      <a:prstDash val="solid"/>
                      <a:round/>
                      <a:headEnd type="none" w="med" len="med"/>
                      <a:tailEnd type="none" w="med" len="med"/>
                    </a:lnB>
                    <a:solidFill>
                      <a:srgbClr val="F6F8FA"/>
                    </a:solidFill>
                  </a:tcPr>
                </a:tc>
                <a:extLst>
                  <a:ext uri="{0D108BD9-81ED-4DB2-BD59-A6C34878D82A}">
                    <a16:rowId xmlns:a16="http://schemas.microsoft.com/office/drawing/2014/main" xmlns="" val="3403803979"/>
                  </a:ext>
                </a:extLst>
              </a:tr>
              <a:tr h="0">
                <a:tc>
                  <a:txBody>
                    <a:bodyPr/>
                    <a:lstStyle/>
                    <a:p>
                      <a:r>
                        <a:rPr lang="en-US" dirty="0">
                          <a:effectLst/>
                        </a:rPr>
                        <a:t>Max number of blob containers, blobs, file shares, tables, queues, entities, or messages per storage account</a:t>
                      </a:r>
                    </a:p>
                  </a:txBody>
                  <a:tcPr marL="123825" marR="123825" marT="57150" marB="57150" anchor="ctr">
                    <a:lnL w="9525" cap="flat" cmpd="sng" algn="ctr">
                      <a:solidFill>
                        <a:srgbClr val="DFE2E5"/>
                      </a:solidFill>
                      <a:prstDash val="solid"/>
                      <a:round/>
                      <a:headEnd type="none" w="med" len="med"/>
                      <a:tailEnd type="none" w="med" len="med"/>
                    </a:lnL>
                    <a:lnR w="9525" cap="flat" cmpd="sng" algn="ctr">
                      <a:solidFill>
                        <a:srgbClr val="DFE2E5"/>
                      </a:solidFill>
                      <a:prstDash val="solid"/>
                      <a:round/>
                      <a:headEnd type="none" w="med" len="med"/>
                      <a:tailEnd type="none" w="med" len="med"/>
                    </a:lnR>
                    <a:lnT w="9525" cap="flat" cmpd="sng" algn="ctr">
                      <a:solidFill>
                        <a:srgbClr val="DFE2E5"/>
                      </a:solidFill>
                      <a:prstDash val="solid"/>
                      <a:round/>
                      <a:headEnd type="none" w="med" len="med"/>
                      <a:tailEnd type="none" w="med" len="med"/>
                    </a:lnT>
                    <a:lnB w="9525" cap="flat" cmpd="sng" algn="ctr">
                      <a:solidFill>
                        <a:srgbClr val="DFE2E5"/>
                      </a:solidFill>
                      <a:prstDash val="solid"/>
                      <a:round/>
                      <a:headEnd type="none" w="med" len="med"/>
                      <a:tailEnd type="none" w="med" len="med"/>
                    </a:lnB>
                    <a:solidFill>
                      <a:srgbClr val="FFFFFF"/>
                    </a:solidFill>
                  </a:tcPr>
                </a:tc>
                <a:tc>
                  <a:txBody>
                    <a:bodyPr/>
                    <a:lstStyle/>
                    <a:p>
                      <a:r>
                        <a:rPr lang="en-IN" dirty="0">
                          <a:effectLst/>
                        </a:rPr>
                        <a:t>No limit</a:t>
                      </a:r>
                    </a:p>
                  </a:txBody>
                  <a:tcPr marL="123825" marR="123825" marT="57150" marB="57150" anchor="ctr">
                    <a:lnL w="9525" cap="flat" cmpd="sng" algn="ctr">
                      <a:solidFill>
                        <a:srgbClr val="DFE2E5"/>
                      </a:solidFill>
                      <a:prstDash val="solid"/>
                      <a:round/>
                      <a:headEnd type="none" w="med" len="med"/>
                      <a:tailEnd type="none" w="med" len="med"/>
                    </a:lnL>
                    <a:lnR w="9525" cap="flat" cmpd="sng" algn="ctr">
                      <a:solidFill>
                        <a:srgbClr val="DFE2E5"/>
                      </a:solidFill>
                      <a:prstDash val="solid"/>
                      <a:round/>
                      <a:headEnd type="none" w="med" len="med"/>
                      <a:tailEnd type="none" w="med" len="med"/>
                    </a:lnR>
                    <a:lnT w="9525" cap="flat" cmpd="sng" algn="ctr">
                      <a:solidFill>
                        <a:srgbClr val="DFE2E5"/>
                      </a:solidFill>
                      <a:prstDash val="solid"/>
                      <a:round/>
                      <a:headEnd type="none" w="med" len="med"/>
                      <a:tailEnd type="none" w="med" len="med"/>
                    </a:lnT>
                    <a:lnB w="9525" cap="flat" cmpd="sng" algn="ctr">
                      <a:solidFill>
                        <a:srgbClr val="DFE2E5"/>
                      </a:solidFill>
                      <a:prstDash val="solid"/>
                      <a:round/>
                      <a:headEnd type="none" w="med" len="med"/>
                      <a:tailEnd type="none" w="med" len="med"/>
                    </a:lnB>
                    <a:solidFill>
                      <a:srgbClr val="FFFFFF"/>
                    </a:solidFill>
                  </a:tcPr>
                </a:tc>
                <a:extLst>
                  <a:ext uri="{0D108BD9-81ED-4DB2-BD59-A6C34878D82A}">
                    <a16:rowId xmlns:a16="http://schemas.microsoft.com/office/drawing/2014/main" xmlns="" val="3331803774"/>
                  </a:ext>
                </a:extLst>
              </a:tr>
            </a:tbl>
          </a:graphicData>
        </a:graphic>
      </p:graphicFrame>
    </p:spTree>
    <p:extLst>
      <p:ext uri="{BB962C8B-B14F-4D97-AF65-F5344CB8AC3E}">
        <p14:creationId xmlns:p14="http://schemas.microsoft.com/office/powerpoint/2010/main" val="13699033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u="sng" dirty="0" smtClean="0">
                <a:effectLst>
                  <a:outerShdw blurRad="38100" dist="38100" dir="2700000" algn="tl">
                    <a:srgbClr val="000000">
                      <a:alpha val="43137"/>
                    </a:srgbClr>
                  </a:outerShdw>
                </a:effectLst>
              </a:rPr>
              <a:t>Microsoft Azure Storage: Redundancy </a:t>
            </a:r>
            <a:endParaRPr lang="en-US" sz="3600" b="1" u="sng" dirty="0">
              <a:effectLst>
                <a:outerShdw blurRad="38100" dist="38100" dir="2700000" algn="tl">
                  <a:srgbClr val="000000">
                    <a:alpha val="43137"/>
                  </a:srgbClr>
                </a:outerShdw>
              </a:effectLst>
            </a:endParaRPr>
          </a:p>
        </p:txBody>
      </p:sp>
      <p:sp>
        <p:nvSpPr>
          <p:cNvPr id="3" name="Text Placeholder 2"/>
          <p:cNvSpPr>
            <a:spLocks noGrp="1"/>
          </p:cNvSpPr>
          <p:nvPr>
            <p:ph idx="1"/>
          </p:nvPr>
        </p:nvSpPr>
        <p:spPr/>
        <p:txBody>
          <a:bodyPr/>
          <a:lstStyle/>
          <a:p>
            <a:endParaRPr lang="en-US"/>
          </a:p>
        </p:txBody>
      </p:sp>
      <p:pic>
        <p:nvPicPr>
          <p:cNvPr id="4" name="Picture 3"/>
          <p:cNvPicPr>
            <a:picLocks noChangeAspect="1"/>
          </p:cNvPicPr>
          <p:nvPr/>
        </p:nvPicPr>
        <p:blipFill>
          <a:blip r:embed="rId3"/>
          <a:stretch>
            <a:fillRect/>
          </a:stretch>
        </p:blipFill>
        <p:spPr>
          <a:xfrm>
            <a:off x="269239" y="1502972"/>
            <a:ext cx="11660417" cy="4825000"/>
          </a:xfrm>
          <a:prstGeom prst="rect">
            <a:avLst/>
          </a:prstGeom>
        </p:spPr>
      </p:pic>
    </p:spTree>
    <p:extLst>
      <p:ext uri="{BB962C8B-B14F-4D97-AF65-F5344CB8AC3E}">
        <p14:creationId xmlns:p14="http://schemas.microsoft.com/office/powerpoint/2010/main" val="31995697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0"/>
            <a:ext cx="11353800" cy="6176963"/>
          </a:xfrm>
        </p:spPr>
        <p:txBody>
          <a:bodyPr>
            <a:normAutofit/>
          </a:bodyPr>
          <a:lstStyle/>
          <a:p>
            <a:r>
              <a:rPr lang="en-IN" b="1" dirty="0" smtClean="0"/>
              <a:t>Locally </a:t>
            </a:r>
            <a:r>
              <a:rPr lang="en-IN" b="1" dirty="0"/>
              <a:t>redundant storage (LRS) </a:t>
            </a:r>
            <a:r>
              <a:rPr lang="en-IN" sz="2000" dirty="0"/>
              <a:t>replicates your data three times within a storage scale unit, which is hosted in a </a:t>
            </a:r>
            <a:r>
              <a:rPr lang="en-IN" sz="2000" dirty="0" err="1"/>
              <a:t>datacenter</a:t>
            </a:r>
            <a:r>
              <a:rPr lang="en-IN" sz="2000" dirty="0"/>
              <a:t> in the region in which you created your storage account. A write request returns successfully only once it has been written to all three replicas. These three replicas each reside in separate fault domains and upgrade domains within one storage scale unit</a:t>
            </a:r>
            <a:r>
              <a:rPr lang="en-IN" sz="2000" dirty="0" smtClean="0"/>
              <a:t>.</a:t>
            </a:r>
          </a:p>
          <a:p>
            <a:pPr marL="0" indent="0">
              <a:buNone/>
            </a:pPr>
            <a:endParaRPr lang="en-IN" sz="2000" dirty="0" smtClean="0"/>
          </a:p>
          <a:p>
            <a:r>
              <a:rPr lang="en-IN" b="1" dirty="0"/>
              <a:t>Zone-redundant</a:t>
            </a:r>
            <a:r>
              <a:rPr lang="en-IN" dirty="0"/>
              <a:t> </a:t>
            </a:r>
            <a:r>
              <a:rPr lang="en-IN" b="1" dirty="0"/>
              <a:t>storage (ZRS) </a:t>
            </a:r>
            <a:r>
              <a:rPr lang="en-IN" sz="2000" dirty="0"/>
              <a:t>replicates your data asynchronously across </a:t>
            </a:r>
            <a:r>
              <a:rPr lang="en-IN" sz="2000" dirty="0" err="1"/>
              <a:t>datacenters</a:t>
            </a:r>
            <a:r>
              <a:rPr lang="en-IN" sz="2000" dirty="0"/>
              <a:t> within one or two regions in addition to storing three replicas similar to LRS, thus providing higher durability than LRS. Data stored in ZRS is durable even if the primary </a:t>
            </a:r>
            <a:r>
              <a:rPr lang="en-IN" sz="2000" dirty="0" err="1"/>
              <a:t>datacenter</a:t>
            </a:r>
            <a:r>
              <a:rPr lang="en-IN" sz="2000" dirty="0"/>
              <a:t> is unavailable or unrecoverable. </a:t>
            </a:r>
            <a:endParaRPr lang="en-IN" sz="2000" dirty="0" smtClean="0"/>
          </a:p>
          <a:p>
            <a:pPr marL="0" indent="0">
              <a:buNone/>
            </a:pPr>
            <a:endParaRPr lang="en-IN" sz="2000" dirty="0" smtClean="0"/>
          </a:p>
          <a:p>
            <a:r>
              <a:rPr lang="en-IN" b="1" dirty="0" smtClean="0"/>
              <a:t>Geo-redundant </a:t>
            </a:r>
            <a:r>
              <a:rPr lang="en-IN" b="1" dirty="0"/>
              <a:t>storage (GRS) </a:t>
            </a:r>
            <a:r>
              <a:rPr lang="en-IN" sz="2000" dirty="0"/>
              <a:t>replicates your data to a secondary region that is hundreds of miles away from the primary region. If your storage account has GRS enabled, then your data is durable even in the case of a complete regional outage or a disaster in which the primary region is not recoverable</a:t>
            </a:r>
            <a:r>
              <a:rPr lang="en-IN" sz="2000" dirty="0" smtClean="0"/>
              <a:t>.</a:t>
            </a:r>
          </a:p>
          <a:p>
            <a:pPr marL="0" indent="0">
              <a:buNone/>
            </a:pPr>
            <a:endParaRPr lang="en-US" sz="2000" dirty="0"/>
          </a:p>
          <a:p>
            <a:r>
              <a:rPr lang="en-IN" b="1" dirty="0"/>
              <a:t>Read-access geo-redundant storage (RA-GRS) </a:t>
            </a:r>
            <a:r>
              <a:rPr lang="en-IN" sz="2000" dirty="0"/>
              <a:t>maximizes availability for your storage account, by providing read-only access to the data in the secondary location, in addition to the replication across two regions provided by GRS</a:t>
            </a:r>
          </a:p>
        </p:txBody>
      </p:sp>
    </p:spTree>
    <p:extLst>
      <p:ext uri="{BB962C8B-B14F-4D97-AF65-F5344CB8AC3E}">
        <p14:creationId xmlns:p14="http://schemas.microsoft.com/office/powerpoint/2010/main" val="91000487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289560"/>
            <a:ext cx="11353800" cy="5887403"/>
          </a:xfrm>
        </p:spPr>
        <p:txBody>
          <a:bodyPr>
            <a:normAutofit/>
          </a:bodyPr>
          <a:lstStyle/>
          <a:p>
            <a:r>
              <a:rPr lang="en-IN" dirty="0"/>
              <a:t>Recover Point Objective (RPO): </a:t>
            </a:r>
            <a:r>
              <a:rPr lang="en-IN" sz="2000" dirty="0"/>
              <a:t>In GRS and RA-GRS, the storage service asynchronously geo-replicates the data from the primary to the secondary location. If there is a major regional disaster and a failover has to be performed, then recent </a:t>
            </a:r>
            <a:r>
              <a:rPr lang="en-IN" sz="2000" dirty="0" smtClean="0"/>
              <a:t>data </a:t>
            </a:r>
            <a:r>
              <a:rPr lang="en-IN" sz="2000" dirty="0"/>
              <a:t>changes that have not been geo-replicated may be lost. The number of minutes of potential data lost is referred to as the RPO (which means the point in time to which data can be recovered). We typically have a RPO less than 15 minutes, although there is currently no SLA on how long geo-replication takes</a:t>
            </a:r>
            <a:r>
              <a:rPr lang="en-IN" dirty="0" smtClean="0"/>
              <a:t>.</a:t>
            </a:r>
          </a:p>
          <a:p>
            <a:endParaRPr lang="en-IN" dirty="0"/>
          </a:p>
          <a:p>
            <a:r>
              <a:rPr lang="en-IN" dirty="0"/>
              <a:t>Recovery Time Objective (RTO): </a:t>
            </a:r>
            <a:r>
              <a:rPr lang="en-IN" sz="2000" dirty="0"/>
              <a:t>This is a measure of how long it takes us to do the failover and get the storage account back online if we have to do a failover</a:t>
            </a:r>
          </a:p>
          <a:p>
            <a:endParaRPr lang="en-IN" dirty="0"/>
          </a:p>
        </p:txBody>
      </p:sp>
    </p:spTree>
    <p:extLst>
      <p:ext uri="{BB962C8B-B14F-4D97-AF65-F5344CB8AC3E}">
        <p14:creationId xmlns:p14="http://schemas.microsoft.com/office/powerpoint/2010/main" val="17042043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3200" b="1" u="sng" dirty="0">
                <a:effectLst>
                  <a:outerShdw blurRad="38100" dist="38100" dir="2700000" algn="tl">
                    <a:srgbClr val="000000">
                      <a:alpha val="43137"/>
                    </a:srgbClr>
                  </a:outerShdw>
                </a:effectLst>
                <a:latin typeface="Segoe UI Symbol" panose="020B0502040204020203" pitchFamily="34" charset="0"/>
                <a:ea typeface="Segoe UI Symbol" panose="020B0502040204020203" pitchFamily="34" charset="0"/>
              </a:rPr>
              <a:t>Definition</a:t>
            </a:r>
          </a:p>
        </p:txBody>
      </p:sp>
      <p:graphicFrame>
        <p:nvGraphicFramePr>
          <p:cNvPr id="3" name="Diagram 2"/>
          <p:cNvGraphicFramePr/>
          <p:nvPr>
            <p:extLst/>
          </p:nvPr>
        </p:nvGraphicFramePr>
        <p:xfrm>
          <a:off x="119336" y="1700808"/>
          <a:ext cx="2304256" cy="37391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p:cNvSpPr/>
          <p:nvPr/>
        </p:nvSpPr>
        <p:spPr>
          <a:xfrm>
            <a:off x="2567608" y="980728"/>
            <a:ext cx="9624392" cy="5909310"/>
          </a:xfrm>
          <a:prstGeom prst="rect">
            <a:avLst/>
          </a:prstGeom>
        </p:spPr>
        <p:txBody>
          <a:bodyPr wrap="square">
            <a:spAutoFit/>
          </a:bodyPr>
          <a:lstStyle/>
          <a:p>
            <a:pPr marL="285750" indent="-285750">
              <a:lnSpc>
                <a:spcPct val="150000"/>
              </a:lnSpc>
              <a:buFont typeface="Arial" panose="020B0604020202020204" pitchFamily="34" charset="0"/>
              <a:buChar char="•"/>
            </a:pPr>
            <a:r>
              <a:rPr lang="en-US" b="1" dirty="0"/>
              <a:t>Public Cloud</a:t>
            </a:r>
            <a:r>
              <a:rPr lang="en-US" dirty="0"/>
              <a:t> − A service provider makes the clouds available to the general public which is termed as a public cloud. These clouds are accessed through internet by users. </a:t>
            </a:r>
            <a:endParaRPr lang="en-US" dirty="0" smtClean="0"/>
          </a:p>
          <a:p>
            <a:pPr marL="285750" indent="-285750">
              <a:lnSpc>
                <a:spcPct val="150000"/>
              </a:lnSpc>
              <a:buFont typeface="Arial" panose="020B0604020202020204" pitchFamily="34" charset="0"/>
              <a:buChar char="•"/>
            </a:pPr>
            <a:endParaRPr lang="en-US" dirty="0"/>
          </a:p>
          <a:p>
            <a:pPr marL="285750" indent="-285750">
              <a:lnSpc>
                <a:spcPct val="150000"/>
              </a:lnSpc>
              <a:buFont typeface="Arial" panose="020B0604020202020204" pitchFamily="34" charset="0"/>
              <a:buChar char="•"/>
            </a:pPr>
            <a:r>
              <a:rPr lang="en-US" b="1" dirty="0" smtClean="0"/>
              <a:t>Private </a:t>
            </a:r>
            <a:r>
              <a:rPr lang="en-US" b="1" dirty="0"/>
              <a:t>Cloud </a:t>
            </a:r>
            <a:r>
              <a:rPr lang="en-US" dirty="0"/>
              <a:t>− These clouds are dedicated to a particular organization. That particular organization can use the cloud for storing the company's data, hosting business application, etc. </a:t>
            </a:r>
            <a:endParaRPr lang="en-US" dirty="0" smtClean="0"/>
          </a:p>
          <a:p>
            <a:pPr marL="285750" indent="-285750">
              <a:lnSpc>
                <a:spcPct val="150000"/>
              </a:lnSpc>
              <a:buFont typeface="Arial" panose="020B0604020202020204" pitchFamily="34" charset="0"/>
              <a:buChar char="•"/>
            </a:pPr>
            <a:endParaRPr lang="en-US" dirty="0"/>
          </a:p>
          <a:p>
            <a:pPr marL="285750" indent="-285750">
              <a:lnSpc>
                <a:spcPct val="150000"/>
              </a:lnSpc>
              <a:buFont typeface="Arial" panose="020B0604020202020204" pitchFamily="34" charset="0"/>
              <a:buChar char="•"/>
            </a:pPr>
            <a:r>
              <a:rPr lang="en-US" b="1" dirty="0" smtClean="0"/>
              <a:t>Hybrid </a:t>
            </a:r>
            <a:r>
              <a:rPr lang="en-US" b="1" dirty="0"/>
              <a:t>Cloud</a:t>
            </a:r>
            <a:r>
              <a:rPr lang="en-US" dirty="0"/>
              <a:t> − When two or more clouds are bound together to offer the advantage of both public and private clouds, they are termed as Hybrid Cloud. Organizations can use private clouds for sensitive application, while public clouds for non-sensitive applications. The hybrid clouds provide flexible, scalable and cost-effective solutions to the organizations</a:t>
            </a:r>
            <a:r>
              <a:rPr lang="en-US" dirty="0" smtClean="0"/>
              <a:t>.</a:t>
            </a:r>
          </a:p>
          <a:p>
            <a:pPr marL="285750" indent="-285750">
              <a:lnSpc>
                <a:spcPct val="150000"/>
              </a:lnSpc>
              <a:buFont typeface="Arial" panose="020B0604020202020204" pitchFamily="34" charset="0"/>
              <a:buChar char="•"/>
            </a:pPr>
            <a:endParaRPr lang="en-US" dirty="0" smtClean="0"/>
          </a:p>
          <a:p>
            <a:pPr marL="285750" indent="-285750">
              <a:lnSpc>
                <a:spcPct val="150000"/>
              </a:lnSpc>
              <a:buFont typeface="Arial" panose="020B0604020202020204" pitchFamily="34" charset="0"/>
              <a:buChar char="•"/>
            </a:pPr>
            <a:r>
              <a:rPr lang="en-US" b="1" dirty="0" smtClean="0"/>
              <a:t>Community Cloud- </a:t>
            </a:r>
            <a:r>
              <a:rPr lang="en-US" dirty="0"/>
              <a:t> </a:t>
            </a:r>
            <a:r>
              <a:rPr lang="en-US" dirty="0" smtClean="0"/>
              <a:t>A </a:t>
            </a:r>
            <a:r>
              <a:rPr lang="en-US" dirty="0"/>
              <a:t>community cloud is a multi-tenant infrastructure that is shared among several organizations from a specific group with common computing concerns.</a:t>
            </a:r>
          </a:p>
          <a:p>
            <a:pPr marL="285750" indent="-285750">
              <a:lnSpc>
                <a:spcPct val="150000"/>
              </a:lnSpc>
              <a:buFont typeface="Arial" panose="020B0604020202020204" pitchFamily="34" charset="0"/>
              <a:buChar char="•"/>
            </a:pPr>
            <a:endParaRPr lang="en-US" dirty="0"/>
          </a:p>
        </p:txBody>
      </p:sp>
    </p:spTree>
    <p:extLst>
      <p:ext uri="{BB962C8B-B14F-4D97-AF65-F5344CB8AC3E}">
        <p14:creationId xmlns:p14="http://schemas.microsoft.com/office/powerpoint/2010/main" val="41957600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948727981"/>
              </p:ext>
            </p:extLst>
          </p:nvPr>
        </p:nvGraphicFramePr>
        <p:xfrm>
          <a:off x="182880" y="396984"/>
          <a:ext cx="11490960" cy="7609276"/>
        </p:xfrm>
        <a:graphic>
          <a:graphicData uri="http://schemas.openxmlformats.org/drawingml/2006/table">
            <a:tbl>
              <a:tblPr/>
              <a:tblGrid>
                <a:gridCol w="5658951">
                  <a:extLst>
                    <a:ext uri="{9D8B030D-6E8A-4147-A177-3AD203B41FA5}">
                      <a16:colId xmlns:a16="http://schemas.microsoft.com/office/drawing/2014/main" xmlns="" val="2700797781"/>
                    </a:ext>
                  </a:extLst>
                </a:gridCol>
                <a:gridCol w="5832009">
                  <a:extLst>
                    <a:ext uri="{9D8B030D-6E8A-4147-A177-3AD203B41FA5}">
                      <a16:colId xmlns:a16="http://schemas.microsoft.com/office/drawing/2014/main" xmlns="" val="3400980914"/>
                    </a:ext>
                  </a:extLst>
                </a:gridCol>
              </a:tblGrid>
              <a:tr h="171537">
                <a:tc>
                  <a:txBody>
                    <a:bodyPr/>
                    <a:lstStyle/>
                    <a:p>
                      <a:pPr algn="l" fontAlgn="b"/>
                      <a:r>
                        <a:rPr lang="en-IN" sz="1100" b="1" dirty="0">
                          <a:effectLst/>
                          <a:latin typeface="+mn-lt"/>
                        </a:rPr>
                        <a:t>Primary</a:t>
                      </a:r>
                    </a:p>
                  </a:txBody>
                  <a:tcPr marL="39957" marR="39957" marT="29968" marB="29968"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IN" sz="1100" b="1" dirty="0">
                          <a:effectLst/>
                          <a:latin typeface="+mn-lt"/>
                        </a:rPr>
                        <a:t>Secondary</a:t>
                      </a:r>
                    </a:p>
                  </a:txBody>
                  <a:tcPr marL="39957" marR="39957" marT="29968" marB="29968"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720670506"/>
                  </a:ext>
                </a:extLst>
              </a:tr>
              <a:tr h="212456">
                <a:tc>
                  <a:txBody>
                    <a:bodyPr/>
                    <a:lstStyle/>
                    <a:p>
                      <a:pPr fontAlgn="t"/>
                      <a:r>
                        <a:rPr lang="en-IN" sz="1100" dirty="0">
                          <a:effectLst/>
                          <a:latin typeface="+mn-lt"/>
                        </a:rPr>
                        <a:t>North Central US</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South Central US</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1687759180"/>
                  </a:ext>
                </a:extLst>
              </a:tr>
              <a:tr h="212456">
                <a:tc>
                  <a:txBody>
                    <a:bodyPr/>
                    <a:lstStyle/>
                    <a:p>
                      <a:pPr fontAlgn="t"/>
                      <a:r>
                        <a:rPr lang="en-IN" sz="1100" dirty="0">
                          <a:effectLst/>
                          <a:latin typeface="+mn-lt"/>
                        </a:rPr>
                        <a:t>South Central US</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North Central US</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2794182729"/>
                  </a:ext>
                </a:extLst>
              </a:tr>
              <a:tr h="171537">
                <a:tc>
                  <a:txBody>
                    <a:bodyPr/>
                    <a:lstStyle/>
                    <a:p>
                      <a:pPr fontAlgn="t"/>
                      <a:r>
                        <a:rPr lang="en-IN" sz="1100" dirty="0">
                          <a:effectLst/>
                          <a:latin typeface="+mn-lt"/>
                        </a:rPr>
                        <a:t>East US</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West US</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1201951375"/>
                  </a:ext>
                </a:extLst>
              </a:tr>
              <a:tr h="171537">
                <a:tc>
                  <a:txBody>
                    <a:bodyPr/>
                    <a:lstStyle/>
                    <a:p>
                      <a:pPr fontAlgn="t"/>
                      <a:r>
                        <a:rPr lang="en-IN" sz="1100" dirty="0">
                          <a:effectLst/>
                          <a:latin typeface="+mn-lt"/>
                        </a:rPr>
                        <a:t>West US</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East US</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3488822595"/>
                  </a:ext>
                </a:extLst>
              </a:tr>
              <a:tr h="171537">
                <a:tc>
                  <a:txBody>
                    <a:bodyPr/>
                    <a:lstStyle/>
                    <a:p>
                      <a:pPr fontAlgn="t"/>
                      <a:r>
                        <a:rPr lang="en-IN" sz="1100" dirty="0">
                          <a:effectLst/>
                          <a:latin typeface="+mn-lt"/>
                        </a:rPr>
                        <a:t>US East 2</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Central US</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1161611815"/>
                  </a:ext>
                </a:extLst>
              </a:tr>
              <a:tr h="171537">
                <a:tc>
                  <a:txBody>
                    <a:bodyPr/>
                    <a:lstStyle/>
                    <a:p>
                      <a:pPr fontAlgn="t"/>
                      <a:r>
                        <a:rPr lang="en-IN" sz="1100" dirty="0">
                          <a:effectLst/>
                          <a:latin typeface="+mn-lt"/>
                        </a:rPr>
                        <a:t>Central US</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US East 2</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650865962"/>
                  </a:ext>
                </a:extLst>
              </a:tr>
              <a:tr h="171537">
                <a:tc>
                  <a:txBody>
                    <a:bodyPr/>
                    <a:lstStyle/>
                    <a:p>
                      <a:pPr fontAlgn="t"/>
                      <a:r>
                        <a:rPr lang="en-IN" sz="1100" dirty="0">
                          <a:effectLst/>
                          <a:latin typeface="+mn-lt"/>
                        </a:rPr>
                        <a:t>North Europe</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West Europe</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1318505593"/>
                  </a:ext>
                </a:extLst>
              </a:tr>
              <a:tr h="171537">
                <a:tc>
                  <a:txBody>
                    <a:bodyPr/>
                    <a:lstStyle/>
                    <a:p>
                      <a:pPr fontAlgn="t"/>
                      <a:r>
                        <a:rPr lang="en-IN" sz="1100" dirty="0">
                          <a:effectLst/>
                          <a:latin typeface="+mn-lt"/>
                        </a:rPr>
                        <a:t>West Europe</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North Europe</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4050970726"/>
                  </a:ext>
                </a:extLst>
              </a:tr>
              <a:tr h="212456">
                <a:tc>
                  <a:txBody>
                    <a:bodyPr/>
                    <a:lstStyle/>
                    <a:p>
                      <a:pPr fontAlgn="t"/>
                      <a:r>
                        <a:rPr lang="en-IN" sz="1100" dirty="0">
                          <a:effectLst/>
                          <a:latin typeface="+mn-lt"/>
                        </a:rPr>
                        <a:t>South East Asia</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East Asia</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1383454404"/>
                  </a:ext>
                </a:extLst>
              </a:tr>
              <a:tr h="171537">
                <a:tc>
                  <a:txBody>
                    <a:bodyPr/>
                    <a:lstStyle/>
                    <a:p>
                      <a:pPr fontAlgn="t"/>
                      <a:r>
                        <a:rPr lang="en-IN" sz="1100" dirty="0">
                          <a:effectLst/>
                          <a:latin typeface="+mn-lt"/>
                        </a:rPr>
                        <a:t>East Asia</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South East Asia</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3169540490"/>
                  </a:ext>
                </a:extLst>
              </a:tr>
              <a:tr h="171537">
                <a:tc>
                  <a:txBody>
                    <a:bodyPr/>
                    <a:lstStyle/>
                    <a:p>
                      <a:pPr fontAlgn="t"/>
                      <a:r>
                        <a:rPr lang="en-IN" sz="1100" dirty="0">
                          <a:effectLst/>
                          <a:latin typeface="+mn-lt"/>
                        </a:rPr>
                        <a:t>East China</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North China</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2939414270"/>
                  </a:ext>
                </a:extLst>
              </a:tr>
              <a:tr h="171537">
                <a:tc>
                  <a:txBody>
                    <a:bodyPr/>
                    <a:lstStyle/>
                    <a:p>
                      <a:pPr fontAlgn="t"/>
                      <a:r>
                        <a:rPr lang="en-IN" sz="1100" dirty="0">
                          <a:effectLst/>
                          <a:latin typeface="+mn-lt"/>
                        </a:rPr>
                        <a:t>North China</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East China</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2637153598"/>
                  </a:ext>
                </a:extLst>
              </a:tr>
              <a:tr h="171537">
                <a:tc>
                  <a:txBody>
                    <a:bodyPr/>
                    <a:lstStyle/>
                    <a:p>
                      <a:pPr fontAlgn="t"/>
                      <a:r>
                        <a:rPr lang="en-IN" sz="1100" dirty="0">
                          <a:effectLst/>
                          <a:latin typeface="+mn-lt"/>
                        </a:rPr>
                        <a:t>Japan East</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Japan West</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3171142182"/>
                  </a:ext>
                </a:extLst>
              </a:tr>
              <a:tr h="171537">
                <a:tc>
                  <a:txBody>
                    <a:bodyPr/>
                    <a:lstStyle/>
                    <a:p>
                      <a:pPr fontAlgn="t"/>
                      <a:r>
                        <a:rPr lang="en-IN" sz="1100" dirty="0">
                          <a:effectLst/>
                          <a:latin typeface="+mn-lt"/>
                        </a:rPr>
                        <a:t>Japan West</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Japan East</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3902918335"/>
                  </a:ext>
                </a:extLst>
              </a:tr>
              <a:tr h="171537">
                <a:tc>
                  <a:txBody>
                    <a:bodyPr/>
                    <a:lstStyle/>
                    <a:p>
                      <a:pPr fontAlgn="t"/>
                      <a:r>
                        <a:rPr lang="en-IN" sz="1100" dirty="0">
                          <a:effectLst/>
                          <a:latin typeface="+mn-lt"/>
                        </a:rPr>
                        <a:t>Brazil South</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South Central US</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466526968"/>
                  </a:ext>
                </a:extLst>
              </a:tr>
              <a:tr h="171537">
                <a:tc>
                  <a:txBody>
                    <a:bodyPr/>
                    <a:lstStyle/>
                    <a:p>
                      <a:pPr fontAlgn="t"/>
                      <a:r>
                        <a:rPr lang="en-IN" sz="1100" dirty="0">
                          <a:effectLst/>
                          <a:latin typeface="+mn-lt"/>
                        </a:rPr>
                        <a:t>Australia East</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Australia Southeast</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680808147"/>
                  </a:ext>
                </a:extLst>
              </a:tr>
              <a:tr h="277210">
                <a:tc>
                  <a:txBody>
                    <a:bodyPr/>
                    <a:lstStyle/>
                    <a:p>
                      <a:pPr fontAlgn="t"/>
                      <a:r>
                        <a:rPr lang="en-IN" sz="1100" dirty="0">
                          <a:effectLst/>
                          <a:latin typeface="+mn-lt"/>
                        </a:rPr>
                        <a:t>Australia Southeast</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Australia East</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3295083755"/>
                  </a:ext>
                </a:extLst>
              </a:tr>
              <a:tr h="171537">
                <a:tc>
                  <a:txBody>
                    <a:bodyPr/>
                    <a:lstStyle/>
                    <a:p>
                      <a:pPr fontAlgn="t"/>
                      <a:r>
                        <a:rPr lang="en-IN" sz="1100" dirty="0">
                          <a:effectLst/>
                          <a:latin typeface="+mn-lt"/>
                        </a:rPr>
                        <a:t>India South</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India Central</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2134445074"/>
                  </a:ext>
                </a:extLst>
              </a:tr>
              <a:tr h="171537">
                <a:tc>
                  <a:txBody>
                    <a:bodyPr/>
                    <a:lstStyle/>
                    <a:p>
                      <a:pPr fontAlgn="t"/>
                      <a:r>
                        <a:rPr lang="en-IN" sz="1100" dirty="0">
                          <a:effectLst/>
                          <a:latin typeface="+mn-lt"/>
                        </a:rPr>
                        <a:t>India Central</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India South</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2313389851"/>
                  </a:ext>
                </a:extLst>
              </a:tr>
              <a:tr h="171537">
                <a:tc>
                  <a:txBody>
                    <a:bodyPr/>
                    <a:lstStyle/>
                    <a:p>
                      <a:pPr fontAlgn="t"/>
                      <a:r>
                        <a:rPr lang="en-IN" sz="1100" dirty="0">
                          <a:effectLst/>
                          <a:latin typeface="+mn-lt"/>
                        </a:rPr>
                        <a:t>India West</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India South</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1221107138"/>
                  </a:ext>
                </a:extLst>
              </a:tr>
              <a:tr h="171537">
                <a:tc>
                  <a:txBody>
                    <a:bodyPr/>
                    <a:lstStyle/>
                    <a:p>
                      <a:pPr fontAlgn="t"/>
                      <a:r>
                        <a:rPr lang="en-IN" sz="1100" dirty="0">
                          <a:effectLst/>
                          <a:latin typeface="+mn-lt"/>
                        </a:rPr>
                        <a:t>US </a:t>
                      </a:r>
                      <a:r>
                        <a:rPr lang="en-IN" sz="1100" dirty="0" err="1">
                          <a:effectLst/>
                          <a:latin typeface="+mn-lt"/>
                        </a:rPr>
                        <a:t>Gov</a:t>
                      </a:r>
                      <a:r>
                        <a:rPr lang="en-IN" sz="1100" dirty="0">
                          <a:effectLst/>
                          <a:latin typeface="+mn-lt"/>
                        </a:rPr>
                        <a:t> Iowa</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US </a:t>
                      </a:r>
                      <a:r>
                        <a:rPr lang="en-IN" sz="1100" dirty="0" err="1">
                          <a:effectLst/>
                          <a:latin typeface="+mn-lt"/>
                        </a:rPr>
                        <a:t>Gov</a:t>
                      </a:r>
                      <a:r>
                        <a:rPr lang="en-IN" sz="1100" dirty="0">
                          <a:effectLst/>
                          <a:latin typeface="+mn-lt"/>
                        </a:rPr>
                        <a:t> Virginia</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4034481706"/>
                  </a:ext>
                </a:extLst>
              </a:tr>
              <a:tr h="212456">
                <a:tc>
                  <a:txBody>
                    <a:bodyPr/>
                    <a:lstStyle/>
                    <a:p>
                      <a:pPr fontAlgn="t"/>
                      <a:r>
                        <a:rPr lang="en-IN" sz="1100" dirty="0">
                          <a:effectLst/>
                          <a:latin typeface="+mn-lt"/>
                        </a:rPr>
                        <a:t>US </a:t>
                      </a:r>
                      <a:r>
                        <a:rPr lang="en-IN" sz="1100" dirty="0" err="1">
                          <a:effectLst/>
                          <a:latin typeface="+mn-lt"/>
                        </a:rPr>
                        <a:t>Gov</a:t>
                      </a:r>
                      <a:r>
                        <a:rPr lang="en-IN" sz="1100" dirty="0">
                          <a:effectLst/>
                          <a:latin typeface="+mn-lt"/>
                        </a:rPr>
                        <a:t> Virginia</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US </a:t>
                      </a:r>
                      <a:r>
                        <a:rPr lang="en-IN" sz="1100" dirty="0" err="1">
                          <a:effectLst/>
                          <a:latin typeface="+mn-lt"/>
                        </a:rPr>
                        <a:t>Gov</a:t>
                      </a:r>
                      <a:r>
                        <a:rPr lang="en-IN" sz="1100" dirty="0">
                          <a:effectLst/>
                          <a:latin typeface="+mn-lt"/>
                        </a:rPr>
                        <a:t> Texas</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1792344193"/>
                  </a:ext>
                </a:extLst>
              </a:tr>
              <a:tr h="171537">
                <a:tc>
                  <a:txBody>
                    <a:bodyPr/>
                    <a:lstStyle/>
                    <a:p>
                      <a:pPr fontAlgn="t"/>
                      <a:r>
                        <a:rPr lang="en-IN" sz="1100" dirty="0">
                          <a:effectLst/>
                          <a:latin typeface="+mn-lt"/>
                        </a:rPr>
                        <a:t>US </a:t>
                      </a:r>
                      <a:r>
                        <a:rPr lang="en-IN" sz="1100" dirty="0" err="1">
                          <a:effectLst/>
                          <a:latin typeface="+mn-lt"/>
                        </a:rPr>
                        <a:t>Gov</a:t>
                      </a:r>
                      <a:r>
                        <a:rPr lang="en-IN" sz="1100" dirty="0">
                          <a:effectLst/>
                          <a:latin typeface="+mn-lt"/>
                        </a:rPr>
                        <a:t> Texas</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US </a:t>
                      </a:r>
                      <a:r>
                        <a:rPr lang="en-IN" sz="1100" dirty="0" err="1">
                          <a:effectLst/>
                          <a:latin typeface="+mn-lt"/>
                        </a:rPr>
                        <a:t>Gov</a:t>
                      </a:r>
                      <a:r>
                        <a:rPr lang="en-IN" sz="1100" dirty="0">
                          <a:effectLst/>
                          <a:latin typeface="+mn-lt"/>
                        </a:rPr>
                        <a:t> Arizona</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551950649"/>
                  </a:ext>
                </a:extLst>
              </a:tr>
              <a:tr h="212456">
                <a:tc>
                  <a:txBody>
                    <a:bodyPr/>
                    <a:lstStyle/>
                    <a:p>
                      <a:pPr fontAlgn="t"/>
                      <a:r>
                        <a:rPr lang="en-IN" sz="1100" dirty="0">
                          <a:effectLst/>
                          <a:latin typeface="+mn-lt"/>
                        </a:rPr>
                        <a:t>US </a:t>
                      </a:r>
                      <a:r>
                        <a:rPr lang="en-IN" sz="1100" dirty="0" err="1">
                          <a:effectLst/>
                          <a:latin typeface="+mn-lt"/>
                        </a:rPr>
                        <a:t>Gov</a:t>
                      </a:r>
                      <a:r>
                        <a:rPr lang="en-IN" sz="1100" dirty="0">
                          <a:effectLst/>
                          <a:latin typeface="+mn-lt"/>
                        </a:rPr>
                        <a:t> Arizona</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US </a:t>
                      </a:r>
                      <a:r>
                        <a:rPr lang="en-IN" sz="1100" dirty="0" err="1">
                          <a:effectLst/>
                          <a:latin typeface="+mn-lt"/>
                        </a:rPr>
                        <a:t>Gov</a:t>
                      </a:r>
                      <a:r>
                        <a:rPr lang="en-IN" sz="1100" dirty="0">
                          <a:effectLst/>
                          <a:latin typeface="+mn-lt"/>
                        </a:rPr>
                        <a:t> Texas</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1487939823"/>
                  </a:ext>
                </a:extLst>
              </a:tr>
              <a:tr h="212456">
                <a:tc>
                  <a:txBody>
                    <a:bodyPr/>
                    <a:lstStyle/>
                    <a:p>
                      <a:pPr fontAlgn="t"/>
                      <a:r>
                        <a:rPr lang="en-IN" sz="1100" dirty="0">
                          <a:effectLst/>
                          <a:latin typeface="+mn-lt"/>
                        </a:rPr>
                        <a:t>Canada Central</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Canada East</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3200096596"/>
                  </a:ext>
                </a:extLst>
              </a:tr>
              <a:tr h="171537">
                <a:tc>
                  <a:txBody>
                    <a:bodyPr/>
                    <a:lstStyle/>
                    <a:p>
                      <a:pPr fontAlgn="t"/>
                      <a:r>
                        <a:rPr lang="en-IN" sz="1100" dirty="0">
                          <a:effectLst/>
                          <a:latin typeface="+mn-lt"/>
                        </a:rPr>
                        <a:t>Canada East</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Canada Central</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3164949075"/>
                  </a:ext>
                </a:extLst>
              </a:tr>
              <a:tr h="171537">
                <a:tc>
                  <a:txBody>
                    <a:bodyPr/>
                    <a:lstStyle/>
                    <a:p>
                      <a:pPr fontAlgn="t"/>
                      <a:r>
                        <a:rPr lang="en-IN" sz="1100" dirty="0">
                          <a:effectLst/>
                          <a:latin typeface="+mn-lt"/>
                        </a:rPr>
                        <a:t>UK West</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UK South</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2619363772"/>
                  </a:ext>
                </a:extLst>
              </a:tr>
              <a:tr h="171537">
                <a:tc>
                  <a:txBody>
                    <a:bodyPr/>
                    <a:lstStyle/>
                    <a:p>
                      <a:pPr fontAlgn="t"/>
                      <a:r>
                        <a:rPr lang="en-IN" sz="1100" dirty="0">
                          <a:effectLst/>
                          <a:latin typeface="+mn-lt"/>
                        </a:rPr>
                        <a:t>UK South</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UK West</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2946779986"/>
                  </a:ext>
                </a:extLst>
              </a:tr>
              <a:tr h="212456">
                <a:tc>
                  <a:txBody>
                    <a:bodyPr/>
                    <a:lstStyle/>
                    <a:p>
                      <a:pPr fontAlgn="t"/>
                      <a:r>
                        <a:rPr lang="en-IN" sz="1100" dirty="0">
                          <a:effectLst/>
                          <a:latin typeface="+mn-lt"/>
                        </a:rPr>
                        <a:t>Germany Central</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Germany Northeast</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4115275113"/>
                  </a:ext>
                </a:extLst>
              </a:tr>
              <a:tr h="277210">
                <a:tc>
                  <a:txBody>
                    <a:bodyPr/>
                    <a:lstStyle/>
                    <a:p>
                      <a:pPr fontAlgn="t"/>
                      <a:r>
                        <a:rPr lang="en-IN" sz="1100" dirty="0">
                          <a:effectLst/>
                          <a:latin typeface="+mn-lt"/>
                        </a:rPr>
                        <a:t>Germany Northeast</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Germany Central</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561413154"/>
                  </a:ext>
                </a:extLst>
              </a:tr>
              <a:tr h="171537">
                <a:tc>
                  <a:txBody>
                    <a:bodyPr/>
                    <a:lstStyle/>
                    <a:p>
                      <a:pPr fontAlgn="t"/>
                      <a:r>
                        <a:rPr lang="en-IN" sz="1100" dirty="0">
                          <a:effectLst/>
                          <a:latin typeface="+mn-lt"/>
                        </a:rPr>
                        <a:t>West US 2</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West Central US</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3093345903"/>
                  </a:ext>
                </a:extLst>
              </a:tr>
              <a:tr h="212456">
                <a:tc>
                  <a:txBody>
                    <a:bodyPr/>
                    <a:lstStyle/>
                    <a:p>
                      <a:pPr fontAlgn="t"/>
                      <a:r>
                        <a:rPr lang="en-IN" sz="1100" dirty="0">
                          <a:effectLst/>
                          <a:latin typeface="+mn-lt"/>
                        </a:rPr>
                        <a:t>West Central US</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IN" sz="1100" dirty="0">
                          <a:effectLst/>
                          <a:latin typeface="+mn-lt"/>
                        </a:rPr>
                        <a:t>West US 2</a:t>
                      </a:r>
                    </a:p>
                  </a:txBody>
                  <a:tcPr marL="39957" marR="39957" marT="29968" marB="29968">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1390767408"/>
                  </a:ext>
                </a:extLst>
              </a:tr>
            </a:tbl>
          </a:graphicData>
        </a:graphic>
      </p:graphicFrame>
      <p:sp>
        <p:nvSpPr>
          <p:cNvPr id="5" name="Rectangle 4"/>
          <p:cNvSpPr/>
          <p:nvPr/>
        </p:nvSpPr>
        <p:spPr>
          <a:xfrm>
            <a:off x="399231" y="0"/>
            <a:ext cx="6835526" cy="523220"/>
          </a:xfrm>
          <a:prstGeom prst="rect">
            <a:avLst/>
          </a:prstGeom>
        </p:spPr>
        <p:txBody>
          <a:bodyPr wrap="none">
            <a:spAutoFit/>
          </a:bodyPr>
          <a:lstStyle/>
          <a:p>
            <a:r>
              <a:rPr lang="en-IN" sz="2800" b="1" u="sng" dirty="0">
                <a:solidFill>
                  <a:srgbClr val="222222"/>
                </a:solidFill>
                <a:effectLst>
                  <a:outerShdw blurRad="38100" dist="38100" dir="2700000" algn="tl">
                    <a:srgbClr val="000000">
                      <a:alpha val="43137"/>
                    </a:srgbClr>
                  </a:outerShdw>
                </a:effectLst>
                <a:latin typeface="segoe-ui_normal"/>
              </a:rPr>
              <a:t>primary and secondary region pairings</a:t>
            </a:r>
            <a:endParaRPr lang="en-IN" sz="2800" b="1" u="sng"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968123337"/>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u="sng" dirty="0" smtClean="0">
                <a:effectLst>
                  <a:outerShdw blurRad="38100" dist="38100" dir="2700000" algn="tl">
                    <a:srgbClr val="000000">
                      <a:alpha val="43137"/>
                    </a:srgbClr>
                  </a:outerShdw>
                </a:effectLst>
              </a:rPr>
              <a:t>Microsoft Azure Storage: Types</a:t>
            </a:r>
            <a:endParaRPr lang="en-US" sz="3600" b="1" u="sng" dirty="0">
              <a:effectLst>
                <a:outerShdw blurRad="38100" dist="38100" dir="2700000" algn="tl">
                  <a:srgbClr val="000000">
                    <a:alpha val="43137"/>
                  </a:srgbClr>
                </a:outerShdw>
              </a:effectLst>
            </a:endParaRPr>
          </a:p>
        </p:txBody>
      </p:sp>
      <p:sp>
        <p:nvSpPr>
          <p:cNvPr id="3" name="Text Placeholder 2"/>
          <p:cNvSpPr>
            <a:spLocks noGrp="1"/>
          </p:cNvSpPr>
          <p:nvPr>
            <p:ph idx="1"/>
          </p:nvPr>
        </p:nvSpPr>
        <p:spPr/>
        <p:txBody>
          <a:bodyPr/>
          <a:lstStyle/>
          <a:p>
            <a:pPr marL="571500" indent="-571500">
              <a:buFont typeface="Arial" panose="020B0604020202020204" pitchFamily="34" charset="0"/>
              <a:buChar char="•"/>
            </a:pPr>
            <a:r>
              <a:rPr lang="en-US" dirty="0" smtClean="0"/>
              <a:t>Blob</a:t>
            </a:r>
          </a:p>
          <a:p>
            <a:pPr marL="571500" indent="-571500">
              <a:buFont typeface="Arial" panose="020B0604020202020204" pitchFamily="34" charset="0"/>
              <a:buChar char="•"/>
            </a:pPr>
            <a:r>
              <a:rPr lang="en-US" dirty="0" smtClean="0"/>
              <a:t>Table</a:t>
            </a:r>
          </a:p>
          <a:p>
            <a:pPr marL="571500" indent="-571500">
              <a:buFont typeface="Arial" panose="020B0604020202020204" pitchFamily="34" charset="0"/>
              <a:buChar char="•"/>
            </a:pPr>
            <a:r>
              <a:rPr lang="en-US" dirty="0" smtClean="0"/>
              <a:t>Queue</a:t>
            </a:r>
          </a:p>
          <a:p>
            <a:pPr marL="571500" indent="-571500">
              <a:buFont typeface="Arial" panose="020B0604020202020204" pitchFamily="34" charset="0"/>
              <a:buChar char="•"/>
            </a:pPr>
            <a:r>
              <a:rPr lang="en-US" dirty="0" smtClean="0"/>
              <a:t>File</a:t>
            </a:r>
            <a:endParaRPr lang="en-US" dirty="0"/>
          </a:p>
        </p:txBody>
      </p:sp>
      <p:pic>
        <p:nvPicPr>
          <p:cNvPr id="4" name="Picture 3"/>
          <p:cNvPicPr>
            <a:picLocks noChangeAspect="1"/>
          </p:cNvPicPr>
          <p:nvPr/>
        </p:nvPicPr>
        <p:blipFill>
          <a:blip r:embed="rId3"/>
          <a:stretch>
            <a:fillRect/>
          </a:stretch>
        </p:blipFill>
        <p:spPr>
          <a:xfrm>
            <a:off x="4006415" y="1635898"/>
            <a:ext cx="7916348" cy="4805362"/>
          </a:xfrm>
          <a:prstGeom prst="rect">
            <a:avLst/>
          </a:prstGeom>
        </p:spPr>
      </p:pic>
    </p:spTree>
    <p:extLst>
      <p:ext uri="{BB962C8B-B14F-4D97-AF65-F5344CB8AC3E}">
        <p14:creationId xmlns:p14="http://schemas.microsoft.com/office/powerpoint/2010/main" val="36212578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91885"/>
            <a:ext cx="10515600" cy="2082574"/>
          </a:xfrm>
        </p:spPr>
        <p:txBody>
          <a:bodyPr>
            <a:normAutofit/>
          </a:bodyPr>
          <a:lstStyle/>
          <a:p>
            <a:r>
              <a:rPr lang="en-US" sz="3600" b="1" u="sng" dirty="0" smtClean="0">
                <a:effectLst>
                  <a:outerShdw blurRad="38100" dist="38100" dir="2700000" algn="tl">
                    <a:srgbClr val="000000">
                      <a:alpha val="43137"/>
                    </a:srgbClr>
                  </a:outerShdw>
                </a:effectLst>
              </a:rPr>
              <a:t>Abstractions – blobs and disks</a:t>
            </a:r>
            <a:endParaRPr lang="en-US" sz="3600" b="1" u="sng" dirty="0">
              <a:effectLst>
                <a:outerShdw blurRad="38100" dist="38100" dir="2700000" algn="tl">
                  <a:srgbClr val="000000">
                    <a:alpha val="43137"/>
                  </a:srgbClr>
                </a:outerShdw>
              </a:effectLst>
            </a:endParaRPr>
          </a:p>
        </p:txBody>
      </p:sp>
      <p:sp>
        <p:nvSpPr>
          <p:cNvPr id="3" name="Text Placeholder 2"/>
          <p:cNvSpPr>
            <a:spLocks noGrp="1"/>
          </p:cNvSpPr>
          <p:nvPr>
            <p:ph idx="1"/>
          </p:nvPr>
        </p:nvSpPr>
        <p:spPr>
          <a:xfrm>
            <a:off x="182880" y="911352"/>
            <a:ext cx="11545824" cy="5946648"/>
          </a:xfrm>
        </p:spPr>
        <p:txBody>
          <a:bodyPr>
            <a:normAutofit fontScale="55000" lnSpcReduction="20000"/>
          </a:bodyPr>
          <a:lstStyle/>
          <a:p>
            <a:pPr marL="0" indent="0">
              <a:lnSpc>
                <a:spcPct val="100000"/>
              </a:lnSpc>
              <a:buNone/>
            </a:pPr>
            <a:r>
              <a:rPr lang="en-US" b="1" dirty="0" smtClean="0"/>
              <a:t>Blobs</a:t>
            </a:r>
            <a:r>
              <a:rPr lang="en-US" dirty="0" smtClean="0"/>
              <a:t> – </a:t>
            </a:r>
            <a:r>
              <a:rPr lang="en-IN" sz="3200" dirty="0"/>
              <a:t>A Blob storage account is a specialized storage account for storing your </a:t>
            </a:r>
            <a:r>
              <a:rPr lang="en-IN" sz="3200" dirty="0" smtClean="0"/>
              <a:t>unstructured data </a:t>
            </a:r>
            <a:r>
              <a:rPr lang="en-IN" sz="3200" dirty="0"/>
              <a:t>as blobs (objects) in Azure </a:t>
            </a:r>
            <a:r>
              <a:rPr lang="en-IN" sz="3200" dirty="0" smtClean="0"/>
              <a:t>Storage</a:t>
            </a:r>
          </a:p>
          <a:p>
            <a:pPr marL="0" indent="0">
              <a:lnSpc>
                <a:spcPct val="100000"/>
              </a:lnSpc>
              <a:buNone/>
            </a:pPr>
            <a:endParaRPr lang="en-IN" sz="2600" dirty="0" smtClean="0"/>
          </a:p>
          <a:p>
            <a:pPr marL="0" indent="0">
              <a:lnSpc>
                <a:spcPct val="100000"/>
              </a:lnSpc>
              <a:buNone/>
            </a:pPr>
            <a:endParaRPr lang="en-US" sz="2000" dirty="0" smtClean="0"/>
          </a:p>
          <a:p>
            <a:pPr>
              <a:lnSpc>
                <a:spcPct val="100000"/>
              </a:lnSpc>
            </a:pPr>
            <a:endParaRPr lang="en-US" sz="2600" dirty="0" smtClean="0"/>
          </a:p>
          <a:p>
            <a:pPr>
              <a:lnSpc>
                <a:spcPct val="100000"/>
              </a:lnSpc>
            </a:pPr>
            <a:endParaRPr lang="en-US" sz="2600" dirty="0"/>
          </a:p>
          <a:p>
            <a:pPr>
              <a:lnSpc>
                <a:spcPct val="100000"/>
              </a:lnSpc>
            </a:pPr>
            <a:endParaRPr lang="en-US" sz="2600" dirty="0" smtClean="0"/>
          </a:p>
          <a:p>
            <a:pPr>
              <a:lnSpc>
                <a:spcPct val="100000"/>
              </a:lnSpc>
            </a:pPr>
            <a:endParaRPr lang="en-US" sz="2600" dirty="0"/>
          </a:p>
          <a:p>
            <a:pPr>
              <a:lnSpc>
                <a:spcPct val="100000"/>
              </a:lnSpc>
            </a:pPr>
            <a:endParaRPr lang="en-US" sz="2600" dirty="0" smtClean="0"/>
          </a:p>
          <a:p>
            <a:pPr>
              <a:lnSpc>
                <a:spcPct val="100000"/>
              </a:lnSpc>
            </a:pPr>
            <a:endParaRPr lang="en-US" sz="2600" dirty="0"/>
          </a:p>
          <a:p>
            <a:pPr>
              <a:lnSpc>
                <a:spcPct val="100000"/>
              </a:lnSpc>
            </a:pPr>
            <a:endParaRPr lang="en-US" sz="2600" dirty="0" smtClean="0"/>
          </a:p>
          <a:p>
            <a:pPr>
              <a:lnSpc>
                <a:spcPct val="100000"/>
              </a:lnSpc>
            </a:pPr>
            <a:endParaRPr lang="en-US" sz="2600" dirty="0"/>
          </a:p>
          <a:p>
            <a:pPr>
              <a:lnSpc>
                <a:spcPct val="100000"/>
              </a:lnSpc>
            </a:pPr>
            <a:endParaRPr lang="en-US" sz="2600" dirty="0" smtClean="0"/>
          </a:p>
          <a:p>
            <a:pPr>
              <a:lnSpc>
                <a:spcPct val="100000"/>
              </a:lnSpc>
            </a:pPr>
            <a:r>
              <a:rPr lang="en-US" sz="2600" dirty="0" smtClean="0"/>
              <a:t> </a:t>
            </a:r>
            <a:r>
              <a:rPr lang="en-US" sz="3200" dirty="0" smtClean="0"/>
              <a:t>Massively scalable object store in the cloud</a:t>
            </a:r>
          </a:p>
          <a:p>
            <a:r>
              <a:rPr lang="en-IN" sz="3200" dirty="0" smtClean="0"/>
              <a:t>Serving </a:t>
            </a:r>
            <a:r>
              <a:rPr lang="en-IN" sz="3200" dirty="0"/>
              <a:t>images or documents directly to a browser</a:t>
            </a:r>
          </a:p>
          <a:p>
            <a:r>
              <a:rPr lang="en-IN" sz="3200" dirty="0"/>
              <a:t>Storing files for distributed access</a:t>
            </a:r>
          </a:p>
          <a:p>
            <a:r>
              <a:rPr lang="en-IN" sz="3200" dirty="0"/>
              <a:t>Streaming video and audio</a:t>
            </a:r>
          </a:p>
          <a:p>
            <a:r>
              <a:rPr lang="en-IN" sz="3200" dirty="0"/>
              <a:t>Storing data for backup and restore, disaster recovery, and archiving</a:t>
            </a:r>
          </a:p>
          <a:p>
            <a:r>
              <a:rPr lang="en-IN" sz="3200" dirty="0"/>
              <a:t>Storing data for analysis by an on-premises or Azure-hosted </a:t>
            </a:r>
            <a:r>
              <a:rPr lang="en-IN" sz="3200" dirty="0" smtClean="0"/>
              <a:t>service</a:t>
            </a:r>
          </a:p>
          <a:p>
            <a:pPr marL="0" indent="0">
              <a:buNone/>
            </a:pPr>
            <a:endParaRPr lang="en-IN" sz="2200" dirty="0"/>
          </a:p>
          <a:p>
            <a:pPr lvl="2">
              <a:lnSpc>
                <a:spcPct val="100000"/>
              </a:lnSpc>
            </a:pPr>
            <a:endParaRPr lang="en-US" dirty="0" smtClean="0"/>
          </a:p>
        </p:txBody>
      </p:sp>
      <p:pic>
        <p:nvPicPr>
          <p:cNvPr id="4" name="Picture 3"/>
          <p:cNvPicPr>
            <a:picLocks noChangeAspect="1"/>
          </p:cNvPicPr>
          <p:nvPr/>
        </p:nvPicPr>
        <p:blipFill>
          <a:blip r:embed="rId3"/>
          <a:stretch>
            <a:fillRect/>
          </a:stretch>
        </p:blipFill>
        <p:spPr>
          <a:xfrm>
            <a:off x="2215896" y="1584226"/>
            <a:ext cx="4457700" cy="2819400"/>
          </a:xfrm>
          <a:prstGeom prst="rect">
            <a:avLst/>
          </a:prstGeom>
        </p:spPr>
      </p:pic>
    </p:spTree>
    <p:extLst>
      <p:ext uri="{BB962C8B-B14F-4D97-AF65-F5344CB8AC3E}">
        <p14:creationId xmlns:p14="http://schemas.microsoft.com/office/powerpoint/2010/main" val="31412098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21920"/>
            <a:ext cx="11353800" cy="6055043"/>
          </a:xfrm>
        </p:spPr>
        <p:txBody>
          <a:bodyPr/>
          <a:lstStyle/>
          <a:p>
            <a:pPr marL="0" indent="0">
              <a:buNone/>
            </a:pPr>
            <a:r>
              <a:rPr lang="en-IN" b="1" i="1" dirty="0"/>
              <a:t>Block blobs</a:t>
            </a:r>
            <a:r>
              <a:rPr lang="en-IN" b="1" dirty="0"/>
              <a:t> </a:t>
            </a:r>
            <a:r>
              <a:rPr lang="en-IN" dirty="0"/>
              <a:t>are ideal for storing text or binary files, such as documents and media files. </a:t>
            </a:r>
          </a:p>
          <a:p>
            <a:pPr marL="0" indent="0">
              <a:buNone/>
            </a:pPr>
            <a:r>
              <a:rPr lang="en-IN" b="1" i="1" dirty="0"/>
              <a:t>Append blobs</a:t>
            </a:r>
            <a:r>
              <a:rPr lang="en-IN" dirty="0"/>
              <a:t> are similar to block blobs in that they are made up of blocks, but they are optimized for append operations, so they are useful for logging scenarios.</a:t>
            </a:r>
          </a:p>
          <a:p>
            <a:pPr marL="0" indent="0">
              <a:buNone/>
            </a:pPr>
            <a:r>
              <a:rPr lang="en-IN" b="1" i="1" dirty="0"/>
              <a:t>Page blobs</a:t>
            </a:r>
            <a:r>
              <a:rPr lang="en-IN" dirty="0"/>
              <a:t> can be up to 1 TB in size, and are more efficient for frequent read/write operations. Azure Virtual Machines use page blobs as OS and data disks.</a:t>
            </a:r>
            <a:endParaRPr lang="en-IN" sz="2200" dirty="0"/>
          </a:p>
          <a:p>
            <a:pPr lvl="1">
              <a:lnSpc>
                <a:spcPct val="100000"/>
              </a:lnSpc>
            </a:pPr>
            <a:endParaRPr lang="en-US" dirty="0"/>
          </a:p>
          <a:p>
            <a:pPr marL="0" indent="0">
              <a:lnSpc>
                <a:spcPct val="100000"/>
              </a:lnSpc>
              <a:buNone/>
            </a:pPr>
            <a:r>
              <a:rPr lang="en-US" dirty="0"/>
              <a:t>Move on-premises applications to cloud</a:t>
            </a:r>
          </a:p>
          <a:p>
            <a:pPr lvl="1">
              <a:lnSpc>
                <a:spcPct val="100000"/>
              </a:lnSpc>
            </a:pPr>
            <a:r>
              <a:rPr lang="en-US" dirty="0"/>
              <a:t>Mounted disks are virtual hard disks (VHDs) stored in Azure Blobs</a:t>
            </a:r>
          </a:p>
          <a:p>
            <a:endParaRPr lang="en-IN" dirty="0"/>
          </a:p>
        </p:txBody>
      </p:sp>
    </p:spTree>
    <p:extLst>
      <p:ext uri="{BB962C8B-B14F-4D97-AF65-F5344CB8AC3E}">
        <p14:creationId xmlns:p14="http://schemas.microsoft.com/office/powerpoint/2010/main" val="845465417"/>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431073"/>
            <a:ext cx="10515600" cy="2121762"/>
          </a:xfrm>
        </p:spPr>
        <p:txBody>
          <a:bodyPr>
            <a:normAutofit/>
          </a:bodyPr>
          <a:lstStyle/>
          <a:p>
            <a:r>
              <a:rPr lang="en-US" sz="3600" b="1" u="sng" dirty="0" smtClean="0">
                <a:effectLst>
                  <a:outerShdw blurRad="38100" dist="38100" dir="2700000" algn="tl">
                    <a:srgbClr val="000000">
                      <a:alpha val="43137"/>
                    </a:srgbClr>
                  </a:outerShdw>
                </a:effectLst>
              </a:rPr>
              <a:t>Abstractions – tables and queues</a:t>
            </a:r>
            <a:endParaRPr lang="en-US" sz="3600" b="1" u="sng" dirty="0">
              <a:effectLst>
                <a:outerShdw blurRad="38100" dist="38100" dir="2700000" algn="tl">
                  <a:srgbClr val="000000">
                    <a:alpha val="43137"/>
                  </a:srgbClr>
                </a:outerShdw>
              </a:effectLst>
            </a:endParaRPr>
          </a:p>
        </p:txBody>
      </p:sp>
      <p:sp>
        <p:nvSpPr>
          <p:cNvPr id="3" name="Text Placeholder 2"/>
          <p:cNvSpPr>
            <a:spLocks noGrp="1"/>
          </p:cNvSpPr>
          <p:nvPr>
            <p:ph idx="1"/>
          </p:nvPr>
        </p:nvSpPr>
        <p:spPr>
          <a:xfrm>
            <a:off x="0" y="911352"/>
            <a:ext cx="11728704" cy="5946648"/>
          </a:xfrm>
        </p:spPr>
        <p:txBody>
          <a:bodyPr>
            <a:normAutofit fontScale="62500" lnSpcReduction="20000"/>
          </a:bodyPr>
          <a:lstStyle/>
          <a:p>
            <a:pPr marL="0" indent="0">
              <a:lnSpc>
                <a:spcPct val="110000"/>
              </a:lnSpc>
              <a:buNone/>
            </a:pPr>
            <a:r>
              <a:rPr lang="en-US" b="1" dirty="0" smtClean="0"/>
              <a:t>Tables </a:t>
            </a:r>
            <a:r>
              <a:rPr lang="en-US" dirty="0" smtClean="0"/>
              <a:t>–</a:t>
            </a:r>
            <a:r>
              <a:rPr lang="en-IN" dirty="0"/>
              <a:t>Azure Table storage stores large amounts of structured data. The service is a NoSQL </a:t>
            </a:r>
            <a:r>
              <a:rPr lang="en-IN" dirty="0" err="1"/>
              <a:t>datastore</a:t>
            </a:r>
            <a:r>
              <a:rPr lang="en-IN" dirty="0"/>
              <a:t> which accepts authenticated calls from inside and outside the Azure cloud. Azure tables are ideal for storing structured, non-relational data</a:t>
            </a:r>
            <a:endParaRPr lang="en-US" dirty="0" smtClean="0"/>
          </a:p>
          <a:p>
            <a:pPr marL="0" indent="0">
              <a:lnSpc>
                <a:spcPct val="110000"/>
              </a:lnSpc>
              <a:buNone/>
            </a:pPr>
            <a:r>
              <a:rPr lang="en-US" dirty="0" smtClean="0"/>
              <a:t> Massively scalable NoSQL cloud store</a:t>
            </a:r>
          </a:p>
          <a:p>
            <a:pPr lvl="1">
              <a:lnSpc>
                <a:spcPct val="110000"/>
              </a:lnSpc>
            </a:pPr>
            <a:r>
              <a:rPr lang="en-US" dirty="0" smtClean="0"/>
              <a:t>Key/Attribute(s) store at scale</a:t>
            </a:r>
          </a:p>
          <a:p>
            <a:pPr lvl="1">
              <a:lnSpc>
                <a:spcPct val="110000"/>
              </a:lnSpc>
            </a:pPr>
            <a:r>
              <a:rPr lang="en-US" dirty="0" smtClean="0"/>
              <a:t>Auto load balances partitions to meet traffic needs</a:t>
            </a:r>
          </a:p>
          <a:p>
            <a:pPr lvl="1">
              <a:lnSpc>
                <a:spcPct val="110000"/>
              </a:lnSpc>
            </a:pPr>
            <a:r>
              <a:rPr lang="en-US" dirty="0" smtClean="0"/>
              <a:t>Store user, device or any type of metadata for your service</a:t>
            </a:r>
          </a:p>
          <a:p>
            <a:pPr lvl="1">
              <a:lnSpc>
                <a:spcPct val="110000"/>
              </a:lnSpc>
            </a:pPr>
            <a:endParaRPr lang="en-US" dirty="0"/>
          </a:p>
          <a:p>
            <a:pPr lvl="1">
              <a:lnSpc>
                <a:spcPct val="110000"/>
              </a:lnSpc>
            </a:pPr>
            <a:endParaRPr lang="en-US" dirty="0" smtClean="0"/>
          </a:p>
          <a:p>
            <a:pPr lvl="1">
              <a:lnSpc>
                <a:spcPct val="110000"/>
              </a:lnSpc>
            </a:pPr>
            <a:endParaRPr lang="en-US" dirty="0"/>
          </a:p>
          <a:p>
            <a:pPr lvl="1">
              <a:lnSpc>
                <a:spcPct val="110000"/>
              </a:lnSpc>
            </a:pPr>
            <a:endParaRPr lang="en-US" dirty="0" smtClean="0"/>
          </a:p>
          <a:p>
            <a:pPr lvl="1">
              <a:lnSpc>
                <a:spcPct val="110000"/>
              </a:lnSpc>
            </a:pPr>
            <a:endParaRPr lang="en-US" dirty="0"/>
          </a:p>
          <a:p>
            <a:pPr lvl="1">
              <a:lnSpc>
                <a:spcPct val="110000"/>
              </a:lnSpc>
            </a:pPr>
            <a:endParaRPr lang="en-US" dirty="0" smtClean="0"/>
          </a:p>
          <a:p>
            <a:pPr lvl="1">
              <a:lnSpc>
                <a:spcPct val="110000"/>
              </a:lnSpc>
            </a:pPr>
            <a:endParaRPr lang="en-US" dirty="0"/>
          </a:p>
          <a:p>
            <a:pPr lvl="1">
              <a:lnSpc>
                <a:spcPct val="110000"/>
              </a:lnSpc>
            </a:pPr>
            <a:endParaRPr lang="en-IN" b="1" dirty="0" smtClean="0"/>
          </a:p>
          <a:p>
            <a:pPr lvl="1">
              <a:lnSpc>
                <a:spcPct val="110000"/>
              </a:lnSpc>
            </a:pPr>
            <a:endParaRPr lang="en-IN" b="1" dirty="0"/>
          </a:p>
          <a:p>
            <a:pPr lvl="1">
              <a:lnSpc>
                <a:spcPct val="110000"/>
              </a:lnSpc>
            </a:pPr>
            <a:endParaRPr lang="en-IN" b="1" dirty="0" smtClean="0"/>
          </a:p>
          <a:p>
            <a:pPr lvl="1">
              <a:lnSpc>
                <a:spcPct val="110000"/>
              </a:lnSpc>
            </a:pPr>
            <a:endParaRPr lang="en-IN" b="1" dirty="0"/>
          </a:p>
          <a:p>
            <a:pPr lvl="1">
              <a:lnSpc>
                <a:spcPct val="110000"/>
              </a:lnSpc>
            </a:pPr>
            <a:r>
              <a:rPr lang="en-IN" b="1" dirty="0" smtClean="0"/>
              <a:t>Entity</a:t>
            </a:r>
            <a:r>
              <a:rPr lang="en-IN" dirty="0"/>
              <a:t>: An entity is a set of properties, similar to a database row. An entity can be up to 1MB in size.</a:t>
            </a:r>
          </a:p>
          <a:p>
            <a:pPr lvl="1">
              <a:lnSpc>
                <a:spcPct val="110000"/>
              </a:lnSpc>
            </a:pPr>
            <a:endParaRPr lang="en-US" dirty="0" smtClean="0"/>
          </a:p>
          <a:p>
            <a:pPr marL="457200" lvl="1" indent="0">
              <a:lnSpc>
                <a:spcPct val="110000"/>
              </a:lnSpc>
              <a:buNone/>
            </a:pPr>
            <a:endParaRPr lang="en-US" dirty="0" smtClean="0"/>
          </a:p>
          <a:p>
            <a:pPr marL="0" indent="0">
              <a:lnSpc>
                <a:spcPct val="110000"/>
              </a:lnSpc>
              <a:buNone/>
            </a:pPr>
            <a:r>
              <a:rPr lang="en-US" dirty="0" smtClean="0"/>
              <a:t>	</a:t>
            </a:r>
          </a:p>
        </p:txBody>
      </p:sp>
      <p:pic>
        <p:nvPicPr>
          <p:cNvPr id="4" name="Picture 3"/>
          <p:cNvPicPr>
            <a:picLocks noChangeAspect="1"/>
          </p:cNvPicPr>
          <p:nvPr/>
        </p:nvPicPr>
        <p:blipFill>
          <a:blip r:embed="rId3"/>
          <a:stretch>
            <a:fillRect/>
          </a:stretch>
        </p:blipFill>
        <p:spPr>
          <a:xfrm>
            <a:off x="2695574" y="2851214"/>
            <a:ext cx="3810000" cy="2381250"/>
          </a:xfrm>
          <a:prstGeom prst="rect">
            <a:avLst/>
          </a:prstGeom>
        </p:spPr>
      </p:pic>
    </p:spTree>
    <p:extLst>
      <p:ext uri="{BB962C8B-B14F-4D97-AF65-F5344CB8AC3E}">
        <p14:creationId xmlns:p14="http://schemas.microsoft.com/office/powerpoint/2010/main" val="1155806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9" end="1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38545" y="0"/>
            <a:ext cx="11215255" cy="6176963"/>
          </a:xfrm>
        </p:spPr>
        <p:txBody>
          <a:bodyPr>
            <a:normAutofit lnSpcReduction="10000"/>
          </a:bodyPr>
          <a:lstStyle/>
          <a:p>
            <a:pPr marL="0" indent="0">
              <a:lnSpc>
                <a:spcPct val="110000"/>
              </a:lnSpc>
              <a:buNone/>
            </a:pPr>
            <a:r>
              <a:rPr lang="en-US" b="1" dirty="0"/>
              <a:t>Queues </a:t>
            </a:r>
            <a:r>
              <a:rPr lang="en-US" dirty="0"/>
              <a:t>– </a:t>
            </a:r>
            <a:r>
              <a:rPr lang="en-US" sz="2200" dirty="0" smtClean="0"/>
              <a:t>A</a:t>
            </a:r>
            <a:r>
              <a:rPr lang="en-IN" sz="2200" dirty="0" err="1" smtClean="0"/>
              <a:t>zure</a:t>
            </a:r>
            <a:r>
              <a:rPr lang="en-IN" sz="2200" dirty="0" smtClean="0"/>
              <a:t> </a:t>
            </a:r>
            <a:r>
              <a:rPr lang="en-IN" sz="2200" dirty="0"/>
              <a:t>Queue storage provides cloud messaging between application components. In designing applications for scale, application components are often decoupled, so that they can scale independently. Queue storage delivers asynchronous messaging for communication between application components, whether they are running in the cloud, on the desktop, on an on-premises server, or on a mobile device. Queue storage also supports managing asynchronous tasks and building process work flows.</a:t>
            </a:r>
            <a:endParaRPr lang="en-US" sz="2200" dirty="0" smtClean="0"/>
          </a:p>
          <a:p>
            <a:pPr marL="0" indent="0">
              <a:lnSpc>
                <a:spcPct val="110000"/>
              </a:lnSpc>
              <a:buNone/>
            </a:pPr>
            <a:endParaRPr lang="en-US" dirty="0"/>
          </a:p>
          <a:p>
            <a:pPr marL="0" indent="0">
              <a:lnSpc>
                <a:spcPct val="110000"/>
              </a:lnSpc>
              <a:buNone/>
            </a:pPr>
            <a:r>
              <a:rPr lang="en-US" dirty="0" smtClean="0"/>
              <a:t>Reliable </a:t>
            </a:r>
            <a:r>
              <a:rPr lang="en-US" dirty="0"/>
              <a:t>messaging system </a:t>
            </a:r>
          </a:p>
          <a:p>
            <a:pPr lvl="1">
              <a:lnSpc>
                <a:spcPct val="110000"/>
              </a:lnSpc>
            </a:pPr>
            <a:r>
              <a:rPr lang="en-US" dirty="0"/>
              <a:t>Reliable, low latency, high throughput messaging system</a:t>
            </a:r>
          </a:p>
          <a:p>
            <a:pPr lvl="1">
              <a:lnSpc>
                <a:spcPct val="110000"/>
              </a:lnSpc>
            </a:pPr>
            <a:r>
              <a:rPr lang="en-US" dirty="0"/>
              <a:t>Decouple components/roles</a:t>
            </a:r>
          </a:p>
          <a:p>
            <a:pPr lvl="2">
              <a:lnSpc>
                <a:spcPct val="110000"/>
              </a:lnSpc>
            </a:pPr>
            <a:r>
              <a:rPr lang="en-US" dirty="0" smtClean="0"/>
              <a:t>Azure one service to another service communication</a:t>
            </a:r>
            <a:endParaRPr lang="en-US" dirty="0"/>
          </a:p>
          <a:p>
            <a:pPr lvl="2">
              <a:lnSpc>
                <a:spcPct val="110000"/>
              </a:lnSpc>
            </a:pPr>
            <a:r>
              <a:rPr lang="en-US" dirty="0"/>
              <a:t>Allows roles to scale independently</a:t>
            </a:r>
          </a:p>
          <a:p>
            <a:pPr lvl="1">
              <a:lnSpc>
                <a:spcPct val="110000"/>
              </a:lnSpc>
            </a:pPr>
            <a:r>
              <a:rPr lang="en-US" dirty="0"/>
              <a:t>Implement scheduling of asynchronous tasks</a:t>
            </a:r>
          </a:p>
          <a:p>
            <a:pPr lvl="1">
              <a:lnSpc>
                <a:spcPct val="110000"/>
              </a:lnSpc>
            </a:pPr>
            <a:r>
              <a:rPr lang="en-US" dirty="0"/>
              <a:t>Building process/work flows</a:t>
            </a:r>
          </a:p>
          <a:p>
            <a:endParaRPr lang="en-IN" dirty="0"/>
          </a:p>
        </p:txBody>
      </p:sp>
    </p:spTree>
    <p:extLst>
      <p:ext uri="{BB962C8B-B14F-4D97-AF65-F5344CB8AC3E}">
        <p14:creationId xmlns:p14="http://schemas.microsoft.com/office/powerpoint/2010/main" val="1470679332"/>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759"/>
            <a:ext cx="10515600" cy="2056448"/>
          </a:xfrm>
        </p:spPr>
        <p:txBody>
          <a:bodyPr/>
          <a:lstStyle/>
          <a:p>
            <a:r>
              <a:rPr lang="en-US" dirty="0" smtClean="0"/>
              <a:t>Abstractions – files</a:t>
            </a:r>
            <a:br>
              <a:rPr lang="en-US" dirty="0" smtClean="0"/>
            </a:br>
            <a:endParaRPr lang="en-US" dirty="0"/>
          </a:p>
        </p:txBody>
      </p:sp>
      <p:sp>
        <p:nvSpPr>
          <p:cNvPr id="3" name="Text Placeholder 2"/>
          <p:cNvSpPr>
            <a:spLocks noGrp="1"/>
          </p:cNvSpPr>
          <p:nvPr>
            <p:ph idx="1"/>
          </p:nvPr>
        </p:nvSpPr>
        <p:spPr>
          <a:xfrm>
            <a:off x="471055" y="911352"/>
            <a:ext cx="11257649" cy="4140708"/>
          </a:xfrm>
        </p:spPr>
        <p:txBody>
          <a:bodyPr>
            <a:normAutofit/>
          </a:bodyPr>
          <a:lstStyle/>
          <a:p>
            <a:pPr marL="0" indent="0">
              <a:lnSpc>
                <a:spcPct val="100000"/>
              </a:lnSpc>
              <a:buNone/>
            </a:pPr>
            <a:r>
              <a:rPr lang="en-US" dirty="0" smtClean="0"/>
              <a:t>	</a:t>
            </a:r>
            <a:r>
              <a:rPr lang="en-US" b="1" dirty="0" smtClean="0"/>
              <a:t>Files </a:t>
            </a:r>
            <a:r>
              <a:rPr lang="en-US" dirty="0" smtClean="0"/>
              <a:t>– </a:t>
            </a:r>
            <a:r>
              <a:rPr lang="en-IN" sz="2000" dirty="0"/>
              <a:t>Azure File storage offers network file shares in the cloud</a:t>
            </a:r>
            <a:r>
              <a:rPr lang="en-IN" dirty="0"/>
              <a:t> </a:t>
            </a:r>
            <a:endParaRPr lang="en-IN" dirty="0" smtClean="0"/>
          </a:p>
          <a:p>
            <a:pPr marL="0" indent="0">
              <a:lnSpc>
                <a:spcPct val="100000"/>
              </a:lnSpc>
              <a:buNone/>
            </a:pPr>
            <a:r>
              <a:rPr lang="en-US" dirty="0" smtClean="0"/>
              <a:t>A PaaS solution to a network share in cloud</a:t>
            </a:r>
          </a:p>
          <a:p>
            <a:pPr lvl="1">
              <a:lnSpc>
                <a:spcPct val="100000"/>
              </a:lnSpc>
            </a:pPr>
            <a:r>
              <a:rPr lang="en-US" dirty="0" smtClean="0"/>
              <a:t>SMB 2.1 and 3.0 access to share data across VMs in cloud</a:t>
            </a:r>
          </a:p>
          <a:p>
            <a:pPr lvl="1">
              <a:lnSpc>
                <a:spcPct val="100000"/>
              </a:lnSpc>
            </a:pPr>
            <a:r>
              <a:rPr lang="en-US" dirty="0" smtClean="0"/>
              <a:t>Enables “lift &amp; shift” of applications </a:t>
            </a:r>
          </a:p>
          <a:p>
            <a:pPr lvl="2">
              <a:lnSpc>
                <a:spcPct val="100000"/>
              </a:lnSpc>
            </a:pPr>
            <a:r>
              <a:rPr lang="en-US" dirty="0" smtClean="0"/>
              <a:t>Applications use native OS APIs to access files</a:t>
            </a:r>
          </a:p>
          <a:p>
            <a:pPr marL="914400" lvl="2" indent="0">
              <a:lnSpc>
                <a:spcPct val="100000"/>
              </a:lnSpc>
              <a:buNone/>
            </a:pPr>
            <a:endParaRPr lang="en-US" dirty="0" smtClean="0"/>
          </a:p>
          <a:p>
            <a:pPr lvl="2">
              <a:lnSpc>
                <a:spcPct val="100000"/>
              </a:lnSpc>
            </a:pPr>
            <a:r>
              <a:rPr lang="en-IN" b="1" dirty="0" smtClean="0"/>
              <a:t>Replace </a:t>
            </a:r>
            <a:r>
              <a:rPr lang="en-IN" b="1" dirty="0"/>
              <a:t>on-premises file </a:t>
            </a:r>
            <a:r>
              <a:rPr lang="en-IN" b="1" dirty="0" smtClean="0"/>
              <a:t>servers</a:t>
            </a:r>
          </a:p>
          <a:p>
            <a:pPr lvl="2">
              <a:lnSpc>
                <a:spcPct val="100000"/>
              </a:lnSpc>
            </a:pPr>
            <a:r>
              <a:rPr lang="en-IN" b="1" dirty="0"/>
              <a:t>"Lift and Shift" applications</a:t>
            </a:r>
            <a:endParaRPr lang="en-US" dirty="0"/>
          </a:p>
        </p:txBody>
      </p:sp>
    </p:spTree>
    <p:extLst>
      <p:ext uri="{BB962C8B-B14F-4D97-AF65-F5344CB8AC3E}">
        <p14:creationId xmlns:p14="http://schemas.microsoft.com/office/powerpoint/2010/main" val="39369568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600891"/>
            <a:ext cx="10515600" cy="2291579"/>
          </a:xfrm>
        </p:spPr>
        <p:txBody>
          <a:bodyPr/>
          <a:lstStyle/>
          <a:p>
            <a:r>
              <a:rPr lang="en-US" dirty="0" smtClean="0"/>
              <a:t>File sharing the old way in Azure</a:t>
            </a:r>
            <a:endParaRPr lang="en-US" dirty="0"/>
          </a:p>
        </p:txBody>
      </p:sp>
      <p:pic>
        <p:nvPicPr>
          <p:cNvPr id="3" name="Picture 2" descr="cid:image001.png@01D117E3.6F48EBC0"/>
          <p:cNvPicPr>
            <a:picLocks noChangeAspect="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1706880" y="911352"/>
            <a:ext cx="8997844" cy="5303520"/>
          </a:xfrm>
          <a:prstGeom prst="rect">
            <a:avLst/>
          </a:prstGeom>
          <a:noFill/>
          <a:ln>
            <a:noFill/>
          </a:ln>
        </p:spPr>
      </p:pic>
    </p:spTree>
    <p:extLst>
      <p:ext uri="{BB962C8B-B14F-4D97-AF65-F5344CB8AC3E}">
        <p14:creationId xmlns:p14="http://schemas.microsoft.com/office/powerpoint/2010/main" val="20796716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444137"/>
            <a:ext cx="10515600" cy="2134825"/>
          </a:xfrm>
        </p:spPr>
        <p:txBody>
          <a:bodyPr/>
          <a:lstStyle/>
          <a:p>
            <a:r>
              <a:rPr lang="en-US" dirty="0" smtClean="0"/>
              <a:t>Azure files</a:t>
            </a:r>
            <a:endParaRPr lang="en-US" dirty="0"/>
          </a:p>
        </p:txBody>
      </p:sp>
      <p:pic>
        <p:nvPicPr>
          <p:cNvPr id="3" name="Picture 2" descr="cid:image002.png@01D117E3.6F48EBC0"/>
          <p:cNvPicPr>
            <a:picLocks/>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1706880" y="911352"/>
            <a:ext cx="8961120" cy="5303520"/>
          </a:xfrm>
          <a:prstGeom prst="rect">
            <a:avLst/>
          </a:prstGeom>
          <a:noFill/>
          <a:ln>
            <a:noFill/>
          </a:ln>
        </p:spPr>
      </p:pic>
    </p:spTree>
    <p:extLst>
      <p:ext uri="{BB962C8B-B14F-4D97-AF65-F5344CB8AC3E}">
        <p14:creationId xmlns:p14="http://schemas.microsoft.com/office/powerpoint/2010/main" val="25195245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483325"/>
            <a:ext cx="10515600" cy="2174014"/>
          </a:xfrm>
        </p:spPr>
        <p:txBody>
          <a:bodyPr>
            <a:normAutofit/>
          </a:bodyPr>
          <a:lstStyle/>
          <a:p>
            <a:r>
              <a:rPr lang="en-US" sz="3600" b="1" u="sng" dirty="0" smtClean="0">
                <a:effectLst>
                  <a:outerShdw blurRad="38100" dist="38100" dir="2700000" algn="tl">
                    <a:srgbClr val="000000">
                      <a:alpha val="43137"/>
                    </a:srgbClr>
                  </a:outerShdw>
                </a:effectLst>
              </a:rPr>
              <a:t>Additional services, tools and libraries</a:t>
            </a:r>
            <a:endParaRPr lang="en-US" sz="3600" b="1" u="sng" dirty="0">
              <a:effectLst>
                <a:outerShdw blurRad="38100" dist="38100" dir="2700000" algn="tl">
                  <a:srgbClr val="000000">
                    <a:alpha val="43137"/>
                  </a:srgbClr>
                </a:outerShdw>
              </a:effectLst>
            </a:endParaRPr>
          </a:p>
        </p:txBody>
      </p:sp>
      <p:sp>
        <p:nvSpPr>
          <p:cNvPr id="3" name="Text Placeholder 2"/>
          <p:cNvSpPr>
            <a:spLocks noGrp="1"/>
          </p:cNvSpPr>
          <p:nvPr>
            <p:ph idx="1"/>
          </p:nvPr>
        </p:nvSpPr>
        <p:spPr>
          <a:xfrm>
            <a:off x="475488" y="911352"/>
            <a:ext cx="11253216" cy="4575048"/>
          </a:xfrm>
        </p:spPr>
        <p:txBody>
          <a:bodyPr>
            <a:normAutofit fontScale="85000" lnSpcReduction="20000"/>
          </a:bodyPr>
          <a:lstStyle/>
          <a:p>
            <a:pPr marL="0" indent="0">
              <a:lnSpc>
                <a:spcPct val="100000"/>
              </a:lnSpc>
              <a:buNone/>
            </a:pPr>
            <a:r>
              <a:rPr lang="en-US" sz="2800" dirty="0"/>
              <a:t>Azure Import/Export </a:t>
            </a:r>
          </a:p>
          <a:p>
            <a:pPr lvl="1">
              <a:lnSpc>
                <a:spcPct val="100000"/>
              </a:lnSpc>
            </a:pPr>
            <a:r>
              <a:rPr lang="en-US" sz="2400" dirty="0"/>
              <a:t>Move TBs of data into and out of Azure Blobs by shipping disks</a:t>
            </a:r>
          </a:p>
          <a:p>
            <a:pPr lvl="1">
              <a:lnSpc>
                <a:spcPct val="100000"/>
              </a:lnSpc>
            </a:pPr>
            <a:r>
              <a:rPr lang="en-US" sz="2400" dirty="0"/>
              <a:t>Submit and monitor jobs via REST and Portal</a:t>
            </a:r>
          </a:p>
          <a:p>
            <a:pPr lvl="1">
              <a:lnSpc>
                <a:spcPct val="100000"/>
              </a:lnSpc>
            </a:pPr>
            <a:r>
              <a:rPr lang="en-US" sz="2400" dirty="0"/>
              <a:t>All disks encrypted with BitLocker</a:t>
            </a:r>
          </a:p>
          <a:p>
            <a:pPr marL="0" indent="0">
              <a:lnSpc>
                <a:spcPct val="100000"/>
              </a:lnSpc>
              <a:buNone/>
            </a:pPr>
            <a:endParaRPr lang="en-US" sz="2000" dirty="0" smtClean="0"/>
          </a:p>
          <a:p>
            <a:pPr marL="0" indent="0">
              <a:lnSpc>
                <a:spcPct val="100000"/>
              </a:lnSpc>
              <a:buNone/>
            </a:pPr>
            <a:r>
              <a:rPr lang="en-US" sz="2800" dirty="0" smtClean="0"/>
              <a:t>Tools </a:t>
            </a:r>
            <a:r>
              <a:rPr lang="en-US" sz="2800" dirty="0"/>
              <a:t>and Libraries</a:t>
            </a:r>
          </a:p>
          <a:p>
            <a:pPr lvl="1">
              <a:lnSpc>
                <a:spcPct val="100000"/>
              </a:lnSpc>
            </a:pPr>
            <a:r>
              <a:rPr lang="en-US" sz="2400" dirty="0"/>
              <a:t>Client libraries</a:t>
            </a:r>
          </a:p>
          <a:p>
            <a:pPr lvl="2">
              <a:lnSpc>
                <a:spcPct val="100000"/>
              </a:lnSpc>
            </a:pPr>
            <a:r>
              <a:rPr lang="en-US" dirty="0" smtClean="0"/>
              <a:t>.NET, Java, C++, Node.js, </a:t>
            </a:r>
            <a:r>
              <a:rPr lang="en-US" dirty="0" err="1" smtClean="0"/>
              <a:t>github</a:t>
            </a:r>
            <a:endParaRPr lang="en-US" dirty="0" smtClean="0"/>
          </a:p>
          <a:p>
            <a:pPr lvl="2">
              <a:lnSpc>
                <a:spcPct val="100000"/>
              </a:lnSpc>
            </a:pPr>
            <a:r>
              <a:rPr lang="en-US" dirty="0" smtClean="0"/>
              <a:t>Windows Phone &amp; Windows Runtime</a:t>
            </a:r>
          </a:p>
          <a:p>
            <a:pPr lvl="2">
              <a:lnSpc>
                <a:spcPct val="100000"/>
              </a:lnSpc>
            </a:pPr>
            <a:r>
              <a:rPr lang="en-US" dirty="0" smtClean="0"/>
              <a:t>iOS</a:t>
            </a:r>
          </a:p>
          <a:p>
            <a:pPr lvl="1">
              <a:lnSpc>
                <a:spcPct val="100000"/>
              </a:lnSpc>
            </a:pPr>
            <a:r>
              <a:rPr lang="en-US" sz="2400" dirty="0"/>
              <a:t>PowerShell commands</a:t>
            </a:r>
          </a:p>
          <a:p>
            <a:pPr lvl="1">
              <a:lnSpc>
                <a:spcPct val="100000"/>
              </a:lnSpc>
            </a:pPr>
            <a:r>
              <a:rPr lang="en-US" sz="2400" dirty="0" smtClean="0"/>
              <a:t>Command line interface (CLI) </a:t>
            </a:r>
            <a:r>
              <a:rPr lang="en-US" sz="2400" dirty="0"/>
              <a:t>tools</a:t>
            </a:r>
          </a:p>
          <a:p>
            <a:pPr lvl="1">
              <a:lnSpc>
                <a:spcPct val="100000"/>
              </a:lnSpc>
            </a:pPr>
            <a:r>
              <a:rPr lang="en-US" sz="2400" dirty="0"/>
              <a:t>AzCopy – copy blobs and </a:t>
            </a:r>
            <a:r>
              <a:rPr lang="en-US" sz="2400" dirty="0" smtClean="0"/>
              <a:t>disks</a:t>
            </a:r>
            <a:endParaRPr lang="en-US" sz="2400" dirty="0"/>
          </a:p>
          <a:p>
            <a:pPr lvl="2">
              <a:lnSpc>
                <a:spcPct val="100000"/>
              </a:lnSpc>
            </a:pPr>
            <a:r>
              <a:rPr lang="en-US" dirty="0" smtClean="0"/>
              <a:t>For backups, copying between accounts, and between on-premises and cloud</a:t>
            </a:r>
            <a:endParaRPr lang="en-US" dirty="0"/>
          </a:p>
        </p:txBody>
      </p:sp>
    </p:spTree>
    <p:extLst>
      <p:ext uri="{BB962C8B-B14F-4D97-AF65-F5344CB8AC3E}">
        <p14:creationId xmlns:p14="http://schemas.microsoft.com/office/powerpoint/2010/main" val="33249489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2" end="1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09802" y="-66984"/>
            <a:ext cx="10515600" cy="1643545"/>
          </a:xfrm>
        </p:spPr>
        <p:txBody>
          <a:bodyPr>
            <a:normAutofit/>
          </a:bodyPr>
          <a:lstStyle/>
          <a:p>
            <a:r>
              <a:rPr lang="en-US" sz="3600" b="1" u="sng" dirty="0" smtClean="0">
                <a:effectLst>
                  <a:outerShdw blurRad="38100" dist="38100" dir="2700000" algn="tl">
                    <a:srgbClr val="000000">
                      <a:alpha val="43137"/>
                    </a:srgbClr>
                  </a:outerShdw>
                </a:effectLst>
              </a:rPr>
              <a:t>Service Models</a:t>
            </a:r>
            <a:endParaRPr lang="en-US" sz="3600" b="1" u="sng" dirty="0">
              <a:effectLst>
                <a:outerShdw blurRad="38100" dist="38100" dir="2700000" algn="tl">
                  <a:srgbClr val="000000">
                    <a:alpha val="43137"/>
                  </a:srgbClr>
                </a:outerShdw>
              </a:effectLst>
            </a:endParaRPr>
          </a:p>
        </p:txBody>
      </p:sp>
      <p:sp>
        <p:nvSpPr>
          <p:cNvPr id="3" name="Rectangle 2"/>
          <p:cNvSpPr/>
          <p:nvPr/>
        </p:nvSpPr>
        <p:spPr bwMode="auto">
          <a:xfrm>
            <a:off x="3896432" y="1153076"/>
            <a:ext cx="6542220" cy="5139864"/>
          </a:xfrm>
          <a:prstGeom prst="rect">
            <a:avLst/>
          </a:pr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 name="Group 3"/>
          <p:cNvGrpSpPr/>
          <p:nvPr/>
        </p:nvGrpSpPr>
        <p:grpSpPr>
          <a:xfrm>
            <a:off x="4222282" y="1216720"/>
            <a:ext cx="2079485" cy="4780387"/>
            <a:chOff x="3377366" y="1593421"/>
            <a:chExt cx="2771925" cy="4780387"/>
          </a:xfrm>
        </p:grpSpPr>
        <p:sp>
          <p:nvSpPr>
            <p:cNvPr id="5" name="Rectangle 4"/>
            <p:cNvSpPr/>
            <p:nvPr/>
          </p:nvSpPr>
          <p:spPr>
            <a:xfrm>
              <a:off x="3428546" y="1593421"/>
              <a:ext cx="25779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Infrastructure</a:t>
              </a:r>
            </a:p>
            <a:p>
              <a:pPr defTabSz="1218936"/>
              <a:r>
                <a:rPr lang="en-US" sz="1600" dirty="0">
                  <a:solidFill>
                    <a:srgbClr val="595959">
                      <a:alpha val="99000"/>
                    </a:srgbClr>
                  </a:solidFill>
                  <a:ea typeface="Kozuka Gothic Pro R" pitchFamily="34" charset="-128"/>
                </a:rPr>
                <a:t>(as a Service)</a:t>
              </a:r>
            </a:p>
          </p:txBody>
        </p:sp>
        <p:sp>
          <p:nvSpPr>
            <p:cNvPr id="6" name="Rectangle 5"/>
            <p:cNvSpPr/>
            <p:nvPr/>
          </p:nvSpPr>
          <p:spPr>
            <a:xfrm>
              <a:off x="3928143" y="5537991"/>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7" name="Rectangle 6"/>
            <p:cNvSpPr/>
            <p:nvPr/>
          </p:nvSpPr>
          <p:spPr>
            <a:xfrm>
              <a:off x="3928143" y="5083172"/>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8" name="Rectangle 7"/>
            <p:cNvSpPr/>
            <p:nvPr/>
          </p:nvSpPr>
          <p:spPr>
            <a:xfrm>
              <a:off x="3928143" y="5992808"/>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9" name="Rectangle 8"/>
            <p:cNvSpPr/>
            <p:nvPr/>
          </p:nvSpPr>
          <p:spPr>
            <a:xfrm>
              <a:off x="3928143" y="417353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0" name="Rectangle 9"/>
            <p:cNvSpPr/>
            <p:nvPr/>
          </p:nvSpPr>
          <p:spPr>
            <a:xfrm>
              <a:off x="3928143" y="3718715"/>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1" name="Rectangle 10"/>
            <p:cNvSpPr/>
            <p:nvPr/>
          </p:nvSpPr>
          <p:spPr>
            <a:xfrm>
              <a:off x="3928143" y="4628353"/>
              <a:ext cx="1638241" cy="381000"/>
            </a:xfrm>
            <a:prstGeom prst="rect">
              <a:avLst/>
            </a:prstGeom>
            <a:solidFill>
              <a:schemeClr val="accent4"/>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2" name="Rectangle 11"/>
            <p:cNvSpPr/>
            <p:nvPr/>
          </p:nvSpPr>
          <p:spPr>
            <a:xfrm>
              <a:off x="3928143" y="2809077"/>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13" name="Rectangle 12"/>
            <p:cNvSpPr/>
            <p:nvPr/>
          </p:nvSpPr>
          <p:spPr>
            <a:xfrm>
              <a:off x="3928143" y="2354258"/>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4" name="Rectangle 13"/>
            <p:cNvSpPr/>
            <p:nvPr/>
          </p:nvSpPr>
          <p:spPr>
            <a:xfrm>
              <a:off x="3928143" y="3263896"/>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5" name="Left Brace 14"/>
            <p:cNvSpPr/>
            <p:nvPr/>
          </p:nvSpPr>
          <p:spPr>
            <a:xfrm flipH="1">
              <a:off x="5575615" y="4587244"/>
              <a:ext cx="228600" cy="1764000"/>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dirty="0">
                <a:solidFill>
                  <a:srgbClr val="FFFFFF"/>
                </a:solidFill>
                <a:latin typeface="Segoe UI"/>
                <a:ea typeface="Segoe UI" pitchFamily="34" charset="0"/>
                <a:cs typeface="Segoe UI" pitchFamily="34" charset="0"/>
              </a:endParaRPr>
            </a:p>
          </p:txBody>
        </p:sp>
        <p:sp>
          <p:nvSpPr>
            <p:cNvPr id="16" name="TextBox 56"/>
            <p:cNvSpPr txBox="1"/>
            <p:nvPr/>
          </p:nvSpPr>
          <p:spPr>
            <a:xfrm flipH="1">
              <a:off x="5615950" y="4712951"/>
              <a:ext cx="533341" cy="155337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17" name="Left Brace 16"/>
            <p:cNvSpPr/>
            <p:nvPr/>
          </p:nvSpPr>
          <p:spPr>
            <a:xfrm>
              <a:off x="3789635" y="2354258"/>
              <a:ext cx="133350" cy="2200272"/>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dirty="0">
                <a:solidFill>
                  <a:srgbClr val="FFFFFF"/>
                </a:solidFill>
                <a:latin typeface="Segoe UI"/>
                <a:ea typeface="Segoe UI" pitchFamily="34" charset="0"/>
                <a:cs typeface="Segoe UI" pitchFamily="34" charset="0"/>
              </a:endParaRPr>
            </a:p>
          </p:txBody>
        </p:sp>
        <p:sp>
          <p:nvSpPr>
            <p:cNvPr id="18" name="TextBox 58"/>
            <p:cNvSpPr txBox="1"/>
            <p:nvPr/>
          </p:nvSpPr>
          <p:spPr>
            <a:xfrm>
              <a:off x="3377366" y="2723134"/>
              <a:ext cx="533341" cy="979948"/>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grpSp>
      <p:grpSp>
        <p:nvGrpSpPr>
          <p:cNvPr id="19" name="Group 18"/>
          <p:cNvGrpSpPr/>
          <p:nvPr/>
        </p:nvGrpSpPr>
        <p:grpSpPr>
          <a:xfrm>
            <a:off x="6174331" y="1206670"/>
            <a:ext cx="2030344" cy="4798706"/>
            <a:chOff x="5979422" y="1583373"/>
            <a:chExt cx="2706420" cy="4798706"/>
          </a:xfrm>
        </p:grpSpPr>
        <p:sp>
          <p:nvSpPr>
            <p:cNvPr id="20" name="Rectangle 19"/>
            <p:cNvSpPr/>
            <p:nvPr/>
          </p:nvSpPr>
          <p:spPr>
            <a:xfrm>
              <a:off x="6405737" y="158337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Platform</a:t>
              </a:r>
            </a:p>
            <a:p>
              <a:pPr defTabSz="1218936"/>
              <a:r>
                <a:rPr lang="en-US" sz="1600" dirty="0">
                  <a:solidFill>
                    <a:srgbClr val="595959">
                      <a:alpha val="99000"/>
                    </a:srgbClr>
                  </a:solidFill>
                  <a:ea typeface="Kozuka Gothic Pro R" pitchFamily="34" charset="-128"/>
                </a:rPr>
                <a:t>(as a Service)</a:t>
              </a:r>
            </a:p>
          </p:txBody>
        </p:sp>
        <p:sp>
          <p:nvSpPr>
            <p:cNvPr id="21" name="Left Brace 20"/>
            <p:cNvSpPr/>
            <p:nvPr/>
          </p:nvSpPr>
          <p:spPr>
            <a:xfrm flipH="1">
              <a:off x="8131739" y="3259131"/>
              <a:ext cx="209580" cy="3122948"/>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dirty="0">
                <a:solidFill>
                  <a:srgbClr val="FFFFFF"/>
                </a:solidFill>
                <a:latin typeface="Segoe UI"/>
                <a:ea typeface="Segoe UI" pitchFamily="34" charset="0"/>
                <a:cs typeface="Segoe UI" pitchFamily="34" charset="0"/>
              </a:endParaRPr>
            </a:p>
          </p:txBody>
        </p:sp>
        <p:sp>
          <p:nvSpPr>
            <p:cNvPr id="22" name="TextBox 54"/>
            <p:cNvSpPr txBox="1"/>
            <p:nvPr/>
          </p:nvSpPr>
          <p:spPr>
            <a:xfrm flipH="1">
              <a:off x="8152501" y="4061114"/>
              <a:ext cx="533341" cy="155337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23" name="Left Brace 22"/>
            <p:cNvSpPr/>
            <p:nvPr/>
          </p:nvSpPr>
          <p:spPr>
            <a:xfrm>
              <a:off x="6322411" y="2335206"/>
              <a:ext cx="152400" cy="847725"/>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dirty="0">
                <a:solidFill>
                  <a:srgbClr val="FFFFFF"/>
                </a:solidFill>
                <a:latin typeface="Segoe UI"/>
                <a:ea typeface="Segoe UI" pitchFamily="34" charset="0"/>
                <a:cs typeface="Segoe UI" pitchFamily="34" charset="0"/>
              </a:endParaRPr>
            </a:p>
          </p:txBody>
        </p:sp>
        <p:sp>
          <p:nvSpPr>
            <p:cNvPr id="24" name="TextBox 60"/>
            <p:cNvSpPr txBox="1"/>
            <p:nvPr/>
          </p:nvSpPr>
          <p:spPr>
            <a:xfrm>
              <a:off x="5979422" y="2265933"/>
              <a:ext cx="533341" cy="979948"/>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sp>
          <p:nvSpPr>
            <p:cNvPr id="25" name="Rectangle 24"/>
            <p:cNvSpPr/>
            <p:nvPr/>
          </p:nvSpPr>
          <p:spPr>
            <a:xfrm>
              <a:off x="6484238" y="553799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26" name="Rectangle 25"/>
            <p:cNvSpPr/>
            <p:nvPr/>
          </p:nvSpPr>
          <p:spPr>
            <a:xfrm>
              <a:off x="6484238" y="508317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27" name="Rectangle 26"/>
            <p:cNvSpPr/>
            <p:nvPr/>
          </p:nvSpPr>
          <p:spPr>
            <a:xfrm>
              <a:off x="6484238" y="599280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28" name="Rectangle 27"/>
            <p:cNvSpPr/>
            <p:nvPr/>
          </p:nvSpPr>
          <p:spPr>
            <a:xfrm>
              <a:off x="6484238" y="4173533"/>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29" name="Rectangle 28"/>
            <p:cNvSpPr/>
            <p:nvPr/>
          </p:nvSpPr>
          <p:spPr>
            <a:xfrm>
              <a:off x="6484238" y="371871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30" name="Rectangle 29"/>
            <p:cNvSpPr/>
            <p:nvPr/>
          </p:nvSpPr>
          <p:spPr>
            <a:xfrm>
              <a:off x="6484238" y="462835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31" name="Rectangle 30"/>
            <p:cNvSpPr/>
            <p:nvPr/>
          </p:nvSpPr>
          <p:spPr>
            <a:xfrm>
              <a:off x="6484238" y="2354257"/>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32" name="Rectangle 31"/>
            <p:cNvSpPr/>
            <p:nvPr/>
          </p:nvSpPr>
          <p:spPr>
            <a:xfrm>
              <a:off x="6484238" y="3263895"/>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33" name="Rectangle 32"/>
            <p:cNvSpPr/>
            <p:nvPr/>
          </p:nvSpPr>
          <p:spPr>
            <a:xfrm>
              <a:off x="6484238" y="2809076"/>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grpSp>
      <p:grpSp>
        <p:nvGrpSpPr>
          <p:cNvPr id="34" name="Group 33"/>
          <p:cNvGrpSpPr/>
          <p:nvPr/>
        </p:nvGrpSpPr>
        <p:grpSpPr>
          <a:xfrm>
            <a:off x="8425974" y="1206672"/>
            <a:ext cx="1742776" cy="4790431"/>
            <a:chOff x="8980831" y="1583373"/>
            <a:chExt cx="2323096" cy="4790431"/>
          </a:xfrm>
        </p:grpSpPr>
        <p:sp>
          <p:nvSpPr>
            <p:cNvPr id="35" name="Rectangle 34"/>
            <p:cNvSpPr/>
            <p:nvPr/>
          </p:nvSpPr>
          <p:spPr>
            <a:xfrm>
              <a:off x="8980831" y="158337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Software</a:t>
              </a:r>
            </a:p>
            <a:p>
              <a:pPr defTabSz="1218936"/>
              <a:r>
                <a:rPr lang="en-US" sz="1600" dirty="0">
                  <a:solidFill>
                    <a:srgbClr val="595959">
                      <a:alpha val="99000"/>
                    </a:srgbClr>
                  </a:solidFill>
                  <a:ea typeface="Kozuka Gothic Pro R" pitchFamily="34" charset="-128"/>
                </a:rPr>
                <a:t>(as a Service)</a:t>
              </a:r>
            </a:p>
          </p:txBody>
        </p:sp>
        <p:sp>
          <p:nvSpPr>
            <p:cNvPr id="36" name="TextBox 64"/>
            <p:cNvSpPr txBox="1"/>
            <p:nvPr/>
          </p:nvSpPr>
          <p:spPr>
            <a:xfrm flipH="1">
              <a:off x="10770586" y="3589207"/>
              <a:ext cx="533341" cy="155337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37" name="Rectangle 36"/>
            <p:cNvSpPr/>
            <p:nvPr/>
          </p:nvSpPr>
          <p:spPr>
            <a:xfrm>
              <a:off x="9040806" y="553798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38" name="Rectangle 37"/>
            <p:cNvSpPr/>
            <p:nvPr/>
          </p:nvSpPr>
          <p:spPr>
            <a:xfrm>
              <a:off x="9040806" y="508316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39" name="Rectangle 38"/>
            <p:cNvSpPr/>
            <p:nvPr/>
          </p:nvSpPr>
          <p:spPr>
            <a:xfrm>
              <a:off x="9040806" y="599280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40" name="Rectangle 39"/>
            <p:cNvSpPr/>
            <p:nvPr/>
          </p:nvSpPr>
          <p:spPr>
            <a:xfrm>
              <a:off x="9040806" y="417353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41" name="Rectangle 40"/>
            <p:cNvSpPr/>
            <p:nvPr/>
          </p:nvSpPr>
          <p:spPr>
            <a:xfrm>
              <a:off x="9040806" y="371871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42" name="Rectangle 41"/>
            <p:cNvSpPr/>
            <p:nvPr/>
          </p:nvSpPr>
          <p:spPr>
            <a:xfrm>
              <a:off x="9040806" y="4628349"/>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43" name="Rectangle 42"/>
            <p:cNvSpPr/>
            <p:nvPr/>
          </p:nvSpPr>
          <p:spPr>
            <a:xfrm>
              <a:off x="9040806" y="235425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44" name="Rectangle 43"/>
            <p:cNvSpPr/>
            <p:nvPr/>
          </p:nvSpPr>
          <p:spPr>
            <a:xfrm>
              <a:off x="9040806" y="326389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45" name="Rectangle 44"/>
            <p:cNvSpPr/>
            <p:nvPr/>
          </p:nvSpPr>
          <p:spPr>
            <a:xfrm>
              <a:off x="9040806" y="2809073"/>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grpSp>
      <p:pic>
        <p:nvPicPr>
          <p:cNvPr id="46" name="Picture 11" descr="Cloud 512x512.png"/>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718925" y="5237741"/>
            <a:ext cx="760776" cy="10141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47" name="Left Brace 46"/>
          <p:cNvSpPr/>
          <p:nvPr/>
        </p:nvSpPr>
        <p:spPr>
          <a:xfrm flipH="1">
            <a:off x="9715499" y="1977553"/>
            <a:ext cx="186008" cy="4018711"/>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dirty="0">
              <a:solidFill>
                <a:srgbClr val="FFFFFF"/>
              </a:solidFill>
              <a:latin typeface="Segoe UI"/>
              <a:ea typeface="Segoe UI" pitchFamily="34" charset="0"/>
              <a:cs typeface="Segoe UI" pitchFamily="34" charset="0"/>
            </a:endParaRPr>
          </a:p>
        </p:txBody>
      </p:sp>
      <p:grpSp>
        <p:nvGrpSpPr>
          <p:cNvPr id="48" name="Group 47"/>
          <p:cNvGrpSpPr/>
          <p:nvPr/>
        </p:nvGrpSpPr>
        <p:grpSpPr>
          <a:xfrm>
            <a:off x="1869664" y="1332175"/>
            <a:ext cx="1821409" cy="4790431"/>
            <a:chOff x="855665" y="1583373"/>
            <a:chExt cx="2427913" cy="4790431"/>
          </a:xfrm>
        </p:grpSpPr>
        <p:sp>
          <p:nvSpPr>
            <p:cNvPr id="49" name="Rectangle 48"/>
            <p:cNvSpPr/>
            <p:nvPr/>
          </p:nvSpPr>
          <p:spPr>
            <a:xfrm>
              <a:off x="1416806" y="158337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Packaged Software</a:t>
              </a:r>
            </a:p>
          </p:txBody>
        </p:sp>
        <p:sp>
          <p:nvSpPr>
            <p:cNvPr id="50" name="Rectangle 49"/>
            <p:cNvSpPr/>
            <p:nvPr/>
          </p:nvSpPr>
          <p:spPr>
            <a:xfrm>
              <a:off x="1396458" y="5537987"/>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51" name="Rectangle 50"/>
            <p:cNvSpPr/>
            <p:nvPr/>
          </p:nvSpPr>
          <p:spPr>
            <a:xfrm>
              <a:off x="1396458" y="5083168"/>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52" name="Rectangle 51"/>
            <p:cNvSpPr/>
            <p:nvPr/>
          </p:nvSpPr>
          <p:spPr>
            <a:xfrm>
              <a:off x="1396458" y="599280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53" name="Rectangle 52"/>
            <p:cNvSpPr/>
            <p:nvPr/>
          </p:nvSpPr>
          <p:spPr>
            <a:xfrm>
              <a:off x="1396458" y="4173530"/>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54" name="Rectangle 53"/>
            <p:cNvSpPr/>
            <p:nvPr/>
          </p:nvSpPr>
          <p:spPr>
            <a:xfrm>
              <a:off x="1396458" y="371871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55" name="Rectangle 54"/>
            <p:cNvSpPr/>
            <p:nvPr/>
          </p:nvSpPr>
          <p:spPr>
            <a:xfrm>
              <a:off x="1396458" y="4628349"/>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56" name="Rectangle 55"/>
            <p:cNvSpPr/>
            <p:nvPr/>
          </p:nvSpPr>
          <p:spPr>
            <a:xfrm>
              <a:off x="1396458" y="280907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57" name="Rectangle 56"/>
            <p:cNvSpPr/>
            <p:nvPr/>
          </p:nvSpPr>
          <p:spPr>
            <a:xfrm>
              <a:off x="1396458" y="235425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58" name="Rectangle 57"/>
            <p:cNvSpPr/>
            <p:nvPr/>
          </p:nvSpPr>
          <p:spPr>
            <a:xfrm>
              <a:off x="1396458" y="326389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59" name="Left Brace 58"/>
            <p:cNvSpPr/>
            <p:nvPr/>
          </p:nvSpPr>
          <p:spPr>
            <a:xfrm>
              <a:off x="1108504" y="2354254"/>
              <a:ext cx="278528" cy="4019550"/>
            </a:xfrm>
            <a:prstGeom prst="leftBrace">
              <a:avLst>
                <a:gd name="adj1" fmla="val 0"/>
                <a:gd name="adj2" fmla="val 50000"/>
              </a:avLst>
            </a:prstGeom>
            <a:noFill/>
            <a:ln w="19050" cap="flat" cmpd="sng" algn="ctr">
              <a:solidFill>
                <a:schemeClr val="accent2"/>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endParaRPr lang="en-US" dirty="0">
                <a:solidFill>
                  <a:srgbClr val="FFFFFF"/>
                </a:solidFill>
                <a:latin typeface="Segoe UI"/>
                <a:ea typeface="Segoe UI" pitchFamily="34" charset="0"/>
                <a:cs typeface="Segoe UI" pitchFamily="34" charset="0"/>
              </a:endParaRPr>
            </a:p>
          </p:txBody>
        </p:sp>
        <p:sp>
          <p:nvSpPr>
            <p:cNvPr id="60" name="TextBox 52"/>
            <p:cNvSpPr txBox="1"/>
            <p:nvPr/>
          </p:nvSpPr>
          <p:spPr>
            <a:xfrm>
              <a:off x="855665" y="3866129"/>
              <a:ext cx="533341" cy="979948"/>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grpSp>
      <p:pic>
        <p:nvPicPr>
          <p:cNvPr id="61" name="Picture 12" descr="Gift 512x512.png"/>
          <p:cNvPicPr>
            <a:picLocks noChangeAspect="1"/>
          </p:cNvPicPr>
          <p:nvPr/>
        </p:nvPicPr>
        <p:blipFill>
          <a:blip r:embed="rId4"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1551892" y="5372990"/>
            <a:ext cx="604862" cy="80627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2" name="Rectangle 61"/>
          <p:cNvSpPr/>
          <p:nvPr/>
        </p:nvSpPr>
        <p:spPr bwMode="auto">
          <a:xfrm flipH="1">
            <a:off x="1461431" y="1278580"/>
            <a:ext cx="2217199" cy="4976651"/>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255183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6"/>
                                        </p:tgtEl>
                                        <p:attrNameLst>
                                          <p:attrName>style.visibility</p:attrName>
                                        </p:attrNameLst>
                                      </p:cBhvr>
                                      <p:to>
                                        <p:strVal val="visible"/>
                                      </p:to>
                                    </p:set>
                                    <p:animEffect transition="in" filter="fade">
                                      <p:cBhvr>
                                        <p:cTn id="11" dur="250"/>
                                        <p:tgtEl>
                                          <p:spTgt spid="46"/>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19"/>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34"/>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47"/>
                                        </p:tgtEl>
                                        <p:attrNameLst>
                                          <p:attrName>style.visibility</p:attrName>
                                        </p:attrNameLst>
                                      </p:cBhvr>
                                      <p:to>
                                        <p:strVal val="visible"/>
                                      </p:to>
                                    </p:set>
                                  </p:childTnLst>
                                </p:cTn>
                              </p:par>
                            </p:childTnLst>
                          </p:cTn>
                        </p:par>
                        <p:par>
                          <p:cTn id="26" fill="hold">
                            <p:stCondLst>
                              <p:cond delay="0"/>
                            </p:stCondLst>
                            <p:childTnLst>
                              <p:par>
                                <p:cTn id="27" presetID="10" presetClass="entr" presetSubtype="0" fill="hold" nodeType="afterEffect">
                                  <p:stCondLst>
                                    <p:cond delay="0"/>
                                  </p:stCondLst>
                                  <p:childTnLst>
                                    <p:set>
                                      <p:cBhvr>
                                        <p:cTn id="28" dur="1" fill="hold">
                                          <p:stCondLst>
                                            <p:cond delay="0"/>
                                          </p:stCondLst>
                                        </p:cTn>
                                        <p:tgtEl>
                                          <p:spTgt spid="48"/>
                                        </p:tgtEl>
                                        <p:attrNameLst>
                                          <p:attrName>style.visibility</p:attrName>
                                        </p:attrNameLst>
                                      </p:cBhvr>
                                      <p:to>
                                        <p:strVal val="visible"/>
                                      </p:to>
                                    </p:set>
                                    <p:animEffect transition="in" filter="fade">
                                      <p:cBhvr>
                                        <p:cTn id="29" dur="500"/>
                                        <p:tgtEl>
                                          <p:spTgt spid="48"/>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61"/>
                                        </p:tgtEl>
                                        <p:attrNameLst>
                                          <p:attrName>style.visibility</p:attrName>
                                        </p:attrNameLst>
                                      </p:cBhvr>
                                      <p:to>
                                        <p:strVal val="visible"/>
                                      </p:to>
                                    </p:set>
                                    <p:animEffect transition="in" filter="fade">
                                      <p:cBhvr>
                                        <p:cTn id="33" dur="250"/>
                                        <p:tgtEl>
                                          <p:spTgt spid="61"/>
                                        </p:tgtEl>
                                      </p:cBhvr>
                                    </p:animEffect>
                                  </p:childTnLst>
                                </p:cTn>
                              </p:par>
                            </p:childTnLst>
                          </p:cTn>
                        </p:par>
                        <p:par>
                          <p:cTn id="34" fill="hold">
                            <p:stCondLst>
                              <p:cond delay="750"/>
                            </p:stCondLst>
                            <p:childTnLst>
                              <p:par>
                                <p:cTn id="35" presetID="22" presetClass="entr" presetSubtype="4" fill="hold" grpId="0" nodeType="afterEffect">
                                  <p:stCondLst>
                                    <p:cond delay="0"/>
                                  </p:stCondLst>
                                  <p:childTnLst>
                                    <p:set>
                                      <p:cBhvr>
                                        <p:cTn id="36" dur="1" fill="hold">
                                          <p:stCondLst>
                                            <p:cond delay="0"/>
                                          </p:stCondLst>
                                        </p:cTn>
                                        <p:tgtEl>
                                          <p:spTgt spid="62"/>
                                        </p:tgtEl>
                                        <p:attrNameLst>
                                          <p:attrName>style.visibility</p:attrName>
                                        </p:attrNameLst>
                                      </p:cBhvr>
                                      <p:to>
                                        <p:strVal val="visible"/>
                                      </p:to>
                                    </p:set>
                                    <p:animEffect transition="in" filter="wipe(down)">
                                      <p:cBhvr>
                                        <p:cTn id="37"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7" grpId="0" animBg="1"/>
      <p:bldP spid="62" grpId="0" animBg="1"/>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604693"/>
          </a:xfrm>
        </p:spPr>
        <p:txBody>
          <a:bodyPr>
            <a:noAutofit/>
          </a:bodyPr>
          <a:lstStyle/>
          <a:p>
            <a:r>
              <a:rPr lang="en-US" sz="3600" b="1" u="sng" dirty="0">
                <a:effectLst>
                  <a:outerShdw blurRad="38100" dist="38100" dir="2700000" algn="tl">
                    <a:srgbClr val="000000">
                      <a:alpha val="43137"/>
                    </a:srgbClr>
                  </a:outerShdw>
                </a:effectLst>
              </a:rPr>
              <a:t>Content Delivery Network (CDN)</a:t>
            </a:r>
            <a:br>
              <a:rPr lang="en-US" sz="3600" b="1" u="sng" dirty="0">
                <a:effectLst>
                  <a:outerShdw blurRad="38100" dist="38100" dir="2700000" algn="tl">
                    <a:srgbClr val="000000">
                      <a:alpha val="43137"/>
                    </a:srgbClr>
                  </a:outerShdw>
                </a:effectLst>
              </a:rPr>
            </a:br>
            <a:endParaRPr lang="en-US" sz="3600" b="1" u="sng"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6926" y="969818"/>
            <a:ext cx="12185073" cy="5888182"/>
          </a:xfrm>
        </p:spPr>
        <p:txBody>
          <a:bodyPr>
            <a:normAutofit/>
          </a:bodyPr>
          <a:lstStyle/>
          <a:p>
            <a:r>
              <a:rPr lang="en-US" dirty="0"/>
              <a:t>The Azure Content Delivery Network (CDN) caches static web content at strategically placed locations to provide maximum throughput for delivering content to users. The CDN offers developers a global solution for delivering high-bandwidth content by caching the content at physical nodes across the world</a:t>
            </a:r>
            <a:r>
              <a:rPr lang="en-US" dirty="0" smtClean="0"/>
              <a:t>.</a:t>
            </a:r>
          </a:p>
          <a:p>
            <a:pPr marL="0" indent="0">
              <a:buNone/>
            </a:pPr>
            <a:endParaRPr lang="en-US" dirty="0" smtClean="0"/>
          </a:p>
          <a:p>
            <a:pPr marL="0" indent="0">
              <a:buNone/>
            </a:pPr>
            <a:r>
              <a:rPr lang="en-US" b="1" dirty="0" smtClean="0"/>
              <a:t>Benefits</a:t>
            </a:r>
            <a:endParaRPr lang="en-US" b="1" dirty="0"/>
          </a:p>
          <a:p>
            <a:r>
              <a:rPr lang="en-US" dirty="0"/>
              <a:t>Better performance and user experience for end users, </a:t>
            </a:r>
          </a:p>
          <a:p>
            <a:r>
              <a:rPr lang="en-US" dirty="0"/>
              <a:t>Large scaling </a:t>
            </a:r>
            <a:endParaRPr lang="en-US" dirty="0" smtClean="0"/>
          </a:p>
          <a:p>
            <a:r>
              <a:rPr lang="en-US" dirty="0" smtClean="0"/>
              <a:t>By </a:t>
            </a:r>
            <a:r>
              <a:rPr lang="en-US" dirty="0"/>
              <a:t>distributing user requests and serving content from edge servers, less traffic is sent to the origin.</a:t>
            </a:r>
          </a:p>
          <a:p>
            <a:endParaRPr lang="en-US" dirty="0"/>
          </a:p>
        </p:txBody>
      </p:sp>
    </p:spTree>
    <p:extLst>
      <p:ext uri="{BB962C8B-B14F-4D97-AF65-F5344CB8AC3E}">
        <p14:creationId xmlns:p14="http://schemas.microsoft.com/office/powerpoint/2010/main" val="122758255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1883784" y="832571"/>
            <a:ext cx="6429375" cy="3419475"/>
          </a:xfrm>
          <a:prstGeom prst="rect">
            <a:avLst/>
          </a:prstGeom>
        </p:spPr>
      </p:pic>
      <p:sp>
        <p:nvSpPr>
          <p:cNvPr id="7" name="Rectangle 6"/>
          <p:cNvSpPr/>
          <p:nvPr/>
        </p:nvSpPr>
        <p:spPr>
          <a:xfrm>
            <a:off x="1025236" y="4629880"/>
            <a:ext cx="10972799" cy="2031325"/>
          </a:xfrm>
          <a:prstGeom prst="rect">
            <a:avLst/>
          </a:prstGeom>
        </p:spPr>
        <p:txBody>
          <a:bodyPr wrap="square">
            <a:spAutoFit/>
          </a:bodyPr>
          <a:lstStyle/>
          <a:p>
            <a:r>
              <a:rPr lang="en-US" dirty="0">
                <a:solidFill>
                  <a:srgbClr val="222222"/>
                </a:solidFill>
                <a:latin typeface="segoe-ui_normal"/>
              </a:rPr>
              <a:t>There are three Azure CDN products: </a:t>
            </a:r>
            <a:endParaRPr lang="en-US" dirty="0" smtClean="0">
              <a:solidFill>
                <a:srgbClr val="222222"/>
              </a:solidFill>
              <a:latin typeface="segoe-ui_normal"/>
            </a:endParaRPr>
          </a:p>
          <a:p>
            <a:pPr marL="285750" indent="-285750">
              <a:buFont typeface="Arial" panose="020B0604020202020204" pitchFamily="34" charset="0"/>
              <a:buChar char="•"/>
            </a:pPr>
            <a:r>
              <a:rPr lang="en-US" b="1" dirty="0" smtClean="0">
                <a:solidFill>
                  <a:srgbClr val="222222"/>
                </a:solidFill>
                <a:latin typeface="segoe-ui_bold"/>
              </a:rPr>
              <a:t>Azure </a:t>
            </a:r>
            <a:r>
              <a:rPr lang="en-US" b="1" dirty="0">
                <a:solidFill>
                  <a:srgbClr val="222222"/>
                </a:solidFill>
                <a:latin typeface="segoe-ui_bold"/>
              </a:rPr>
              <a:t>CDN Standard from Akamai</a:t>
            </a:r>
            <a:r>
              <a:rPr lang="en-US" dirty="0">
                <a:solidFill>
                  <a:srgbClr val="222222"/>
                </a:solidFill>
                <a:latin typeface="segoe-ui_normal"/>
              </a:rPr>
              <a:t>, </a:t>
            </a:r>
            <a:endParaRPr lang="en-US" dirty="0" smtClean="0">
              <a:solidFill>
                <a:srgbClr val="222222"/>
              </a:solidFill>
              <a:latin typeface="segoe-ui_normal"/>
            </a:endParaRPr>
          </a:p>
          <a:p>
            <a:pPr marL="285750" indent="-285750">
              <a:buFont typeface="Arial" panose="020B0604020202020204" pitchFamily="34" charset="0"/>
              <a:buChar char="•"/>
            </a:pPr>
            <a:r>
              <a:rPr lang="en-US" b="1" dirty="0" smtClean="0">
                <a:solidFill>
                  <a:srgbClr val="222222"/>
                </a:solidFill>
                <a:latin typeface="segoe-ui_bold"/>
              </a:rPr>
              <a:t>Azure </a:t>
            </a:r>
            <a:r>
              <a:rPr lang="en-US" b="1" dirty="0">
                <a:solidFill>
                  <a:srgbClr val="222222"/>
                </a:solidFill>
                <a:latin typeface="segoe-ui_bold"/>
              </a:rPr>
              <a:t>CDN Standard from Verizon</a:t>
            </a:r>
            <a:r>
              <a:rPr lang="en-US" dirty="0">
                <a:solidFill>
                  <a:srgbClr val="222222"/>
                </a:solidFill>
                <a:latin typeface="segoe-ui_normal"/>
              </a:rPr>
              <a:t>, </a:t>
            </a:r>
            <a:endParaRPr lang="en-US" dirty="0" smtClean="0">
              <a:solidFill>
                <a:srgbClr val="222222"/>
              </a:solidFill>
              <a:latin typeface="segoe-ui_normal"/>
            </a:endParaRPr>
          </a:p>
          <a:p>
            <a:pPr marL="285750" indent="-285750">
              <a:buFont typeface="Arial" panose="020B0604020202020204" pitchFamily="34" charset="0"/>
              <a:buChar char="•"/>
            </a:pPr>
            <a:r>
              <a:rPr lang="en-US" b="1" dirty="0" smtClean="0">
                <a:solidFill>
                  <a:srgbClr val="222222"/>
                </a:solidFill>
                <a:latin typeface="segoe-ui_bold"/>
              </a:rPr>
              <a:t>Azure </a:t>
            </a:r>
            <a:r>
              <a:rPr lang="en-US" b="1" dirty="0">
                <a:solidFill>
                  <a:srgbClr val="222222"/>
                </a:solidFill>
                <a:latin typeface="segoe-ui_bold"/>
              </a:rPr>
              <a:t>CDN Premium from </a:t>
            </a:r>
            <a:r>
              <a:rPr lang="en-US" b="1" dirty="0" smtClean="0">
                <a:solidFill>
                  <a:srgbClr val="222222"/>
                </a:solidFill>
                <a:latin typeface="segoe-ui_bold"/>
              </a:rPr>
              <a:t>Verizon</a:t>
            </a:r>
          </a:p>
          <a:p>
            <a:pPr marL="285750" indent="-285750">
              <a:buFont typeface="Arial" panose="020B0604020202020204" pitchFamily="34" charset="0"/>
              <a:buChar char="•"/>
            </a:pPr>
            <a:endParaRPr lang="en-US" b="1" dirty="0">
              <a:solidFill>
                <a:srgbClr val="222222"/>
              </a:solidFill>
              <a:latin typeface="segoe-ui_bold"/>
            </a:endParaRPr>
          </a:p>
          <a:p>
            <a:r>
              <a:rPr lang="en-US" b="1" dirty="0" smtClean="0"/>
              <a:t>You can Integrate </a:t>
            </a:r>
            <a:r>
              <a:rPr lang="en-US" b="1" dirty="0"/>
              <a:t>an Azure storage account with Azure CDN</a:t>
            </a:r>
          </a:p>
          <a:p>
            <a:pPr marL="285750" indent="-285750">
              <a:buFont typeface="Arial" panose="020B0604020202020204" pitchFamily="34" charset="0"/>
              <a:buChar char="•"/>
            </a:pPr>
            <a:endParaRPr lang="en-US" b="1" dirty="0"/>
          </a:p>
        </p:txBody>
      </p:sp>
    </p:spTree>
    <p:extLst>
      <p:ext uri="{BB962C8B-B14F-4D97-AF65-F5344CB8AC3E}">
        <p14:creationId xmlns:p14="http://schemas.microsoft.com/office/powerpoint/2010/main" val="73477134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69447"/>
          </a:xfrm>
        </p:spPr>
        <p:txBody>
          <a:bodyPr>
            <a:normAutofit fontScale="90000"/>
          </a:bodyPr>
          <a:lstStyle/>
          <a:p>
            <a:r>
              <a:rPr lang="en-IN" sz="2400" dirty="0"/>
              <a:t>Azure CDN POP Locations</a:t>
            </a:r>
            <a:br>
              <a:rPr lang="en-IN" sz="2400" dirty="0"/>
            </a:br>
            <a:endParaRPr lang="en-IN" sz="24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319881184"/>
              </p:ext>
            </p:extLst>
          </p:nvPr>
        </p:nvGraphicFramePr>
        <p:xfrm>
          <a:off x="1" y="534988"/>
          <a:ext cx="12192000" cy="6760580"/>
        </p:xfrm>
        <a:graphic>
          <a:graphicData uri="http://schemas.openxmlformats.org/drawingml/2006/table">
            <a:tbl>
              <a:tblPr/>
              <a:tblGrid>
                <a:gridCol w="2489981">
                  <a:extLst>
                    <a:ext uri="{9D8B030D-6E8A-4147-A177-3AD203B41FA5}">
                      <a16:colId xmlns:a16="http://schemas.microsoft.com/office/drawing/2014/main" xmlns="" val="429723973"/>
                    </a:ext>
                  </a:extLst>
                </a:gridCol>
                <a:gridCol w="5904511">
                  <a:extLst>
                    <a:ext uri="{9D8B030D-6E8A-4147-A177-3AD203B41FA5}">
                      <a16:colId xmlns:a16="http://schemas.microsoft.com/office/drawing/2014/main" xmlns="" val="717911582"/>
                    </a:ext>
                  </a:extLst>
                </a:gridCol>
                <a:gridCol w="3797508">
                  <a:extLst>
                    <a:ext uri="{9D8B030D-6E8A-4147-A177-3AD203B41FA5}">
                      <a16:colId xmlns:a16="http://schemas.microsoft.com/office/drawing/2014/main" xmlns="" val="1795521473"/>
                    </a:ext>
                  </a:extLst>
                </a:gridCol>
              </a:tblGrid>
              <a:tr h="308973">
                <a:tc>
                  <a:txBody>
                    <a:bodyPr/>
                    <a:lstStyle/>
                    <a:p>
                      <a:pPr algn="l" fontAlgn="b"/>
                      <a:r>
                        <a:rPr lang="en-IN" sz="1400" dirty="0">
                          <a:solidFill>
                            <a:srgbClr val="C00000"/>
                          </a:solidFill>
                        </a:rPr>
                        <a:t>Region</a:t>
                      </a:r>
                    </a:p>
                  </a:txBody>
                  <a:tcPr marL="44940" marR="44940" marT="33705" marB="33705"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IN" sz="1400" dirty="0">
                          <a:solidFill>
                            <a:srgbClr val="C00000"/>
                          </a:solidFill>
                        </a:rPr>
                        <a:t>Verizon</a:t>
                      </a:r>
                    </a:p>
                  </a:txBody>
                  <a:tcPr marL="44940" marR="44940" marT="33705" marB="33705"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IN" sz="1400" dirty="0">
                          <a:solidFill>
                            <a:srgbClr val="C00000"/>
                          </a:solidFill>
                        </a:rPr>
                        <a:t>Akamai</a:t>
                      </a:r>
                    </a:p>
                  </a:txBody>
                  <a:tcPr marL="44940" marR="44940" marT="33705" marB="33705"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2476914264"/>
                  </a:ext>
                </a:extLst>
              </a:tr>
              <a:tr h="738468">
                <a:tc>
                  <a:txBody>
                    <a:bodyPr/>
                    <a:lstStyle/>
                    <a:p>
                      <a:pPr fontAlgn="t"/>
                      <a:r>
                        <a:rPr lang="en-IN" sz="1400" dirty="0">
                          <a:solidFill>
                            <a:schemeClr val="tx1"/>
                          </a:solidFill>
                          <a:effectLst/>
                          <a:latin typeface="+mn-lt"/>
                        </a:rPr>
                        <a:t>North America</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400" dirty="0">
                          <a:solidFill>
                            <a:schemeClr val="tx1"/>
                          </a:solidFill>
                          <a:effectLst/>
                          <a:latin typeface="+mn-lt"/>
                        </a:rPr>
                        <a:t>Atlanta, </a:t>
                      </a:r>
                      <a:r>
                        <a:rPr lang="en-IN" sz="1400" dirty="0" smtClean="0">
                          <a:solidFill>
                            <a:schemeClr val="tx1"/>
                          </a:solidFill>
                          <a:effectLst/>
                          <a:latin typeface="+mn-lt"/>
                        </a:rPr>
                        <a:t>GA, Boston</a:t>
                      </a:r>
                      <a:r>
                        <a:rPr lang="en-IN" sz="1400" dirty="0">
                          <a:solidFill>
                            <a:schemeClr val="tx1"/>
                          </a:solidFill>
                          <a:effectLst/>
                          <a:latin typeface="+mn-lt"/>
                        </a:rPr>
                        <a:t>, </a:t>
                      </a:r>
                      <a:r>
                        <a:rPr lang="en-IN" sz="1400" dirty="0" smtClean="0">
                          <a:solidFill>
                            <a:schemeClr val="tx1"/>
                          </a:solidFill>
                          <a:effectLst/>
                          <a:latin typeface="+mn-lt"/>
                        </a:rPr>
                        <a:t>MA , Chicago</a:t>
                      </a:r>
                      <a:r>
                        <a:rPr lang="en-IN" sz="1400" dirty="0">
                          <a:solidFill>
                            <a:schemeClr val="tx1"/>
                          </a:solidFill>
                          <a:effectLst/>
                          <a:latin typeface="+mn-lt"/>
                        </a:rPr>
                        <a:t>, </a:t>
                      </a:r>
                      <a:r>
                        <a:rPr lang="en-IN" sz="1400" dirty="0" smtClean="0">
                          <a:solidFill>
                            <a:schemeClr val="tx1"/>
                          </a:solidFill>
                          <a:effectLst/>
                          <a:latin typeface="+mn-lt"/>
                        </a:rPr>
                        <a:t>IL , Dallas</a:t>
                      </a:r>
                      <a:r>
                        <a:rPr lang="en-IN" sz="1400" dirty="0">
                          <a:solidFill>
                            <a:schemeClr val="tx1"/>
                          </a:solidFill>
                          <a:effectLst/>
                          <a:latin typeface="+mn-lt"/>
                        </a:rPr>
                        <a:t>, </a:t>
                      </a:r>
                      <a:r>
                        <a:rPr lang="en-IN" sz="1400" dirty="0" smtClean="0">
                          <a:solidFill>
                            <a:schemeClr val="tx1"/>
                          </a:solidFill>
                          <a:effectLst/>
                          <a:latin typeface="+mn-lt"/>
                        </a:rPr>
                        <a:t>TX, Denver</a:t>
                      </a:r>
                      <a:r>
                        <a:rPr lang="en-IN" sz="1400" dirty="0">
                          <a:solidFill>
                            <a:schemeClr val="tx1"/>
                          </a:solidFill>
                          <a:effectLst/>
                          <a:latin typeface="+mn-lt"/>
                        </a:rPr>
                        <a:t>, </a:t>
                      </a:r>
                      <a:r>
                        <a:rPr lang="en-IN" sz="1400" dirty="0" smtClean="0">
                          <a:solidFill>
                            <a:schemeClr val="tx1"/>
                          </a:solidFill>
                          <a:effectLst/>
                          <a:latin typeface="+mn-lt"/>
                        </a:rPr>
                        <a:t>CO ,Los </a:t>
                      </a:r>
                      <a:r>
                        <a:rPr lang="en-IN" sz="1400" dirty="0">
                          <a:solidFill>
                            <a:schemeClr val="tx1"/>
                          </a:solidFill>
                          <a:effectLst/>
                          <a:latin typeface="+mn-lt"/>
                        </a:rPr>
                        <a:t>Angeles, CA</a:t>
                      </a:r>
                      <a:br>
                        <a:rPr lang="en-IN" sz="1400" dirty="0">
                          <a:solidFill>
                            <a:schemeClr val="tx1"/>
                          </a:solidFill>
                          <a:effectLst/>
                          <a:latin typeface="+mn-lt"/>
                        </a:rPr>
                      </a:br>
                      <a:r>
                        <a:rPr lang="en-IN" sz="1400" dirty="0">
                          <a:solidFill>
                            <a:schemeClr val="tx1"/>
                          </a:solidFill>
                          <a:effectLst/>
                          <a:latin typeface="+mn-lt"/>
                        </a:rPr>
                        <a:t>Miami, </a:t>
                      </a:r>
                      <a:r>
                        <a:rPr lang="en-IN" sz="1400" dirty="0" smtClean="0">
                          <a:solidFill>
                            <a:schemeClr val="tx1"/>
                          </a:solidFill>
                          <a:effectLst/>
                          <a:latin typeface="+mn-lt"/>
                        </a:rPr>
                        <a:t>FL ,New </a:t>
                      </a:r>
                      <a:r>
                        <a:rPr lang="en-IN" sz="1400" dirty="0">
                          <a:solidFill>
                            <a:schemeClr val="tx1"/>
                          </a:solidFill>
                          <a:effectLst/>
                          <a:latin typeface="+mn-lt"/>
                        </a:rPr>
                        <a:t>York, </a:t>
                      </a:r>
                      <a:r>
                        <a:rPr lang="en-IN" sz="1400" dirty="0" smtClean="0">
                          <a:solidFill>
                            <a:schemeClr val="tx1"/>
                          </a:solidFill>
                          <a:effectLst/>
                          <a:latin typeface="+mn-lt"/>
                        </a:rPr>
                        <a:t>NY ,Philadelphia</a:t>
                      </a:r>
                      <a:r>
                        <a:rPr lang="en-IN" sz="1400" dirty="0">
                          <a:solidFill>
                            <a:schemeClr val="tx1"/>
                          </a:solidFill>
                          <a:effectLst/>
                          <a:latin typeface="+mn-lt"/>
                        </a:rPr>
                        <a:t>, </a:t>
                      </a:r>
                      <a:r>
                        <a:rPr lang="en-IN" sz="1400" dirty="0" smtClean="0">
                          <a:solidFill>
                            <a:schemeClr val="tx1"/>
                          </a:solidFill>
                          <a:effectLst/>
                          <a:latin typeface="+mn-lt"/>
                        </a:rPr>
                        <a:t>PA, San </a:t>
                      </a:r>
                      <a:r>
                        <a:rPr lang="en-IN" sz="1400" dirty="0">
                          <a:solidFill>
                            <a:schemeClr val="tx1"/>
                          </a:solidFill>
                          <a:effectLst/>
                          <a:latin typeface="+mn-lt"/>
                        </a:rPr>
                        <a:t>Jose, </a:t>
                      </a:r>
                      <a:r>
                        <a:rPr lang="en-IN" sz="1400" dirty="0" smtClean="0">
                          <a:solidFill>
                            <a:schemeClr val="tx1"/>
                          </a:solidFill>
                          <a:effectLst/>
                          <a:latin typeface="+mn-lt"/>
                        </a:rPr>
                        <a:t>CA ,Seattle</a:t>
                      </a:r>
                      <a:r>
                        <a:rPr lang="en-IN" sz="1400" dirty="0">
                          <a:solidFill>
                            <a:schemeClr val="tx1"/>
                          </a:solidFill>
                          <a:effectLst/>
                          <a:latin typeface="+mn-lt"/>
                        </a:rPr>
                        <a:t>, </a:t>
                      </a:r>
                      <a:r>
                        <a:rPr lang="en-IN" sz="1400" dirty="0" smtClean="0">
                          <a:solidFill>
                            <a:schemeClr val="tx1"/>
                          </a:solidFill>
                          <a:effectLst/>
                          <a:latin typeface="+mn-lt"/>
                        </a:rPr>
                        <a:t>WA , Washington </a:t>
                      </a:r>
                      <a:r>
                        <a:rPr lang="en-IN" sz="1400" dirty="0">
                          <a:solidFill>
                            <a:schemeClr val="tx1"/>
                          </a:solidFill>
                          <a:effectLst/>
                          <a:latin typeface="+mn-lt"/>
                        </a:rPr>
                        <a:t>DC</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400" dirty="0">
                          <a:solidFill>
                            <a:schemeClr val="tx1"/>
                          </a:solidFill>
                          <a:effectLst/>
                          <a:latin typeface="+mn-lt"/>
                        </a:rPr>
                        <a:t>Canada</a:t>
                      </a:r>
                      <a:br>
                        <a:rPr lang="en-IN" sz="1400" dirty="0">
                          <a:solidFill>
                            <a:schemeClr val="tx1"/>
                          </a:solidFill>
                          <a:effectLst/>
                          <a:latin typeface="+mn-lt"/>
                        </a:rPr>
                      </a:br>
                      <a:r>
                        <a:rPr lang="en-IN" sz="1400" dirty="0">
                          <a:solidFill>
                            <a:schemeClr val="tx1"/>
                          </a:solidFill>
                          <a:effectLst/>
                          <a:latin typeface="+mn-lt"/>
                        </a:rPr>
                        <a:t>Mexico</a:t>
                      </a:r>
                      <a:br>
                        <a:rPr lang="en-IN" sz="1400" dirty="0">
                          <a:solidFill>
                            <a:schemeClr val="tx1"/>
                          </a:solidFill>
                          <a:effectLst/>
                          <a:latin typeface="+mn-lt"/>
                        </a:rPr>
                      </a:br>
                      <a:r>
                        <a:rPr lang="en-IN" sz="1400" dirty="0">
                          <a:solidFill>
                            <a:schemeClr val="tx1"/>
                          </a:solidFill>
                          <a:effectLst/>
                          <a:latin typeface="+mn-lt"/>
                        </a:rPr>
                        <a:t>United States</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1282419199"/>
                  </a:ext>
                </a:extLst>
              </a:tr>
              <a:tr h="751414">
                <a:tc>
                  <a:txBody>
                    <a:bodyPr/>
                    <a:lstStyle/>
                    <a:p>
                      <a:pPr fontAlgn="t"/>
                      <a:r>
                        <a:rPr lang="en-IN" sz="1400">
                          <a:solidFill>
                            <a:schemeClr val="tx1"/>
                          </a:solidFill>
                          <a:effectLst/>
                          <a:latin typeface="+mn-lt"/>
                        </a:rPr>
                        <a:t>South America</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400" dirty="0">
                          <a:solidFill>
                            <a:schemeClr val="tx1"/>
                          </a:solidFill>
                          <a:effectLst/>
                          <a:latin typeface="+mn-lt"/>
                        </a:rPr>
                        <a:t>Buenos Aires, </a:t>
                      </a:r>
                      <a:r>
                        <a:rPr lang="en-IN" sz="1400" dirty="0" smtClean="0">
                          <a:solidFill>
                            <a:schemeClr val="tx1"/>
                          </a:solidFill>
                          <a:effectLst/>
                          <a:latin typeface="+mn-lt"/>
                        </a:rPr>
                        <a:t>Argentina , Rio </a:t>
                      </a:r>
                      <a:r>
                        <a:rPr lang="en-IN" sz="1400" dirty="0">
                          <a:solidFill>
                            <a:schemeClr val="tx1"/>
                          </a:solidFill>
                          <a:effectLst/>
                          <a:latin typeface="+mn-lt"/>
                        </a:rPr>
                        <a:t>de Janeiro, </a:t>
                      </a:r>
                      <a:r>
                        <a:rPr lang="en-IN" sz="1400" dirty="0" smtClean="0">
                          <a:solidFill>
                            <a:schemeClr val="tx1"/>
                          </a:solidFill>
                          <a:effectLst/>
                          <a:latin typeface="+mn-lt"/>
                        </a:rPr>
                        <a:t>Brazil ,São </a:t>
                      </a:r>
                      <a:r>
                        <a:rPr lang="en-IN" sz="1400" dirty="0">
                          <a:solidFill>
                            <a:schemeClr val="tx1"/>
                          </a:solidFill>
                          <a:effectLst/>
                          <a:latin typeface="+mn-lt"/>
                        </a:rPr>
                        <a:t>Paulo, </a:t>
                      </a:r>
                      <a:r>
                        <a:rPr lang="en-IN" sz="1400" dirty="0" smtClean="0">
                          <a:solidFill>
                            <a:schemeClr val="tx1"/>
                          </a:solidFill>
                          <a:effectLst/>
                          <a:latin typeface="+mn-lt"/>
                        </a:rPr>
                        <a:t>Brazil ,Valparaíso</a:t>
                      </a:r>
                      <a:r>
                        <a:rPr lang="en-IN" sz="1400" dirty="0">
                          <a:solidFill>
                            <a:schemeClr val="tx1"/>
                          </a:solidFill>
                          <a:effectLst/>
                          <a:latin typeface="+mn-lt"/>
                        </a:rPr>
                        <a:t>, Chile</a:t>
                      </a:r>
                      <a:br>
                        <a:rPr lang="en-IN" sz="1400" dirty="0">
                          <a:solidFill>
                            <a:schemeClr val="tx1"/>
                          </a:solidFill>
                          <a:effectLst/>
                          <a:latin typeface="+mn-lt"/>
                        </a:rPr>
                      </a:br>
                      <a:r>
                        <a:rPr lang="en-IN" sz="1400" dirty="0">
                          <a:solidFill>
                            <a:schemeClr val="tx1"/>
                          </a:solidFill>
                          <a:effectLst/>
                          <a:latin typeface="+mn-lt"/>
                        </a:rPr>
                        <a:t>Barranquilla, </a:t>
                      </a:r>
                      <a:r>
                        <a:rPr lang="en-IN" sz="1400" dirty="0" smtClean="0">
                          <a:solidFill>
                            <a:schemeClr val="tx1"/>
                          </a:solidFill>
                          <a:effectLst/>
                          <a:latin typeface="+mn-lt"/>
                        </a:rPr>
                        <a:t>Colombia ,Medellin</a:t>
                      </a:r>
                      <a:r>
                        <a:rPr lang="en-IN" sz="1400" dirty="0">
                          <a:solidFill>
                            <a:schemeClr val="tx1"/>
                          </a:solidFill>
                          <a:effectLst/>
                          <a:latin typeface="+mn-lt"/>
                        </a:rPr>
                        <a:t>, </a:t>
                      </a:r>
                      <a:r>
                        <a:rPr lang="en-IN" sz="1400" dirty="0" smtClean="0">
                          <a:solidFill>
                            <a:schemeClr val="tx1"/>
                          </a:solidFill>
                          <a:effectLst/>
                          <a:latin typeface="+mn-lt"/>
                        </a:rPr>
                        <a:t>Colombia , Quito</a:t>
                      </a:r>
                      <a:r>
                        <a:rPr lang="en-IN" sz="1400" dirty="0">
                          <a:solidFill>
                            <a:schemeClr val="tx1"/>
                          </a:solidFill>
                          <a:effectLst/>
                          <a:latin typeface="+mn-lt"/>
                        </a:rPr>
                        <a:t>, </a:t>
                      </a:r>
                      <a:r>
                        <a:rPr lang="en-IN" sz="1400" dirty="0" smtClean="0">
                          <a:solidFill>
                            <a:schemeClr val="tx1"/>
                          </a:solidFill>
                          <a:effectLst/>
                          <a:latin typeface="+mn-lt"/>
                        </a:rPr>
                        <a:t>Ecuador ,Lima</a:t>
                      </a:r>
                      <a:r>
                        <a:rPr lang="en-IN" sz="1400" dirty="0">
                          <a:solidFill>
                            <a:schemeClr val="tx1"/>
                          </a:solidFill>
                          <a:effectLst/>
                          <a:latin typeface="+mn-lt"/>
                        </a:rPr>
                        <a:t>, Peru</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400" dirty="0" smtClean="0">
                          <a:solidFill>
                            <a:schemeClr val="tx1"/>
                          </a:solidFill>
                          <a:effectLst/>
                          <a:latin typeface="+mn-lt"/>
                        </a:rPr>
                        <a:t>Argentina ,Brazil ,Chile ,Colombia ,Ecuador ,Peru ,Uruguay</a:t>
                      </a:r>
                      <a:endParaRPr lang="en-IN" sz="1400" dirty="0">
                        <a:solidFill>
                          <a:schemeClr val="tx1"/>
                        </a:solidFill>
                        <a:effectLst/>
                        <a:latin typeface="+mn-lt"/>
                      </a:endParaRP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1205598040"/>
                  </a:ext>
                </a:extLst>
              </a:tr>
              <a:tr h="553675">
                <a:tc>
                  <a:txBody>
                    <a:bodyPr/>
                    <a:lstStyle/>
                    <a:p>
                      <a:pPr fontAlgn="t"/>
                      <a:r>
                        <a:rPr lang="en-IN" sz="1400">
                          <a:solidFill>
                            <a:schemeClr val="tx1"/>
                          </a:solidFill>
                          <a:effectLst/>
                          <a:latin typeface="+mn-lt"/>
                        </a:rPr>
                        <a:t>Northern and Eastern Europe</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400" dirty="0">
                          <a:solidFill>
                            <a:schemeClr val="tx1"/>
                          </a:solidFill>
                          <a:effectLst/>
                          <a:latin typeface="+mn-lt"/>
                        </a:rPr>
                        <a:t>Copenhagen, </a:t>
                      </a:r>
                      <a:r>
                        <a:rPr lang="en-IN" sz="1400" dirty="0" smtClean="0">
                          <a:solidFill>
                            <a:schemeClr val="tx1"/>
                          </a:solidFill>
                          <a:effectLst/>
                          <a:latin typeface="+mn-lt"/>
                        </a:rPr>
                        <a:t>Denmark, Helsinki</a:t>
                      </a:r>
                      <a:r>
                        <a:rPr lang="en-IN" sz="1400" dirty="0">
                          <a:solidFill>
                            <a:schemeClr val="tx1"/>
                          </a:solidFill>
                          <a:effectLst/>
                          <a:latin typeface="+mn-lt"/>
                        </a:rPr>
                        <a:t>, </a:t>
                      </a:r>
                      <a:r>
                        <a:rPr lang="en-IN" sz="1400" dirty="0" smtClean="0">
                          <a:solidFill>
                            <a:schemeClr val="tx1"/>
                          </a:solidFill>
                          <a:effectLst/>
                          <a:latin typeface="+mn-lt"/>
                        </a:rPr>
                        <a:t>Finland ,Warsaw</a:t>
                      </a:r>
                      <a:r>
                        <a:rPr lang="en-IN" sz="1400" dirty="0">
                          <a:solidFill>
                            <a:schemeClr val="tx1"/>
                          </a:solidFill>
                          <a:effectLst/>
                          <a:latin typeface="+mn-lt"/>
                        </a:rPr>
                        <a:t>, </a:t>
                      </a:r>
                      <a:r>
                        <a:rPr lang="en-IN" sz="1400" dirty="0" smtClean="0">
                          <a:solidFill>
                            <a:schemeClr val="tx1"/>
                          </a:solidFill>
                          <a:effectLst/>
                          <a:latin typeface="+mn-lt"/>
                        </a:rPr>
                        <a:t>Poland Stockholm</a:t>
                      </a:r>
                      <a:r>
                        <a:rPr lang="en-IN" sz="1400" dirty="0">
                          <a:solidFill>
                            <a:schemeClr val="tx1"/>
                          </a:solidFill>
                          <a:effectLst/>
                          <a:latin typeface="+mn-lt"/>
                        </a:rPr>
                        <a:t>, Sweden</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de-DE" sz="1400" dirty="0" smtClean="0">
                          <a:solidFill>
                            <a:schemeClr val="tx1"/>
                          </a:solidFill>
                          <a:effectLst/>
                          <a:latin typeface="+mn-lt"/>
                        </a:rPr>
                        <a:t>Bulgaria , Denmark ,Finland ,Norway ,Poland ,Sweden</a:t>
                      </a:r>
                      <a:r>
                        <a:rPr lang="de-DE" sz="1400" dirty="0">
                          <a:solidFill>
                            <a:schemeClr val="tx1"/>
                          </a:solidFill>
                          <a:effectLst/>
                          <a:latin typeface="+mn-lt"/>
                        </a:rPr>
                        <a:t/>
                      </a:r>
                      <a:br>
                        <a:rPr lang="de-DE" sz="1400" dirty="0">
                          <a:solidFill>
                            <a:schemeClr val="tx1"/>
                          </a:solidFill>
                          <a:effectLst/>
                          <a:latin typeface="+mn-lt"/>
                        </a:rPr>
                      </a:br>
                      <a:endParaRPr lang="de-DE" sz="1400" dirty="0">
                        <a:solidFill>
                          <a:schemeClr val="tx1"/>
                        </a:solidFill>
                        <a:effectLst/>
                        <a:latin typeface="+mn-lt"/>
                      </a:endParaRP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1557366774"/>
                  </a:ext>
                </a:extLst>
              </a:tr>
              <a:tr h="523192">
                <a:tc>
                  <a:txBody>
                    <a:bodyPr/>
                    <a:lstStyle/>
                    <a:p>
                      <a:pPr fontAlgn="t"/>
                      <a:r>
                        <a:rPr lang="en-IN" sz="1400">
                          <a:solidFill>
                            <a:schemeClr val="tx1"/>
                          </a:solidFill>
                          <a:effectLst/>
                          <a:latin typeface="+mn-lt"/>
                        </a:rPr>
                        <a:t>Western Europe</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400" dirty="0">
                          <a:solidFill>
                            <a:schemeClr val="tx1"/>
                          </a:solidFill>
                          <a:effectLst/>
                          <a:latin typeface="+mn-lt"/>
                        </a:rPr>
                        <a:t>Vienna, </a:t>
                      </a:r>
                      <a:r>
                        <a:rPr lang="en-IN" sz="1400" dirty="0" smtClean="0">
                          <a:solidFill>
                            <a:schemeClr val="tx1"/>
                          </a:solidFill>
                          <a:effectLst/>
                          <a:latin typeface="+mn-lt"/>
                        </a:rPr>
                        <a:t>Austria ,Paris</a:t>
                      </a:r>
                      <a:r>
                        <a:rPr lang="en-IN" sz="1400" dirty="0">
                          <a:solidFill>
                            <a:schemeClr val="tx1"/>
                          </a:solidFill>
                          <a:effectLst/>
                          <a:latin typeface="+mn-lt"/>
                        </a:rPr>
                        <a:t>, </a:t>
                      </a:r>
                      <a:r>
                        <a:rPr lang="en-IN" sz="1400" dirty="0" smtClean="0">
                          <a:solidFill>
                            <a:schemeClr val="tx1"/>
                          </a:solidFill>
                          <a:effectLst/>
                          <a:latin typeface="+mn-lt"/>
                        </a:rPr>
                        <a:t>France ,Frankfurt</a:t>
                      </a:r>
                      <a:r>
                        <a:rPr lang="en-IN" sz="1400" dirty="0">
                          <a:solidFill>
                            <a:schemeClr val="tx1"/>
                          </a:solidFill>
                          <a:effectLst/>
                          <a:latin typeface="+mn-lt"/>
                        </a:rPr>
                        <a:t>, </a:t>
                      </a:r>
                      <a:r>
                        <a:rPr lang="en-IN" sz="1400" dirty="0" smtClean="0">
                          <a:solidFill>
                            <a:schemeClr val="tx1"/>
                          </a:solidFill>
                          <a:effectLst/>
                          <a:latin typeface="+mn-lt"/>
                        </a:rPr>
                        <a:t>Germany , Amsterdam</a:t>
                      </a:r>
                      <a:r>
                        <a:rPr lang="en-IN" sz="1400" dirty="0">
                          <a:solidFill>
                            <a:schemeClr val="tx1"/>
                          </a:solidFill>
                          <a:effectLst/>
                          <a:latin typeface="+mn-lt"/>
                        </a:rPr>
                        <a:t>, </a:t>
                      </a:r>
                      <a:r>
                        <a:rPr lang="en-IN" sz="1400" dirty="0" smtClean="0">
                          <a:solidFill>
                            <a:schemeClr val="tx1"/>
                          </a:solidFill>
                          <a:effectLst/>
                          <a:latin typeface="+mn-lt"/>
                        </a:rPr>
                        <a:t>Netherlands, London, </a:t>
                      </a:r>
                      <a:r>
                        <a:rPr lang="en-IN" sz="1400" dirty="0">
                          <a:solidFill>
                            <a:schemeClr val="tx1"/>
                          </a:solidFill>
                          <a:effectLst/>
                          <a:latin typeface="+mn-lt"/>
                        </a:rPr>
                        <a:t>UK</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400" dirty="0" smtClean="0">
                          <a:solidFill>
                            <a:schemeClr val="tx1"/>
                          </a:solidFill>
                          <a:effectLst/>
                          <a:latin typeface="+mn-lt"/>
                        </a:rPr>
                        <a:t>Austria , Belgium ,France ,Germany ,Ireland ,Netherlands ,Switzerland</a:t>
                      </a:r>
                      <a:r>
                        <a:rPr lang="en-IN" sz="1400" dirty="0">
                          <a:solidFill>
                            <a:schemeClr val="tx1"/>
                          </a:solidFill>
                          <a:effectLst/>
                          <a:latin typeface="+mn-lt"/>
                        </a:rPr>
                        <a:t/>
                      </a:r>
                      <a:br>
                        <a:rPr lang="en-IN" sz="1400" dirty="0">
                          <a:solidFill>
                            <a:schemeClr val="tx1"/>
                          </a:solidFill>
                          <a:effectLst/>
                          <a:latin typeface="+mn-lt"/>
                        </a:rPr>
                      </a:br>
                      <a:r>
                        <a:rPr lang="en-IN" sz="1400" dirty="0">
                          <a:solidFill>
                            <a:schemeClr val="tx1"/>
                          </a:solidFill>
                          <a:effectLst/>
                          <a:latin typeface="+mn-lt"/>
                        </a:rPr>
                        <a:t>United Kingdom</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2917664951"/>
                  </a:ext>
                </a:extLst>
              </a:tr>
              <a:tr h="549569">
                <a:tc>
                  <a:txBody>
                    <a:bodyPr/>
                    <a:lstStyle/>
                    <a:p>
                      <a:pPr fontAlgn="t"/>
                      <a:r>
                        <a:rPr lang="en-IN" sz="1400">
                          <a:solidFill>
                            <a:schemeClr val="tx1"/>
                          </a:solidFill>
                          <a:effectLst/>
                          <a:latin typeface="+mn-lt"/>
                        </a:rPr>
                        <a:t>Southern Europe</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400" dirty="0">
                          <a:solidFill>
                            <a:schemeClr val="tx1"/>
                          </a:solidFill>
                          <a:effectLst/>
                          <a:latin typeface="+mn-lt"/>
                        </a:rPr>
                        <a:t>Milan, Italy</a:t>
                      </a:r>
                      <a:br>
                        <a:rPr lang="en-IN" sz="1400" dirty="0">
                          <a:solidFill>
                            <a:schemeClr val="tx1"/>
                          </a:solidFill>
                          <a:effectLst/>
                          <a:latin typeface="+mn-lt"/>
                        </a:rPr>
                      </a:br>
                      <a:r>
                        <a:rPr lang="en-IN" sz="1400" dirty="0">
                          <a:solidFill>
                            <a:schemeClr val="tx1"/>
                          </a:solidFill>
                          <a:effectLst/>
                          <a:latin typeface="+mn-lt"/>
                        </a:rPr>
                        <a:t>Madrid, Spain</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400" dirty="0" smtClean="0">
                          <a:solidFill>
                            <a:schemeClr val="tx1"/>
                          </a:solidFill>
                          <a:effectLst/>
                          <a:latin typeface="+mn-lt"/>
                        </a:rPr>
                        <a:t>Greece ,Italy , Portugal ,Spain</a:t>
                      </a:r>
                      <a:endParaRPr lang="en-IN" sz="1400" dirty="0">
                        <a:solidFill>
                          <a:schemeClr val="tx1"/>
                        </a:solidFill>
                        <a:effectLst/>
                        <a:latin typeface="+mn-lt"/>
                      </a:endParaRP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680592839"/>
                  </a:ext>
                </a:extLst>
              </a:tr>
              <a:tr h="608035">
                <a:tc>
                  <a:txBody>
                    <a:bodyPr/>
                    <a:lstStyle/>
                    <a:p>
                      <a:pPr fontAlgn="t"/>
                      <a:r>
                        <a:rPr lang="en-IN" sz="1400">
                          <a:solidFill>
                            <a:schemeClr val="tx1"/>
                          </a:solidFill>
                          <a:effectLst/>
                          <a:latin typeface="+mn-lt"/>
                        </a:rPr>
                        <a:t>East Asia</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400" dirty="0">
                          <a:solidFill>
                            <a:schemeClr val="tx1"/>
                          </a:solidFill>
                          <a:effectLst/>
                          <a:latin typeface="+mn-lt"/>
                        </a:rPr>
                        <a:t>Hong </a:t>
                      </a:r>
                      <a:r>
                        <a:rPr lang="en-IN" sz="1400" dirty="0" smtClean="0">
                          <a:solidFill>
                            <a:schemeClr val="tx1"/>
                          </a:solidFill>
                          <a:effectLst/>
                          <a:latin typeface="+mn-lt"/>
                        </a:rPr>
                        <a:t>Kong ,</a:t>
                      </a:r>
                      <a:r>
                        <a:rPr lang="en-IN" sz="1400" dirty="0" err="1" smtClean="0">
                          <a:solidFill>
                            <a:schemeClr val="tx1"/>
                          </a:solidFill>
                          <a:effectLst/>
                          <a:latin typeface="+mn-lt"/>
                        </a:rPr>
                        <a:t>Batam</a:t>
                      </a:r>
                      <a:r>
                        <a:rPr lang="en-IN" sz="1400" dirty="0">
                          <a:solidFill>
                            <a:schemeClr val="tx1"/>
                          </a:solidFill>
                          <a:effectLst/>
                          <a:latin typeface="+mn-lt"/>
                        </a:rPr>
                        <a:t>, </a:t>
                      </a:r>
                      <a:r>
                        <a:rPr lang="en-IN" sz="1400" dirty="0" smtClean="0">
                          <a:solidFill>
                            <a:schemeClr val="tx1"/>
                          </a:solidFill>
                          <a:effectLst/>
                          <a:latin typeface="+mn-lt"/>
                        </a:rPr>
                        <a:t>Indonesia ,Jakarta</a:t>
                      </a:r>
                      <a:r>
                        <a:rPr lang="en-IN" sz="1400" dirty="0">
                          <a:solidFill>
                            <a:schemeClr val="tx1"/>
                          </a:solidFill>
                          <a:effectLst/>
                          <a:latin typeface="+mn-lt"/>
                        </a:rPr>
                        <a:t>, </a:t>
                      </a:r>
                      <a:r>
                        <a:rPr lang="en-IN" sz="1400" dirty="0" smtClean="0">
                          <a:solidFill>
                            <a:schemeClr val="tx1"/>
                          </a:solidFill>
                          <a:effectLst/>
                          <a:latin typeface="+mn-lt"/>
                        </a:rPr>
                        <a:t>Indonesia, Osaka</a:t>
                      </a:r>
                      <a:r>
                        <a:rPr lang="en-IN" sz="1400" dirty="0">
                          <a:solidFill>
                            <a:schemeClr val="tx1"/>
                          </a:solidFill>
                          <a:effectLst/>
                          <a:latin typeface="+mn-lt"/>
                        </a:rPr>
                        <a:t>, </a:t>
                      </a:r>
                      <a:r>
                        <a:rPr lang="en-IN" sz="1400" dirty="0" smtClean="0">
                          <a:solidFill>
                            <a:schemeClr val="tx1"/>
                          </a:solidFill>
                          <a:effectLst/>
                          <a:latin typeface="+mn-lt"/>
                        </a:rPr>
                        <a:t>Japan, Tokyo</a:t>
                      </a:r>
                      <a:r>
                        <a:rPr lang="en-IN" sz="1400" dirty="0">
                          <a:solidFill>
                            <a:schemeClr val="tx1"/>
                          </a:solidFill>
                          <a:effectLst/>
                          <a:latin typeface="+mn-lt"/>
                        </a:rPr>
                        <a:t>, </a:t>
                      </a:r>
                      <a:r>
                        <a:rPr lang="en-IN" sz="1400" dirty="0" smtClean="0">
                          <a:solidFill>
                            <a:schemeClr val="tx1"/>
                          </a:solidFill>
                          <a:effectLst/>
                          <a:latin typeface="+mn-lt"/>
                        </a:rPr>
                        <a:t>Japan ,Singapore</a:t>
                      </a:r>
                      <a:r>
                        <a:rPr lang="en-IN" sz="1400" dirty="0">
                          <a:solidFill>
                            <a:schemeClr val="tx1"/>
                          </a:solidFill>
                          <a:effectLst/>
                          <a:latin typeface="+mn-lt"/>
                        </a:rPr>
                        <a:t/>
                      </a:r>
                      <a:br>
                        <a:rPr lang="en-IN" sz="1400" dirty="0">
                          <a:solidFill>
                            <a:schemeClr val="tx1"/>
                          </a:solidFill>
                          <a:effectLst/>
                          <a:latin typeface="+mn-lt"/>
                        </a:rPr>
                      </a:br>
                      <a:r>
                        <a:rPr lang="en-IN" sz="1400" dirty="0">
                          <a:solidFill>
                            <a:schemeClr val="tx1"/>
                          </a:solidFill>
                          <a:effectLst/>
                          <a:latin typeface="+mn-lt"/>
                        </a:rPr>
                        <a:t>Seoul, South </a:t>
                      </a:r>
                      <a:r>
                        <a:rPr lang="en-IN" sz="1400" dirty="0" smtClean="0">
                          <a:solidFill>
                            <a:schemeClr val="tx1"/>
                          </a:solidFill>
                          <a:effectLst/>
                          <a:latin typeface="+mn-lt"/>
                        </a:rPr>
                        <a:t>Korea, Kaohsiung</a:t>
                      </a:r>
                      <a:r>
                        <a:rPr lang="en-IN" sz="1400" dirty="0">
                          <a:solidFill>
                            <a:schemeClr val="tx1"/>
                          </a:solidFill>
                          <a:effectLst/>
                          <a:latin typeface="+mn-lt"/>
                        </a:rPr>
                        <a:t>, Taiwan</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400" dirty="0">
                          <a:solidFill>
                            <a:schemeClr val="tx1"/>
                          </a:solidFill>
                          <a:effectLst/>
                          <a:latin typeface="+mn-lt"/>
                        </a:rPr>
                        <a:t>Hong </a:t>
                      </a:r>
                      <a:r>
                        <a:rPr lang="en-IN" sz="1400" dirty="0" smtClean="0">
                          <a:solidFill>
                            <a:schemeClr val="tx1"/>
                          </a:solidFill>
                          <a:effectLst/>
                          <a:latin typeface="+mn-lt"/>
                        </a:rPr>
                        <a:t>Kong, Indonesia , Japan, Macau, Malaysia, Philippines, Singapore, ,South Korea ,Taiwan ,Thailand</a:t>
                      </a:r>
                      <a:endParaRPr lang="en-IN" sz="1400" dirty="0">
                        <a:solidFill>
                          <a:schemeClr val="tx1"/>
                        </a:solidFill>
                        <a:effectLst/>
                        <a:latin typeface="+mn-lt"/>
                      </a:endParaRP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647004561"/>
                  </a:ext>
                </a:extLst>
              </a:tr>
              <a:tr h="663274">
                <a:tc>
                  <a:txBody>
                    <a:bodyPr/>
                    <a:lstStyle/>
                    <a:p>
                      <a:pPr fontAlgn="t"/>
                      <a:r>
                        <a:rPr lang="en-IN" sz="1400">
                          <a:solidFill>
                            <a:schemeClr val="tx1"/>
                          </a:solidFill>
                          <a:effectLst/>
                          <a:latin typeface="+mn-lt"/>
                        </a:rPr>
                        <a:t>South and Central Asia</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it-IT" sz="1400" dirty="0">
                          <a:solidFill>
                            <a:schemeClr val="tx1"/>
                          </a:solidFill>
                          <a:effectLst/>
                          <a:latin typeface="+mn-lt"/>
                        </a:rPr>
                        <a:t>Bangalore, </a:t>
                      </a:r>
                      <a:r>
                        <a:rPr lang="it-IT" sz="1400" dirty="0" smtClean="0">
                          <a:solidFill>
                            <a:schemeClr val="tx1"/>
                          </a:solidFill>
                          <a:effectLst/>
                          <a:latin typeface="+mn-lt"/>
                        </a:rPr>
                        <a:t>India , Chennai</a:t>
                      </a:r>
                      <a:r>
                        <a:rPr lang="it-IT" sz="1400" dirty="0">
                          <a:solidFill>
                            <a:schemeClr val="tx1"/>
                          </a:solidFill>
                          <a:effectLst/>
                          <a:latin typeface="+mn-lt"/>
                        </a:rPr>
                        <a:t>, </a:t>
                      </a:r>
                      <a:r>
                        <a:rPr lang="it-IT" sz="1400" dirty="0" smtClean="0">
                          <a:solidFill>
                            <a:schemeClr val="tx1"/>
                          </a:solidFill>
                          <a:effectLst/>
                          <a:latin typeface="+mn-lt"/>
                        </a:rPr>
                        <a:t>India , Delhi</a:t>
                      </a:r>
                      <a:r>
                        <a:rPr lang="it-IT" sz="1400" dirty="0">
                          <a:solidFill>
                            <a:schemeClr val="tx1"/>
                          </a:solidFill>
                          <a:effectLst/>
                          <a:latin typeface="+mn-lt"/>
                        </a:rPr>
                        <a:t>, </a:t>
                      </a:r>
                      <a:r>
                        <a:rPr lang="it-IT" sz="1400" dirty="0" smtClean="0">
                          <a:solidFill>
                            <a:schemeClr val="tx1"/>
                          </a:solidFill>
                          <a:effectLst/>
                          <a:latin typeface="+mn-lt"/>
                        </a:rPr>
                        <a:t>India ,Mumbai</a:t>
                      </a:r>
                      <a:r>
                        <a:rPr lang="it-IT" sz="1400" dirty="0">
                          <a:solidFill>
                            <a:schemeClr val="tx1"/>
                          </a:solidFill>
                          <a:effectLst/>
                          <a:latin typeface="+mn-lt"/>
                        </a:rPr>
                        <a:t>, </a:t>
                      </a:r>
                      <a:r>
                        <a:rPr lang="it-IT" sz="1400" dirty="0" smtClean="0">
                          <a:solidFill>
                            <a:schemeClr val="tx1"/>
                          </a:solidFill>
                          <a:effectLst/>
                          <a:latin typeface="+mn-lt"/>
                        </a:rPr>
                        <a:t>India ,New </a:t>
                      </a:r>
                      <a:r>
                        <a:rPr lang="it-IT" sz="1400" dirty="0">
                          <a:solidFill>
                            <a:schemeClr val="tx1"/>
                          </a:solidFill>
                          <a:effectLst/>
                          <a:latin typeface="+mn-lt"/>
                        </a:rPr>
                        <a:t>Delhi, India</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400" dirty="0">
                          <a:solidFill>
                            <a:schemeClr val="tx1"/>
                          </a:solidFill>
                          <a:effectLst/>
                          <a:latin typeface="+mn-lt"/>
                        </a:rPr>
                        <a:t>India</a:t>
                      </a:r>
                      <a:br>
                        <a:rPr lang="en-IN" sz="1400" dirty="0">
                          <a:solidFill>
                            <a:schemeClr val="tx1"/>
                          </a:solidFill>
                          <a:effectLst/>
                          <a:latin typeface="+mn-lt"/>
                        </a:rPr>
                      </a:br>
                      <a:r>
                        <a:rPr lang="en-IN" sz="1400" dirty="0">
                          <a:solidFill>
                            <a:schemeClr val="tx1"/>
                          </a:solidFill>
                          <a:effectLst/>
                          <a:latin typeface="+mn-lt"/>
                        </a:rPr>
                        <a:t>Sri Lanka</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3874651606"/>
                  </a:ext>
                </a:extLst>
              </a:tr>
              <a:tr h="582492">
                <a:tc>
                  <a:txBody>
                    <a:bodyPr/>
                    <a:lstStyle/>
                    <a:p>
                      <a:pPr fontAlgn="t"/>
                      <a:r>
                        <a:rPr lang="en-IN" sz="1400">
                          <a:solidFill>
                            <a:schemeClr val="tx1"/>
                          </a:solidFill>
                          <a:effectLst/>
                          <a:latin typeface="+mn-lt"/>
                        </a:rPr>
                        <a:t>Middle East/West Asia</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400">
                          <a:solidFill>
                            <a:schemeClr val="tx1"/>
                          </a:solidFill>
                          <a:effectLst/>
                          <a:latin typeface="+mn-lt"/>
                        </a:rPr>
                        <a:t>Muscat, Oman</a:t>
                      </a:r>
                      <a:br>
                        <a:rPr lang="en-IN" sz="1400">
                          <a:solidFill>
                            <a:schemeClr val="tx1"/>
                          </a:solidFill>
                          <a:effectLst/>
                          <a:latin typeface="+mn-lt"/>
                        </a:rPr>
                      </a:br>
                      <a:r>
                        <a:rPr lang="en-IN" sz="1400">
                          <a:solidFill>
                            <a:schemeClr val="tx1"/>
                          </a:solidFill>
                          <a:effectLst/>
                          <a:latin typeface="+mn-lt"/>
                        </a:rPr>
                        <a:t>Fujirah, United Arab Emirates</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400" dirty="0" smtClean="0">
                          <a:solidFill>
                            <a:schemeClr val="tx1"/>
                          </a:solidFill>
                          <a:effectLst/>
                          <a:latin typeface="+mn-lt"/>
                        </a:rPr>
                        <a:t>Israel, Kuwait, Qatar ,Turkey, United </a:t>
                      </a:r>
                      <a:r>
                        <a:rPr lang="en-IN" sz="1400" dirty="0">
                          <a:solidFill>
                            <a:schemeClr val="tx1"/>
                          </a:solidFill>
                          <a:effectLst/>
                          <a:latin typeface="+mn-lt"/>
                        </a:rPr>
                        <a:t>Arab Emirates</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1046889278"/>
                  </a:ext>
                </a:extLst>
              </a:tr>
              <a:tr h="494351">
                <a:tc>
                  <a:txBody>
                    <a:bodyPr/>
                    <a:lstStyle/>
                    <a:p>
                      <a:pPr fontAlgn="t"/>
                      <a:r>
                        <a:rPr lang="en-IN" sz="1400">
                          <a:solidFill>
                            <a:schemeClr val="tx1"/>
                          </a:solidFill>
                          <a:effectLst/>
                          <a:latin typeface="+mn-lt"/>
                        </a:rPr>
                        <a:t>Africa</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endParaRPr lang="en-IN" sz="1400">
                        <a:solidFill>
                          <a:schemeClr val="tx1"/>
                        </a:solidFill>
                        <a:effectLst/>
                        <a:latin typeface="+mn-lt"/>
                      </a:endParaRP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IN" sz="1400" dirty="0" smtClean="0">
                          <a:solidFill>
                            <a:schemeClr val="tx1"/>
                          </a:solidFill>
                          <a:effectLst/>
                          <a:latin typeface="+mn-lt"/>
                        </a:rPr>
                        <a:t>Egypt, South </a:t>
                      </a:r>
                      <a:r>
                        <a:rPr lang="en-IN" sz="1400" dirty="0">
                          <a:solidFill>
                            <a:schemeClr val="tx1"/>
                          </a:solidFill>
                          <a:effectLst/>
                          <a:latin typeface="+mn-lt"/>
                        </a:rPr>
                        <a:t>Africa</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748089711"/>
                  </a:ext>
                </a:extLst>
              </a:tr>
              <a:tr h="549569">
                <a:tc>
                  <a:txBody>
                    <a:bodyPr/>
                    <a:lstStyle/>
                    <a:p>
                      <a:pPr fontAlgn="t"/>
                      <a:r>
                        <a:rPr lang="en-IN" sz="1400" dirty="0">
                          <a:solidFill>
                            <a:schemeClr val="tx1"/>
                          </a:solidFill>
                          <a:effectLst/>
                          <a:latin typeface="+mn-lt"/>
                        </a:rPr>
                        <a:t>Australia and New Zealand</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IN" sz="1400" dirty="0">
                          <a:solidFill>
                            <a:schemeClr val="tx1"/>
                          </a:solidFill>
                          <a:effectLst/>
                          <a:latin typeface="+mn-lt"/>
                        </a:rPr>
                        <a:t>Melbourne, </a:t>
                      </a:r>
                      <a:r>
                        <a:rPr lang="en-IN" sz="1400" dirty="0" smtClean="0">
                          <a:solidFill>
                            <a:schemeClr val="tx1"/>
                          </a:solidFill>
                          <a:effectLst/>
                          <a:latin typeface="+mn-lt"/>
                        </a:rPr>
                        <a:t>Australia, Sydney</a:t>
                      </a:r>
                      <a:r>
                        <a:rPr lang="en-IN" sz="1400" dirty="0">
                          <a:solidFill>
                            <a:schemeClr val="tx1"/>
                          </a:solidFill>
                          <a:effectLst/>
                          <a:latin typeface="+mn-lt"/>
                        </a:rPr>
                        <a:t>, </a:t>
                      </a:r>
                      <a:r>
                        <a:rPr lang="en-IN" sz="1400" dirty="0" smtClean="0">
                          <a:solidFill>
                            <a:schemeClr val="tx1"/>
                          </a:solidFill>
                          <a:effectLst/>
                          <a:latin typeface="+mn-lt"/>
                        </a:rPr>
                        <a:t>Australia, Auckland</a:t>
                      </a:r>
                      <a:r>
                        <a:rPr lang="en-IN" sz="1400" dirty="0">
                          <a:solidFill>
                            <a:schemeClr val="tx1"/>
                          </a:solidFill>
                          <a:effectLst/>
                          <a:latin typeface="+mn-lt"/>
                        </a:rPr>
                        <a:t>, New Zealand</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IN" sz="1400" dirty="0" smtClean="0">
                          <a:solidFill>
                            <a:schemeClr val="tx1"/>
                          </a:solidFill>
                          <a:effectLst/>
                          <a:latin typeface="+mn-lt"/>
                        </a:rPr>
                        <a:t>Australia, New </a:t>
                      </a:r>
                      <a:r>
                        <a:rPr lang="en-IN" sz="1400" dirty="0">
                          <a:solidFill>
                            <a:schemeClr val="tx1"/>
                          </a:solidFill>
                          <a:effectLst/>
                          <a:latin typeface="+mn-lt"/>
                        </a:rPr>
                        <a:t>Zealand</a:t>
                      </a:r>
                    </a:p>
                  </a:txBody>
                  <a:tcPr marL="44940" marR="44940" marT="33705" marB="3370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xmlns="" val="1686180654"/>
                  </a:ext>
                </a:extLst>
              </a:tr>
            </a:tbl>
          </a:graphicData>
        </a:graphic>
      </p:graphicFrame>
    </p:spTree>
    <p:extLst>
      <p:ext uri="{BB962C8B-B14F-4D97-AF65-F5344CB8AC3E}">
        <p14:creationId xmlns:p14="http://schemas.microsoft.com/office/powerpoint/2010/main" val="44596325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Premium Storage</a:t>
            </a:r>
            <a:endParaRPr lang="en-US" dirty="0"/>
          </a:p>
        </p:txBody>
      </p:sp>
      <p:pic>
        <p:nvPicPr>
          <p:cNvPr id="6" name="Picture 5"/>
          <p:cNvPicPr>
            <a:picLocks noChangeAspect="1"/>
          </p:cNvPicPr>
          <p:nvPr/>
        </p:nvPicPr>
        <p:blipFill>
          <a:blip r:embed="rId3" cstate="print"/>
          <a:stretch>
            <a:fillRect/>
          </a:stretch>
        </p:blipFill>
        <p:spPr>
          <a:xfrm>
            <a:off x="84201" y="2379355"/>
            <a:ext cx="2018409" cy="2091954"/>
          </a:xfrm>
          <a:prstGeom prst="rect">
            <a:avLst/>
          </a:prstGeom>
        </p:spPr>
      </p:pic>
      <p:sp>
        <p:nvSpPr>
          <p:cNvPr id="7" name="TextBox 6"/>
          <p:cNvSpPr txBox="1"/>
          <p:nvPr/>
        </p:nvSpPr>
        <p:spPr>
          <a:xfrm>
            <a:off x="2086217" y="2040779"/>
            <a:ext cx="5111863" cy="3828318"/>
          </a:xfrm>
          <a:prstGeom prst="rect">
            <a:avLst/>
          </a:prstGeom>
          <a:noFill/>
        </p:spPr>
        <p:txBody>
          <a:bodyPr wrap="square" lIns="179285" tIns="143428" rIns="179285" bIns="143428" rtlCol="0">
            <a:spAutoFit/>
          </a:bodyPr>
          <a:lstStyle/>
          <a:p>
            <a:pPr defTabSz="914367">
              <a:spcBef>
                <a:spcPts val="1175"/>
              </a:spcBef>
              <a:buClr>
                <a:srgbClr val="505050"/>
              </a:buClr>
            </a:pPr>
            <a:r>
              <a:rPr lang="en-US" sz="2353" dirty="0">
                <a:solidFill>
                  <a:srgbClr val="505050"/>
                </a:solidFill>
              </a:rPr>
              <a:t>High Bandwidth with Low Latency</a:t>
            </a:r>
          </a:p>
          <a:p>
            <a:pPr defTabSz="914367">
              <a:spcBef>
                <a:spcPts val="1175"/>
              </a:spcBef>
              <a:buClr>
                <a:srgbClr val="505050"/>
              </a:buClr>
            </a:pPr>
            <a:r>
              <a:rPr lang="en-US" sz="2353" dirty="0">
                <a:solidFill>
                  <a:srgbClr val="505050"/>
                </a:solidFill>
              </a:rPr>
              <a:t>Up to </a:t>
            </a:r>
            <a:r>
              <a:rPr lang="en-US" sz="2353" b="1" u="sng" dirty="0">
                <a:solidFill>
                  <a:srgbClr val="505050"/>
                </a:solidFill>
              </a:rPr>
              <a:t>64 TB</a:t>
            </a:r>
            <a:r>
              <a:rPr lang="en-US" sz="2353" dirty="0">
                <a:solidFill>
                  <a:srgbClr val="505050"/>
                </a:solidFill>
              </a:rPr>
              <a:t> of storage per VM</a:t>
            </a:r>
          </a:p>
          <a:p>
            <a:pPr defTabSz="914367">
              <a:spcBef>
                <a:spcPts val="1175"/>
              </a:spcBef>
              <a:buClr>
                <a:srgbClr val="505050"/>
              </a:buClr>
            </a:pPr>
            <a:r>
              <a:rPr lang="en-US" sz="2353" dirty="0">
                <a:solidFill>
                  <a:srgbClr val="505050"/>
                </a:solidFill>
              </a:rPr>
              <a:t>80,000 IOPS per VM</a:t>
            </a:r>
          </a:p>
          <a:p>
            <a:pPr defTabSz="914367">
              <a:spcBef>
                <a:spcPts val="1175"/>
              </a:spcBef>
              <a:buClr>
                <a:srgbClr val="505050"/>
              </a:buClr>
            </a:pPr>
            <a:r>
              <a:rPr lang="en-US" sz="2353" dirty="0">
                <a:solidFill>
                  <a:srgbClr val="505050"/>
                </a:solidFill>
              </a:rPr>
              <a:t>5,000 IOPS per disk</a:t>
            </a:r>
          </a:p>
          <a:p>
            <a:pPr defTabSz="914367">
              <a:spcBef>
                <a:spcPts val="1175"/>
              </a:spcBef>
              <a:buClr>
                <a:srgbClr val="505050"/>
              </a:buClr>
            </a:pPr>
            <a:r>
              <a:rPr lang="en-US" sz="2353" dirty="0">
                <a:solidFill>
                  <a:srgbClr val="505050"/>
                </a:solidFill>
              </a:rPr>
              <a:t>~5 ms read/write (no cache)</a:t>
            </a:r>
          </a:p>
          <a:p>
            <a:pPr defTabSz="914367">
              <a:spcBef>
                <a:spcPts val="1175"/>
              </a:spcBef>
              <a:buClr>
                <a:srgbClr val="505050"/>
              </a:buClr>
            </a:pPr>
            <a:r>
              <a:rPr lang="en-US" sz="2353" dirty="0">
                <a:solidFill>
                  <a:srgbClr val="505050"/>
                </a:solidFill>
              </a:rPr>
              <a:t>Less than 1ms read latency (cache)</a:t>
            </a:r>
          </a:p>
          <a:p>
            <a:pPr defTabSz="914367">
              <a:lnSpc>
                <a:spcPct val="90000"/>
              </a:lnSpc>
              <a:spcAft>
                <a:spcPts val="588"/>
              </a:spcAft>
            </a:pPr>
            <a:endParaRPr lang="en-US" sz="2353" dirty="0">
              <a:solidFill>
                <a:srgbClr val="505050"/>
              </a:solidFill>
            </a:endParaRPr>
          </a:p>
          <a:p>
            <a:pPr defTabSz="914367">
              <a:lnSpc>
                <a:spcPct val="90000"/>
              </a:lnSpc>
              <a:spcAft>
                <a:spcPts val="588"/>
              </a:spcAft>
            </a:pPr>
            <a:r>
              <a:rPr lang="en-US" sz="1400" b="1" i="1" dirty="0">
                <a:solidFill>
                  <a:srgbClr val="505050"/>
                </a:solidFill>
              </a:rPr>
              <a:t>*Supports only Azure VM</a:t>
            </a:r>
            <a:endParaRPr lang="en-US" sz="2353" b="1" i="1" dirty="0">
              <a:solidFill>
                <a:srgbClr val="505050"/>
              </a:solidFill>
            </a:endParaRPr>
          </a:p>
        </p:txBody>
      </p:sp>
      <p:grpSp>
        <p:nvGrpSpPr>
          <p:cNvPr id="41" name="Group 40"/>
          <p:cNvGrpSpPr/>
          <p:nvPr/>
        </p:nvGrpSpPr>
        <p:grpSpPr>
          <a:xfrm>
            <a:off x="6768318" y="985470"/>
            <a:ext cx="5237478" cy="5647685"/>
            <a:chOff x="6904037" y="1004734"/>
            <a:chExt cx="5342500" cy="5760933"/>
          </a:xfrm>
        </p:grpSpPr>
        <p:sp>
          <p:nvSpPr>
            <p:cNvPr id="10" name="Rounded Rectangle 9"/>
            <p:cNvSpPr/>
            <p:nvPr/>
          </p:nvSpPr>
          <p:spPr bwMode="auto">
            <a:xfrm>
              <a:off x="7212755" y="1004734"/>
              <a:ext cx="5033782" cy="457200"/>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Virtual Machine</a:t>
              </a:r>
            </a:p>
          </p:txBody>
        </p:sp>
        <p:sp>
          <p:nvSpPr>
            <p:cNvPr id="11" name="Flowchart: Magnetic Disk 10"/>
            <p:cNvSpPr/>
            <p:nvPr/>
          </p:nvSpPr>
          <p:spPr bwMode="auto">
            <a:xfrm>
              <a:off x="7534646" y="1697911"/>
              <a:ext cx="838200" cy="873840"/>
            </a:xfrm>
            <a:prstGeom prst="flowChartMagneticDisk">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372" dirty="0">
                  <a:solidFill>
                    <a:srgbClr val="FFFFFF"/>
                  </a:solidFill>
                </a:rPr>
                <a:t>Uncached</a:t>
              </a:r>
            </a:p>
            <a:p>
              <a:pPr algn="ctr" defTabSz="914030" fontAlgn="base">
                <a:spcBef>
                  <a:spcPct val="0"/>
                </a:spcBef>
                <a:spcAft>
                  <a:spcPct val="0"/>
                </a:spcAft>
              </a:pPr>
              <a:r>
                <a:rPr lang="en-US" sz="1372" dirty="0">
                  <a:solidFill>
                    <a:srgbClr val="FFFFFF"/>
                  </a:solidFill>
                </a:rPr>
                <a:t>Disk</a:t>
              </a:r>
              <a:endParaRPr lang="en-US" sz="1765" dirty="0">
                <a:solidFill>
                  <a:srgbClr val="FFFFFF"/>
                </a:solidFill>
              </a:endParaRPr>
            </a:p>
          </p:txBody>
        </p:sp>
        <p:sp>
          <p:nvSpPr>
            <p:cNvPr id="12" name="Flowchart: Magnetic Disk 11"/>
            <p:cNvSpPr/>
            <p:nvPr/>
          </p:nvSpPr>
          <p:spPr bwMode="auto">
            <a:xfrm>
              <a:off x="9083030" y="1697911"/>
              <a:ext cx="838200" cy="873840"/>
            </a:xfrm>
            <a:prstGeom prst="flowChartMagneticDisk">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372" dirty="0">
                  <a:solidFill>
                    <a:srgbClr val="FFFFFF"/>
                  </a:solidFill>
                </a:rPr>
                <a:t>Cached</a:t>
              </a:r>
            </a:p>
            <a:p>
              <a:pPr algn="ctr" defTabSz="914030" fontAlgn="base">
                <a:spcBef>
                  <a:spcPct val="0"/>
                </a:spcBef>
                <a:spcAft>
                  <a:spcPct val="0"/>
                </a:spcAft>
              </a:pPr>
              <a:r>
                <a:rPr lang="en-US" sz="1372" dirty="0">
                  <a:solidFill>
                    <a:srgbClr val="FFFFFF"/>
                  </a:solidFill>
                </a:rPr>
                <a:t>Disk</a:t>
              </a:r>
              <a:endParaRPr lang="en-US" sz="1765" dirty="0">
                <a:solidFill>
                  <a:srgbClr val="FFFFFF"/>
                </a:solidFill>
              </a:endParaRPr>
            </a:p>
          </p:txBody>
        </p:sp>
        <p:sp>
          <p:nvSpPr>
            <p:cNvPr id="13" name="Flowchart: Magnetic Disk 12"/>
            <p:cNvSpPr/>
            <p:nvPr/>
          </p:nvSpPr>
          <p:spPr bwMode="auto">
            <a:xfrm>
              <a:off x="10973254" y="1697911"/>
              <a:ext cx="838200" cy="873840"/>
            </a:xfrm>
            <a:prstGeom prst="flowChartMagneticDisk">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372" b="1" dirty="0">
                  <a:solidFill>
                    <a:srgbClr val="FFFFFF"/>
                  </a:solidFill>
                </a:rPr>
                <a:t>Local</a:t>
              </a:r>
            </a:p>
            <a:p>
              <a:pPr algn="ctr" defTabSz="914030" fontAlgn="base">
                <a:spcBef>
                  <a:spcPct val="0"/>
                </a:spcBef>
                <a:spcAft>
                  <a:spcPct val="0"/>
                </a:spcAft>
              </a:pPr>
              <a:r>
                <a:rPr lang="en-US" sz="1372" b="1" dirty="0">
                  <a:solidFill>
                    <a:srgbClr val="FFFFFF"/>
                  </a:solidFill>
                </a:rPr>
                <a:t>Disk</a:t>
              </a:r>
              <a:endParaRPr lang="en-US" sz="1765" b="1" dirty="0">
                <a:solidFill>
                  <a:srgbClr val="FFFFFF"/>
                </a:solidFill>
              </a:endParaRPr>
            </a:p>
          </p:txBody>
        </p:sp>
        <p:grpSp>
          <p:nvGrpSpPr>
            <p:cNvPr id="22" name="Group 21"/>
            <p:cNvGrpSpPr/>
            <p:nvPr/>
          </p:nvGrpSpPr>
          <p:grpSpPr>
            <a:xfrm>
              <a:off x="7212755" y="2807728"/>
              <a:ext cx="3033324" cy="304800"/>
              <a:chOff x="7334538" y="2807728"/>
              <a:chExt cx="3033324" cy="304800"/>
            </a:xfrm>
            <a:solidFill>
              <a:schemeClr val="tx1"/>
            </a:solidFill>
          </p:grpSpPr>
          <p:sp>
            <p:nvSpPr>
              <p:cNvPr id="14" name="Rounded Rectangle 13"/>
              <p:cNvSpPr/>
              <p:nvPr/>
            </p:nvSpPr>
            <p:spPr bwMode="auto">
              <a:xfrm>
                <a:off x="7334538" y="2807728"/>
                <a:ext cx="1481982" cy="3048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372" dirty="0">
                    <a:solidFill>
                      <a:srgbClr val="FFFFFF"/>
                    </a:solidFill>
                  </a:rPr>
                  <a:t>Disk Provisioning</a:t>
                </a:r>
              </a:p>
            </p:txBody>
          </p:sp>
          <p:sp>
            <p:nvSpPr>
              <p:cNvPr id="15" name="Rounded Rectangle 14"/>
              <p:cNvSpPr/>
              <p:nvPr/>
            </p:nvSpPr>
            <p:spPr bwMode="auto">
              <a:xfrm>
                <a:off x="8885880" y="2807728"/>
                <a:ext cx="1481982" cy="3048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372" dirty="0">
                    <a:solidFill>
                      <a:srgbClr val="FFFFFF"/>
                    </a:solidFill>
                  </a:rPr>
                  <a:t>Disk Provisioning</a:t>
                </a:r>
              </a:p>
            </p:txBody>
          </p:sp>
        </p:grpSp>
        <p:sp>
          <p:nvSpPr>
            <p:cNvPr id="16" name="Rounded Rectangle 15"/>
            <p:cNvSpPr/>
            <p:nvPr/>
          </p:nvSpPr>
          <p:spPr bwMode="auto">
            <a:xfrm>
              <a:off x="8764097" y="3678443"/>
              <a:ext cx="3101440" cy="304800"/>
            </a:xfrm>
            <a:prstGeom prst="round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372" dirty="0">
                  <a:solidFill>
                    <a:srgbClr val="FFFFFF"/>
                  </a:solidFill>
                </a:rPr>
                <a:t>SSD Provisioning</a:t>
              </a:r>
            </a:p>
          </p:txBody>
        </p:sp>
        <p:sp>
          <p:nvSpPr>
            <p:cNvPr id="18" name="Cloud 17"/>
            <p:cNvSpPr/>
            <p:nvPr/>
          </p:nvSpPr>
          <p:spPr bwMode="auto">
            <a:xfrm>
              <a:off x="6904037" y="4936867"/>
              <a:ext cx="3581400" cy="1828800"/>
            </a:xfrm>
            <a:prstGeom prst="cloud">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solidFill>
                    <a:sysClr val="windowText" lastClr="000000"/>
                  </a:solidFill>
                </a:rPr>
                <a:t>Premium Storage Blobs</a:t>
              </a:r>
            </a:p>
          </p:txBody>
        </p:sp>
        <p:sp>
          <p:nvSpPr>
            <p:cNvPr id="19" name="Rounded Rectangle 18"/>
            <p:cNvSpPr/>
            <p:nvPr/>
          </p:nvSpPr>
          <p:spPr bwMode="auto">
            <a:xfrm>
              <a:off x="7222838" y="4549158"/>
              <a:ext cx="3101440" cy="304800"/>
            </a:xfrm>
            <a:prstGeom prst="round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372" dirty="0">
                  <a:solidFill>
                    <a:srgbClr val="FFFFFF"/>
                  </a:solidFill>
                </a:rPr>
                <a:t>VM/Network Provisioning</a:t>
              </a:r>
            </a:p>
          </p:txBody>
        </p:sp>
        <p:sp>
          <p:nvSpPr>
            <p:cNvPr id="20" name="Rectangle 19"/>
            <p:cNvSpPr/>
            <p:nvPr/>
          </p:nvSpPr>
          <p:spPr bwMode="auto">
            <a:xfrm>
              <a:off x="10915402" y="4315913"/>
              <a:ext cx="950135" cy="1086349"/>
            </a:xfrm>
            <a:prstGeom prst="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solidFill>
                    <a:sysClr val="windowText" lastClr="000000"/>
                  </a:solidFill>
                </a:rPr>
                <a:t>Server</a:t>
              </a:r>
            </a:p>
            <a:p>
              <a:pPr algn="ctr" defTabSz="914030" fontAlgn="base">
                <a:spcBef>
                  <a:spcPct val="0"/>
                </a:spcBef>
                <a:spcAft>
                  <a:spcPct val="0"/>
                </a:spcAft>
              </a:pPr>
              <a:r>
                <a:rPr lang="en-US" sz="1961" dirty="0">
                  <a:solidFill>
                    <a:sysClr val="windowText" lastClr="000000"/>
                  </a:solidFill>
                </a:rPr>
                <a:t>SSD</a:t>
              </a:r>
            </a:p>
          </p:txBody>
        </p:sp>
        <p:cxnSp>
          <p:nvCxnSpPr>
            <p:cNvPr id="24" name="Straight Arrow Connector 23"/>
            <p:cNvCxnSpPr/>
            <p:nvPr/>
          </p:nvCxnSpPr>
          <p:spPr>
            <a:xfrm>
              <a:off x="7925254" y="3112528"/>
              <a:ext cx="0" cy="1436630"/>
            </a:xfrm>
            <a:prstGeom prst="straightConnector1">
              <a:avLst/>
            </a:prstGeom>
            <a:ln w="1905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9494837" y="3126092"/>
              <a:ext cx="0" cy="552351"/>
            </a:xfrm>
            <a:prstGeom prst="straightConnector1">
              <a:avLst/>
            </a:prstGeom>
            <a:ln w="1905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9501275" y="3996807"/>
              <a:ext cx="0" cy="552351"/>
            </a:xfrm>
            <a:prstGeom prst="straightConnector1">
              <a:avLst/>
            </a:prstGeom>
            <a:ln w="1905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11049454" y="3996807"/>
              <a:ext cx="0" cy="334007"/>
            </a:xfrm>
            <a:prstGeom prst="straightConnector1">
              <a:avLst/>
            </a:prstGeom>
            <a:ln w="1905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11390469" y="2571751"/>
              <a:ext cx="0" cy="1761181"/>
            </a:xfrm>
            <a:prstGeom prst="straightConnector1">
              <a:avLst/>
            </a:prstGeom>
            <a:ln w="1905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9826793" y="3917545"/>
              <a:ext cx="1238159" cy="517065"/>
            </a:xfrm>
            <a:prstGeom prst="rect">
              <a:avLst/>
            </a:prstGeom>
            <a:noFill/>
          </p:spPr>
          <p:txBody>
            <a:bodyPr wrap="none" lIns="179285" tIns="143428" rIns="179285" bIns="143428" rtlCol="0">
              <a:spAutoFit/>
            </a:bodyPr>
            <a:lstStyle/>
            <a:p>
              <a:pPr defTabSz="914367">
                <a:lnSpc>
                  <a:spcPct val="90000"/>
                </a:lnSpc>
                <a:spcAft>
                  <a:spcPts val="588"/>
                </a:spcAft>
              </a:pPr>
              <a:r>
                <a:rPr lang="en-US" sz="1568" dirty="0">
                  <a:gradFill>
                    <a:gsLst>
                      <a:gs pos="2917">
                        <a:srgbClr val="FFFFFF"/>
                      </a:gs>
                      <a:gs pos="30000">
                        <a:srgbClr val="FFFFFF"/>
                      </a:gs>
                    </a:gsLst>
                    <a:lin ang="5400000" scaled="0"/>
                  </a:gradFill>
                </a:rPr>
                <a:t>Cache Hit</a:t>
              </a:r>
            </a:p>
          </p:txBody>
        </p:sp>
        <p:sp>
          <p:nvSpPr>
            <p:cNvPr id="33" name="TextBox 32"/>
            <p:cNvSpPr txBox="1"/>
            <p:nvPr/>
          </p:nvSpPr>
          <p:spPr>
            <a:xfrm>
              <a:off x="8220827" y="3926702"/>
              <a:ext cx="1380827" cy="517065"/>
            </a:xfrm>
            <a:prstGeom prst="rect">
              <a:avLst/>
            </a:prstGeom>
            <a:noFill/>
          </p:spPr>
          <p:txBody>
            <a:bodyPr wrap="none" lIns="179285" tIns="143428" rIns="179285" bIns="143428" rtlCol="0">
              <a:spAutoFit/>
            </a:bodyPr>
            <a:lstStyle/>
            <a:p>
              <a:pPr defTabSz="914367">
                <a:lnSpc>
                  <a:spcPct val="90000"/>
                </a:lnSpc>
                <a:spcAft>
                  <a:spcPts val="588"/>
                </a:spcAft>
              </a:pPr>
              <a:r>
                <a:rPr lang="en-US" sz="1568" dirty="0">
                  <a:gradFill>
                    <a:gsLst>
                      <a:gs pos="2917">
                        <a:srgbClr val="FFFFFF"/>
                      </a:gs>
                      <a:gs pos="30000">
                        <a:srgbClr val="FFFFFF"/>
                      </a:gs>
                    </a:gsLst>
                    <a:lin ang="5400000" scaled="0"/>
                  </a:gradFill>
                </a:rPr>
                <a:t>Cache Miss</a:t>
              </a:r>
            </a:p>
          </p:txBody>
        </p:sp>
        <p:cxnSp>
          <p:nvCxnSpPr>
            <p:cNvPr id="35" name="Straight Arrow Connector 34"/>
            <p:cNvCxnSpPr/>
            <p:nvPr/>
          </p:nvCxnSpPr>
          <p:spPr>
            <a:xfrm>
              <a:off x="7953746" y="1439862"/>
              <a:ext cx="0" cy="274320"/>
            </a:xfrm>
            <a:prstGeom prst="straightConnector1">
              <a:avLst/>
            </a:prstGeom>
            <a:ln w="1905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9502130" y="1439862"/>
              <a:ext cx="0" cy="274320"/>
            </a:xfrm>
            <a:prstGeom prst="straightConnector1">
              <a:avLst/>
            </a:prstGeom>
            <a:ln w="1905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11399837" y="1439862"/>
              <a:ext cx="0" cy="274320"/>
            </a:xfrm>
            <a:prstGeom prst="straightConnector1">
              <a:avLst/>
            </a:prstGeom>
            <a:ln w="1905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7953746" y="2537142"/>
              <a:ext cx="0" cy="274320"/>
            </a:xfrm>
            <a:prstGeom prst="straightConnector1">
              <a:avLst/>
            </a:prstGeom>
            <a:ln w="1905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9502130" y="2537142"/>
              <a:ext cx="0" cy="274320"/>
            </a:xfrm>
            <a:prstGeom prst="straightConnector1">
              <a:avLst/>
            </a:prstGeom>
            <a:ln w="1905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019908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1"/>
                                        </p:tgtEl>
                                        <p:attrNameLst>
                                          <p:attrName>style.visibility</p:attrName>
                                        </p:attrNameLst>
                                      </p:cBhvr>
                                      <p:to>
                                        <p:strVal val="visible"/>
                                      </p:to>
                                    </p:set>
                                    <p:animEffect transition="in" filter="fade">
                                      <p:cBhvr>
                                        <p:cTn id="15"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emium Storage Scalability and Performance</a:t>
            </a:r>
            <a:endParaRPr lang="en-US" dirty="0"/>
          </a:p>
        </p:txBody>
      </p:sp>
      <p:pic>
        <p:nvPicPr>
          <p:cNvPr id="4" name="Picture 3"/>
          <p:cNvPicPr>
            <a:picLocks noChangeAspect="1"/>
          </p:cNvPicPr>
          <p:nvPr/>
        </p:nvPicPr>
        <p:blipFill>
          <a:blip r:embed="rId3"/>
          <a:stretch>
            <a:fillRect/>
          </a:stretch>
        </p:blipFill>
        <p:spPr>
          <a:xfrm>
            <a:off x="216664" y="2137804"/>
            <a:ext cx="11760994" cy="2596013"/>
          </a:xfrm>
          <a:prstGeom prst="rect">
            <a:avLst/>
          </a:prstGeom>
        </p:spPr>
      </p:pic>
    </p:spTree>
    <p:extLst>
      <p:ext uri="{BB962C8B-B14F-4D97-AF65-F5344CB8AC3E}">
        <p14:creationId xmlns:p14="http://schemas.microsoft.com/office/powerpoint/2010/main" val="7055475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92234" y="2115615"/>
            <a:ext cx="10515600" cy="1325563"/>
          </a:xfrm>
        </p:spPr>
        <p:txBody>
          <a:bodyPr/>
          <a:lstStyle/>
          <a:p>
            <a:r>
              <a:rPr lang="en-US" b="1" u="sng" dirty="0" smtClean="0">
                <a:effectLst>
                  <a:outerShdw blurRad="38100" dist="38100" dir="2700000" algn="tl">
                    <a:srgbClr val="000000">
                      <a:alpha val="43137"/>
                    </a:srgbClr>
                  </a:outerShdw>
                </a:effectLst>
              </a:rPr>
              <a:t>Module 5 Identity  in Microsoft Azure </a:t>
            </a:r>
            <a:endParaRPr lang="en-US" b="1" u="sng"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838200" y="705394"/>
            <a:ext cx="10515600" cy="5471569"/>
          </a:xfrm>
        </p:spPr>
        <p:txBody>
          <a:bodyPr>
            <a:normAutofit/>
          </a:bodyPr>
          <a:lstStyle/>
          <a:p>
            <a:endParaRPr lang="en-US" dirty="0" smtClean="0"/>
          </a:p>
          <a:p>
            <a:endParaRPr lang="en-US" dirty="0"/>
          </a:p>
          <a:p>
            <a:endParaRPr lang="en-US" dirty="0" smtClean="0"/>
          </a:p>
          <a:p>
            <a:endParaRPr lang="en-US" dirty="0" smtClean="0"/>
          </a:p>
        </p:txBody>
      </p:sp>
    </p:spTree>
    <p:extLst>
      <p:ext uri="{BB962C8B-B14F-4D97-AF65-F5344CB8AC3E}">
        <p14:creationId xmlns:p14="http://schemas.microsoft.com/office/powerpoint/2010/main" val="3394859788"/>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51820" y="378188"/>
            <a:ext cx="11583425" cy="5656852"/>
          </a:xfrm>
          <a:prstGeom prst="rect">
            <a:avLst/>
          </a:prstGeom>
        </p:spPr>
      </p:pic>
    </p:spTree>
    <p:extLst>
      <p:ext uri="{BB962C8B-B14F-4D97-AF65-F5344CB8AC3E}">
        <p14:creationId xmlns:p14="http://schemas.microsoft.com/office/powerpoint/2010/main" val="3795867491"/>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 y="0"/>
            <a:ext cx="12192000" cy="6858000"/>
          </a:xfrm>
          <a:prstGeom prst="rect">
            <a:avLst/>
          </a:prstGeom>
        </p:spPr>
      </p:pic>
    </p:spTree>
    <p:extLst>
      <p:ext uri="{BB962C8B-B14F-4D97-AF65-F5344CB8AC3E}">
        <p14:creationId xmlns:p14="http://schemas.microsoft.com/office/powerpoint/2010/main" val="1387871598"/>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 y="271849"/>
            <a:ext cx="12192000" cy="5609967"/>
          </a:xfrm>
          <a:prstGeom prst="rect">
            <a:avLst/>
          </a:prstGeom>
        </p:spPr>
      </p:pic>
    </p:spTree>
    <p:extLst>
      <p:ext uri="{BB962C8B-B14F-4D97-AF65-F5344CB8AC3E}">
        <p14:creationId xmlns:p14="http://schemas.microsoft.com/office/powerpoint/2010/main" val="81786778"/>
      </p:ext>
    </p:extLst>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6562" y="365125"/>
            <a:ext cx="11057238" cy="1325563"/>
          </a:xfrm>
        </p:spPr>
        <p:txBody>
          <a:bodyPr/>
          <a:lstStyle/>
          <a:p>
            <a:r>
              <a:rPr lang="en-IN" b="1" u="sng" dirty="0" smtClean="0">
                <a:solidFill>
                  <a:srgbClr val="0758F9"/>
                </a:solidFill>
                <a:effectLst>
                  <a:outerShdw blurRad="38100" dist="38100" dir="2700000" algn="tl">
                    <a:srgbClr val="000000">
                      <a:alpha val="43137"/>
                    </a:srgbClr>
                  </a:outerShdw>
                </a:effectLst>
              </a:rPr>
              <a:t>Microsoft Azure Active Directory Editions</a:t>
            </a:r>
            <a:endParaRPr lang="en-IN" b="1" u="sng" dirty="0">
              <a:solidFill>
                <a:srgbClr val="0758F9"/>
              </a:solidFill>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469557" y="1899765"/>
            <a:ext cx="10884243" cy="4351338"/>
          </a:xfrm>
        </p:spPr>
        <p:txBody>
          <a:bodyPr/>
          <a:lstStyle/>
          <a:p>
            <a:r>
              <a:rPr lang="en-IN" dirty="0" smtClean="0"/>
              <a:t>Azure Active Directory Free Edition</a:t>
            </a:r>
          </a:p>
          <a:p>
            <a:r>
              <a:rPr lang="en-IN" dirty="0"/>
              <a:t>Azure Active Directory </a:t>
            </a:r>
            <a:r>
              <a:rPr lang="en-IN" dirty="0" smtClean="0"/>
              <a:t>Basic</a:t>
            </a:r>
          </a:p>
          <a:p>
            <a:r>
              <a:rPr lang="en-IN" dirty="0"/>
              <a:t>Azure Active Directory </a:t>
            </a:r>
            <a:r>
              <a:rPr lang="en-IN" dirty="0" smtClean="0"/>
              <a:t>Premium p1</a:t>
            </a:r>
          </a:p>
          <a:p>
            <a:r>
              <a:rPr lang="en-IN" dirty="0"/>
              <a:t>Azure Active Directory </a:t>
            </a:r>
            <a:r>
              <a:rPr lang="en-IN" dirty="0" smtClean="0"/>
              <a:t>Premium p2</a:t>
            </a:r>
          </a:p>
          <a:p>
            <a:endParaRPr lang="en-IN" dirty="0"/>
          </a:p>
          <a:p>
            <a:endParaRPr lang="en-IN" dirty="0" smtClean="0"/>
          </a:p>
          <a:p>
            <a:endParaRPr lang="en-IN" dirty="0"/>
          </a:p>
          <a:p>
            <a:pPr marL="0" indent="0">
              <a:buNone/>
            </a:pPr>
            <a:r>
              <a:rPr lang="en-IN" dirty="0"/>
              <a:t>https://azure.microsoft.com/en-in/pricing/details/active-directory/</a:t>
            </a:r>
            <a:endParaRPr lang="en-IN" dirty="0" smtClean="0"/>
          </a:p>
        </p:txBody>
      </p:sp>
    </p:spTree>
    <p:extLst>
      <p:ext uri="{BB962C8B-B14F-4D97-AF65-F5344CB8AC3E}">
        <p14:creationId xmlns:p14="http://schemas.microsoft.com/office/powerpoint/2010/main" val="380791919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u="sng" dirty="0" smtClean="0">
                <a:effectLst>
                  <a:outerShdw blurRad="38100" dist="38100" dir="2700000" algn="tl">
                    <a:srgbClr val="000000">
                      <a:alpha val="43137"/>
                    </a:srgbClr>
                  </a:outerShdw>
                </a:effectLst>
              </a:rPr>
              <a:t>Cloud Computing Models </a:t>
            </a:r>
            <a:endParaRPr lang="en-US" sz="3600" b="1" u="sng"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p:txBody>
          <a:bodyPr/>
          <a:lstStyle/>
          <a:p>
            <a:r>
              <a:rPr lang="en-US" b="1" dirty="0" smtClean="0">
                <a:effectLst>
                  <a:outerShdw blurRad="38100" dist="38100" dir="2700000" algn="tl">
                    <a:srgbClr val="000000">
                      <a:alpha val="43137"/>
                    </a:srgbClr>
                  </a:outerShdw>
                </a:effectLst>
              </a:rPr>
              <a:t>Public Cloud</a:t>
            </a:r>
            <a:r>
              <a:rPr lang="en-US" dirty="0" smtClean="0">
                <a:effectLst>
                  <a:outerShdw blurRad="38100" dist="38100" dir="2700000" algn="tl">
                    <a:srgbClr val="000000">
                      <a:alpha val="43137"/>
                    </a:srgbClr>
                  </a:outerShdw>
                </a:effectLst>
              </a:rPr>
              <a:t> </a:t>
            </a:r>
            <a:r>
              <a:rPr lang="en-US" dirty="0" smtClean="0"/>
              <a:t>is an Infrastructure, platform, or application service that a cloud service  provider delivers for access and consumption by public</a:t>
            </a:r>
          </a:p>
          <a:p>
            <a:r>
              <a:rPr lang="en-US" b="1" dirty="0" smtClean="0">
                <a:effectLst>
                  <a:outerShdw blurRad="38100" dist="38100" dir="2700000" algn="tl">
                    <a:srgbClr val="000000">
                      <a:alpha val="43137"/>
                    </a:srgbClr>
                  </a:outerShdw>
                </a:effectLst>
              </a:rPr>
              <a:t>Private cloud </a:t>
            </a:r>
            <a:r>
              <a:rPr lang="en-US" dirty="0"/>
              <a:t>is an privately owned and managed cloud that offers benefits similar to those of a public cloud, but is designed and secured for use by a single organization </a:t>
            </a:r>
          </a:p>
          <a:p>
            <a:r>
              <a:rPr lang="en-US" b="1" dirty="0" smtClean="0">
                <a:effectLst>
                  <a:outerShdw blurRad="38100" dist="38100" dir="2700000" algn="tl">
                    <a:srgbClr val="000000">
                      <a:alpha val="43137"/>
                    </a:srgbClr>
                  </a:outerShdw>
                </a:effectLst>
              </a:rPr>
              <a:t>Hybrid cloud </a:t>
            </a:r>
            <a:r>
              <a:rPr lang="en-US" dirty="0" smtClean="0"/>
              <a:t>is a technology that binds two separate clouds  public &amp; private together for the specific purpose of obtaining resources from both </a:t>
            </a:r>
            <a:endParaRPr lang="en-US" dirty="0"/>
          </a:p>
        </p:txBody>
      </p:sp>
    </p:spTree>
    <p:extLst>
      <p:ext uri="{BB962C8B-B14F-4D97-AF65-F5344CB8AC3E}">
        <p14:creationId xmlns:p14="http://schemas.microsoft.com/office/powerpoint/2010/main" val="16995337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690688"/>
          </a:xfrm>
        </p:spPr>
        <p:txBody>
          <a:bodyPr/>
          <a:lstStyle/>
          <a:p>
            <a:r>
              <a:rPr lang="en-IN" b="1" u="sng" dirty="0" smtClean="0">
                <a:effectLst>
                  <a:outerShdw blurRad="38100" dist="38100" dir="2700000" algn="tl">
                    <a:srgbClr val="000000">
                      <a:alpha val="43137"/>
                    </a:srgbClr>
                  </a:outerShdw>
                </a:effectLst>
              </a:rPr>
              <a:t>Azure AD Lab- Azure AD Users and Group</a:t>
            </a:r>
            <a:endParaRPr lang="en-IN" b="1" u="sng"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p:txBody>
          <a:bodyPr/>
          <a:lstStyle/>
          <a:p>
            <a:r>
              <a:rPr lang="en-IN" dirty="0" smtClean="0"/>
              <a:t>Create a User</a:t>
            </a:r>
          </a:p>
          <a:p>
            <a:r>
              <a:rPr lang="en-IN" dirty="0" smtClean="0"/>
              <a:t>Login to portal as User</a:t>
            </a:r>
            <a:endParaRPr lang="en-IN" dirty="0"/>
          </a:p>
        </p:txBody>
      </p:sp>
    </p:spTree>
    <p:extLst>
      <p:ext uri="{BB962C8B-B14F-4D97-AF65-F5344CB8AC3E}">
        <p14:creationId xmlns:p14="http://schemas.microsoft.com/office/powerpoint/2010/main" val="2693681280"/>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3697" y="365125"/>
            <a:ext cx="10810103" cy="1325563"/>
          </a:xfrm>
        </p:spPr>
        <p:txBody>
          <a:bodyPr/>
          <a:lstStyle/>
          <a:p>
            <a:r>
              <a:rPr lang="en-IN" b="1" u="sng" dirty="0" smtClean="0">
                <a:effectLst>
                  <a:outerShdw blurRad="38100" dist="38100" dir="2700000" algn="tl">
                    <a:srgbClr val="000000">
                      <a:alpha val="43137"/>
                    </a:srgbClr>
                  </a:outerShdw>
                </a:effectLst>
              </a:rPr>
              <a:t>Azure AD – Custom Domains</a:t>
            </a:r>
            <a:endParaRPr lang="en-IN" b="1" u="sng" dirty="0">
              <a:effectLst>
                <a:outerShdw blurRad="38100" dist="38100" dir="2700000" algn="tl">
                  <a:srgbClr val="000000">
                    <a:alpha val="43137"/>
                  </a:srgbClr>
                </a:outerShdw>
              </a:effectLst>
            </a:endParaRPr>
          </a:p>
        </p:txBody>
      </p:sp>
      <p:pic>
        <p:nvPicPr>
          <p:cNvPr id="4" name="Picture 3"/>
          <p:cNvPicPr>
            <a:picLocks noChangeAspect="1"/>
          </p:cNvPicPr>
          <p:nvPr/>
        </p:nvPicPr>
        <p:blipFill>
          <a:blip r:embed="rId2"/>
          <a:stretch>
            <a:fillRect/>
          </a:stretch>
        </p:blipFill>
        <p:spPr>
          <a:xfrm>
            <a:off x="71437" y="1690688"/>
            <a:ext cx="12049125" cy="5238750"/>
          </a:xfrm>
          <a:prstGeom prst="rect">
            <a:avLst/>
          </a:prstGeom>
        </p:spPr>
      </p:pic>
    </p:spTree>
    <p:extLst>
      <p:ext uri="{BB962C8B-B14F-4D97-AF65-F5344CB8AC3E}">
        <p14:creationId xmlns:p14="http://schemas.microsoft.com/office/powerpoint/2010/main" val="1113595711"/>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u="sng" dirty="0">
                <a:effectLst>
                  <a:outerShdw blurRad="38100" dist="38100" dir="2700000" algn="tl">
                    <a:srgbClr val="000000">
                      <a:alpha val="43137"/>
                    </a:srgbClr>
                  </a:outerShdw>
                </a:effectLst>
              </a:rPr>
              <a:t>Azure AD </a:t>
            </a:r>
            <a:r>
              <a:rPr lang="en-IN" b="1" u="sng" dirty="0" smtClean="0">
                <a:effectLst>
                  <a:outerShdw blurRad="38100" dist="38100" dir="2700000" algn="tl">
                    <a:srgbClr val="000000">
                      <a:alpha val="43137"/>
                    </a:srgbClr>
                  </a:outerShdw>
                </a:effectLst>
              </a:rPr>
              <a:t>Lab-Custom Domain</a:t>
            </a:r>
            <a:endParaRPr lang="en-IN" dirty="0"/>
          </a:p>
        </p:txBody>
      </p:sp>
      <p:pic>
        <p:nvPicPr>
          <p:cNvPr id="4" name="Picture 3"/>
          <p:cNvPicPr>
            <a:picLocks noChangeAspect="1"/>
          </p:cNvPicPr>
          <p:nvPr/>
        </p:nvPicPr>
        <p:blipFill>
          <a:blip r:embed="rId3"/>
          <a:stretch>
            <a:fillRect/>
          </a:stretch>
        </p:blipFill>
        <p:spPr>
          <a:xfrm>
            <a:off x="838200" y="2002825"/>
            <a:ext cx="10401300" cy="4038600"/>
          </a:xfrm>
          <a:prstGeom prst="rect">
            <a:avLst/>
          </a:prstGeom>
        </p:spPr>
      </p:pic>
    </p:spTree>
    <p:extLst>
      <p:ext uri="{BB962C8B-B14F-4D97-AF65-F5344CB8AC3E}">
        <p14:creationId xmlns:p14="http://schemas.microsoft.com/office/powerpoint/2010/main" val="118531301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 y="344186"/>
            <a:ext cx="12192000" cy="6513813"/>
          </a:xfrm>
          <a:prstGeom prst="rect">
            <a:avLst/>
          </a:prstGeom>
        </p:spPr>
      </p:pic>
    </p:spTree>
    <p:extLst>
      <p:ext uri="{BB962C8B-B14F-4D97-AF65-F5344CB8AC3E}">
        <p14:creationId xmlns:p14="http://schemas.microsoft.com/office/powerpoint/2010/main" val="633768946"/>
      </p:ext>
    </p:extLst>
  </p:cSld>
  <p:clrMapOvr>
    <a:masterClrMapping/>
  </p:clrMapOvr>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u="sng" dirty="0">
                <a:effectLst>
                  <a:outerShdw blurRad="38100" dist="38100" dir="2700000" algn="tl">
                    <a:srgbClr val="000000">
                      <a:alpha val="43137"/>
                    </a:srgbClr>
                  </a:outerShdw>
                </a:effectLst>
              </a:rPr>
              <a:t>Azure AD Lab-Custom </a:t>
            </a:r>
            <a:r>
              <a:rPr lang="en-IN" b="1" u="sng" dirty="0" smtClean="0">
                <a:effectLst>
                  <a:outerShdw blurRad="38100" dist="38100" dir="2700000" algn="tl">
                    <a:srgbClr val="000000">
                      <a:alpha val="43137"/>
                    </a:srgbClr>
                  </a:outerShdw>
                </a:effectLst>
              </a:rPr>
              <a:t>Directory</a:t>
            </a:r>
            <a:endParaRPr lang="en-IN" dirty="0"/>
          </a:p>
        </p:txBody>
      </p:sp>
      <p:sp>
        <p:nvSpPr>
          <p:cNvPr id="3" name="Content Placeholder 2"/>
          <p:cNvSpPr>
            <a:spLocks noGrp="1"/>
          </p:cNvSpPr>
          <p:nvPr>
            <p:ph idx="1"/>
          </p:nvPr>
        </p:nvSpPr>
        <p:spPr/>
        <p:txBody>
          <a:bodyPr/>
          <a:lstStyle/>
          <a:p>
            <a:endParaRPr lang="en-IN"/>
          </a:p>
        </p:txBody>
      </p:sp>
      <p:pic>
        <p:nvPicPr>
          <p:cNvPr id="4" name="Picture 3"/>
          <p:cNvPicPr>
            <a:picLocks noChangeAspect="1"/>
          </p:cNvPicPr>
          <p:nvPr/>
        </p:nvPicPr>
        <p:blipFill>
          <a:blip r:embed="rId2"/>
          <a:stretch>
            <a:fillRect/>
          </a:stretch>
        </p:blipFill>
        <p:spPr>
          <a:xfrm>
            <a:off x="838200" y="1843088"/>
            <a:ext cx="10515600" cy="4333875"/>
          </a:xfrm>
          <a:prstGeom prst="rect">
            <a:avLst/>
          </a:prstGeom>
        </p:spPr>
      </p:pic>
    </p:spTree>
    <p:extLst>
      <p:ext uri="{BB962C8B-B14F-4D97-AF65-F5344CB8AC3E}">
        <p14:creationId xmlns:p14="http://schemas.microsoft.com/office/powerpoint/2010/main" val="3514179910"/>
      </p:ext>
    </p:extLst>
  </p:cSld>
  <p:clrMapOvr>
    <a:masterClrMapping/>
  </p:clrMapOvr>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u="sng" dirty="0">
                <a:effectLst>
                  <a:outerShdw blurRad="38100" dist="38100" dir="2700000" algn="tl">
                    <a:srgbClr val="000000">
                      <a:alpha val="43137"/>
                    </a:srgbClr>
                  </a:outerShdw>
                </a:effectLst>
              </a:rPr>
              <a:t>Azure AD Lab-Custom Directory</a:t>
            </a:r>
            <a:endParaRPr lang="en-IN" dirty="0"/>
          </a:p>
        </p:txBody>
      </p:sp>
      <p:sp>
        <p:nvSpPr>
          <p:cNvPr id="3" name="Content Placeholder 2"/>
          <p:cNvSpPr>
            <a:spLocks noGrp="1"/>
          </p:cNvSpPr>
          <p:nvPr>
            <p:ph idx="1"/>
          </p:nvPr>
        </p:nvSpPr>
        <p:spPr/>
        <p:txBody>
          <a:bodyPr/>
          <a:lstStyle/>
          <a:p>
            <a:endParaRPr lang="en-IN"/>
          </a:p>
        </p:txBody>
      </p:sp>
      <p:pic>
        <p:nvPicPr>
          <p:cNvPr id="4" name="Picture 3"/>
          <p:cNvPicPr>
            <a:picLocks noChangeAspect="1"/>
          </p:cNvPicPr>
          <p:nvPr/>
        </p:nvPicPr>
        <p:blipFill>
          <a:blip r:embed="rId2"/>
          <a:stretch>
            <a:fillRect/>
          </a:stretch>
        </p:blipFill>
        <p:spPr>
          <a:xfrm>
            <a:off x="838200" y="1426765"/>
            <a:ext cx="10515600" cy="5149057"/>
          </a:xfrm>
          <a:prstGeom prst="rect">
            <a:avLst/>
          </a:prstGeom>
        </p:spPr>
      </p:pic>
    </p:spTree>
    <p:extLst>
      <p:ext uri="{BB962C8B-B14F-4D97-AF65-F5344CB8AC3E}">
        <p14:creationId xmlns:p14="http://schemas.microsoft.com/office/powerpoint/2010/main" val="1665415447"/>
      </p:ext>
    </p:extLst>
  </p:cSld>
  <p:clrMapOvr>
    <a:masterClrMapping/>
  </p:clrMapOvr>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1325563"/>
          </a:xfrm>
        </p:spPr>
        <p:txBody>
          <a:bodyPr/>
          <a:lstStyle/>
          <a:p>
            <a:r>
              <a:rPr lang="en-IN" b="1" u="sng" dirty="0">
                <a:effectLst>
                  <a:outerShdw blurRad="38100" dist="38100" dir="2700000" algn="tl">
                    <a:srgbClr val="000000">
                      <a:alpha val="43137"/>
                    </a:srgbClr>
                  </a:outerShdw>
                </a:effectLst>
              </a:rPr>
              <a:t>Azure AD </a:t>
            </a:r>
            <a:r>
              <a:rPr lang="en-IN" b="1" u="sng" dirty="0" smtClean="0">
                <a:effectLst>
                  <a:outerShdw blurRad="38100" dist="38100" dir="2700000" algn="tl">
                    <a:srgbClr val="000000">
                      <a:alpha val="43137"/>
                    </a:srgbClr>
                  </a:outerShdw>
                </a:effectLst>
              </a:rPr>
              <a:t>Enterprise application integration </a:t>
            </a:r>
            <a:endParaRPr lang="en-IN" dirty="0"/>
          </a:p>
        </p:txBody>
      </p:sp>
      <p:sp>
        <p:nvSpPr>
          <p:cNvPr id="3" name="Content Placeholder 2"/>
          <p:cNvSpPr>
            <a:spLocks noGrp="1"/>
          </p:cNvSpPr>
          <p:nvPr>
            <p:ph idx="1"/>
          </p:nvPr>
        </p:nvSpPr>
        <p:spPr/>
        <p:txBody>
          <a:bodyPr/>
          <a:lstStyle/>
          <a:p>
            <a:endParaRPr lang="en-IN"/>
          </a:p>
        </p:txBody>
      </p:sp>
      <p:pic>
        <p:nvPicPr>
          <p:cNvPr id="4" name="Picture 3"/>
          <p:cNvPicPr>
            <a:picLocks noChangeAspect="1"/>
          </p:cNvPicPr>
          <p:nvPr/>
        </p:nvPicPr>
        <p:blipFill>
          <a:blip r:embed="rId3"/>
          <a:stretch>
            <a:fillRect/>
          </a:stretch>
        </p:blipFill>
        <p:spPr>
          <a:xfrm>
            <a:off x="838200" y="1027905"/>
            <a:ext cx="10515600" cy="5149057"/>
          </a:xfrm>
          <a:prstGeom prst="rect">
            <a:avLst/>
          </a:prstGeom>
        </p:spPr>
      </p:pic>
    </p:spTree>
    <p:extLst>
      <p:ext uri="{BB962C8B-B14F-4D97-AF65-F5344CB8AC3E}">
        <p14:creationId xmlns:p14="http://schemas.microsoft.com/office/powerpoint/2010/main" val="1352831498"/>
      </p:ext>
    </p:extLst>
  </p:cSld>
  <p:clrMapOvr>
    <a:masterClrMapping/>
  </p:clrMapOvr>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1325563"/>
          </a:xfrm>
        </p:spPr>
        <p:txBody>
          <a:bodyPr/>
          <a:lstStyle/>
          <a:p>
            <a:r>
              <a:rPr lang="en-IN" b="1" u="sng" dirty="0">
                <a:effectLst>
                  <a:outerShdw blurRad="38100" dist="38100" dir="2700000" algn="tl">
                    <a:srgbClr val="000000">
                      <a:alpha val="43137"/>
                    </a:srgbClr>
                  </a:outerShdw>
                </a:effectLst>
              </a:rPr>
              <a:t>Azure AD Enterprise application integration </a:t>
            </a:r>
            <a:endParaRPr lang="en-IN" dirty="0"/>
          </a:p>
        </p:txBody>
      </p:sp>
      <p:sp>
        <p:nvSpPr>
          <p:cNvPr id="3" name="Content Placeholder 2"/>
          <p:cNvSpPr>
            <a:spLocks noGrp="1"/>
          </p:cNvSpPr>
          <p:nvPr>
            <p:ph idx="1"/>
          </p:nvPr>
        </p:nvSpPr>
        <p:spPr/>
        <p:txBody>
          <a:bodyPr/>
          <a:lstStyle/>
          <a:p>
            <a:endParaRPr lang="en-IN"/>
          </a:p>
        </p:txBody>
      </p:sp>
      <p:pic>
        <p:nvPicPr>
          <p:cNvPr id="4" name="Picture 3"/>
          <p:cNvPicPr>
            <a:picLocks noChangeAspect="1"/>
          </p:cNvPicPr>
          <p:nvPr/>
        </p:nvPicPr>
        <p:blipFill>
          <a:blip r:embed="rId2"/>
          <a:stretch>
            <a:fillRect/>
          </a:stretch>
        </p:blipFill>
        <p:spPr>
          <a:xfrm>
            <a:off x="790575" y="995363"/>
            <a:ext cx="10610850" cy="5181600"/>
          </a:xfrm>
          <a:prstGeom prst="rect">
            <a:avLst/>
          </a:prstGeom>
        </p:spPr>
      </p:pic>
    </p:spTree>
    <p:extLst>
      <p:ext uri="{BB962C8B-B14F-4D97-AF65-F5344CB8AC3E}">
        <p14:creationId xmlns:p14="http://schemas.microsoft.com/office/powerpoint/2010/main" val="1458486142"/>
      </p:ext>
    </p:extLst>
  </p:cSld>
  <p:clrMapOvr>
    <a:masterClrMapping/>
  </p:clrMapOvr>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383" y="148301"/>
            <a:ext cx="10515600" cy="1325563"/>
          </a:xfrm>
        </p:spPr>
        <p:txBody>
          <a:bodyPr/>
          <a:lstStyle/>
          <a:p>
            <a:r>
              <a:rPr lang="en-US" b="1" u="sng" dirty="0">
                <a:effectLst>
                  <a:outerShdw blurRad="38100" dist="38100" dir="2700000" algn="tl">
                    <a:srgbClr val="000000">
                      <a:alpha val="43137"/>
                    </a:srgbClr>
                  </a:outerShdw>
                </a:effectLst>
              </a:rPr>
              <a:t>Identity in the past</a:t>
            </a:r>
          </a:p>
        </p:txBody>
      </p:sp>
      <p:sp>
        <p:nvSpPr>
          <p:cNvPr id="10" name="Isosceles Triangle 9"/>
          <p:cNvSpPr/>
          <p:nvPr/>
        </p:nvSpPr>
        <p:spPr>
          <a:xfrm>
            <a:off x="4981980" y="2795937"/>
            <a:ext cx="2121408" cy="1618746"/>
          </a:xfrm>
          <a:prstGeom prst="triangle">
            <a:avLst/>
          </a:prstGeom>
          <a:solidFill>
            <a:schemeClr val="accent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rPr>
              <a:t>AD</a:t>
            </a:r>
          </a:p>
        </p:txBody>
      </p:sp>
      <p:sp>
        <p:nvSpPr>
          <p:cNvPr id="28" name="Rounded Rectangle 27"/>
          <p:cNvSpPr/>
          <p:nvPr/>
        </p:nvSpPr>
        <p:spPr>
          <a:xfrm>
            <a:off x="4803419" y="1141354"/>
            <a:ext cx="2478530" cy="5147735"/>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dirty="0">
                <a:solidFill>
                  <a:prstClr val="black"/>
                </a:solidFill>
              </a:rPr>
              <a:t>On-premises</a:t>
            </a:r>
            <a:endParaRPr lang="en-US" dirty="0">
              <a:solidFill>
                <a:prstClr val="white"/>
              </a:solidFill>
            </a:endParaRPr>
          </a:p>
        </p:txBody>
      </p:sp>
      <p:sp>
        <p:nvSpPr>
          <p:cNvPr id="4" name="TextBox 3"/>
          <p:cNvSpPr txBox="1"/>
          <p:nvPr/>
        </p:nvSpPr>
        <p:spPr>
          <a:xfrm>
            <a:off x="8468042" y="2171230"/>
            <a:ext cx="2360814" cy="369332"/>
          </a:xfrm>
          <a:prstGeom prst="rect">
            <a:avLst/>
          </a:prstGeom>
          <a:noFill/>
        </p:spPr>
        <p:txBody>
          <a:bodyPr wrap="square" rtlCol="0">
            <a:spAutoFit/>
          </a:bodyPr>
          <a:lstStyle/>
          <a:p>
            <a:r>
              <a:rPr lang="da-DK" dirty="0">
                <a:solidFill>
                  <a:prstClr val="black"/>
                </a:solidFill>
              </a:rPr>
              <a:t>Kerberos</a:t>
            </a:r>
          </a:p>
        </p:txBody>
      </p:sp>
      <p:sp>
        <p:nvSpPr>
          <p:cNvPr id="34" name="TextBox 33"/>
          <p:cNvSpPr txBox="1"/>
          <p:nvPr/>
        </p:nvSpPr>
        <p:spPr>
          <a:xfrm>
            <a:off x="8468042" y="3127134"/>
            <a:ext cx="2360814" cy="369332"/>
          </a:xfrm>
          <a:prstGeom prst="rect">
            <a:avLst/>
          </a:prstGeom>
          <a:noFill/>
        </p:spPr>
        <p:txBody>
          <a:bodyPr wrap="square" rtlCol="0">
            <a:spAutoFit/>
          </a:bodyPr>
          <a:lstStyle/>
          <a:p>
            <a:r>
              <a:rPr lang="da-DK" dirty="0">
                <a:solidFill>
                  <a:prstClr val="black"/>
                </a:solidFill>
              </a:rPr>
              <a:t>NTLM</a:t>
            </a:r>
          </a:p>
        </p:txBody>
      </p:sp>
      <p:sp>
        <p:nvSpPr>
          <p:cNvPr id="35" name="TextBox 34"/>
          <p:cNvSpPr txBox="1"/>
          <p:nvPr/>
        </p:nvSpPr>
        <p:spPr>
          <a:xfrm>
            <a:off x="8468042" y="3605310"/>
            <a:ext cx="2360814" cy="369332"/>
          </a:xfrm>
          <a:prstGeom prst="rect">
            <a:avLst/>
          </a:prstGeom>
          <a:noFill/>
        </p:spPr>
        <p:txBody>
          <a:bodyPr wrap="square" rtlCol="0">
            <a:spAutoFit/>
          </a:bodyPr>
          <a:lstStyle/>
          <a:p>
            <a:r>
              <a:rPr lang="da-DK" dirty="0">
                <a:solidFill>
                  <a:prstClr val="black"/>
                </a:solidFill>
              </a:rPr>
              <a:t>Secure Channel</a:t>
            </a:r>
          </a:p>
        </p:txBody>
      </p:sp>
      <p:sp>
        <p:nvSpPr>
          <p:cNvPr id="36" name="TextBox 35"/>
          <p:cNvSpPr txBox="1"/>
          <p:nvPr/>
        </p:nvSpPr>
        <p:spPr>
          <a:xfrm>
            <a:off x="8468042" y="4083486"/>
            <a:ext cx="2360814" cy="369332"/>
          </a:xfrm>
          <a:prstGeom prst="rect">
            <a:avLst/>
          </a:prstGeom>
          <a:noFill/>
        </p:spPr>
        <p:txBody>
          <a:bodyPr wrap="square" rtlCol="0">
            <a:spAutoFit/>
          </a:bodyPr>
          <a:lstStyle/>
          <a:p>
            <a:r>
              <a:rPr lang="da-DK" dirty="0">
                <a:solidFill>
                  <a:prstClr val="black"/>
                </a:solidFill>
              </a:rPr>
              <a:t>Digest</a:t>
            </a:r>
          </a:p>
        </p:txBody>
      </p:sp>
      <p:sp>
        <p:nvSpPr>
          <p:cNvPr id="37" name="TextBox 36"/>
          <p:cNvSpPr txBox="1"/>
          <p:nvPr/>
        </p:nvSpPr>
        <p:spPr>
          <a:xfrm>
            <a:off x="8468042" y="2649406"/>
            <a:ext cx="2360814" cy="369332"/>
          </a:xfrm>
          <a:prstGeom prst="rect">
            <a:avLst/>
          </a:prstGeom>
          <a:noFill/>
        </p:spPr>
        <p:txBody>
          <a:bodyPr wrap="square" rtlCol="0">
            <a:spAutoFit/>
          </a:bodyPr>
          <a:lstStyle/>
          <a:p>
            <a:r>
              <a:rPr lang="da-DK" dirty="0">
                <a:solidFill>
                  <a:prstClr val="black"/>
                </a:solidFill>
              </a:rPr>
              <a:t>Negotiate</a:t>
            </a:r>
          </a:p>
        </p:txBody>
      </p:sp>
      <p:sp>
        <p:nvSpPr>
          <p:cNvPr id="3" name="TextBox 2"/>
          <p:cNvSpPr txBox="1"/>
          <p:nvPr/>
        </p:nvSpPr>
        <p:spPr>
          <a:xfrm>
            <a:off x="8468042" y="1765568"/>
            <a:ext cx="2870518" cy="369332"/>
          </a:xfrm>
          <a:prstGeom prst="rect">
            <a:avLst/>
          </a:prstGeom>
          <a:noFill/>
        </p:spPr>
        <p:txBody>
          <a:bodyPr wrap="square" rtlCol="0">
            <a:spAutoFit/>
          </a:bodyPr>
          <a:lstStyle/>
          <a:p>
            <a:r>
              <a:rPr lang="da-DK" dirty="0">
                <a:solidFill>
                  <a:prstClr val="black"/>
                </a:solidFill>
              </a:rPr>
              <a:t>Authentication Mechanisms</a:t>
            </a:r>
          </a:p>
        </p:txBody>
      </p:sp>
    </p:spTree>
    <p:extLst>
      <p:ext uri="{BB962C8B-B14F-4D97-AF65-F5344CB8AC3E}">
        <p14:creationId xmlns:p14="http://schemas.microsoft.com/office/powerpoint/2010/main" val="23898499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28" grpId="0" animBg="1"/>
      <p:bldP spid="4" grpId="0"/>
      <p:bldP spid="34" grpId="0"/>
      <p:bldP spid="35" grpId="0"/>
      <p:bldP spid="36" grpId="0"/>
      <p:bldP spid="37" grpId="0"/>
      <p:bldP spid="3" grpId="0"/>
    </p:bld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Isosceles Triangle 32"/>
          <p:cNvSpPr/>
          <p:nvPr/>
        </p:nvSpPr>
        <p:spPr>
          <a:xfrm>
            <a:off x="8548779" y="4709004"/>
            <a:ext cx="2121408" cy="1618746"/>
          </a:xfrm>
          <a:prstGeom prst="triangle">
            <a:avLst/>
          </a:prstGeom>
          <a:solidFill>
            <a:schemeClr val="accent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rPr>
              <a:t>AD</a:t>
            </a:r>
          </a:p>
        </p:txBody>
      </p:sp>
      <p:sp>
        <p:nvSpPr>
          <p:cNvPr id="32" name="Isosceles Triangle 31"/>
          <p:cNvSpPr/>
          <p:nvPr/>
        </p:nvSpPr>
        <p:spPr>
          <a:xfrm>
            <a:off x="5176704" y="4709004"/>
            <a:ext cx="2121408" cy="1618746"/>
          </a:xfrm>
          <a:prstGeom prst="triangle">
            <a:avLst/>
          </a:prstGeom>
          <a:solidFill>
            <a:schemeClr val="accent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rPr>
              <a:t>AD</a:t>
            </a:r>
          </a:p>
        </p:txBody>
      </p:sp>
      <p:sp>
        <p:nvSpPr>
          <p:cNvPr id="2" name="Title 1"/>
          <p:cNvSpPr>
            <a:spLocks noGrp="1"/>
          </p:cNvSpPr>
          <p:nvPr>
            <p:ph type="title"/>
          </p:nvPr>
        </p:nvSpPr>
        <p:spPr>
          <a:xfrm>
            <a:off x="629565" y="18313"/>
            <a:ext cx="10515600" cy="1325563"/>
          </a:xfrm>
        </p:spPr>
        <p:txBody>
          <a:bodyPr/>
          <a:lstStyle/>
          <a:p>
            <a:r>
              <a:rPr lang="en-US" b="1" u="sng" dirty="0">
                <a:effectLst>
                  <a:outerShdw blurRad="38100" dist="38100" dir="2700000" algn="tl">
                    <a:srgbClr val="000000">
                      <a:alpha val="43137"/>
                    </a:srgbClr>
                  </a:outerShdw>
                </a:effectLst>
              </a:rPr>
              <a:t>Identity today</a:t>
            </a:r>
          </a:p>
        </p:txBody>
      </p:sp>
      <p:sp>
        <p:nvSpPr>
          <p:cNvPr id="3" name="Rounded Rectangle 2"/>
          <p:cNvSpPr/>
          <p:nvPr/>
        </p:nvSpPr>
        <p:spPr>
          <a:xfrm>
            <a:off x="600488" y="2487531"/>
            <a:ext cx="10848623" cy="200942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ounded Rectangle 6"/>
          <p:cNvSpPr/>
          <p:nvPr/>
        </p:nvSpPr>
        <p:spPr>
          <a:xfrm>
            <a:off x="600489" y="4496955"/>
            <a:ext cx="10848623" cy="198684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Isosceles Triangle 9"/>
          <p:cNvSpPr/>
          <p:nvPr/>
        </p:nvSpPr>
        <p:spPr>
          <a:xfrm>
            <a:off x="2538581" y="2544778"/>
            <a:ext cx="2121408" cy="1618746"/>
          </a:xfrm>
          <a:prstGeom prst="triangle">
            <a:avLst/>
          </a:prstGeom>
          <a:solidFill>
            <a:schemeClr val="accent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rPr>
              <a:t>AAD</a:t>
            </a:r>
          </a:p>
        </p:txBody>
      </p:sp>
      <p:sp>
        <p:nvSpPr>
          <p:cNvPr id="13" name="Isosceles Triangle 12"/>
          <p:cNvSpPr/>
          <p:nvPr/>
        </p:nvSpPr>
        <p:spPr>
          <a:xfrm>
            <a:off x="5186600" y="2544178"/>
            <a:ext cx="2121408" cy="1618746"/>
          </a:xfrm>
          <a:prstGeom prst="triangle">
            <a:avLst/>
          </a:prstGeom>
          <a:solidFill>
            <a:schemeClr val="accent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rPr>
              <a:t>AAD</a:t>
            </a:r>
          </a:p>
        </p:txBody>
      </p:sp>
      <p:sp>
        <p:nvSpPr>
          <p:cNvPr id="16" name="Curved Left Arrow 15"/>
          <p:cNvSpPr/>
          <p:nvPr/>
        </p:nvSpPr>
        <p:spPr>
          <a:xfrm rot="10800000">
            <a:off x="4604843" y="3690004"/>
            <a:ext cx="677333" cy="1947331"/>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endParaRPr>
          </a:p>
        </p:txBody>
      </p:sp>
      <p:sp>
        <p:nvSpPr>
          <p:cNvPr id="17" name="TextBox 16"/>
          <p:cNvSpPr txBox="1"/>
          <p:nvPr/>
        </p:nvSpPr>
        <p:spPr>
          <a:xfrm>
            <a:off x="4806847" y="4472998"/>
            <a:ext cx="1292341" cy="646331"/>
          </a:xfrm>
          <a:prstGeom prst="rect">
            <a:avLst/>
          </a:prstGeom>
          <a:noFill/>
        </p:spPr>
        <p:txBody>
          <a:bodyPr wrap="none" rtlCol="0">
            <a:spAutoFit/>
          </a:bodyPr>
          <a:lstStyle/>
          <a:p>
            <a:r>
              <a:rPr lang="en-US" dirty="0">
                <a:solidFill>
                  <a:prstClr val="black"/>
                </a:solidFill>
              </a:rPr>
              <a:t>Sync with</a:t>
            </a:r>
          </a:p>
          <a:p>
            <a:r>
              <a:rPr lang="en-US" dirty="0" err="1">
                <a:solidFill>
                  <a:prstClr val="black"/>
                </a:solidFill>
              </a:rPr>
              <a:t>pwd</a:t>
            </a:r>
            <a:r>
              <a:rPr lang="en-US" dirty="0">
                <a:solidFill>
                  <a:prstClr val="black"/>
                </a:solidFill>
              </a:rPr>
              <a:t> hashes</a:t>
            </a:r>
          </a:p>
        </p:txBody>
      </p:sp>
      <p:sp>
        <p:nvSpPr>
          <p:cNvPr id="20" name="Isosceles Triangle 19"/>
          <p:cNvSpPr/>
          <p:nvPr/>
        </p:nvSpPr>
        <p:spPr>
          <a:xfrm>
            <a:off x="8548779" y="2538771"/>
            <a:ext cx="2121408" cy="1618746"/>
          </a:xfrm>
          <a:prstGeom prst="triangle">
            <a:avLst/>
          </a:prstGeom>
          <a:solidFill>
            <a:schemeClr val="accent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rPr>
              <a:t>AAD</a:t>
            </a:r>
          </a:p>
        </p:txBody>
      </p:sp>
      <p:sp>
        <p:nvSpPr>
          <p:cNvPr id="21" name="Curved Left Arrow 20"/>
          <p:cNvSpPr/>
          <p:nvPr/>
        </p:nvSpPr>
        <p:spPr>
          <a:xfrm rot="10800000">
            <a:off x="7738271" y="3734957"/>
            <a:ext cx="677333" cy="1947331"/>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endParaRPr>
          </a:p>
        </p:txBody>
      </p:sp>
      <p:sp>
        <p:nvSpPr>
          <p:cNvPr id="22" name="TextBox 21"/>
          <p:cNvSpPr txBox="1"/>
          <p:nvPr/>
        </p:nvSpPr>
        <p:spPr>
          <a:xfrm>
            <a:off x="7773090" y="4463087"/>
            <a:ext cx="1908279" cy="646331"/>
          </a:xfrm>
          <a:prstGeom prst="rect">
            <a:avLst/>
          </a:prstGeom>
          <a:noFill/>
        </p:spPr>
        <p:txBody>
          <a:bodyPr wrap="none" rtlCol="0">
            <a:spAutoFit/>
          </a:bodyPr>
          <a:lstStyle/>
          <a:p>
            <a:r>
              <a:rPr lang="en-US" dirty="0">
                <a:solidFill>
                  <a:prstClr val="black"/>
                </a:solidFill>
              </a:rPr>
              <a:t>Sync with/without</a:t>
            </a:r>
          </a:p>
          <a:p>
            <a:r>
              <a:rPr lang="en-US" dirty="0" err="1">
                <a:solidFill>
                  <a:prstClr val="black"/>
                </a:solidFill>
              </a:rPr>
              <a:t>pwd</a:t>
            </a:r>
            <a:r>
              <a:rPr lang="en-US" dirty="0">
                <a:solidFill>
                  <a:prstClr val="black"/>
                </a:solidFill>
              </a:rPr>
              <a:t> hashes</a:t>
            </a:r>
          </a:p>
        </p:txBody>
      </p:sp>
      <p:sp>
        <p:nvSpPr>
          <p:cNvPr id="23" name="Curved Left Arrow 22"/>
          <p:cNvSpPr/>
          <p:nvPr/>
        </p:nvSpPr>
        <p:spPr>
          <a:xfrm>
            <a:off x="10633468" y="3759048"/>
            <a:ext cx="677333" cy="1947331"/>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endParaRPr>
          </a:p>
        </p:txBody>
      </p:sp>
      <p:sp>
        <p:nvSpPr>
          <p:cNvPr id="24" name="TextBox 23"/>
          <p:cNvSpPr txBox="1"/>
          <p:nvPr/>
        </p:nvSpPr>
        <p:spPr>
          <a:xfrm>
            <a:off x="9948042" y="4611498"/>
            <a:ext cx="1197123" cy="369332"/>
          </a:xfrm>
          <a:prstGeom prst="rect">
            <a:avLst/>
          </a:prstGeom>
          <a:noFill/>
        </p:spPr>
        <p:txBody>
          <a:bodyPr wrap="none" rtlCol="0">
            <a:spAutoFit/>
          </a:bodyPr>
          <a:lstStyle/>
          <a:p>
            <a:r>
              <a:rPr lang="en-US" dirty="0">
                <a:solidFill>
                  <a:prstClr val="black"/>
                </a:solidFill>
              </a:rPr>
              <a:t>Federation</a:t>
            </a:r>
          </a:p>
        </p:txBody>
      </p:sp>
      <p:sp>
        <p:nvSpPr>
          <p:cNvPr id="27" name="Rounded Rectangle 26"/>
          <p:cNvSpPr/>
          <p:nvPr/>
        </p:nvSpPr>
        <p:spPr>
          <a:xfrm>
            <a:off x="682335" y="1336064"/>
            <a:ext cx="1546946" cy="5147735"/>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dirty="0">
                <a:solidFill>
                  <a:prstClr val="black"/>
                </a:solidFill>
              </a:rPr>
              <a:t>On-premises</a:t>
            </a:r>
            <a:endParaRPr lang="en-US" dirty="0">
              <a:solidFill>
                <a:prstClr val="white"/>
              </a:solidFill>
            </a:endParaRPr>
          </a:p>
        </p:txBody>
      </p:sp>
      <p:sp>
        <p:nvSpPr>
          <p:cNvPr id="28" name="Rounded Rectangle 27"/>
          <p:cNvSpPr/>
          <p:nvPr/>
        </p:nvSpPr>
        <p:spPr>
          <a:xfrm>
            <a:off x="2532365" y="1302197"/>
            <a:ext cx="2231718" cy="5147735"/>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dirty="0">
                <a:solidFill>
                  <a:prstClr val="black"/>
                </a:solidFill>
              </a:rPr>
              <a:t>Cloud</a:t>
            </a:r>
            <a:endParaRPr lang="en-US" dirty="0">
              <a:solidFill>
                <a:prstClr val="white"/>
              </a:solidFill>
            </a:endParaRPr>
          </a:p>
        </p:txBody>
      </p:sp>
      <p:sp>
        <p:nvSpPr>
          <p:cNvPr id="29" name="Rounded Rectangle 28"/>
          <p:cNvSpPr/>
          <p:nvPr/>
        </p:nvSpPr>
        <p:spPr>
          <a:xfrm>
            <a:off x="4885857" y="1302197"/>
            <a:ext cx="2699724" cy="5147735"/>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dirty="0">
                <a:solidFill>
                  <a:prstClr val="black"/>
                </a:solidFill>
              </a:rPr>
              <a:t>Hybrid</a:t>
            </a:r>
            <a:endParaRPr lang="en-US" dirty="0">
              <a:solidFill>
                <a:prstClr val="white"/>
              </a:solidFill>
            </a:endParaRPr>
          </a:p>
        </p:txBody>
      </p:sp>
      <p:sp>
        <p:nvSpPr>
          <p:cNvPr id="30" name="Rounded Rectangle 29"/>
          <p:cNvSpPr/>
          <p:nvPr/>
        </p:nvSpPr>
        <p:spPr>
          <a:xfrm>
            <a:off x="7773091" y="1302197"/>
            <a:ext cx="3482498" cy="5147735"/>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dirty="0">
                <a:solidFill>
                  <a:prstClr val="black"/>
                </a:solidFill>
              </a:rPr>
              <a:t>Federation</a:t>
            </a:r>
            <a:endParaRPr lang="en-US" dirty="0">
              <a:solidFill>
                <a:prstClr val="white"/>
              </a:solidFill>
            </a:endParaRPr>
          </a:p>
        </p:txBody>
      </p:sp>
      <p:sp>
        <p:nvSpPr>
          <p:cNvPr id="31" name="Isosceles Triangle 30"/>
          <p:cNvSpPr/>
          <p:nvPr/>
        </p:nvSpPr>
        <p:spPr>
          <a:xfrm>
            <a:off x="671422" y="4684808"/>
            <a:ext cx="1558139" cy="1285516"/>
          </a:xfrm>
          <a:prstGeom prst="triangle">
            <a:avLst/>
          </a:prstGeom>
          <a:solidFill>
            <a:schemeClr val="accent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rPr>
              <a:t>AD</a:t>
            </a:r>
          </a:p>
        </p:txBody>
      </p:sp>
      <p:sp>
        <p:nvSpPr>
          <p:cNvPr id="4" name="TextBox 3"/>
          <p:cNvSpPr txBox="1"/>
          <p:nvPr/>
        </p:nvSpPr>
        <p:spPr>
          <a:xfrm>
            <a:off x="3092625" y="4684808"/>
            <a:ext cx="1629295" cy="369332"/>
          </a:xfrm>
          <a:prstGeom prst="rect">
            <a:avLst/>
          </a:prstGeom>
          <a:noFill/>
        </p:spPr>
        <p:txBody>
          <a:bodyPr wrap="square" rtlCol="0">
            <a:spAutoFit/>
          </a:bodyPr>
          <a:lstStyle/>
          <a:p>
            <a:r>
              <a:rPr lang="da-DK" dirty="0">
                <a:solidFill>
                  <a:prstClr val="black"/>
                </a:solidFill>
              </a:rPr>
              <a:t>WS-Fed</a:t>
            </a:r>
          </a:p>
        </p:txBody>
      </p:sp>
      <p:sp>
        <p:nvSpPr>
          <p:cNvPr id="25" name="TextBox 24"/>
          <p:cNvSpPr txBox="1"/>
          <p:nvPr/>
        </p:nvSpPr>
        <p:spPr>
          <a:xfrm>
            <a:off x="3092775" y="5041908"/>
            <a:ext cx="1629295" cy="369332"/>
          </a:xfrm>
          <a:prstGeom prst="rect">
            <a:avLst/>
          </a:prstGeom>
          <a:noFill/>
        </p:spPr>
        <p:txBody>
          <a:bodyPr wrap="square" rtlCol="0">
            <a:spAutoFit/>
          </a:bodyPr>
          <a:lstStyle/>
          <a:p>
            <a:r>
              <a:rPr lang="da-DK" dirty="0">
                <a:solidFill>
                  <a:prstClr val="black"/>
                </a:solidFill>
              </a:rPr>
              <a:t>SAML</a:t>
            </a:r>
          </a:p>
        </p:txBody>
      </p:sp>
      <p:sp>
        <p:nvSpPr>
          <p:cNvPr id="26" name="TextBox 25"/>
          <p:cNvSpPr txBox="1"/>
          <p:nvPr/>
        </p:nvSpPr>
        <p:spPr>
          <a:xfrm>
            <a:off x="3092624" y="5407730"/>
            <a:ext cx="1629295" cy="369332"/>
          </a:xfrm>
          <a:prstGeom prst="rect">
            <a:avLst/>
          </a:prstGeom>
          <a:noFill/>
        </p:spPr>
        <p:txBody>
          <a:bodyPr wrap="square" rtlCol="0">
            <a:spAutoFit/>
          </a:bodyPr>
          <a:lstStyle/>
          <a:p>
            <a:r>
              <a:rPr lang="da-DK" dirty="0">
                <a:solidFill>
                  <a:prstClr val="black"/>
                </a:solidFill>
              </a:rPr>
              <a:t>OAuth</a:t>
            </a:r>
          </a:p>
        </p:txBody>
      </p:sp>
      <p:sp>
        <p:nvSpPr>
          <p:cNvPr id="34" name="TextBox 33"/>
          <p:cNvSpPr txBox="1"/>
          <p:nvPr/>
        </p:nvSpPr>
        <p:spPr>
          <a:xfrm>
            <a:off x="909285" y="2569034"/>
            <a:ext cx="1629295" cy="369332"/>
          </a:xfrm>
          <a:prstGeom prst="rect">
            <a:avLst/>
          </a:prstGeom>
          <a:noFill/>
        </p:spPr>
        <p:txBody>
          <a:bodyPr wrap="square" rtlCol="0">
            <a:spAutoFit/>
          </a:bodyPr>
          <a:lstStyle/>
          <a:p>
            <a:r>
              <a:rPr lang="da-DK" dirty="0">
                <a:solidFill>
                  <a:prstClr val="black"/>
                </a:solidFill>
              </a:rPr>
              <a:t>Kerberos</a:t>
            </a:r>
          </a:p>
        </p:txBody>
      </p:sp>
      <p:sp>
        <p:nvSpPr>
          <p:cNvPr id="35" name="TextBox 34"/>
          <p:cNvSpPr txBox="1"/>
          <p:nvPr/>
        </p:nvSpPr>
        <p:spPr>
          <a:xfrm>
            <a:off x="891360" y="2927636"/>
            <a:ext cx="1629295" cy="369332"/>
          </a:xfrm>
          <a:prstGeom prst="rect">
            <a:avLst/>
          </a:prstGeom>
          <a:noFill/>
        </p:spPr>
        <p:txBody>
          <a:bodyPr wrap="square" rtlCol="0">
            <a:spAutoFit/>
          </a:bodyPr>
          <a:lstStyle/>
          <a:p>
            <a:r>
              <a:rPr lang="da-DK" dirty="0">
                <a:solidFill>
                  <a:prstClr val="black"/>
                </a:solidFill>
              </a:rPr>
              <a:t>Negotiate</a:t>
            </a:r>
          </a:p>
        </p:txBody>
      </p:sp>
      <p:sp>
        <p:nvSpPr>
          <p:cNvPr id="36" name="TextBox 35"/>
          <p:cNvSpPr txBox="1"/>
          <p:nvPr/>
        </p:nvSpPr>
        <p:spPr>
          <a:xfrm>
            <a:off x="891359" y="3292691"/>
            <a:ext cx="1629295" cy="369332"/>
          </a:xfrm>
          <a:prstGeom prst="rect">
            <a:avLst/>
          </a:prstGeom>
          <a:noFill/>
        </p:spPr>
        <p:txBody>
          <a:bodyPr wrap="square" rtlCol="0">
            <a:spAutoFit/>
          </a:bodyPr>
          <a:lstStyle/>
          <a:p>
            <a:r>
              <a:rPr lang="da-DK" dirty="0">
                <a:solidFill>
                  <a:prstClr val="black"/>
                </a:solidFill>
              </a:rPr>
              <a:t>NTLM</a:t>
            </a:r>
          </a:p>
        </p:txBody>
      </p:sp>
      <p:sp>
        <p:nvSpPr>
          <p:cNvPr id="37" name="TextBox 36"/>
          <p:cNvSpPr txBox="1"/>
          <p:nvPr/>
        </p:nvSpPr>
        <p:spPr>
          <a:xfrm>
            <a:off x="891359" y="3642925"/>
            <a:ext cx="1629295" cy="369332"/>
          </a:xfrm>
          <a:prstGeom prst="rect">
            <a:avLst/>
          </a:prstGeom>
          <a:noFill/>
        </p:spPr>
        <p:txBody>
          <a:bodyPr wrap="square" rtlCol="0">
            <a:spAutoFit/>
          </a:bodyPr>
          <a:lstStyle/>
          <a:p>
            <a:r>
              <a:rPr lang="da-DK" dirty="0">
                <a:solidFill>
                  <a:prstClr val="black"/>
                </a:solidFill>
              </a:rPr>
              <a:t>SChannel</a:t>
            </a:r>
          </a:p>
        </p:txBody>
      </p:sp>
      <p:sp>
        <p:nvSpPr>
          <p:cNvPr id="38" name="TextBox 37"/>
          <p:cNvSpPr txBox="1"/>
          <p:nvPr/>
        </p:nvSpPr>
        <p:spPr>
          <a:xfrm>
            <a:off x="891360" y="3991208"/>
            <a:ext cx="1629295" cy="369332"/>
          </a:xfrm>
          <a:prstGeom prst="rect">
            <a:avLst/>
          </a:prstGeom>
          <a:noFill/>
        </p:spPr>
        <p:txBody>
          <a:bodyPr wrap="square" rtlCol="0">
            <a:spAutoFit/>
          </a:bodyPr>
          <a:lstStyle/>
          <a:p>
            <a:r>
              <a:rPr lang="da-DK" dirty="0">
                <a:solidFill>
                  <a:prstClr val="black"/>
                </a:solidFill>
              </a:rPr>
              <a:t>Digest</a:t>
            </a:r>
          </a:p>
        </p:txBody>
      </p:sp>
    </p:spTree>
    <p:extLst>
      <p:ext uri="{BB962C8B-B14F-4D97-AF65-F5344CB8AC3E}">
        <p14:creationId xmlns:p14="http://schemas.microsoft.com/office/powerpoint/2010/main" val="38372884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6"/>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7"/>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0"/>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3"/>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1"/>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2"/>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23"/>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2" grpId="0" animBg="1"/>
      <p:bldP spid="10" grpId="0" animBg="1"/>
      <p:bldP spid="13" grpId="0" animBg="1"/>
      <p:bldP spid="16" grpId="0" animBg="1"/>
      <p:bldP spid="17" grpId="0"/>
      <p:bldP spid="20" grpId="0" animBg="1"/>
      <p:bldP spid="21" grpId="0" animBg="1"/>
      <p:bldP spid="22" grpId="0"/>
      <p:bldP spid="23" grpId="0" animBg="1"/>
      <p:bldP spid="24" grpId="0"/>
      <p:bldP spid="31" grpId="0" animBg="1"/>
      <p:bldP spid="4" grpId="0"/>
      <p:bldP spid="25" grpId="0"/>
      <p:bldP spid="26" grpId="0"/>
      <p:bldP spid="34" grpId="0"/>
      <p:bldP spid="35" grpId="0"/>
      <p:bldP spid="36" grpId="0"/>
      <p:bldP spid="37" grpId="0"/>
      <p:bldP spid="3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idx="1"/>
          </p:nvPr>
        </p:nvSpPr>
        <p:spPr>
          <a:xfrm>
            <a:off x="361188" y="1528572"/>
            <a:ext cx="11253216" cy="4323588"/>
          </a:xfrm>
        </p:spPr>
        <p:txBody>
          <a:bodyPr/>
          <a:lstStyle/>
          <a:p>
            <a:endParaRPr lang="en-US" dirty="0" smtClean="0"/>
          </a:p>
          <a:p>
            <a:endParaRPr lang="en-US" dirty="0"/>
          </a:p>
          <a:p>
            <a:r>
              <a:rPr lang="en-US" dirty="0" smtClean="0"/>
              <a:t>Introduction to Azure</a:t>
            </a:r>
          </a:p>
          <a:p>
            <a:r>
              <a:rPr lang="en-US" dirty="0" smtClean="0"/>
              <a:t>Overview of Azure Service </a:t>
            </a:r>
          </a:p>
          <a:p>
            <a:r>
              <a:rPr lang="en-US" dirty="0" smtClean="0"/>
              <a:t> Account ‘s in Azure</a:t>
            </a:r>
          </a:p>
          <a:p>
            <a:r>
              <a:rPr lang="en-US" dirty="0" smtClean="0"/>
              <a:t>Creating the Account in Azure </a:t>
            </a:r>
          </a:p>
          <a:p>
            <a:pPr marL="0" indent="0">
              <a:buNone/>
            </a:pPr>
            <a:r>
              <a:rPr lang="en-US" dirty="0" smtClean="0"/>
              <a:t> </a:t>
            </a:r>
          </a:p>
          <a:p>
            <a:endParaRPr lang="en-US" dirty="0"/>
          </a:p>
        </p:txBody>
      </p:sp>
      <p:sp>
        <p:nvSpPr>
          <p:cNvPr id="2" name="Rectangle 1"/>
          <p:cNvSpPr/>
          <p:nvPr/>
        </p:nvSpPr>
        <p:spPr>
          <a:xfrm>
            <a:off x="2814351" y="543996"/>
            <a:ext cx="5678221" cy="769441"/>
          </a:xfrm>
          <a:prstGeom prst="rect">
            <a:avLst/>
          </a:prstGeom>
        </p:spPr>
        <p:txBody>
          <a:bodyPr wrap="none">
            <a:spAutoFit/>
          </a:bodyPr>
          <a:lstStyle/>
          <a:p>
            <a:r>
              <a:rPr lang="en-US" sz="4400" b="1" u="sng" dirty="0">
                <a:effectLst>
                  <a:outerShdw blurRad="38100" dist="38100" dir="2700000" algn="tl">
                    <a:srgbClr val="000000">
                      <a:alpha val="43137"/>
                    </a:srgbClr>
                  </a:outerShdw>
                </a:effectLst>
              </a:rPr>
              <a:t>Lesson 2 What is Azure </a:t>
            </a:r>
          </a:p>
        </p:txBody>
      </p:sp>
    </p:spTree>
    <p:extLst>
      <p:ext uri="{BB962C8B-B14F-4D97-AF65-F5344CB8AC3E}">
        <p14:creationId xmlns:p14="http://schemas.microsoft.com/office/powerpoint/2010/main" val="3187460485"/>
      </p:ext>
    </p:extLst>
  </p:cSld>
  <p:clrMapOvr>
    <a:masterClrMapping/>
  </p:clrMapOvr>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9817" y="324929"/>
            <a:ext cx="6662057" cy="994419"/>
          </a:xfrm>
        </p:spPr>
        <p:txBody>
          <a:bodyPr>
            <a:noAutofit/>
          </a:bodyPr>
          <a:lstStyle/>
          <a:p>
            <a:pPr algn="ctr"/>
            <a:r>
              <a:rPr lang="en-US" b="1" u="sng" dirty="0">
                <a:effectLst>
                  <a:outerShdw blurRad="38100" dist="38100" dir="2700000" algn="tl">
                    <a:srgbClr val="000000">
                      <a:alpha val="43137"/>
                    </a:srgbClr>
                  </a:outerShdw>
                </a:effectLst>
              </a:rPr>
              <a:t>AD in Microsoft Azure </a:t>
            </a:r>
            <a:r>
              <a:rPr lang="en-US" b="1" u="sng" dirty="0" smtClean="0">
                <a:effectLst>
                  <a:outerShdw blurRad="38100" dist="38100" dir="2700000" algn="tl">
                    <a:srgbClr val="000000">
                      <a:alpha val="43137"/>
                    </a:srgbClr>
                  </a:outerShdw>
                </a:effectLst>
              </a:rPr>
              <a:t>IAAS</a:t>
            </a:r>
            <a:r>
              <a:rPr lang="en-US" b="1" u="sng" dirty="0">
                <a:effectLst>
                  <a:outerShdw blurRad="38100" dist="38100" dir="2700000" algn="tl">
                    <a:srgbClr val="000000">
                      <a:alpha val="43137"/>
                    </a:srgbClr>
                  </a:outerShdw>
                </a:effectLst>
              </a:rPr>
              <a:t/>
            </a:r>
            <a:br>
              <a:rPr lang="en-US" b="1" u="sng" dirty="0">
                <a:effectLst>
                  <a:outerShdw blurRad="38100" dist="38100" dir="2700000" algn="tl">
                    <a:srgbClr val="000000">
                      <a:alpha val="43137"/>
                    </a:srgbClr>
                  </a:outerShdw>
                </a:effectLst>
              </a:rPr>
            </a:br>
            <a:endParaRPr lang="en-US" b="1" u="sng" dirty="0">
              <a:effectLst>
                <a:outerShdw blurRad="38100" dist="38100" dir="2700000" algn="tl">
                  <a:srgbClr val="000000">
                    <a:alpha val="43137"/>
                  </a:srgbClr>
                </a:outerShdw>
              </a:effectLst>
            </a:endParaRPr>
          </a:p>
        </p:txBody>
      </p:sp>
      <p:sp>
        <p:nvSpPr>
          <p:cNvPr id="5" name="Content Placeholder 4"/>
          <p:cNvSpPr>
            <a:spLocks noGrp="1"/>
          </p:cNvSpPr>
          <p:nvPr>
            <p:ph idx="1"/>
          </p:nvPr>
        </p:nvSpPr>
        <p:spPr>
          <a:xfrm>
            <a:off x="475488" y="911352"/>
            <a:ext cx="11253216" cy="4049268"/>
          </a:xfrm>
        </p:spPr>
        <p:txBody>
          <a:bodyPr>
            <a:normAutofit/>
          </a:bodyPr>
          <a:lstStyle/>
          <a:p>
            <a:endParaRPr lang="en-US" sz="2000" dirty="0" smtClean="0"/>
          </a:p>
          <a:p>
            <a:pPr marL="0" indent="0">
              <a:buNone/>
            </a:pPr>
            <a:endParaRPr lang="en-US" sz="2000" dirty="0" smtClean="0"/>
          </a:p>
          <a:p>
            <a:pPr marL="0" indent="0">
              <a:buNone/>
            </a:pPr>
            <a:r>
              <a:rPr lang="en-US" sz="2400" b="1" dirty="0" smtClean="0"/>
              <a:t>Why </a:t>
            </a:r>
            <a:r>
              <a:rPr lang="en-US" sz="2400" b="1" dirty="0"/>
              <a:t>Deploy AD in Microsoft Azure </a:t>
            </a:r>
            <a:r>
              <a:rPr lang="en-US" sz="2400" b="1" dirty="0" smtClean="0"/>
              <a:t>IaaS</a:t>
            </a:r>
            <a:endParaRPr lang="en-US" sz="2400" b="1" dirty="0"/>
          </a:p>
          <a:p>
            <a:r>
              <a:rPr lang="en-US" sz="2000" dirty="0" smtClean="0"/>
              <a:t>Geo-location </a:t>
            </a:r>
            <a:r>
              <a:rPr lang="en-US" sz="2000" dirty="0"/>
              <a:t>authentication services for locations without on-premises data centers</a:t>
            </a:r>
          </a:p>
          <a:p>
            <a:r>
              <a:rPr lang="en-US" sz="2000" dirty="0"/>
              <a:t>Backup/disaster recovery site</a:t>
            </a:r>
          </a:p>
          <a:p>
            <a:r>
              <a:rPr lang="en-US" sz="2000" dirty="0"/>
              <a:t>Network applications deployed in Microsoft Azure that require AD, like SharePoint</a:t>
            </a:r>
          </a:p>
          <a:p>
            <a:r>
              <a:rPr lang="en-US" sz="2000" dirty="0"/>
              <a:t>For Azure applications that require a Windows domain</a:t>
            </a:r>
          </a:p>
        </p:txBody>
      </p:sp>
    </p:spTree>
    <p:extLst>
      <p:ext uri="{BB962C8B-B14F-4D97-AF65-F5344CB8AC3E}">
        <p14:creationId xmlns:p14="http://schemas.microsoft.com/office/powerpoint/2010/main" val="3808784164"/>
      </p:ext>
    </p:extLst>
  </p:cSld>
  <p:clrMapOvr>
    <a:masterClrMapping/>
  </p:clrMapOvr>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18505"/>
            <a:ext cx="10515600" cy="1909193"/>
          </a:xfrm>
        </p:spPr>
        <p:txBody>
          <a:bodyPr/>
          <a:lstStyle/>
          <a:p>
            <a:r>
              <a:rPr lang="en-US" b="1" u="sng" dirty="0">
                <a:effectLst>
                  <a:outerShdw blurRad="38100" dist="38100" dir="2700000" algn="tl">
                    <a:srgbClr val="000000">
                      <a:alpha val="43137"/>
                    </a:srgbClr>
                  </a:outerShdw>
                </a:effectLst>
              </a:rPr>
              <a:t>Windows Server Active Directory in the Cloud</a:t>
            </a:r>
          </a:p>
        </p:txBody>
      </p:sp>
      <p:sp>
        <p:nvSpPr>
          <p:cNvPr id="3" name="Slide Number Placeholder 2"/>
          <p:cNvSpPr>
            <a:spLocks noGrp="1"/>
          </p:cNvSpPr>
          <p:nvPr>
            <p:ph type="sldNum" sz="quarter" idx="12"/>
          </p:nvPr>
        </p:nvSpPr>
        <p:spPr/>
        <p:txBody>
          <a:bodyPr/>
          <a:lstStyle/>
          <a:p>
            <a:fld id="{AFFF257A-30C5-4AFB-911B-BE4CEEA1EA82}" type="slidenum">
              <a:rPr lang="en-US" smtClean="0">
                <a:solidFill>
                  <a:prstClr val="black">
                    <a:tint val="75000"/>
                  </a:prstClr>
                </a:solidFill>
              </a:rPr>
              <a:pPr/>
              <a:t>151</a:t>
            </a:fld>
            <a:endParaRPr lang="en-US">
              <a:solidFill>
                <a:prstClr val="black">
                  <a:tint val="75000"/>
                </a:prstClr>
              </a:solidFill>
            </a:endParaRPr>
          </a:p>
        </p:txBody>
      </p:sp>
      <p:sp>
        <p:nvSpPr>
          <p:cNvPr id="5" name="Rectangle 4"/>
          <p:cNvSpPr/>
          <p:nvPr>
            <p:custDataLst>
              <p:tags r:id="rId1"/>
            </p:custDataLst>
          </p:nvPr>
        </p:nvSpPr>
        <p:spPr bwMode="auto">
          <a:xfrm>
            <a:off x="564862" y="5131496"/>
            <a:ext cx="2374669" cy="1107996"/>
          </a:xfrm>
          <a:prstGeom prst="rect">
            <a:avLst/>
          </a:prstGeom>
          <a:ln>
            <a:noFill/>
          </a:ln>
        </p:spPr>
        <p:txBody>
          <a:bodyPr vert="horz" wrap="square" lIns="0" tIns="0" rIns="0" bIns="0" rtlCol="0">
            <a:spAutoFit/>
          </a:bodyPr>
          <a:lstStyle/>
          <a:p>
            <a:pPr>
              <a:lnSpc>
                <a:spcPct val="90000"/>
              </a:lnSpc>
              <a:spcBef>
                <a:spcPts val="1200"/>
              </a:spcBef>
            </a:pPr>
            <a:r>
              <a:rPr lang="en-US" sz="1600" spc="-30" dirty="0">
                <a:solidFill>
                  <a:prstClr val="black"/>
                </a:solidFill>
              </a:rPr>
              <a:t>Run Active Directory at scale with support for virtualization and rapid deployment through domain controller cloning.</a:t>
            </a:r>
          </a:p>
        </p:txBody>
      </p:sp>
      <p:sp>
        <p:nvSpPr>
          <p:cNvPr id="6" name="Rectangle 5"/>
          <p:cNvSpPr/>
          <p:nvPr>
            <p:custDataLst>
              <p:tags r:id="rId2"/>
            </p:custDataLst>
          </p:nvPr>
        </p:nvSpPr>
        <p:spPr bwMode="auto">
          <a:xfrm>
            <a:off x="9941860" y="2480818"/>
            <a:ext cx="2162880" cy="886397"/>
          </a:xfrm>
          <a:prstGeom prst="rect">
            <a:avLst/>
          </a:prstGeom>
          <a:ln>
            <a:noFill/>
          </a:ln>
        </p:spPr>
        <p:txBody>
          <a:bodyPr vert="horz" wrap="square" lIns="0" tIns="0" rIns="0" bIns="0" rtlCol="0">
            <a:spAutoFit/>
          </a:bodyPr>
          <a:lstStyle/>
          <a:p>
            <a:pPr>
              <a:lnSpc>
                <a:spcPct val="90000"/>
              </a:lnSpc>
              <a:spcBef>
                <a:spcPts val="1200"/>
              </a:spcBef>
            </a:pPr>
            <a:r>
              <a:rPr lang="en-US" sz="1600" spc="-30" dirty="0">
                <a:solidFill>
                  <a:prstClr val="black"/>
                </a:solidFill>
              </a:rPr>
              <a:t>Developers can integrate applications for single sign-on across on-premises and cloud-based applications.</a:t>
            </a:r>
          </a:p>
        </p:txBody>
      </p:sp>
      <p:sp>
        <p:nvSpPr>
          <p:cNvPr id="7" name="Rectangle 6"/>
          <p:cNvSpPr/>
          <p:nvPr>
            <p:custDataLst>
              <p:tags r:id="rId3"/>
            </p:custDataLst>
          </p:nvPr>
        </p:nvSpPr>
        <p:spPr bwMode="auto">
          <a:xfrm>
            <a:off x="4546028" y="1150181"/>
            <a:ext cx="3471587" cy="886397"/>
          </a:xfrm>
          <a:prstGeom prst="rect">
            <a:avLst/>
          </a:prstGeom>
          <a:ln>
            <a:noFill/>
          </a:ln>
        </p:spPr>
        <p:txBody>
          <a:bodyPr vert="horz" wrap="square" lIns="0" tIns="0" rIns="0" bIns="0" rtlCol="0">
            <a:spAutoFit/>
          </a:bodyPr>
          <a:lstStyle/>
          <a:p>
            <a:pPr>
              <a:lnSpc>
                <a:spcPct val="90000"/>
              </a:lnSpc>
              <a:spcBef>
                <a:spcPts val="1200"/>
              </a:spcBef>
            </a:pPr>
            <a:r>
              <a:rPr lang="en-US" sz="1600" spc="-30" dirty="0">
                <a:solidFill>
                  <a:prstClr val="black"/>
                </a:solidFill>
              </a:rPr>
              <a:t>Leverage cloud platforms to run Windows Server Active Directory and Active Directory Federation Services to reduce infrastructure on-premises.</a:t>
            </a:r>
          </a:p>
        </p:txBody>
      </p:sp>
      <p:sp>
        <p:nvSpPr>
          <p:cNvPr id="8" name="Rectangle 7"/>
          <p:cNvSpPr/>
          <p:nvPr>
            <p:custDataLst>
              <p:tags r:id="rId4"/>
            </p:custDataLst>
          </p:nvPr>
        </p:nvSpPr>
        <p:spPr bwMode="auto">
          <a:xfrm>
            <a:off x="430985" y="2570663"/>
            <a:ext cx="2596378" cy="1551194"/>
          </a:xfrm>
          <a:prstGeom prst="rect">
            <a:avLst/>
          </a:prstGeom>
          <a:ln>
            <a:noFill/>
          </a:ln>
        </p:spPr>
        <p:txBody>
          <a:bodyPr vert="horz" wrap="square" lIns="0" tIns="0" rIns="0" bIns="0" rtlCol="0">
            <a:spAutoFit/>
          </a:bodyPr>
          <a:lstStyle/>
          <a:p>
            <a:pPr>
              <a:lnSpc>
                <a:spcPct val="90000"/>
              </a:lnSpc>
              <a:spcBef>
                <a:spcPts val="1200"/>
              </a:spcBef>
            </a:pPr>
            <a:r>
              <a:rPr lang="en-US" sz="1600" spc="-30" dirty="0">
                <a:solidFill>
                  <a:prstClr val="black"/>
                </a:solidFill>
              </a:rPr>
              <a:t>Manage Active Directory using Windows PowerShell, use the improved deployment experience and leverage the Active Directory Administrative Center for centralized management</a:t>
            </a:r>
          </a:p>
        </p:txBody>
      </p:sp>
      <p:sp>
        <p:nvSpPr>
          <p:cNvPr id="9" name="Rectangle 8"/>
          <p:cNvSpPr/>
          <p:nvPr>
            <p:custDataLst>
              <p:tags r:id="rId5"/>
            </p:custDataLst>
          </p:nvPr>
        </p:nvSpPr>
        <p:spPr bwMode="auto">
          <a:xfrm>
            <a:off x="10053300" y="4974560"/>
            <a:ext cx="2061189" cy="1329595"/>
          </a:xfrm>
          <a:prstGeom prst="rect">
            <a:avLst/>
          </a:prstGeom>
          <a:ln>
            <a:noFill/>
          </a:ln>
        </p:spPr>
        <p:txBody>
          <a:bodyPr vert="horz" wrap="square" lIns="0" tIns="0" rIns="0" bIns="0" rtlCol="0">
            <a:spAutoFit/>
          </a:bodyPr>
          <a:lstStyle/>
          <a:p>
            <a:pPr>
              <a:lnSpc>
                <a:spcPct val="90000"/>
              </a:lnSpc>
              <a:spcBef>
                <a:spcPts val="1200"/>
              </a:spcBef>
            </a:pPr>
            <a:r>
              <a:rPr lang="en-US" sz="1600" spc="-30" dirty="0">
                <a:solidFill>
                  <a:prstClr val="black"/>
                </a:solidFill>
              </a:rPr>
              <a:t>Activate clients running Office on at least Windows 8 or Windows Server 2012 automatically using existing Active Directory infrastructure.</a:t>
            </a:r>
          </a:p>
        </p:txBody>
      </p:sp>
      <p:grpSp>
        <p:nvGrpSpPr>
          <p:cNvPr id="10" name="Group 9"/>
          <p:cNvGrpSpPr/>
          <p:nvPr/>
        </p:nvGrpSpPr>
        <p:grpSpPr>
          <a:xfrm>
            <a:off x="8033070" y="5019218"/>
            <a:ext cx="2078339" cy="1191626"/>
            <a:chOff x="8775812" y="5160336"/>
            <a:chExt cx="2078339" cy="1191626"/>
          </a:xfrm>
        </p:grpSpPr>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783661" y="5160336"/>
              <a:ext cx="1616996" cy="747299"/>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775812" y="5644902"/>
              <a:ext cx="2078339" cy="707060"/>
            </a:xfrm>
            <a:prstGeom prst="rect">
              <a:avLst/>
            </a:prstGeom>
          </p:spPr>
        </p:pic>
      </p:grpSp>
      <p:cxnSp>
        <p:nvCxnSpPr>
          <p:cNvPr id="13" name="Straight Connector 12"/>
          <p:cNvCxnSpPr/>
          <p:nvPr/>
        </p:nvCxnSpPr>
        <p:spPr>
          <a:xfrm flipH="1" flipV="1">
            <a:off x="4390237" y="3937000"/>
            <a:ext cx="636956" cy="697753"/>
          </a:xfrm>
          <a:prstGeom prst="line">
            <a:avLst/>
          </a:prstGeom>
          <a:ln w="28575" cap="rnd" cmpd="sng">
            <a:solidFill>
              <a:schemeClr val="tx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7313158" y="4001352"/>
            <a:ext cx="544021" cy="483544"/>
          </a:xfrm>
          <a:prstGeom prst="line">
            <a:avLst/>
          </a:prstGeom>
          <a:ln w="28575" cap="rnd" cmpd="sng">
            <a:solidFill>
              <a:schemeClr val="tx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7589838" y="5604867"/>
            <a:ext cx="443232" cy="0"/>
          </a:xfrm>
          <a:prstGeom prst="line">
            <a:avLst/>
          </a:prstGeom>
          <a:ln w="28575" cap="rnd" cmpd="sng">
            <a:solidFill>
              <a:schemeClr val="tx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210865" y="5602449"/>
            <a:ext cx="699413" cy="1734"/>
          </a:xfrm>
          <a:prstGeom prst="line">
            <a:avLst/>
          </a:prstGeom>
          <a:ln w="28575" cap="rnd" cmpd="sng">
            <a:solidFill>
              <a:schemeClr val="tx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flipV="1">
            <a:off x="6244648" y="3521475"/>
            <a:ext cx="1" cy="479877"/>
          </a:xfrm>
          <a:prstGeom prst="line">
            <a:avLst/>
          </a:prstGeom>
          <a:ln w="28575" cap="rnd" cmpd="sng">
            <a:solidFill>
              <a:schemeClr val="tx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5027192" y="4139397"/>
            <a:ext cx="2452017" cy="2364515"/>
            <a:chOff x="5027192" y="4139397"/>
            <a:chExt cx="2452017" cy="2364515"/>
          </a:xfrm>
        </p:grpSpPr>
        <p:grpSp>
          <p:nvGrpSpPr>
            <p:cNvPr id="19" name="Group 18"/>
            <p:cNvGrpSpPr/>
            <p:nvPr/>
          </p:nvGrpSpPr>
          <p:grpSpPr>
            <a:xfrm>
              <a:off x="5027192" y="4139397"/>
              <a:ext cx="2452017" cy="2364515"/>
              <a:chOff x="4798135" y="2950920"/>
              <a:chExt cx="2659114" cy="2564221"/>
            </a:xfrm>
          </p:grpSpPr>
          <p:grpSp>
            <p:nvGrpSpPr>
              <p:cNvPr id="25" name="Group 24"/>
              <p:cNvGrpSpPr/>
              <p:nvPr/>
            </p:nvGrpSpPr>
            <p:grpSpPr>
              <a:xfrm>
                <a:off x="4876473" y="4246598"/>
                <a:ext cx="2497859" cy="642043"/>
                <a:chOff x="4197099" y="4294829"/>
                <a:chExt cx="2497859" cy="642043"/>
              </a:xfrm>
            </p:grpSpPr>
            <p:sp>
              <p:nvSpPr>
                <p:cNvPr id="27" name="Rectangle 26"/>
                <p:cNvSpPr/>
                <p:nvPr/>
              </p:nvSpPr>
              <p:spPr>
                <a:xfrm>
                  <a:off x="4662954" y="4669855"/>
                  <a:ext cx="1670910" cy="267017"/>
                </a:xfrm>
                <a:prstGeom prst="rect">
                  <a:avLst/>
                </a:prstGeom>
                <a:ln>
                  <a:noFill/>
                </a:ln>
              </p:spPr>
              <p:txBody>
                <a:bodyPr wrap="square" lIns="0" tIns="0" rIns="0" bIns="0" anchor="ctr">
                  <a:spAutoFit/>
                </a:bodyPr>
                <a:lstStyle/>
                <a:p>
                  <a:pPr algn="ctr" defTabSz="1096691" fontAlgn="base">
                    <a:spcBef>
                      <a:spcPts val="1440"/>
                    </a:spcBef>
                    <a:spcAft>
                      <a:spcPct val="0"/>
                    </a:spcAft>
                  </a:pPr>
                  <a:r>
                    <a:rPr lang="en-US" sz="1600" dirty="0">
                      <a:ln>
                        <a:solidFill>
                          <a:srgbClr val="FFFFFF">
                            <a:alpha val="0"/>
                          </a:srgbClr>
                        </a:solidFill>
                      </a:ln>
                      <a:solidFill>
                        <a:prstClr val="black"/>
                      </a:solidFill>
                    </a:rPr>
                    <a:t>Active Directory</a:t>
                  </a:r>
                </a:p>
              </p:txBody>
            </p:sp>
            <p:pic>
              <p:nvPicPr>
                <p:cNvPr id="28" name="Picture 2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197099" y="4294829"/>
                  <a:ext cx="2497859" cy="587131"/>
                </a:xfrm>
                <a:prstGeom prst="rect">
                  <a:avLst/>
                </a:prstGeom>
              </p:spPr>
            </p:pic>
          </p:grpSp>
          <p:sp>
            <p:nvSpPr>
              <p:cNvPr id="26" name="Oval 25"/>
              <p:cNvSpPr/>
              <p:nvPr>
                <p:custDataLst>
                  <p:tags r:id="rId6"/>
                </p:custDataLst>
              </p:nvPr>
            </p:nvSpPr>
            <p:spPr bwMode="auto">
              <a:xfrm>
                <a:off x="4798135" y="2950920"/>
                <a:ext cx="2659114" cy="256422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9738" tIns="54869" rIns="109738" bIns="54869" numCol="1" rtlCol="0" anchor="ctr" anchorCtr="0" compatLnSpc="1">
                <a:prstTxWarp prst="textNoShape">
                  <a:avLst/>
                </a:prstTxWarp>
              </a:bodyPr>
              <a:lstStyle/>
              <a:p>
                <a:pPr algn="ctr" defTabSz="1097066" fontAlgn="base">
                  <a:spcBef>
                    <a:spcPct val="0"/>
                  </a:spcBef>
                  <a:spcAft>
                    <a:spcPct val="0"/>
                  </a:spcAft>
                </a:pPr>
                <a:endParaRPr lang="en-US" sz="2700" dirty="0">
                  <a:solidFill>
                    <a:prstClr val="black"/>
                  </a:solidFill>
                </a:endParaRPr>
              </a:p>
            </p:txBody>
          </p:sp>
        </p:grpSp>
        <p:grpSp>
          <p:nvGrpSpPr>
            <p:cNvPr id="20" name="Group 10"/>
            <p:cNvGrpSpPr>
              <a:grpSpLocks noChangeAspect="1"/>
            </p:cNvGrpSpPr>
            <p:nvPr/>
          </p:nvGrpSpPr>
          <p:grpSpPr bwMode="auto">
            <a:xfrm>
              <a:off x="5514397" y="4361656"/>
              <a:ext cx="1460501" cy="973138"/>
              <a:chOff x="5555" y="1100"/>
              <a:chExt cx="920" cy="613"/>
            </a:xfrm>
          </p:grpSpPr>
          <p:sp>
            <p:nvSpPr>
              <p:cNvPr id="21" name="AutoShape 9"/>
              <p:cNvSpPr>
                <a:spLocks noChangeAspect="1" noChangeArrowheads="1" noTextEdit="1"/>
              </p:cNvSpPr>
              <p:nvPr/>
            </p:nvSpPr>
            <p:spPr bwMode="auto">
              <a:xfrm>
                <a:off x="5556" y="1107"/>
                <a:ext cx="919" cy="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2" name="Freeform 11"/>
              <p:cNvSpPr>
                <a:spLocks noEditPoints="1"/>
              </p:cNvSpPr>
              <p:nvPr/>
            </p:nvSpPr>
            <p:spPr bwMode="auto">
              <a:xfrm>
                <a:off x="5555" y="1100"/>
                <a:ext cx="911" cy="599"/>
              </a:xfrm>
              <a:custGeom>
                <a:avLst/>
                <a:gdLst>
                  <a:gd name="T0" fmla="*/ 454 w 911"/>
                  <a:gd name="T1" fmla="*/ 0 h 599"/>
                  <a:gd name="T2" fmla="*/ 454 w 911"/>
                  <a:gd name="T3" fmla="*/ 0 h 599"/>
                  <a:gd name="T4" fmla="*/ 453 w 911"/>
                  <a:gd name="T5" fmla="*/ 599 h 599"/>
                  <a:gd name="T6" fmla="*/ 0 w 911"/>
                  <a:gd name="T7" fmla="*/ 525 h 599"/>
                  <a:gd name="T8" fmla="*/ 454 w 911"/>
                  <a:gd name="T9" fmla="*/ 0 h 599"/>
                  <a:gd name="T10" fmla="*/ 454 w 911"/>
                  <a:gd name="T11" fmla="*/ 0 h 599"/>
                  <a:gd name="T12" fmla="*/ 456 w 911"/>
                  <a:gd name="T13" fmla="*/ 0 h 599"/>
                  <a:gd name="T14" fmla="*/ 456 w 911"/>
                  <a:gd name="T15" fmla="*/ 0 h 599"/>
                  <a:gd name="T16" fmla="*/ 457 w 911"/>
                  <a:gd name="T17" fmla="*/ 599 h 599"/>
                  <a:gd name="T18" fmla="*/ 911 w 911"/>
                  <a:gd name="T19" fmla="*/ 525 h 599"/>
                  <a:gd name="T20" fmla="*/ 456 w 911"/>
                  <a:gd name="T21" fmla="*/ 0 h 599"/>
                  <a:gd name="T22" fmla="*/ 456 w 911"/>
                  <a:gd name="T23"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1" h="599">
                    <a:moveTo>
                      <a:pt x="454" y="0"/>
                    </a:moveTo>
                    <a:lnTo>
                      <a:pt x="454" y="0"/>
                    </a:lnTo>
                    <a:lnTo>
                      <a:pt x="453" y="599"/>
                    </a:lnTo>
                    <a:lnTo>
                      <a:pt x="0" y="525"/>
                    </a:lnTo>
                    <a:lnTo>
                      <a:pt x="454" y="0"/>
                    </a:lnTo>
                    <a:lnTo>
                      <a:pt x="454" y="0"/>
                    </a:lnTo>
                    <a:close/>
                    <a:moveTo>
                      <a:pt x="456" y="0"/>
                    </a:moveTo>
                    <a:lnTo>
                      <a:pt x="456" y="0"/>
                    </a:lnTo>
                    <a:lnTo>
                      <a:pt x="457" y="599"/>
                    </a:lnTo>
                    <a:lnTo>
                      <a:pt x="911" y="525"/>
                    </a:lnTo>
                    <a:lnTo>
                      <a:pt x="456" y="0"/>
                    </a:lnTo>
                    <a:lnTo>
                      <a:pt x="456" y="0"/>
                    </a:lnTo>
                    <a:close/>
                  </a:path>
                </a:pathLst>
              </a:custGeom>
              <a:solidFill>
                <a:srgbClr val="FFFFFF"/>
              </a:solidFill>
              <a:ln w="15875" cap="flat">
                <a:solidFill>
                  <a:srgbClr val="0071BC"/>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3" name="Freeform 12"/>
              <p:cNvSpPr>
                <a:spLocks noEditPoints="1"/>
              </p:cNvSpPr>
              <p:nvPr/>
            </p:nvSpPr>
            <p:spPr bwMode="auto">
              <a:xfrm>
                <a:off x="5666" y="1257"/>
                <a:ext cx="700" cy="366"/>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4" name="Freeform 13"/>
              <p:cNvSpPr>
                <a:spLocks noEditPoints="1"/>
              </p:cNvSpPr>
              <p:nvPr/>
            </p:nvSpPr>
            <p:spPr bwMode="auto">
              <a:xfrm>
                <a:off x="5734" y="1301"/>
                <a:ext cx="559" cy="269"/>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5875"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grpSp>
        <p:nvGrpSpPr>
          <p:cNvPr id="29" name="Group 28"/>
          <p:cNvGrpSpPr/>
          <p:nvPr/>
        </p:nvGrpSpPr>
        <p:grpSpPr>
          <a:xfrm>
            <a:off x="3089606" y="2922377"/>
            <a:ext cx="1443537" cy="1397248"/>
            <a:chOff x="2836676" y="1239680"/>
            <a:chExt cx="1595466" cy="1544305"/>
          </a:xfrm>
        </p:grpSpPr>
        <p:grpSp>
          <p:nvGrpSpPr>
            <p:cNvPr id="30" name="Group 29"/>
            <p:cNvGrpSpPr/>
            <p:nvPr/>
          </p:nvGrpSpPr>
          <p:grpSpPr>
            <a:xfrm>
              <a:off x="3217877" y="1288216"/>
              <a:ext cx="1214265" cy="1039537"/>
              <a:chOff x="3427413" y="2970213"/>
              <a:chExt cx="1092200" cy="935037"/>
            </a:xfrm>
          </p:grpSpPr>
          <p:sp>
            <p:nvSpPr>
              <p:cNvPr id="39" name="Rectangle 5"/>
              <p:cNvSpPr>
                <a:spLocks noChangeArrowheads="1"/>
              </p:cNvSpPr>
              <p:nvPr/>
            </p:nvSpPr>
            <p:spPr bwMode="auto">
              <a:xfrm>
                <a:off x="3473450" y="3019425"/>
                <a:ext cx="1000125" cy="6969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0" name="Freeform 6"/>
              <p:cNvSpPr>
                <a:spLocks noEditPoints="1"/>
              </p:cNvSpPr>
              <p:nvPr/>
            </p:nvSpPr>
            <p:spPr bwMode="auto">
              <a:xfrm>
                <a:off x="3427413" y="2970213"/>
                <a:ext cx="1092200" cy="935037"/>
              </a:xfrm>
              <a:custGeom>
                <a:avLst/>
                <a:gdLst>
                  <a:gd name="T0" fmla="*/ 1325 w 1369"/>
                  <a:gd name="T1" fmla="*/ 0 h 1170"/>
                  <a:gd name="T2" fmla="*/ 47 w 1369"/>
                  <a:gd name="T3" fmla="*/ 0 h 1170"/>
                  <a:gd name="T4" fmla="*/ 0 w 1369"/>
                  <a:gd name="T5" fmla="*/ 42 h 1170"/>
                  <a:gd name="T6" fmla="*/ 0 w 1369"/>
                  <a:gd name="T7" fmla="*/ 957 h 1170"/>
                  <a:gd name="T8" fmla="*/ 47 w 1369"/>
                  <a:gd name="T9" fmla="*/ 1001 h 1170"/>
                  <a:gd name="T10" fmla="*/ 467 w 1369"/>
                  <a:gd name="T11" fmla="*/ 1001 h 1170"/>
                  <a:gd name="T12" fmla="*/ 454 w 1369"/>
                  <a:gd name="T13" fmla="*/ 1067 h 1170"/>
                  <a:gd name="T14" fmla="*/ 382 w 1369"/>
                  <a:gd name="T15" fmla="*/ 1092 h 1170"/>
                  <a:gd name="T16" fmla="*/ 375 w 1369"/>
                  <a:gd name="T17" fmla="*/ 1092 h 1170"/>
                  <a:gd name="T18" fmla="*/ 346 w 1369"/>
                  <a:gd name="T19" fmla="*/ 1123 h 1170"/>
                  <a:gd name="T20" fmla="*/ 346 w 1369"/>
                  <a:gd name="T21" fmla="*/ 1139 h 1170"/>
                  <a:gd name="T22" fmla="*/ 375 w 1369"/>
                  <a:gd name="T23" fmla="*/ 1170 h 1170"/>
                  <a:gd name="T24" fmla="*/ 1011 w 1369"/>
                  <a:gd name="T25" fmla="*/ 1170 h 1170"/>
                  <a:gd name="T26" fmla="*/ 1040 w 1369"/>
                  <a:gd name="T27" fmla="*/ 1139 h 1170"/>
                  <a:gd name="T28" fmla="*/ 1040 w 1369"/>
                  <a:gd name="T29" fmla="*/ 1123 h 1170"/>
                  <a:gd name="T30" fmla="*/ 1011 w 1369"/>
                  <a:gd name="T31" fmla="*/ 1092 h 1170"/>
                  <a:gd name="T32" fmla="*/ 1008 w 1369"/>
                  <a:gd name="T33" fmla="*/ 1092 h 1170"/>
                  <a:gd name="T34" fmla="*/ 940 w 1369"/>
                  <a:gd name="T35" fmla="*/ 1067 h 1170"/>
                  <a:gd name="T36" fmla="*/ 929 w 1369"/>
                  <a:gd name="T37" fmla="*/ 1001 h 1170"/>
                  <a:gd name="T38" fmla="*/ 1325 w 1369"/>
                  <a:gd name="T39" fmla="*/ 1001 h 1170"/>
                  <a:gd name="T40" fmla="*/ 1369 w 1369"/>
                  <a:gd name="T41" fmla="*/ 957 h 1170"/>
                  <a:gd name="T42" fmla="*/ 1369 w 1369"/>
                  <a:gd name="T43" fmla="*/ 42 h 1170"/>
                  <a:gd name="T44" fmla="*/ 1325 w 1369"/>
                  <a:gd name="T45" fmla="*/ 0 h 1170"/>
                  <a:gd name="T46" fmla="*/ 1290 w 1369"/>
                  <a:gd name="T47" fmla="*/ 889 h 1170"/>
                  <a:gd name="T48" fmla="*/ 1254 w 1369"/>
                  <a:gd name="T49" fmla="*/ 925 h 1170"/>
                  <a:gd name="T50" fmla="*/ 118 w 1369"/>
                  <a:gd name="T51" fmla="*/ 925 h 1170"/>
                  <a:gd name="T52" fmla="*/ 80 w 1369"/>
                  <a:gd name="T53" fmla="*/ 889 h 1170"/>
                  <a:gd name="T54" fmla="*/ 80 w 1369"/>
                  <a:gd name="T55" fmla="*/ 110 h 1170"/>
                  <a:gd name="T56" fmla="*/ 118 w 1369"/>
                  <a:gd name="T57" fmla="*/ 74 h 1170"/>
                  <a:gd name="T58" fmla="*/ 1254 w 1369"/>
                  <a:gd name="T59" fmla="*/ 74 h 1170"/>
                  <a:gd name="T60" fmla="*/ 1290 w 1369"/>
                  <a:gd name="T61" fmla="*/ 110 h 1170"/>
                  <a:gd name="T62" fmla="*/ 1290 w 1369"/>
                  <a:gd name="T63" fmla="*/ 889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69" h="1170">
                    <a:moveTo>
                      <a:pt x="1325" y="0"/>
                    </a:moveTo>
                    <a:cubicBezTo>
                      <a:pt x="47" y="0"/>
                      <a:pt x="47" y="0"/>
                      <a:pt x="47" y="0"/>
                    </a:cubicBezTo>
                    <a:cubicBezTo>
                      <a:pt x="21" y="0"/>
                      <a:pt x="0" y="18"/>
                      <a:pt x="0" y="42"/>
                    </a:cubicBezTo>
                    <a:cubicBezTo>
                      <a:pt x="0" y="957"/>
                      <a:pt x="0" y="957"/>
                      <a:pt x="0" y="957"/>
                    </a:cubicBezTo>
                    <a:cubicBezTo>
                      <a:pt x="0" y="981"/>
                      <a:pt x="21" y="1001"/>
                      <a:pt x="47" y="1001"/>
                    </a:cubicBezTo>
                    <a:cubicBezTo>
                      <a:pt x="467" y="1001"/>
                      <a:pt x="467" y="1001"/>
                      <a:pt x="467" y="1001"/>
                    </a:cubicBezTo>
                    <a:cubicBezTo>
                      <a:pt x="467" y="1001"/>
                      <a:pt x="464" y="1053"/>
                      <a:pt x="454" y="1067"/>
                    </a:cubicBezTo>
                    <a:cubicBezTo>
                      <a:pt x="437" y="1092"/>
                      <a:pt x="405" y="1085"/>
                      <a:pt x="382" y="1092"/>
                    </a:cubicBezTo>
                    <a:cubicBezTo>
                      <a:pt x="375" y="1092"/>
                      <a:pt x="375" y="1092"/>
                      <a:pt x="375" y="1092"/>
                    </a:cubicBezTo>
                    <a:cubicBezTo>
                      <a:pt x="359" y="1092"/>
                      <a:pt x="346" y="1106"/>
                      <a:pt x="346" y="1123"/>
                    </a:cubicBezTo>
                    <a:cubicBezTo>
                      <a:pt x="346" y="1139"/>
                      <a:pt x="346" y="1139"/>
                      <a:pt x="346" y="1139"/>
                    </a:cubicBezTo>
                    <a:cubicBezTo>
                      <a:pt x="346" y="1156"/>
                      <a:pt x="359" y="1170"/>
                      <a:pt x="375" y="1170"/>
                    </a:cubicBezTo>
                    <a:cubicBezTo>
                      <a:pt x="1011" y="1170"/>
                      <a:pt x="1011" y="1170"/>
                      <a:pt x="1011" y="1170"/>
                    </a:cubicBezTo>
                    <a:cubicBezTo>
                      <a:pt x="1026" y="1170"/>
                      <a:pt x="1040" y="1156"/>
                      <a:pt x="1040" y="1139"/>
                    </a:cubicBezTo>
                    <a:cubicBezTo>
                      <a:pt x="1040" y="1123"/>
                      <a:pt x="1040" y="1123"/>
                      <a:pt x="1040" y="1123"/>
                    </a:cubicBezTo>
                    <a:cubicBezTo>
                      <a:pt x="1040" y="1106"/>
                      <a:pt x="1026" y="1092"/>
                      <a:pt x="1011" y="1092"/>
                    </a:cubicBezTo>
                    <a:cubicBezTo>
                      <a:pt x="1008" y="1092"/>
                      <a:pt x="1008" y="1092"/>
                      <a:pt x="1008" y="1092"/>
                    </a:cubicBezTo>
                    <a:cubicBezTo>
                      <a:pt x="995" y="1090"/>
                      <a:pt x="957" y="1093"/>
                      <a:pt x="940" y="1067"/>
                    </a:cubicBezTo>
                    <a:cubicBezTo>
                      <a:pt x="932" y="1053"/>
                      <a:pt x="929" y="1001"/>
                      <a:pt x="929" y="1001"/>
                    </a:cubicBezTo>
                    <a:cubicBezTo>
                      <a:pt x="1325" y="1001"/>
                      <a:pt x="1325" y="1001"/>
                      <a:pt x="1325" y="1001"/>
                    </a:cubicBezTo>
                    <a:cubicBezTo>
                      <a:pt x="1349" y="1001"/>
                      <a:pt x="1369" y="981"/>
                      <a:pt x="1369" y="957"/>
                    </a:cubicBezTo>
                    <a:cubicBezTo>
                      <a:pt x="1369" y="42"/>
                      <a:pt x="1369" y="42"/>
                      <a:pt x="1369" y="42"/>
                    </a:cubicBezTo>
                    <a:cubicBezTo>
                      <a:pt x="1369" y="18"/>
                      <a:pt x="1349" y="0"/>
                      <a:pt x="1325" y="0"/>
                    </a:cubicBezTo>
                    <a:close/>
                    <a:moveTo>
                      <a:pt x="1290" y="889"/>
                    </a:moveTo>
                    <a:cubicBezTo>
                      <a:pt x="1290" y="910"/>
                      <a:pt x="1273" y="925"/>
                      <a:pt x="1254" y="925"/>
                    </a:cubicBezTo>
                    <a:cubicBezTo>
                      <a:pt x="118" y="925"/>
                      <a:pt x="118" y="925"/>
                      <a:pt x="118" y="925"/>
                    </a:cubicBezTo>
                    <a:cubicBezTo>
                      <a:pt x="97" y="925"/>
                      <a:pt x="80" y="910"/>
                      <a:pt x="80" y="889"/>
                    </a:cubicBezTo>
                    <a:cubicBezTo>
                      <a:pt x="80" y="110"/>
                      <a:pt x="80" y="110"/>
                      <a:pt x="80" y="110"/>
                    </a:cubicBezTo>
                    <a:cubicBezTo>
                      <a:pt x="80" y="89"/>
                      <a:pt x="97" y="74"/>
                      <a:pt x="118" y="74"/>
                    </a:cubicBezTo>
                    <a:cubicBezTo>
                      <a:pt x="1254" y="74"/>
                      <a:pt x="1254" y="74"/>
                      <a:pt x="1254" y="74"/>
                    </a:cubicBezTo>
                    <a:cubicBezTo>
                      <a:pt x="1273" y="74"/>
                      <a:pt x="1290" y="89"/>
                      <a:pt x="1290" y="110"/>
                    </a:cubicBezTo>
                    <a:cubicBezTo>
                      <a:pt x="1290" y="889"/>
                      <a:pt x="1290" y="889"/>
                      <a:pt x="1290" y="889"/>
                    </a:cubicBezTo>
                    <a:close/>
                  </a:path>
                </a:pathLst>
              </a:custGeom>
              <a:solidFill>
                <a:schemeClr val="accent1"/>
              </a:solidFill>
              <a:ln w="2"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31" name="Group 30"/>
            <p:cNvGrpSpPr/>
            <p:nvPr/>
          </p:nvGrpSpPr>
          <p:grpSpPr>
            <a:xfrm>
              <a:off x="3516117" y="1415170"/>
              <a:ext cx="812321" cy="534932"/>
              <a:chOff x="6182189" y="4712010"/>
              <a:chExt cx="1134712" cy="747235"/>
            </a:xfrm>
          </p:grpSpPr>
          <p:sp>
            <p:nvSpPr>
              <p:cNvPr id="36" name="Freeform 35"/>
              <p:cNvSpPr>
                <a:spLocks noEditPoints="1"/>
              </p:cNvSpPr>
              <p:nvPr/>
            </p:nvSpPr>
            <p:spPr bwMode="auto">
              <a:xfrm>
                <a:off x="6182189" y="4712010"/>
                <a:ext cx="1134712" cy="747235"/>
              </a:xfrm>
              <a:custGeom>
                <a:avLst/>
                <a:gdLst>
                  <a:gd name="T0" fmla="*/ 939 w 1883"/>
                  <a:gd name="T1" fmla="*/ 0 h 1240"/>
                  <a:gd name="T2" fmla="*/ 939 w 1883"/>
                  <a:gd name="T3" fmla="*/ 0 h 1240"/>
                  <a:gd name="T4" fmla="*/ 937 w 1883"/>
                  <a:gd name="T5" fmla="*/ 1240 h 1240"/>
                  <a:gd name="T6" fmla="*/ 0 w 1883"/>
                  <a:gd name="T7" fmla="*/ 1088 h 1240"/>
                  <a:gd name="T8" fmla="*/ 939 w 1883"/>
                  <a:gd name="T9" fmla="*/ 0 h 1240"/>
                  <a:gd name="T10" fmla="*/ 939 w 1883"/>
                  <a:gd name="T11" fmla="*/ 0 h 1240"/>
                  <a:gd name="T12" fmla="*/ 946 w 1883"/>
                  <a:gd name="T13" fmla="*/ 1240 h 1240"/>
                  <a:gd name="T14" fmla="*/ 1883 w 1883"/>
                  <a:gd name="T15" fmla="*/ 1088 h 1240"/>
                  <a:gd name="T16" fmla="*/ 946 w 1883"/>
                  <a:gd name="T17" fmla="*/ 0 h 1240"/>
                  <a:gd name="T18" fmla="*/ 946 w 1883"/>
                  <a:gd name="T19" fmla="*/ 124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1240">
                    <a:moveTo>
                      <a:pt x="939" y="0"/>
                    </a:moveTo>
                    <a:lnTo>
                      <a:pt x="939" y="0"/>
                    </a:lnTo>
                    <a:lnTo>
                      <a:pt x="937" y="1240"/>
                    </a:lnTo>
                    <a:lnTo>
                      <a:pt x="0" y="1088"/>
                    </a:lnTo>
                    <a:lnTo>
                      <a:pt x="939" y="0"/>
                    </a:lnTo>
                    <a:lnTo>
                      <a:pt x="939" y="0"/>
                    </a:lnTo>
                    <a:close/>
                    <a:moveTo>
                      <a:pt x="946" y="1240"/>
                    </a:moveTo>
                    <a:lnTo>
                      <a:pt x="1883" y="1088"/>
                    </a:lnTo>
                    <a:lnTo>
                      <a:pt x="946" y="0"/>
                    </a:lnTo>
                    <a:lnTo>
                      <a:pt x="946" y="1240"/>
                    </a:lnTo>
                    <a:close/>
                  </a:path>
                </a:pathLst>
              </a:custGeom>
              <a:solidFill>
                <a:srgbClr val="FFFFFF"/>
              </a:solidFill>
              <a:ln w="15875" cap="flat">
                <a:solidFill>
                  <a:srgbClr val="0071BC"/>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37" name="Freeform 36"/>
              <p:cNvSpPr>
                <a:spLocks noEditPoints="1"/>
              </p:cNvSpPr>
              <p:nvPr/>
            </p:nvSpPr>
            <p:spPr bwMode="auto">
              <a:xfrm>
                <a:off x="6317779" y="4918703"/>
                <a:ext cx="871373" cy="456778"/>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38" name="Freeform 37"/>
              <p:cNvSpPr>
                <a:spLocks noEditPoints="1"/>
              </p:cNvSpPr>
              <p:nvPr/>
            </p:nvSpPr>
            <p:spPr bwMode="auto">
              <a:xfrm>
                <a:off x="6405160" y="4972938"/>
                <a:ext cx="696014" cy="335052"/>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5875"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32" name="Group 31"/>
            <p:cNvGrpSpPr/>
            <p:nvPr/>
          </p:nvGrpSpPr>
          <p:grpSpPr>
            <a:xfrm>
              <a:off x="2836676" y="1239680"/>
              <a:ext cx="1021860" cy="1544305"/>
              <a:chOff x="2967844" y="1151940"/>
              <a:chExt cx="919137" cy="1389063"/>
            </a:xfrm>
          </p:grpSpPr>
          <p:sp>
            <p:nvSpPr>
              <p:cNvPr id="33" name="Oval 32"/>
              <p:cNvSpPr/>
              <p:nvPr/>
            </p:nvSpPr>
            <p:spPr bwMode="auto">
              <a:xfrm>
                <a:off x="3194269" y="1421929"/>
                <a:ext cx="464706" cy="443199"/>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a:solidFill>
                    <a:prstClr val="black"/>
                  </a:solidFill>
                </a:endParaRPr>
              </a:p>
            </p:txBody>
          </p:sp>
          <p:sp>
            <p:nvSpPr>
              <p:cNvPr id="34" name="Freeform 6"/>
              <p:cNvSpPr>
                <a:spLocks/>
              </p:cNvSpPr>
              <p:nvPr/>
            </p:nvSpPr>
            <p:spPr bwMode="auto">
              <a:xfrm>
                <a:off x="3157456" y="1151940"/>
                <a:ext cx="536342" cy="536343"/>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chemeClr val="tx1"/>
              </a:solidFill>
              <a:ln w="1905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GB">
                  <a:ln>
                    <a:solidFill>
                      <a:srgbClr val="FFFFFF"/>
                    </a:solidFill>
                  </a:ln>
                  <a:solidFill>
                    <a:prstClr val="black"/>
                  </a:solidFill>
                </a:endParaRPr>
              </a:p>
            </p:txBody>
          </p:sp>
          <p:sp>
            <p:nvSpPr>
              <p:cNvPr id="35" name="Freeform 7"/>
              <p:cNvSpPr>
                <a:spLocks/>
              </p:cNvSpPr>
              <p:nvPr/>
            </p:nvSpPr>
            <p:spPr bwMode="auto">
              <a:xfrm>
                <a:off x="2967844" y="1628649"/>
                <a:ext cx="919137" cy="912354"/>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chemeClr val="tx1"/>
              </a:solidFill>
              <a:ln w="15875">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GB">
                  <a:ln>
                    <a:solidFill>
                      <a:srgbClr val="FFFFFF"/>
                    </a:solidFill>
                  </a:ln>
                  <a:solidFill>
                    <a:prstClr val="black"/>
                  </a:solidFill>
                </a:endParaRPr>
              </a:p>
            </p:txBody>
          </p:sp>
        </p:grpSp>
      </p:grpSp>
      <p:grpSp>
        <p:nvGrpSpPr>
          <p:cNvPr id="41" name="Group 40"/>
          <p:cNvGrpSpPr/>
          <p:nvPr/>
        </p:nvGrpSpPr>
        <p:grpSpPr>
          <a:xfrm>
            <a:off x="2979401" y="4874998"/>
            <a:ext cx="1144962" cy="1625947"/>
            <a:chOff x="1082303" y="3969282"/>
            <a:chExt cx="1217246" cy="1728598"/>
          </a:xfrm>
        </p:grpSpPr>
        <p:sp>
          <p:nvSpPr>
            <p:cNvPr id="42" name="Freeform 59"/>
            <p:cNvSpPr>
              <a:spLocks noEditPoints="1"/>
            </p:cNvSpPr>
            <p:nvPr/>
          </p:nvSpPr>
          <p:spPr bwMode="auto">
            <a:xfrm>
              <a:off x="1082303" y="3969282"/>
              <a:ext cx="682159" cy="1307000"/>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chemeClr val="accent1"/>
            </a:solidFill>
            <a:ln w="2222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3" name="Freeform 59"/>
            <p:cNvSpPr>
              <a:spLocks noEditPoints="1"/>
            </p:cNvSpPr>
            <p:nvPr/>
          </p:nvSpPr>
          <p:spPr bwMode="auto">
            <a:xfrm>
              <a:off x="1321337" y="4178209"/>
              <a:ext cx="682159" cy="1307000"/>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chemeClr val="accent1"/>
            </a:solidFill>
            <a:ln w="2222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4" name="Freeform 59"/>
            <p:cNvSpPr>
              <a:spLocks noEditPoints="1"/>
            </p:cNvSpPr>
            <p:nvPr/>
          </p:nvSpPr>
          <p:spPr bwMode="auto">
            <a:xfrm>
              <a:off x="1617390" y="4390880"/>
              <a:ext cx="682159" cy="1307000"/>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chemeClr val="accent1"/>
            </a:solidFill>
            <a:ln w="2222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45" name="Group 44"/>
          <p:cNvGrpSpPr/>
          <p:nvPr/>
        </p:nvGrpSpPr>
        <p:grpSpPr>
          <a:xfrm>
            <a:off x="4796516" y="2051620"/>
            <a:ext cx="2750801" cy="1410011"/>
            <a:chOff x="4796516" y="2051620"/>
            <a:chExt cx="2750801" cy="1410011"/>
          </a:xfrm>
        </p:grpSpPr>
        <p:grpSp>
          <p:nvGrpSpPr>
            <p:cNvPr id="46" name="Group 45"/>
            <p:cNvGrpSpPr/>
            <p:nvPr/>
          </p:nvGrpSpPr>
          <p:grpSpPr>
            <a:xfrm>
              <a:off x="4796516" y="2051620"/>
              <a:ext cx="2750801" cy="1410011"/>
              <a:chOff x="4796516" y="2051620"/>
              <a:chExt cx="2750801" cy="1410011"/>
            </a:xfrm>
          </p:grpSpPr>
          <p:grpSp>
            <p:nvGrpSpPr>
              <p:cNvPr id="48" name="Group 47"/>
              <p:cNvGrpSpPr/>
              <p:nvPr/>
            </p:nvGrpSpPr>
            <p:grpSpPr>
              <a:xfrm>
                <a:off x="4796516" y="2051620"/>
                <a:ext cx="2750801" cy="1410011"/>
                <a:chOff x="5662905" y="818516"/>
                <a:chExt cx="3011863" cy="1543827"/>
              </a:xfrm>
            </p:grpSpPr>
            <p:sp>
              <p:nvSpPr>
                <p:cNvPr id="50" name="Freeform 49"/>
                <p:cNvSpPr>
                  <a:spLocks noChangeAspect="1"/>
                </p:cNvSpPr>
                <p:nvPr/>
              </p:nvSpPr>
              <p:spPr bwMode="auto">
                <a:xfrm>
                  <a:off x="5662905" y="818516"/>
                  <a:ext cx="3011863" cy="1543827"/>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noFill/>
                <a:ln w="19050" cap="flat" cmpd="sng" algn="ctr">
                  <a:solidFill>
                    <a:schemeClr val="tx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b="1" kern="0" dirty="0">
                    <a:solidFill>
                      <a:prstClr val="black"/>
                    </a:solidFill>
                    <a:latin typeface="Segoe" pitchFamily="34" charset="0"/>
                  </a:endParaRPr>
                </a:p>
              </p:txBody>
            </p:sp>
            <p:sp>
              <p:nvSpPr>
                <p:cNvPr id="51" name="Rectangle 50"/>
                <p:cNvSpPr/>
                <p:nvPr/>
              </p:nvSpPr>
              <p:spPr>
                <a:xfrm>
                  <a:off x="6788519" y="1763880"/>
                  <a:ext cx="1683174" cy="202192"/>
                </a:xfrm>
                <a:prstGeom prst="rect">
                  <a:avLst/>
                </a:prstGeom>
                <a:ln>
                  <a:noFill/>
                </a:ln>
              </p:spPr>
              <p:txBody>
                <a:bodyPr wrap="none" lIns="0" tIns="0" rIns="0" bIns="0" anchor="ctr">
                  <a:spAutoFit/>
                </a:bodyPr>
                <a:lstStyle/>
                <a:p>
                  <a:pPr algn="ctr" defTabSz="1118538" fontAlgn="base">
                    <a:spcAft>
                      <a:spcPct val="0"/>
                    </a:spcAft>
                  </a:pPr>
                  <a:r>
                    <a:rPr lang="en-US" sz="1200" dirty="0">
                      <a:ln>
                        <a:solidFill>
                          <a:srgbClr val="FFFFFF">
                            <a:alpha val="0"/>
                          </a:srgbClr>
                        </a:solidFill>
                      </a:ln>
                      <a:solidFill>
                        <a:prstClr val="black"/>
                      </a:solidFill>
                      <a:latin typeface="Segoe"/>
                    </a:rPr>
                    <a:t>Infrastructure Services</a:t>
                  </a:r>
                </a:p>
              </p:txBody>
            </p:sp>
          </p:grpSp>
          <p:pic>
            <p:nvPicPr>
              <p:cNvPr id="49" name="Picture 48"/>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884878" y="2692572"/>
                <a:ext cx="693121" cy="674880"/>
              </a:xfrm>
              <a:prstGeom prst="rect">
                <a:avLst/>
              </a:prstGeom>
            </p:spPr>
          </p:pic>
        </p:grpSp>
        <p:pic>
          <p:nvPicPr>
            <p:cNvPr id="47" name="Picture 46"/>
            <p:cNvPicPr>
              <a:picLocks noChangeAspect="1"/>
            </p:cNvPicPr>
            <p:nvPr/>
          </p:nvPicPr>
          <p:blipFill>
            <a:blip r:embed="rId1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613382" y="2540958"/>
              <a:ext cx="1882592" cy="436495"/>
            </a:xfrm>
            <a:prstGeom prst="rect">
              <a:avLst/>
            </a:prstGeom>
          </p:spPr>
        </p:pic>
      </p:grpSp>
      <p:grpSp>
        <p:nvGrpSpPr>
          <p:cNvPr id="52" name="Group 51"/>
          <p:cNvGrpSpPr/>
          <p:nvPr/>
        </p:nvGrpSpPr>
        <p:grpSpPr>
          <a:xfrm>
            <a:off x="7979593" y="2039519"/>
            <a:ext cx="1845601" cy="1982600"/>
            <a:chOff x="7979593" y="2039519"/>
            <a:chExt cx="1845601" cy="1982600"/>
          </a:xfrm>
        </p:grpSpPr>
        <p:grpSp>
          <p:nvGrpSpPr>
            <p:cNvPr id="53" name="Group 52"/>
            <p:cNvGrpSpPr>
              <a:grpSpLocks noChangeAspect="1"/>
            </p:cNvGrpSpPr>
            <p:nvPr/>
          </p:nvGrpSpPr>
          <p:grpSpPr>
            <a:xfrm>
              <a:off x="8617158" y="2330259"/>
              <a:ext cx="560540" cy="647194"/>
              <a:chOff x="2484438" y="3657600"/>
              <a:chExt cx="985837" cy="1138238"/>
            </a:xfrm>
          </p:grpSpPr>
          <p:sp>
            <p:nvSpPr>
              <p:cNvPr id="67" name="AutoShape 7"/>
              <p:cNvSpPr>
                <a:spLocks noChangeAspect="1" noChangeArrowheads="1" noTextEdit="1"/>
              </p:cNvSpPr>
              <p:nvPr/>
            </p:nvSpPr>
            <p:spPr bwMode="auto">
              <a:xfrm>
                <a:off x="2484438" y="3657600"/>
                <a:ext cx="985837" cy="113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prstClr val="black"/>
                  </a:solidFill>
                </a:endParaRPr>
              </a:p>
            </p:txBody>
          </p:sp>
          <p:sp>
            <p:nvSpPr>
              <p:cNvPr id="68" name="Freeform 67"/>
              <p:cNvSpPr>
                <a:spLocks/>
              </p:cNvSpPr>
              <p:nvPr/>
            </p:nvSpPr>
            <p:spPr bwMode="auto">
              <a:xfrm>
                <a:off x="3172303" y="4424978"/>
                <a:ext cx="0" cy="3760"/>
              </a:xfrm>
              <a:custGeom>
                <a:avLst/>
                <a:gdLst>
                  <a:gd name="T0" fmla="*/ 0 w 1"/>
                  <a:gd name="T1" fmla="*/ 7 h 7"/>
                  <a:gd name="T2" fmla="*/ 1 w 1"/>
                  <a:gd name="T3" fmla="*/ 0 h 7"/>
                  <a:gd name="T4" fmla="*/ 0 w 1"/>
                  <a:gd name="T5" fmla="*/ 7 h 7"/>
                </a:gdLst>
                <a:ahLst/>
                <a:cxnLst>
                  <a:cxn ang="0">
                    <a:pos x="T0" y="T1"/>
                  </a:cxn>
                  <a:cxn ang="0">
                    <a:pos x="T2" y="T3"/>
                  </a:cxn>
                  <a:cxn ang="0">
                    <a:pos x="T4" y="T5"/>
                  </a:cxn>
                </a:cxnLst>
                <a:rect l="0" t="0" r="r" b="b"/>
                <a:pathLst>
                  <a:path w="1" h="7">
                    <a:moveTo>
                      <a:pt x="0" y="7"/>
                    </a:moveTo>
                    <a:cubicBezTo>
                      <a:pt x="0" y="5"/>
                      <a:pt x="1" y="3"/>
                      <a:pt x="1" y="0"/>
                    </a:cubicBezTo>
                    <a:lnTo>
                      <a:pt x="0" y="7"/>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prstClr val="black"/>
                  </a:solidFill>
                </a:endParaRPr>
              </a:p>
            </p:txBody>
          </p:sp>
        </p:grpSp>
        <p:grpSp>
          <p:nvGrpSpPr>
            <p:cNvPr id="54" name="Group 53"/>
            <p:cNvGrpSpPr/>
            <p:nvPr/>
          </p:nvGrpSpPr>
          <p:grpSpPr>
            <a:xfrm>
              <a:off x="7979593" y="2914589"/>
              <a:ext cx="1845601" cy="1107530"/>
              <a:chOff x="7979593" y="2914589"/>
              <a:chExt cx="1845601" cy="1107530"/>
            </a:xfrm>
          </p:grpSpPr>
          <p:grpSp>
            <p:nvGrpSpPr>
              <p:cNvPr id="57" name="Group 56"/>
              <p:cNvGrpSpPr/>
              <p:nvPr/>
            </p:nvGrpSpPr>
            <p:grpSpPr>
              <a:xfrm>
                <a:off x="7979593" y="2914589"/>
                <a:ext cx="1833834" cy="1107530"/>
                <a:chOff x="7979593" y="2914589"/>
                <a:chExt cx="1833834" cy="1107530"/>
              </a:xfrm>
            </p:grpSpPr>
            <p:sp>
              <p:nvSpPr>
                <p:cNvPr id="62" name="Rectangle 61"/>
                <p:cNvSpPr/>
                <p:nvPr/>
              </p:nvSpPr>
              <p:spPr>
                <a:xfrm>
                  <a:off x="8640429" y="2914589"/>
                  <a:ext cx="488474" cy="188385"/>
                </a:xfrm>
                <a:prstGeom prst="rect">
                  <a:avLst/>
                </a:prstGeom>
                <a:noFill/>
                <a:ln>
                  <a:noFill/>
                </a:ln>
              </p:spPr>
              <p:txBody>
                <a:bodyPr wrap="square" lIns="0" tIns="0" rIns="0" bIns="0" anchor="ctr">
                  <a:spAutoFit/>
                </a:bodyPr>
                <a:lstStyle/>
                <a:p>
                  <a:pPr algn="ctr" defTabSz="1118323" fontAlgn="base">
                    <a:spcAft>
                      <a:spcPct val="0"/>
                    </a:spcAft>
                  </a:pPr>
                  <a:r>
                    <a:rPr lang="en-US" sz="1224" dirty="0">
                      <a:ln>
                        <a:solidFill>
                          <a:srgbClr val="FFFFFF">
                            <a:alpha val="0"/>
                          </a:srgbClr>
                        </a:solidFill>
                      </a:ln>
                      <a:solidFill>
                        <a:prstClr val="black"/>
                      </a:solidFill>
                      <a:latin typeface="Segoe"/>
                    </a:rPr>
                    <a:t>Files</a:t>
                  </a:r>
                </a:p>
              </p:txBody>
            </p:sp>
            <p:sp>
              <p:nvSpPr>
                <p:cNvPr id="63" name="Rectangle 62"/>
                <p:cNvSpPr/>
                <p:nvPr/>
              </p:nvSpPr>
              <p:spPr>
                <a:xfrm>
                  <a:off x="9005916" y="3833734"/>
                  <a:ext cx="807511" cy="188385"/>
                </a:xfrm>
                <a:prstGeom prst="rect">
                  <a:avLst/>
                </a:prstGeom>
                <a:noFill/>
                <a:ln>
                  <a:noFill/>
                </a:ln>
              </p:spPr>
              <p:txBody>
                <a:bodyPr wrap="square" lIns="0" tIns="0" rIns="0" bIns="0" anchor="ctr">
                  <a:spAutoFit/>
                </a:bodyPr>
                <a:lstStyle/>
                <a:p>
                  <a:pPr algn="ctr" defTabSz="1118323" fontAlgn="base">
                    <a:spcAft>
                      <a:spcPct val="0"/>
                    </a:spcAft>
                  </a:pPr>
                  <a:r>
                    <a:rPr lang="en-US" sz="1224" dirty="0">
                      <a:ln>
                        <a:solidFill>
                          <a:srgbClr val="FFFFFF">
                            <a:alpha val="0"/>
                          </a:srgbClr>
                        </a:solidFill>
                      </a:ln>
                      <a:solidFill>
                        <a:prstClr val="black"/>
                      </a:solidFill>
                      <a:latin typeface="Segoe"/>
                    </a:rPr>
                    <a:t>LOB Apps</a:t>
                  </a:r>
                </a:p>
              </p:txBody>
            </p:sp>
            <p:grpSp>
              <p:nvGrpSpPr>
                <p:cNvPr id="64" name="Group 63"/>
                <p:cNvGrpSpPr/>
                <p:nvPr/>
              </p:nvGrpSpPr>
              <p:grpSpPr>
                <a:xfrm>
                  <a:off x="7979593" y="3194338"/>
                  <a:ext cx="846027" cy="798222"/>
                  <a:chOff x="7979593" y="3194338"/>
                  <a:chExt cx="846027" cy="798222"/>
                </a:xfrm>
              </p:grpSpPr>
              <p:sp>
                <p:nvSpPr>
                  <p:cNvPr id="65" name="Rectangle 64"/>
                  <p:cNvSpPr>
                    <a:spLocks noChangeAspect="1"/>
                  </p:cNvSpPr>
                  <p:nvPr/>
                </p:nvSpPr>
                <p:spPr>
                  <a:xfrm>
                    <a:off x="7979593" y="3796720"/>
                    <a:ext cx="846027" cy="195840"/>
                  </a:xfrm>
                  <a:prstGeom prst="rect">
                    <a:avLst/>
                  </a:prstGeom>
                  <a:noFill/>
                  <a:ln>
                    <a:noFill/>
                  </a:ln>
                </p:spPr>
                <p:txBody>
                  <a:bodyPr wrap="square" lIns="0" tIns="0" rIns="0" bIns="0" anchor="ctr">
                    <a:spAutoFit/>
                  </a:bodyPr>
                  <a:lstStyle/>
                  <a:p>
                    <a:pPr algn="ctr" defTabSz="1118323" fontAlgn="base">
                      <a:spcAft>
                        <a:spcPct val="0"/>
                      </a:spcAft>
                    </a:pPr>
                    <a:r>
                      <a:rPr lang="en-US" sz="1224" dirty="0">
                        <a:ln>
                          <a:solidFill>
                            <a:srgbClr val="FFFFFF">
                              <a:alpha val="0"/>
                            </a:srgbClr>
                          </a:solidFill>
                        </a:ln>
                        <a:solidFill>
                          <a:prstClr val="black"/>
                        </a:solidFill>
                        <a:latin typeface="Segoe"/>
                      </a:rPr>
                      <a:t>Web Apps</a:t>
                    </a:r>
                  </a:p>
                </p:txBody>
              </p:sp>
              <p:sp>
                <p:nvSpPr>
                  <p:cNvPr id="66" name="Freeform 31"/>
                  <p:cNvSpPr>
                    <a:spLocks noEditPoints="1"/>
                  </p:cNvSpPr>
                  <p:nvPr/>
                </p:nvSpPr>
                <p:spPr bwMode="auto">
                  <a:xfrm>
                    <a:off x="8084290" y="3194338"/>
                    <a:ext cx="602381" cy="602382"/>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solidFill>
                    <a:schemeClr val="tx1"/>
                  </a:solidFill>
                  <a:ln>
                    <a:solidFill>
                      <a:schemeClr val="tx1"/>
                    </a:solidFill>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grpSp>
            <p:nvGrpSpPr>
              <p:cNvPr id="58" name="Group 57"/>
              <p:cNvGrpSpPr/>
              <p:nvPr/>
            </p:nvGrpSpPr>
            <p:grpSpPr>
              <a:xfrm>
                <a:off x="8967816" y="3191127"/>
                <a:ext cx="857378" cy="633557"/>
                <a:chOff x="8994204" y="5562326"/>
                <a:chExt cx="906017" cy="669499"/>
              </a:xfrm>
            </p:grpSpPr>
            <p:sp>
              <p:nvSpPr>
                <p:cNvPr id="59" name="Rectangle 36"/>
                <p:cNvSpPr>
                  <a:spLocks noChangeArrowheads="1"/>
                </p:cNvSpPr>
                <p:nvPr/>
              </p:nvSpPr>
              <p:spPr bwMode="auto">
                <a:xfrm>
                  <a:off x="8994204" y="5562326"/>
                  <a:ext cx="906017" cy="669499"/>
                </a:xfrm>
                <a:prstGeom prst="rect">
                  <a:avLst/>
                </a:prstGeom>
                <a:noFill/>
                <a:ln w="254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0" name="Freeform 37"/>
                <p:cNvSpPr>
                  <a:spLocks noEditPoints="1"/>
                </p:cNvSpPr>
                <p:nvPr/>
              </p:nvSpPr>
              <p:spPr bwMode="auto">
                <a:xfrm>
                  <a:off x="8994204" y="5669141"/>
                  <a:ext cx="906017" cy="454916"/>
                </a:xfrm>
                <a:custGeom>
                  <a:avLst/>
                  <a:gdLst>
                    <a:gd name="T0" fmla="*/ 0 w 950"/>
                    <a:gd name="T1" fmla="*/ 102 h 477"/>
                    <a:gd name="T2" fmla="*/ 950 w 950"/>
                    <a:gd name="T3" fmla="*/ 102 h 477"/>
                    <a:gd name="T4" fmla="*/ 950 w 950"/>
                    <a:gd name="T5" fmla="*/ 225 h 477"/>
                    <a:gd name="T6" fmla="*/ 0 w 950"/>
                    <a:gd name="T7" fmla="*/ 225 h 477"/>
                    <a:gd name="T8" fmla="*/ 0 w 950"/>
                    <a:gd name="T9" fmla="*/ 354 h 477"/>
                    <a:gd name="T10" fmla="*/ 950 w 950"/>
                    <a:gd name="T11" fmla="*/ 354 h 477"/>
                    <a:gd name="T12" fmla="*/ 0 w 950"/>
                    <a:gd name="T13" fmla="*/ 477 h 477"/>
                    <a:gd name="T14" fmla="*/ 950 w 950"/>
                    <a:gd name="T15" fmla="*/ 477 h 477"/>
                    <a:gd name="T16" fmla="*/ 0 w 950"/>
                    <a:gd name="T17" fmla="*/ 0 h 477"/>
                    <a:gd name="T18" fmla="*/ 950 w 950"/>
                    <a:gd name="T1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0" h="477">
                      <a:moveTo>
                        <a:pt x="0" y="102"/>
                      </a:moveTo>
                      <a:lnTo>
                        <a:pt x="950" y="102"/>
                      </a:lnTo>
                      <a:moveTo>
                        <a:pt x="950" y="225"/>
                      </a:moveTo>
                      <a:lnTo>
                        <a:pt x="0" y="225"/>
                      </a:lnTo>
                      <a:moveTo>
                        <a:pt x="0" y="354"/>
                      </a:moveTo>
                      <a:lnTo>
                        <a:pt x="950" y="354"/>
                      </a:lnTo>
                      <a:moveTo>
                        <a:pt x="0" y="477"/>
                      </a:moveTo>
                      <a:lnTo>
                        <a:pt x="950" y="477"/>
                      </a:lnTo>
                      <a:moveTo>
                        <a:pt x="0" y="0"/>
                      </a:moveTo>
                      <a:lnTo>
                        <a:pt x="950" y="0"/>
                      </a:lnTo>
                    </a:path>
                  </a:pathLst>
                </a:custGeom>
                <a:solidFill>
                  <a:srgbClr val="FFFFFF"/>
                </a:solidFill>
                <a:ln w="22225"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1" name="Freeform 38"/>
                <p:cNvSpPr>
                  <a:spLocks/>
                </p:cNvSpPr>
                <p:nvPr/>
              </p:nvSpPr>
              <p:spPr bwMode="auto">
                <a:xfrm>
                  <a:off x="9002787" y="5608104"/>
                  <a:ext cx="848795" cy="577944"/>
                </a:xfrm>
                <a:custGeom>
                  <a:avLst/>
                  <a:gdLst>
                    <a:gd name="T0" fmla="*/ 0 w 1777"/>
                    <a:gd name="T1" fmla="*/ 1150 h 1150"/>
                    <a:gd name="T2" fmla="*/ 195 w 1777"/>
                    <a:gd name="T3" fmla="*/ 1111 h 1150"/>
                    <a:gd name="T4" fmla="*/ 306 w 1777"/>
                    <a:gd name="T5" fmla="*/ 1088 h 1150"/>
                    <a:gd name="T6" fmla="*/ 367 w 1777"/>
                    <a:gd name="T7" fmla="*/ 1075 h 1150"/>
                    <a:gd name="T8" fmla="*/ 398 w 1777"/>
                    <a:gd name="T9" fmla="*/ 1068 h 1150"/>
                    <a:gd name="T10" fmla="*/ 405 w 1777"/>
                    <a:gd name="T11" fmla="*/ 1067 h 1150"/>
                    <a:gd name="T12" fmla="*/ 409 w 1777"/>
                    <a:gd name="T13" fmla="*/ 1066 h 1150"/>
                    <a:gd name="T14" fmla="*/ 411 w 1777"/>
                    <a:gd name="T15" fmla="*/ 1065 h 1150"/>
                    <a:gd name="T16" fmla="*/ 412 w 1777"/>
                    <a:gd name="T17" fmla="*/ 1063 h 1150"/>
                    <a:gd name="T18" fmla="*/ 420 w 1777"/>
                    <a:gd name="T19" fmla="*/ 1050 h 1150"/>
                    <a:gd name="T20" fmla="*/ 548 w 1777"/>
                    <a:gd name="T21" fmla="*/ 854 h 1150"/>
                    <a:gd name="T22" fmla="*/ 608 w 1777"/>
                    <a:gd name="T23" fmla="*/ 761 h 1150"/>
                    <a:gd name="T24" fmla="*/ 635 w 1777"/>
                    <a:gd name="T25" fmla="*/ 720 h 1150"/>
                    <a:gd name="T26" fmla="*/ 677 w 1777"/>
                    <a:gd name="T27" fmla="*/ 696 h 1150"/>
                    <a:gd name="T28" fmla="*/ 1021 w 1777"/>
                    <a:gd name="T29" fmla="*/ 653 h 1150"/>
                    <a:gd name="T30" fmla="*/ 1385 w 1777"/>
                    <a:gd name="T31" fmla="*/ 282 h 1150"/>
                    <a:gd name="T32" fmla="*/ 1394 w 1777"/>
                    <a:gd name="T33" fmla="*/ 277 h 1150"/>
                    <a:gd name="T34" fmla="*/ 1518 w 1777"/>
                    <a:gd name="T35" fmla="*/ 481 h 1150"/>
                    <a:gd name="T36" fmla="*/ 1777 w 1777"/>
                    <a:gd name="T37" fmla="*/ 0 h 1150"/>
                    <a:gd name="T38" fmla="*/ 1237 w 1777"/>
                    <a:gd name="T39" fmla="*/ 16 h 1150"/>
                    <a:gd name="T40" fmla="*/ 1360 w 1777"/>
                    <a:gd name="T41" fmla="*/ 220 h 1150"/>
                    <a:gd name="T42" fmla="*/ 1351 w 1777"/>
                    <a:gd name="T43" fmla="*/ 226 h 1150"/>
                    <a:gd name="T44" fmla="*/ 974 w 1777"/>
                    <a:gd name="T45" fmla="*/ 604 h 1150"/>
                    <a:gd name="T46" fmla="*/ 642 w 1777"/>
                    <a:gd name="T47" fmla="*/ 640 h 1150"/>
                    <a:gd name="T48" fmla="*/ 588 w 1777"/>
                    <a:gd name="T49" fmla="*/ 672 h 1150"/>
                    <a:gd name="T50" fmla="*/ 554 w 1777"/>
                    <a:gd name="T51" fmla="*/ 724 h 1150"/>
                    <a:gd name="T52" fmla="*/ 493 w 1777"/>
                    <a:gd name="T53" fmla="*/ 818 h 1150"/>
                    <a:gd name="T54" fmla="*/ 378 w 1777"/>
                    <a:gd name="T55" fmla="*/ 995 h 1150"/>
                    <a:gd name="T56" fmla="*/ 371 w 1777"/>
                    <a:gd name="T57" fmla="*/ 1005 h 1150"/>
                    <a:gd name="T58" fmla="*/ 369 w 1777"/>
                    <a:gd name="T59" fmla="*/ 1007 h 1150"/>
                    <a:gd name="T60" fmla="*/ 366 w 1777"/>
                    <a:gd name="T61" fmla="*/ 1008 h 1150"/>
                    <a:gd name="T62" fmla="*/ 360 w 1777"/>
                    <a:gd name="T63" fmla="*/ 1009 h 1150"/>
                    <a:gd name="T64" fmla="*/ 336 w 1777"/>
                    <a:gd name="T65" fmla="*/ 1014 h 1150"/>
                    <a:gd name="T66" fmla="*/ 288 w 1777"/>
                    <a:gd name="T67" fmla="*/ 1024 h 1150"/>
                    <a:gd name="T68" fmla="*/ 182 w 1777"/>
                    <a:gd name="T69" fmla="*/ 1046 h 1150"/>
                    <a:gd name="T70" fmla="*/ 1 w 1777"/>
                    <a:gd name="T71" fmla="*/ 1085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77" h="1150">
                      <a:moveTo>
                        <a:pt x="0" y="1150"/>
                      </a:moveTo>
                      <a:cubicBezTo>
                        <a:pt x="195" y="1111"/>
                        <a:pt x="195" y="1111"/>
                        <a:pt x="195" y="1111"/>
                      </a:cubicBezTo>
                      <a:cubicBezTo>
                        <a:pt x="306" y="1088"/>
                        <a:pt x="306" y="1088"/>
                        <a:pt x="306" y="1088"/>
                      </a:cubicBezTo>
                      <a:cubicBezTo>
                        <a:pt x="367" y="1075"/>
                        <a:pt x="367" y="1075"/>
                        <a:pt x="367" y="1075"/>
                      </a:cubicBezTo>
                      <a:cubicBezTo>
                        <a:pt x="398" y="1068"/>
                        <a:pt x="398" y="1068"/>
                        <a:pt x="398" y="1068"/>
                      </a:cubicBezTo>
                      <a:cubicBezTo>
                        <a:pt x="405" y="1067"/>
                        <a:pt x="405" y="1067"/>
                        <a:pt x="405" y="1067"/>
                      </a:cubicBezTo>
                      <a:cubicBezTo>
                        <a:pt x="409" y="1066"/>
                        <a:pt x="409" y="1066"/>
                        <a:pt x="409" y="1066"/>
                      </a:cubicBezTo>
                      <a:cubicBezTo>
                        <a:pt x="410" y="1066"/>
                        <a:pt x="410" y="1066"/>
                        <a:pt x="411" y="1065"/>
                      </a:cubicBezTo>
                      <a:cubicBezTo>
                        <a:pt x="412" y="1063"/>
                        <a:pt x="412" y="1063"/>
                        <a:pt x="412" y="1063"/>
                      </a:cubicBezTo>
                      <a:cubicBezTo>
                        <a:pt x="420" y="1050"/>
                        <a:pt x="420" y="1050"/>
                        <a:pt x="420" y="1050"/>
                      </a:cubicBezTo>
                      <a:cubicBezTo>
                        <a:pt x="548" y="854"/>
                        <a:pt x="548" y="854"/>
                        <a:pt x="548" y="854"/>
                      </a:cubicBezTo>
                      <a:cubicBezTo>
                        <a:pt x="608" y="761"/>
                        <a:pt x="608" y="761"/>
                        <a:pt x="608" y="761"/>
                      </a:cubicBezTo>
                      <a:cubicBezTo>
                        <a:pt x="617" y="748"/>
                        <a:pt x="625" y="734"/>
                        <a:pt x="635" y="720"/>
                      </a:cubicBezTo>
                      <a:cubicBezTo>
                        <a:pt x="677" y="696"/>
                        <a:pt x="677" y="696"/>
                        <a:pt x="677" y="696"/>
                      </a:cubicBezTo>
                      <a:cubicBezTo>
                        <a:pt x="1021" y="653"/>
                        <a:pt x="1021" y="653"/>
                        <a:pt x="1021" y="653"/>
                      </a:cubicBezTo>
                      <a:cubicBezTo>
                        <a:pt x="1385" y="282"/>
                        <a:pt x="1385" y="282"/>
                        <a:pt x="1385" y="282"/>
                      </a:cubicBezTo>
                      <a:cubicBezTo>
                        <a:pt x="1394" y="277"/>
                        <a:pt x="1394" y="277"/>
                        <a:pt x="1394" y="277"/>
                      </a:cubicBezTo>
                      <a:cubicBezTo>
                        <a:pt x="1518" y="481"/>
                        <a:pt x="1518" y="481"/>
                        <a:pt x="1518" y="481"/>
                      </a:cubicBezTo>
                      <a:cubicBezTo>
                        <a:pt x="1605" y="320"/>
                        <a:pt x="1692" y="160"/>
                        <a:pt x="1777" y="0"/>
                      </a:cubicBezTo>
                      <a:cubicBezTo>
                        <a:pt x="1596" y="6"/>
                        <a:pt x="1416" y="11"/>
                        <a:pt x="1237" y="16"/>
                      </a:cubicBezTo>
                      <a:cubicBezTo>
                        <a:pt x="1360" y="220"/>
                        <a:pt x="1360" y="220"/>
                        <a:pt x="1360" y="220"/>
                      </a:cubicBezTo>
                      <a:cubicBezTo>
                        <a:pt x="1351" y="226"/>
                        <a:pt x="1351" y="226"/>
                        <a:pt x="1351" y="226"/>
                      </a:cubicBezTo>
                      <a:cubicBezTo>
                        <a:pt x="974" y="604"/>
                        <a:pt x="974" y="604"/>
                        <a:pt x="974" y="604"/>
                      </a:cubicBezTo>
                      <a:cubicBezTo>
                        <a:pt x="642" y="640"/>
                        <a:pt x="642" y="640"/>
                        <a:pt x="642" y="640"/>
                      </a:cubicBezTo>
                      <a:cubicBezTo>
                        <a:pt x="588" y="672"/>
                        <a:pt x="588" y="672"/>
                        <a:pt x="588" y="672"/>
                      </a:cubicBezTo>
                      <a:cubicBezTo>
                        <a:pt x="576" y="689"/>
                        <a:pt x="565" y="706"/>
                        <a:pt x="554" y="724"/>
                      </a:cubicBezTo>
                      <a:cubicBezTo>
                        <a:pt x="493" y="818"/>
                        <a:pt x="493" y="818"/>
                        <a:pt x="493" y="818"/>
                      </a:cubicBezTo>
                      <a:cubicBezTo>
                        <a:pt x="378" y="995"/>
                        <a:pt x="378" y="995"/>
                        <a:pt x="378" y="995"/>
                      </a:cubicBezTo>
                      <a:cubicBezTo>
                        <a:pt x="371" y="1005"/>
                        <a:pt x="371" y="1005"/>
                        <a:pt x="371" y="1005"/>
                      </a:cubicBezTo>
                      <a:cubicBezTo>
                        <a:pt x="371" y="1006"/>
                        <a:pt x="370" y="1007"/>
                        <a:pt x="369" y="1007"/>
                      </a:cubicBezTo>
                      <a:cubicBezTo>
                        <a:pt x="366" y="1008"/>
                        <a:pt x="366" y="1008"/>
                        <a:pt x="366" y="1008"/>
                      </a:cubicBezTo>
                      <a:cubicBezTo>
                        <a:pt x="360" y="1009"/>
                        <a:pt x="360" y="1009"/>
                        <a:pt x="360" y="1009"/>
                      </a:cubicBezTo>
                      <a:cubicBezTo>
                        <a:pt x="336" y="1014"/>
                        <a:pt x="336" y="1014"/>
                        <a:pt x="336" y="1014"/>
                      </a:cubicBezTo>
                      <a:cubicBezTo>
                        <a:pt x="288" y="1024"/>
                        <a:pt x="288" y="1024"/>
                        <a:pt x="288" y="1024"/>
                      </a:cubicBezTo>
                      <a:cubicBezTo>
                        <a:pt x="182" y="1046"/>
                        <a:pt x="182" y="1046"/>
                        <a:pt x="182" y="1046"/>
                      </a:cubicBezTo>
                      <a:cubicBezTo>
                        <a:pt x="1" y="1085"/>
                        <a:pt x="1" y="1085"/>
                        <a:pt x="1" y="1085"/>
                      </a:cubicBezTo>
                    </a:path>
                  </a:pathLst>
                </a:custGeom>
                <a:solidFill>
                  <a:schemeClr val="tx1"/>
                </a:solid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sp>
          <p:nvSpPr>
            <p:cNvPr id="55" name="Freeform 1550"/>
            <p:cNvSpPr>
              <a:spLocks noEditPoints="1"/>
            </p:cNvSpPr>
            <p:nvPr/>
          </p:nvSpPr>
          <p:spPr bwMode="auto">
            <a:xfrm>
              <a:off x="8656080" y="2039519"/>
              <a:ext cx="415933" cy="822472"/>
            </a:xfrm>
            <a:custGeom>
              <a:avLst/>
              <a:gdLst>
                <a:gd name="T0" fmla="*/ 27 w 244"/>
                <a:gd name="T1" fmla="*/ 417 h 483"/>
                <a:gd name="T2" fmla="*/ 27 w 244"/>
                <a:gd name="T3" fmla="*/ 434 h 483"/>
                <a:gd name="T4" fmla="*/ 217 w 244"/>
                <a:gd name="T5" fmla="*/ 434 h 483"/>
                <a:gd name="T6" fmla="*/ 217 w 244"/>
                <a:gd name="T7" fmla="*/ 417 h 483"/>
                <a:gd name="T8" fmla="*/ 27 w 244"/>
                <a:gd name="T9" fmla="*/ 417 h 483"/>
                <a:gd name="T10" fmla="*/ 27 w 244"/>
                <a:gd name="T11" fmla="*/ 380 h 483"/>
                <a:gd name="T12" fmla="*/ 27 w 244"/>
                <a:gd name="T13" fmla="*/ 397 h 483"/>
                <a:gd name="T14" fmla="*/ 65 w 244"/>
                <a:gd name="T15" fmla="*/ 397 h 483"/>
                <a:gd name="T16" fmla="*/ 65 w 244"/>
                <a:gd name="T17" fmla="*/ 380 h 483"/>
                <a:gd name="T18" fmla="*/ 27 w 244"/>
                <a:gd name="T19" fmla="*/ 380 h 483"/>
                <a:gd name="T20" fmla="*/ 27 w 244"/>
                <a:gd name="T21" fmla="*/ 343 h 483"/>
                <a:gd name="T22" fmla="*/ 27 w 244"/>
                <a:gd name="T23" fmla="*/ 359 h 483"/>
                <a:gd name="T24" fmla="*/ 65 w 244"/>
                <a:gd name="T25" fmla="*/ 359 h 483"/>
                <a:gd name="T26" fmla="*/ 65 w 244"/>
                <a:gd name="T27" fmla="*/ 343 h 483"/>
                <a:gd name="T28" fmla="*/ 27 w 244"/>
                <a:gd name="T29" fmla="*/ 343 h 483"/>
                <a:gd name="T30" fmla="*/ 27 w 244"/>
                <a:gd name="T31" fmla="*/ 90 h 483"/>
                <a:gd name="T32" fmla="*/ 27 w 244"/>
                <a:gd name="T33" fmla="*/ 115 h 483"/>
                <a:gd name="T34" fmla="*/ 217 w 244"/>
                <a:gd name="T35" fmla="*/ 115 h 483"/>
                <a:gd name="T36" fmla="*/ 217 w 244"/>
                <a:gd name="T37" fmla="*/ 90 h 483"/>
                <a:gd name="T38" fmla="*/ 27 w 244"/>
                <a:gd name="T39" fmla="*/ 90 h 483"/>
                <a:gd name="T40" fmla="*/ 27 w 244"/>
                <a:gd name="T41" fmla="*/ 50 h 483"/>
                <a:gd name="T42" fmla="*/ 27 w 244"/>
                <a:gd name="T43" fmla="*/ 67 h 483"/>
                <a:gd name="T44" fmla="*/ 217 w 244"/>
                <a:gd name="T45" fmla="*/ 67 h 483"/>
                <a:gd name="T46" fmla="*/ 217 w 244"/>
                <a:gd name="T47" fmla="*/ 50 h 483"/>
                <a:gd name="T48" fmla="*/ 27 w 244"/>
                <a:gd name="T49" fmla="*/ 50 h 483"/>
                <a:gd name="T50" fmla="*/ 32 w 244"/>
                <a:gd name="T51" fmla="*/ 0 h 483"/>
                <a:gd name="T52" fmla="*/ 212 w 244"/>
                <a:gd name="T53" fmla="*/ 0 h 483"/>
                <a:gd name="T54" fmla="*/ 244 w 244"/>
                <a:gd name="T55" fmla="*/ 29 h 483"/>
                <a:gd name="T56" fmla="*/ 244 w 244"/>
                <a:gd name="T57" fmla="*/ 454 h 483"/>
                <a:gd name="T58" fmla="*/ 212 w 244"/>
                <a:gd name="T59" fmla="*/ 483 h 483"/>
                <a:gd name="T60" fmla="*/ 32 w 244"/>
                <a:gd name="T61" fmla="*/ 483 h 483"/>
                <a:gd name="T62" fmla="*/ 0 w 244"/>
                <a:gd name="T63" fmla="*/ 454 h 483"/>
                <a:gd name="T64" fmla="*/ 0 w 244"/>
                <a:gd name="T65" fmla="*/ 29 h 483"/>
                <a:gd name="T66" fmla="*/ 32 w 244"/>
                <a:gd name="T6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4" h="483">
                  <a:moveTo>
                    <a:pt x="27" y="417"/>
                  </a:moveTo>
                  <a:cubicBezTo>
                    <a:pt x="27" y="434"/>
                    <a:pt x="27" y="434"/>
                    <a:pt x="27" y="434"/>
                  </a:cubicBezTo>
                  <a:cubicBezTo>
                    <a:pt x="217" y="434"/>
                    <a:pt x="217" y="434"/>
                    <a:pt x="217" y="434"/>
                  </a:cubicBezTo>
                  <a:cubicBezTo>
                    <a:pt x="217" y="417"/>
                    <a:pt x="217" y="417"/>
                    <a:pt x="217" y="417"/>
                  </a:cubicBezTo>
                  <a:cubicBezTo>
                    <a:pt x="27" y="417"/>
                    <a:pt x="27" y="417"/>
                    <a:pt x="27" y="417"/>
                  </a:cubicBezTo>
                  <a:close/>
                  <a:moveTo>
                    <a:pt x="27" y="380"/>
                  </a:moveTo>
                  <a:cubicBezTo>
                    <a:pt x="27" y="397"/>
                    <a:pt x="27" y="397"/>
                    <a:pt x="27" y="397"/>
                  </a:cubicBezTo>
                  <a:cubicBezTo>
                    <a:pt x="65" y="397"/>
                    <a:pt x="65" y="397"/>
                    <a:pt x="65" y="397"/>
                  </a:cubicBezTo>
                  <a:cubicBezTo>
                    <a:pt x="65" y="380"/>
                    <a:pt x="65" y="380"/>
                    <a:pt x="65" y="380"/>
                  </a:cubicBezTo>
                  <a:cubicBezTo>
                    <a:pt x="27" y="380"/>
                    <a:pt x="27" y="380"/>
                    <a:pt x="27" y="380"/>
                  </a:cubicBezTo>
                  <a:close/>
                  <a:moveTo>
                    <a:pt x="27" y="343"/>
                  </a:moveTo>
                  <a:cubicBezTo>
                    <a:pt x="27" y="359"/>
                    <a:pt x="27" y="359"/>
                    <a:pt x="27" y="359"/>
                  </a:cubicBezTo>
                  <a:cubicBezTo>
                    <a:pt x="65" y="359"/>
                    <a:pt x="65" y="359"/>
                    <a:pt x="65" y="359"/>
                  </a:cubicBezTo>
                  <a:cubicBezTo>
                    <a:pt x="65" y="343"/>
                    <a:pt x="65" y="343"/>
                    <a:pt x="65" y="343"/>
                  </a:cubicBezTo>
                  <a:cubicBezTo>
                    <a:pt x="27" y="343"/>
                    <a:pt x="27" y="343"/>
                    <a:pt x="27" y="343"/>
                  </a:cubicBezTo>
                  <a:close/>
                  <a:moveTo>
                    <a:pt x="27" y="90"/>
                  </a:moveTo>
                  <a:cubicBezTo>
                    <a:pt x="27" y="115"/>
                    <a:pt x="27" y="115"/>
                    <a:pt x="27" y="115"/>
                  </a:cubicBezTo>
                  <a:cubicBezTo>
                    <a:pt x="217" y="115"/>
                    <a:pt x="217" y="115"/>
                    <a:pt x="217" y="115"/>
                  </a:cubicBezTo>
                  <a:cubicBezTo>
                    <a:pt x="217" y="90"/>
                    <a:pt x="217" y="90"/>
                    <a:pt x="217" y="90"/>
                  </a:cubicBezTo>
                  <a:cubicBezTo>
                    <a:pt x="27" y="90"/>
                    <a:pt x="27" y="90"/>
                    <a:pt x="27" y="90"/>
                  </a:cubicBezTo>
                  <a:close/>
                  <a:moveTo>
                    <a:pt x="27" y="50"/>
                  </a:moveTo>
                  <a:cubicBezTo>
                    <a:pt x="27" y="67"/>
                    <a:pt x="27" y="67"/>
                    <a:pt x="27" y="67"/>
                  </a:cubicBezTo>
                  <a:cubicBezTo>
                    <a:pt x="217" y="67"/>
                    <a:pt x="217" y="67"/>
                    <a:pt x="217" y="67"/>
                  </a:cubicBezTo>
                  <a:cubicBezTo>
                    <a:pt x="217" y="50"/>
                    <a:pt x="217" y="50"/>
                    <a:pt x="217" y="50"/>
                  </a:cubicBezTo>
                  <a:cubicBezTo>
                    <a:pt x="27" y="50"/>
                    <a:pt x="27" y="50"/>
                    <a:pt x="27" y="50"/>
                  </a:cubicBezTo>
                  <a:close/>
                  <a:moveTo>
                    <a:pt x="32" y="0"/>
                  </a:moveTo>
                  <a:cubicBezTo>
                    <a:pt x="212" y="0"/>
                    <a:pt x="212" y="0"/>
                    <a:pt x="212" y="0"/>
                  </a:cubicBezTo>
                  <a:cubicBezTo>
                    <a:pt x="230" y="0"/>
                    <a:pt x="244" y="13"/>
                    <a:pt x="244" y="29"/>
                  </a:cubicBezTo>
                  <a:cubicBezTo>
                    <a:pt x="244" y="454"/>
                    <a:pt x="244" y="454"/>
                    <a:pt x="244" y="454"/>
                  </a:cubicBezTo>
                  <a:cubicBezTo>
                    <a:pt x="244" y="470"/>
                    <a:pt x="230" y="483"/>
                    <a:pt x="212" y="483"/>
                  </a:cubicBezTo>
                  <a:cubicBezTo>
                    <a:pt x="32" y="483"/>
                    <a:pt x="32" y="483"/>
                    <a:pt x="32" y="483"/>
                  </a:cubicBezTo>
                  <a:cubicBezTo>
                    <a:pt x="14" y="483"/>
                    <a:pt x="0" y="470"/>
                    <a:pt x="0" y="454"/>
                  </a:cubicBezTo>
                  <a:cubicBezTo>
                    <a:pt x="0" y="29"/>
                    <a:pt x="0" y="29"/>
                    <a:pt x="0" y="29"/>
                  </a:cubicBezTo>
                  <a:cubicBezTo>
                    <a:pt x="0" y="13"/>
                    <a:pt x="14" y="0"/>
                    <a:pt x="32" y="0"/>
                  </a:cubicBezTo>
                  <a:close/>
                </a:path>
              </a:pathLst>
            </a:custGeom>
            <a:noFill/>
            <a:ln w="2222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GB" kern="0">
                <a:solidFill>
                  <a:prstClr val="black"/>
                </a:solidFill>
              </a:endParaRPr>
            </a:p>
          </p:txBody>
        </p:sp>
        <p:sp>
          <p:nvSpPr>
            <p:cNvPr id="56" name="Freeform 1551"/>
            <p:cNvSpPr>
              <a:spLocks noEditPoints="1"/>
            </p:cNvSpPr>
            <p:nvPr/>
          </p:nvSpPr>
          <p:spPr bwMode="auto">
            <a:xfrm>
              <a:off x="8485265" y="2211188"/>
              <a:ext cx="482551" cy="410809"/>
            </a:xfrm>
            <a:custGeom>
              <a:avLst/>
              <a:gdLst>
                <a:gd name="T0" fmla="*/ 11 w 283"/>
                <a:gd name="T1" fmla="*/ 238 h 241"/>
                <a:gd name="T2" fmla="*/ 11 w 283"/>
                <a:gd name="T3" fmla="*/ 241 h 241"/>
                <a:gd name="T4" fmla="*/ 0 w 283"/>
                <a:gd name="T5" fmla="*/ 226 h 241"/>
                <a:gd name="T6" fmla="*/ 0 w 283"/>
                <a:gd name="T7" fmla="*/ 47 h 241"/>
                <a:gd name="T8" fmla="*/ 13 w 283"/>
                <a:gd name="T9" fmla="*/ 32 h 241"/>
                <a:gd name="T10" fmla="*/ 127 w 283"/>
                <a:gd name="T11" fmla="*/ 32 h 241"/>
                <a:gd name="T12" fmla="*/ 140 w 283"/>
                <a:gd name="T13" fmla="*/ 18 h 241"/>
                <a:gd name="T14" fmla="*/ 140 w 283"/>
                <a:gd name="T15" fmla="*/ 15 h 241"/>
                <a:gd name="T16" fmla="*/ 152 w 283"/>
                <a:gd name="T17" fmla="*/ 0 h 241"/>
                <a:gd name="T18" fmla="*/ 256 w 283"/>
                <a:gd name="T19" fmla="*/ 0 h 241"/>
                <a:gd name="T20" fmla="*/ 268 w 283"/>
                <a:gd name="T21" fmla="*/ 15 h 241"/>
                <a:gd name="T22" fmla="*/ 268 w 283"/>
                <a:gd name="T23" fmla="*/ 18 h 241"/>
                <a:gd name="T24" fmla="*/ 275 w 283"/>
                <a:gd name="T25" fmla="*/ 32 h 241"/>
                <a:gd name="T26" fmla="*/ 282 w 283"/>
                <a:gd name="T27" fmla="*/ 47 h 241"/>
                <a:gd name="T28" fmla="*/ 282 w 283"/>
                <a:gd name="T29" fmla="*/ 69 h 241"/>
                <a:gd name="T30" fmla="*/ 34 w 283"/>
                <a:gd name="T31" fmla="*/ 49 h 241"/>
                <a:gd name="T32" fmla="*/ 21 w 283"/>
                <a:gd name="T33" fmla="*/ 59 h 241"/>
                <a:gd name="T34" fmla="*/ 11 w 283"/>
                <a:gd name="T35" fmla="*/ 238 h 241"/>
                <a:gd name="T36" fmla="*/ 265 w 283"/>
                <a:gd name="T37" fmla="*/ 241 h 241"/>
                <a:gd name="T38" fmla="*/ 274 w 283"/>
                <a:gd name="T39" fmla="*/ 230 h 241"/>
                <a:gd name="T40" fmla="*/ 274 w 283"/>
                <a:gd name="T41" fmla="*/ 230 h 241"/>
                <a:gd name="T42" fmla="*/ 274 w 283"/>
                <a:gd name="T43" fmla="*/ 230 h 241"/>
                <a:gd name="T44" fmla="*/ 282 w 283"/>
                <a:gd name="T45" fmla="*/ 79 h 241"/>
                <a:gd name="T46" fmla="*/ 277 w 283"/>
                <a:gd name="T47" fmla="*/ 68 h 241"/>
                <a:gd name="T48" fmla="*/ 29 w 283"/>
                <a:gd name="T49" fmla="*/ 47 h 241"/>
                <a:gd name="T50" fmla="*/ 28 w 283"/>
                <a:gd name="T51" fmla="*/ 47 h 241"/>
                <a:gd name="T52" fmla="*/ 19 w 283"/>
                <a:gd name="T53" fmla="*/ 58 h 241"/>
                <a:gd name="T54" fmla="*/ 9 w 283"/>
                <a:gd name="T55" fmla="*/ 241 h 241"/>
                <a:gd name="T56" fmla="*/ 265 w 283"/>
                <a:gd name="T57"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3" h="241">
                  <a:moveTo>
                    <a:pt x="11" y="238"/>
                  </a:moveTo>
                  <a:cubicBezTo>
                    <a:pt x="11" y="239"/>
                    <a:pt x="11" y="240"/>
                    <a:pt x="11" y="241"/>
                  </a:cubicBezTo>
                  <a:cubicBezTo>
                    <a:pt x="5" y="240"/>
                    <a:pt x="0" y="234"/>
                    <a:pt x="0" y="226"/>
                  </a:cubicBezTo>
                  <a:cubicBezTo>
                    <a:pt x="0" y="47"/>
                    <a:pt x="0" y="227"/>
                    <a:pt x="0" y="47"/>
                  </a:cubicBezTo>
                  <a:cubicBezTo>
                    <a:pt x="0" y="39"/>
                    <a:pt x="6" y="32"/>
                    <a:pt x="13" y="32"/>
                  </a:cubicBezTo>
                  <a:cubicBezTo>
                    <a:pt x="13" y="32"/>
                    <a:pt x="13" y="32"/>
                    <a:pt x="127" y="32"/>
                  </a:cubicBezTo>
                  <a:cubicBezTo>
                    <a:pt x="134" y="32"/>
                    <a:pt x="140" y="26"/>
                    <a:pt x="140" y="18"/>
                  </a:cubicBezTo>
                  <a:cubicBezTo>
                    <a:pt x="140" y="18"/>
                    <a:pt x="140" y="18"/>
                    <a:pt x="140" y="15"/>
                  </a:cubicBezTo>
                  <a:cubicBezTo>
                    <a:pt x="140" y="7"/>
                    <a:pt x="145" y="0"/>
                    <a:pt x="152" y="0"/>
                  </a:cubicBezTo>
                  <a:cubicBezTo>
                    <a:pt x="152" y="0"/>
                    <a:pt x="152" y="0"/>
                    <a:pt x="256" y="0"/>
                  </a:cubicBezTo>
                  <a:cubicBezTo>
                    <a:pt x="263" y="0"/>
                    <a:pt x="268" y="7"/>
                    <a:pt x="268" y="15"/>
                  </a:cubicBezTo>
                  <a:cubicBezTo>
                    <a:pt x="268" y="15"/>
                    <a:pt x="268" y="15"/>
                    <a:pt x="268" y="18"/>
                  </a:cubicBezTo>
                  <a:cubicBezTo>
                    <a:pt x="268" y="26"/>
                    <a:pt x="271" y="32"/>
                    <a:pt x="275" y="32"/>
                  </a:cubicBezTo>
                  <a:cubicBezTo>
                    <a:pt x="279" y="32"/>
                    <a:pt x="282" y="39"/>
                    <a:pt x="282" y="47"/>
                  </a:cubicBezTo>
                  <a:cubicBezTo>
                    <a:pt x="282" y="47"/>
                    <a:pt x="282" y="51"/>
                    <a:pt x="282" y="69"/>
                  </a:cubicBezTo>
                  <a:cubicBezTo>
                    <a:pt x="282" y="69"/>
                    <a:pt x="282" y="69"/>
                    <a:pt x="34" y="49"/>
                  </a:cubicBezTo>
                  <a:cubicBezTo>
                    <a:pt x="28" y="48"/>
                    <a:pt x="22" y="51"/>
                    <a:pt x="21" y="59"/>
                  </a:cubicBezTo>
                  <a:cubicBezTo>
                    <a:pt x="21" y="59"/>
                    <a:pt x="21" y="59"/>
                    <a:pt x="11" y="238"/>
                  </a:cubicBezTo>
                  <a:close/>
                  <a:moveTo>
                    <a:pt x="265" y="241"/>
                  </a:moveTo>
                  <a:cubicBezTo>
                    <a:pt x="270" y="241"/>
                    <a:pt x="274" y="236"/>
                    <a:pt x="274" y="230"/>
                  </a:cubicBezTo>
                  <a:cubicBezTo>
                    <a:pt x="274" y="230"/>
                    <a:pt x="274" y="230"/>
                    <a:pt x="274" y="230"/>
                  </a:cubicBezTo>
                  <a:cubicBezTo>
                    <a:pt x="274" y="230"/>
                    <a:pt x="274" y="230"/>
                    <a:pt x="274" y="230"/>
                  </a:cubicBezTo>
                  <a:cubicBezTo>
                    <a:pt x="274" y="230"/>
                    <a:pt x="274" y="230"/>
                    <a:pt x="282" y="79"/>
                  </a:cubicBezTo>
                  <a:cubicBezTo>
                    <a:pt x="283" y="74"/>
                    <a:pt x="280" y="70"/>
                    <a:pt x="277" y="68"/>
                  </a:cubicBezTo>
                  <a:cubicBezTo>
                    <a:pt x="277" y="68"/>
                    <a:pt x="277" y="68"/>
                    <a:pt x="29" y="47"/>
                  </a:cubicBezTo>
                  <a:cubicBezTo>
                    <a:pt x="29" y="47"/>
                    <a:pt x="28" y="47"/>
                    <a:pt x="28" y="47"/>
                  </a:cubicBezTo>
                  <a:cubicBezTo>
                    <a:pt x="24" y="47"/>
                    <a:pt x="19" y="52"/>
                    <a:pt x="19" y="58"/>
                  </a:cubicBezTo>
                  <a:cubicBezTo>
                    <a:pt x="19" y="58"/>
                    <a:pt x="19" y="58"/>
                    <a:pt x="9" y="241"/>
                  </a:cubicBezTo>
                  <a:cubicBezTo>
                    <a:pt x="9" y="241"/>
                    <a:pt x="9" y="241"/>
                    <a:pt x="265" y="241"/>
                  </a:cubicBezTo>
                  <a:close/>
                </a:path>
              </a:pathLst>
            </a:custGeom>
            <a:solidFill>
              <a:schemeClr val="tx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GB" kern="0">
                <a:solidFill>
                  <a:prstClr val="black"/>
                </a:solidFill>
              </a:endParaRPr>
            </a:p>
          </p:txBody>
        </p:sp>
      </p:grpSp>
    </p:spTree>
    <p:extLst>
      <p:ext uri="{BB962C8B-B14F-4D97-AF65-F5344CB8AC3E}">
        <p14:creationId xmlns:p14="http://schemas.microsoft.com/office/powerpoint/2010/main" val="2304770993"/>
      </p:ext>
    </p:extLst>
  </p:cSld>
  <p:clrMapOvr>
    <a:masterClrMapping/>
  </p:clrMapOvr>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392" y="365125"/>
            <a:ext cx="11722608" cy="1325563"/>
          </a:xfrm>
        </p:spPr>
        <p:txBody>
          <a:bodyPr>
            <a:normAutofit fontScale="90000"/>
          </a:bodyPr>
          <a:lstStyle/>
          <a:p>
            <a:r>
              <a:rPr lang="en-US" b="1" u="sng" dirty="0">
                <a:effectLst>
                  <a:outerShdw blurRad="38100" dist="38100" dir="2700000" algn="tl">
                    <a:srgbClr val="000000">
                      <a:alpha val="43137"/>
                    </a:srgbClr>
                  </a:outerShdw>
                </a:effectLst>
              </a:rPr>
              <a:t>Considerations for Virtualized DCs Running in Microsoft Azure </a:t>
            </a:r>
            <a:r>
              <a:rPr lang="en-US" b="1" u="sng" dirty="0" smtClean="0">
                <a:effectLst>
                  <a:outerShdw blurRad="38100" dist="38100" dir="2700000" algn="tl">
                    <a:srgbClr val="000000">
                      <a:alpha val="43137"/>
                    </a:srgbClr>
                  </a:outerShdw>
                </a:effectLst>
              </a:rPr>
              <a:t>IAAS</a:t>
            </a:r>
            <a:br>
              <a:rPr lang="en-US" b="1" u="sng" dirty="0" smtClean="0">
                <a:effectLst>
                  <a:outerShdw blurRad="38100" dist="38100" dir="2700000" algn="tl">
                    <a:srgbClr val="000000">
                      <a:alpha val="43137"/>
                    </a:srgbClr>
                  </a:outerShdw>
                </a:effectLst>
              </a:rPr>
            </a:br>
            <a:endParaRPr lang="en-US" b="1" u="sng"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469392" y="1985772"/>
            <a:ext cx="11253216" cy="4872228"/>
          </a:xfrm>
        </p:spPr>
        <p:txBody>
          <a:bodyPr>
            <a:normAutofit/>
          </a:bodyPr>
          <a:lstStyle/>
          <a:p>
            <a:r>
              <a:rPr lang="en-US" sz="2400" dirty="0"/>
              <a:t>A Virtual Machine (VM) can use either a static or dynamic IP address</a:t>
            </a:r>
          </a:p>
          <a:p>
            <a:pPr lvl="1"/>
            <a:r>
              <a:rPr lang="en-US" sz="2000" dirty="0" err="1"/>
              <a:t>DCPromo</a:t>
            </a:r>
            <a:r>
              <a:rPr lang="en-US" sz="2000" dirty="0"/>
              <a:t> will “complain” about the dynamic IP, but the warning can be discarded</a:t>
            </a:r>
          </a:p>
          <a:p>
            <a:pPr lvl="1"/>
            <a:endParaRPr lang="en-US" sz="2000" dirty="0"/>
          </a:p>
          <a:p>
            <a:r>
              <a:rPr lang="en-US" sz="2400" dirty="0"/>
              <a:t>Virtual Private Network (VPN) connectivity to the on-premises network might be required</a:t>
            </a:r>
          </a:p>
          <a:p>
            <a:pPr lvl="1"/>
            <a:r>
              <a:rPr lang="en-US" sz="2000" dirty="0"/>
              <a:t>Depends on whether a new forest or existing forest is used</a:t>
            </a:r>
          </a:p>
        </p:txBody>
      </p:sp>
    </p:spTree>
    <p:extLst>
      <p:ext uri="{BB962C8B-B14F-4D97-AF65-F5344CB8AC3E}">
        <p14:creationId xmlns:p14="http://schemas.microsoft.com/office/powerpoint/2010/main" val="222809821"/>
      </p:ext>
    </p:extLst>
  </p:cSld>
  <p:clrMapOvr>
    <a:masterClrMapping/>
  </p:clrMapOvr>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9392" y="365125"/>
            <a:ext cx="11253216" cy="1325563"/>
          </a:xfrm>
        </p:spPr>
        <p:txBody>
          <a:bodyPr/>
          <a:lstStyle/>
          <a:p>
            <a:r>
              <a:rPr lang="en-US" b="1" u="sng" dirty="0">
                <a:effectLst>
                  <a:outerShdw blurRad="38100" dist="38100" dir="2700000" algn="tl">
                    <a:srgbClr val="000000">
                      <a:alpha val="43137"/>
                    </a:srgbClr>
                  </a:outerShdw>
                </a:effectLst>
              </a:rPr>
              <a:t>Possible Scenarios for AD in Microsoft Azure </a:t>
            </a:r>
            <a:r>
              <a:rPr lang="en-US" b="1" u="sng" dirty="0" smtClean="0">
                <a:effectLst>
                  <a:outerShdw blurRad="38100" dist="38100" dir="2700000" algn="tl">
                    <a:srgbClr val="000000">
                      <a:alpha val="43137"/>
                    </a:srgbClr>
                  </a:outerShdw>
                </a:effectLst>
              </a:rPr>
              <a:t>IAAS</a:t>
            </a:r>
            <a:endParaRPr lang="en-US" b="1" u="sng" dirty="0">
              <a:effectLst>
                <a:outerShdw blurRad="38100" dist="38100" dir="2700000" algn="tl">
                  <a:srgbClr val="000000">
                    <a:alpha val="43137"/>
                  </a:srgbClr>
                </a:outerShdw>
              </a:effectLst>
            </a:endParaRPr>
          </a:p>
        </p:txBody>
      </p:sp>
      <p:sp>
        <p:nvSpPr>
          <p:cNvPr id="11" name="Content Placeholder 10"/>
          <p:cNvSpPr>
            <a:spLocks noGrp="1"/>
          </p:cNvSpPr>
          <p:nvPr>
            <p:ph idx="1"/>
          </p:nvPr>
        </p:nvSpPr>
        <p:spPr>
          <a:xfrm>
            <a:off x="469392" y="1690688"/>
            <a:ext cx="11253216" cy="4803648"/>
          </a:xfrm>
        </p:spPr>
        <p:txBody>
          <a:bodyPr>
            <a:normAutofit/>
          </a:bodyPr>
          <a:lstStyle/>
          <a:p>
            <a:pPr marL="0" indent="0">
              <a:buNone/>
            </a:pPr>
            <a:r>
              <a:rPr lang="en-US" sz="2400" dirty="0" smtClean="0"/>
              <a:t>	</a:t>
            </a:r>
            <a:r>
              <a:rPr lang="en-US" sz="2400" b="1" dirty="0" smtClean="0"/>
              <a:t>New </a:t>
            </a:r>
            <a:r>
              <a:rPr lang="en-US" sz="2400" b="1" dirty="0"/>
              <a:t>AD forest fully contained in Microsoft Azure</a:t>
            </a:r>
          </a:p>
          <a:p>
            <a:pPr lvl="1"/>
            <a:r>
              <a:rPr lang="en-US" sz="2000" dirty="0"/>
              <a:t>No on-premises connectivity required</a:t>
            </a:r>
          </a:p>
          <a:p>
            <a:pPr lvl="1"/>
            <a:r>
              <a:rPr lang="en-US" sz="2000" dirty="0"/>
              <a:t>Used for applications that require Active Directory Domain Services (AD DS) without dependencies on corporate resources</a:t>
            </a:r>
          </a:p>
          <a:p>
            <a:pPr lvl="1"/>
            <a:r>
              <a:rPr lang="en-US" sz="2000" dirty="0"/>
              <a:t>No Single Sign On (SSO) with corporate credentials</a:t>
            </a:r>
          </a:p>
          <a:p>
            <a:pPr lvl="1"/>
            <a:r>
              <a:rPr lang="en-US" sz="2000" dirty="0"/>
              <a:t>Minimum to no egress traffic related to AD DS</a:t>
            </a:r>
          </a:p>
          <a:p>
            <a:pPr marL="0" indent="0">
              <a:buNone/>
            </a:pPr>
            <a:r>
              <a:rPr lang="en-US" sz="2400" dirty="0" smtClean="0"/>
              <a:t>	</a:t>
            </a:r>
            <a:r>
              <a:rPr lang="en-US" sz="2400" b="1" dirty="0" smtClean="0"/>
              <a:t>Extension </a:t>
            </a:r>
            <a:r>
              <a:rPr lang="en-US" sz="2400" b="1" dirty="0"/>
              <a:t>of the on-premises AD DS deployment in Microsoft Azure</a:t>
            </a:r>
          </a:p>
          <a:p>
            <a:pPr lvl="1"/>
            <a:r>
              <a:rPr lang="en-US" sz="2000" dirty="0"/>
              <a:t>Can be replica DCs of an existing domain in the corporate forest or a new domain in the corporate forest</a:t>
            </a:r>
          </a:p>
          <a:p>
            <a:pPr lvl="1"/>
            <a:r>
              <a:rPr lang="en-US" sz="2000" dirty="0"/>
              <a:t>Applications can access corporate directory data</a:t>
            </a:r>
          </a:p>
          <a:p>
            <a:pPr lvl="1"/>
            <a:r>
              <a:rPr lang="en-US" sz="2000" dirty="0"/>
              <a:t>Requires VPN connectivity to the corporate network</a:t>
            </a:r>
          </a:p>
          <a:p>
            <a:pPr lvl="1"/>
            <a:r>
              <a:rPr lang="en-US" sz="2000" dirty="0"/>
              <a:t>Provides SSO with corporate credentials</a:t>
            </a:r>
          </a:p>
        </p:txBody>
      </p:sp>
    </p:spTree>
    <p:extLst>
      <p:ext uri="{BB962C8B-B14F-4D97-AF65-F5344CB8AC3E}">
        <p14:creationId xmlns:p14="http://schemas.microsoft.com/office/powerpoint/2010/main" val="3151516900"/>
      </p:ext>
    </p:extLst>
  </p:cSld>
  <p:clrMapOvr>
    <a:masterClrMapping/>
  </p:clrMapOvr>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u="sng" dirty="0">
                <a:effectLst>
                  <a:outerShdw blurRad="38100" dist="38100" dir="2700000" algn="tl">
                    <a:srgbClr val="000000">
                      <a:alpha val="43137"/>
                    </a:srgbClr>
                  </a:outerShdw>
                </a:effectLst>
              </a:rPr>
              <a:t>Design Considerations for Traffic and Costs</a:t>
            </a:r>
          </a:p>
        </p:txBody>
      </p:sp>
      <p:sp>
        <p:nvSpPr>
          <p:cNvPr id="3" name="Content Placeholder 2"/>
          <p:cNvSpPr>
            <a:spLocks noGrp="1"/>
          </p:cNvSpPr>
          <p:nvPr>
            <p:ph idx="1"/>
          </p:nvPr>
        </p:nvSpPr>
        <p:spPr/>
        <p:txBody>
          <a:bodyPr>
            <a:noAutofit/>
          </a:bodyPr>
          <a:lstStyle/>
          <a:p>
            <a:r>
              <a:rPr lang="en-US" sz="2400" dirty="0"/>
              <a:t>Design should:</a:t>
            </a:r>
          </a:p>
          <a:p>
            <a:pPr lvl="1"/>
            <a:r>
              <a:rPr lang="en-US" sz="2000" dirty="0"/>
              <a:t>Try to minimize egress (outgoing) traffic</a:t>
            </a:r>
          </a:p>
          <a:p>
            <a:pPr lvl="2"/>
            <a:r>
              <a:rPr lang="en-US" sz="1800" dirty="0"/>
              <a:t>Microsoft Azure charges for egress traffic, not ingress traffic</a:t>
            </a:r>
          </a:p>
          <a:p>
            <a:pPr lvl="1"/>
            <a:r>
              <a:rPr lang="en-US" sz="2000" dirty="0"/>
              <a:t>Consider that Microsoft Azure </a:t>
            </a:r>
            <a:r>
              <a:rPr lang="en-US" sz="2000" b="1" dirty="0"/>
              <a:t>does</a:t>
            </a:r>
            <a:r>
              <a:rPr lang="en-US" sz="2000" dirty="0"/>
              <a:t> provide communication between different virtual networks</a:t>
            </a:r>
          </a:p>
          <a:p>
            <a:r>
              <a:rPr lang="en-US" sz="2400" dirty="0"/>
              <a:t>Common AD physical design concepts, such as sites, subnets, site links costs and intervals, still apply</a:t>
            </a:r>
          </a:p>
          <a:p>
            <a:pPr lvl="1"/>
            <a:r>
              <a:rPr lang="en-US" sz="2000" dirty="0"/>
              <a:t>The DCs in Microsoft Azure should be part of a new site</a:t>
            </a:r>
          </a:p>
          <a:p>
            <a:pPr lvl="1"/>
            <a:r>
              <a:rPr lang="en-US" sz="2000" dirty="0"/>
              <a:t>Subnets should be created and linked to the site that includes the subnets defined in the virtual network</a:t>
            </a:r>
          </a:p>
          <a:p>
            <a:pPr lvl="1"/>
            <a:r>
              <a:rPr lang="en-US" sz="2000" dirty="0"/>
              <a:t>It is a best practice to create this network configuration before DCs are added to Microsoft Azure</a:t>
            </a:r>
          </a:p>
          <a:p>
            <a:endParaRPr lang="en-US" sz="2400" dirty="0"/>
          </a:p>
          <a:p>
            <a:endParaRPr lang="en-US" sz="2400" dirty="0"/>
          </a:p>
          <a:p>
            <a:endParaRPr lang="en-US" sz="2400" dirty="0"/>
          </a:p>
        </p:txBody>
      </p:sp>
    </p:spTree>
    <p:extLst>
      <p:ext uri="{BB962C8B-B14F-4D97-AF65-F5344CB8AC3E}">
        <p14:creationId xmlns:p14="http://schemas.microsoft.com/office/powerpoint/2010/main" val="815800753"/>
      </p:ext>
    </p:extLst>
  </p:cSld>
  <p:clrMapOvr>
    <a:masterClrMapping/>
  </p:clrMapOvr>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u="sng" dirty="0">
                <a:effectLst>
                  <a:outerShdw blurRad="38100" dist="38100" dir="2700000" algn="tl">
                    <a:srgbClr val="000000">
                      <a:alpha val="43137"/>
                    </a:srgbClr>
                  </a:outerShdw>
                </a:effectLst>
              </a:rPr>
              <a:t>Design Considerations for Traffic and Costs (continued)</a:t>
            </a:r>
          </a:p>
        </p:txBody>
      </p:sp>
      <p:sp>
        <p:nvSpPr>
          <p:cNvPr id="3" name="Content Placeholder 2"/>
          <p:cNvSpPr>
            <a:spLocks noGrp="1"/>
          </p:cNvSpPr>
          <p:nvPr>
            <p:ph idx="1"/>
          </p:nvPr>
        </p:nvSpPr>
        <p:spPr>
          <a:xfrm>
            <a:off x="469392" y="1525306"/>
            <a:ext cx="11253216" cy="4689348"/>
          </a:xfrm>
        </p:spPr>
        <p:txBody>
          <a:bodyPr>
            <a:normAutofit/>
          </a:bodyPr>
          <a:lstStyle/>
          <a:p>
            <a:r>
              <a:rPr lang="en-US" sz="2400" dirty="0"/>
              <a:t>Site link cost from the on-premises site to the Microsoft Azure site should be high enough to prevent on-premises clients from going to the Microsoft Azure site as a failback</a:t>
            </a:r>
          </a:p>
          <a:p>
            <a:pPr lvl="1"/>
            <a:r>
              <a:rPr lang="en-US" sz="2000" dirty="0"/>
              <a:t>Also, any </a:t>
            </a:r>
            <a:r>
              <a:rPr lang="en-US" sz="2000" i="1" dirty="0"/>
              <a:t>next closest site</a:t>
            </a:r>
            <a:r>
              <a:rPr lang="en-US" sz="2000" dirty="0"/>
              <a:t> DC Locator from the on-premises clients should avoid using the site in Microsoft Azure</a:t>
            </a:r>
          </a:p>
          <a:p>
            <a:pPr lvl="1"/>
            <a:r>
              <a:rPr lang="en-US" sz="2000" dirty="0"/>
              <a:t>DCs in Microsoft Azure should not be used as a lag site</a:t>
            </a:r>
          </a:p>
          <a:p>
            <a:r>
              <a:rPr lang="en-US" sz="2400" dirty="0"/>
              <a:t>Replication should be as infrequent as possible</a:t>
            </a:r>
          </a:p>
          <a:p>
            <a:pPr lvl="1"/>
            <a:r>
              <a:rPr lang="en-US" sz="2000" dirty="0"/>
              <a:t>Do not use change notifications in the site link to the Microsoft Azure site</a:t>
            </a:r>
          </a:p>
          <a:p>
            <a:r>
              <a:rPr lang="en-US" sz="2400" dirty="0"/>
              <a:t>If possible, use more “aggressive” compression algorithms of the replication traffic</a:t>
            </a:r>
          </a:p>
        </p:txBody>
      </p:sp>
    </p:spTree>
    <p:extLst>
      <p:ext uri="{BB962C8B-B14F-4D97-AF65-F5344CB8AC3E}">
        <p14:creationId xmlns:p14="http://schemas.microsoft.com/office/powerpoint/2010/main" val="4224525512"/>
      </p:ext>
    </p:extLst>
  </p:cSld>
  <p:clrMapOvr>
    <a:masterClrMapping/>
  </p:clrMapOvr>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44296" y="0"/>
            <a:ext cx="10515600" cy="1325563"/>
          </a:xfrm>
        </p:spPr>
        <p:txBody>
          <a:bodyPr>
            <a:normAutofit/>
          </a:bodyPr>
          <a:lstStyle/>
          <a:p>
            <a:r>
              <a:rPr lang="en-GB" sz="3600" b="1" u="sng" dirty="0" smtClean="0">
                <a:effectLst>
                  <a:outerShdw blurRad="38100" dist="38100" dir="2700000" algn="tl">
                    <a:srgbClr val="000000">
                      <a:alpha val="43137"/>
                    </a:srgbClr>
                  </a:outerShdw>
                </a:effectLst>
              </a:rPr>
              <a:t>Introduction Azure Active Directory </a:t>
            </a:r>
            <a:endParaRPr lang="en-GB" sz="3600" b="1" u="sng" dirty="0">
              <a:effectLst>
                <a:outerShdw blurRad="38100" dist="38100" dir="2700000" algn="tl">
                  <a:srgbClr val="000000">
                    <a:alpha val="43137"/>
                  </a:srgbClr>
                </a:outerShdw>
              </a:effectLst>
            </a:endParaRPr>
          </a:p>
        </p:txBody>
      </p:sp>
      <p:sp>
        <p:nvSpPr>
          <p:cNvPr id="6" name="Content Placeholder 5"/>
          <p:cNvSpPr>
            <a:spLocks noGrp="1"/>
          </p:cNvSpPr>
          <p:nvPr>
            <p:ph idx="1"/>
          </p:nvPr>
        </p:nvSpPr>
        <p:spPr>
          <a:xfrm>
            <a:off x="475488" y="911352"/>
            <a:ext cx="11253216" cy="4963668"/>
          </a:xfrm>
        </p:spPr>
        <p:txBody>
          <a:bodyPr>
            <a:normAutofit/>
          </a:bodyPr>
          <a:lstStyle/>
          <a:p>
            <a:endParaRPr lang="en-US" sz="2400" dirty="0" smtClean="0"/>
          </a:p>
          <a:p>
            <a:pPr lvl="1" indent="-342900">
              <a:buNone/>
            </a:pPr>
            <a:r>
              <a:rPr lang="en-GB" sz="3200" dirty="0" smtClean="0"/>
              <a:t>		What </a:t>
            </a:r>
            <a:r>
              <a:rPr lang="en-GB" sz="3200" dirty="0"/>
              <a:t>Microsoft Azure AD is Not</a:t>
            </a:r>
            <a:endParaRPr lang="en-US" sz="3200" dirty="0"/>
          </a:p>
          <a:p>
            <a:endParaRPr lang="en-US" sz="2400" dirty="0" smtClean="0"/>
          </a:p>
          <a:p>
            <a:r>
              <a:rPr lang="en-US" sz="2400" dirty="0" smtClean="0"/>
              <a:t>Windows </a:t>
            </a:r>
            <a:r>
              <a:rPr lang="en-US" sz="2400" dirty="0"/>
              <a:t>Server AD in Microsoft Azure is </a:t>
            </a:r>
            <a:r>
              <a:rPr lang="en-US" sz="2400" i="1" dirty="0"/>
              <a:t>not</a:t>
            </a:r>
            <a:r>
              <a:rPr lang="en-US" sz="2400" dirty="0"/>
              <a:t> Microsoft Azure AD!</a:t>
            </a:r>
          </a:p>
          <a:p>
            <a:pPr lvl="1"/>
            <a:r>
              <a:rPr lang="en-US" sz="2000" dirty="0"/>
              <a:t>Microsoft Azure AD is </a:t>
            </a:r>
            <a:r>
              <a:rPr lang="en-US" sz="2000" i="1" dirty="0"/>
              <a:t>not</a:t>
            </a:r>
            <a:r>
              <a:rPr lang="en-US" sz="2000" dirty="0"/>
              <a:t> AD deployed and used in Microsoft Azure Virtual Machine</a:t>
            </a:r>
          </a:p>
          <a:p>
            <a:pPr lvl="1"/>
            <a:r>
              <a:rPr lang="en-US" sz="2000" dirty="0"/>
              <a:t>If you need AD in Microsoft Azure Virtual Machine, then refer to the previous section of this module</a:t>
            </a:r>
            <a:endParaRPr lang="en-US" sz="2400" dirty="0"/>
          </a:p>
        </p:txBody>
      </p:sp>
    </p:spTree>
    <p:extLst>
      <p:ext uri="{BB962C8B-B14F-4D97-AF65-F5344CB8AC3E}">
        <p14:creationId xmlns:p14="http://schemas.microsoft.com/office/powerpoint/2010/main" val="3900421220"/>
      </p:ext>
    </p:extLst>
  </p:cSld>
  <p:clrMapOvr>
    <a:masterClrMapping/>
  </p:clrMapOvr>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ctive Directory</a:t>
            </a:r>
          </a:p>
        </p:txBody>
      </p:sp>
      <p:grpSp>
        <p:nvGrpSpPr>
          <p:cNvPr id="5" name="Group 4"/>
          <p:cNvGrpSpPr/>
          <p:nvPr/>
        </p:nvGrpSpPr>
        <p:grpSpPr>
          <a:xfrm>
            <a:off x="8599447" y="925502"/>
            <a:ext cx="2548807" cy="1198834"/>
            <a:chOff x="7765686" y="1436767"/>
            <a:chExt cx="2548807" cy="1198834"/>
          </a:xfrm>
        </p:grpSpPr>
        <p:sp>
          <p:nvSpPr>
            <p:cNvPr id="6" name="Freeform 5"/>
            <p:cNvSpPr>
              <a:spLocks noChangeAspect="1"/>
            </p:cNvSpPr>
            <p:nvPr/>
          </p:nvSpPr>
          <p:spPr bwMode="auto">
            <a:xfrm>
              <a:off x="7765686" y="1436767"/>
              <a:ext cx="2548807" cy="1198834"/>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noFill/>
            <a:ln w="19050" cap="flat" cmpd="sng" algn="ctr">
              <a:solidFill>
                <a:schemeClr val="tx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kern="0" dirty="0">
                <a:solidFill>
                  <a:prstClr val="black"/>
                </a:solidFill>
                <a:latin typeface="Segoe" pitchFamily="34" charset="0"/>
              </a:endParaRPr>
            </a:p>
          </p:txBody>
        </p:sp>
        <p:sp>
          <p:nvSpPr>
            <p:cNvPr id="7" name="Rectangle 6"/>
            <p:cNvSpPr/>
            <p:nvPr/>
          </p:nvSpPr>
          <p:spPr>
            <a:xfrm>
              <a:off x="8165568" y="2200678"/>
              <a:ext cx="728528" cy="193899"/>
            </a:xfrm>
            <a:prstGeom prst="rect">
              <a:avLst/>
            </a:prstGeom>
          </p:spPr>
          <p:txBody>
            <a:bodyPr wrap="square" lIns="0" tIns="0" rIns="0" bIns="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096691" fontAlgn="base">
                <a:lnSpc>
                  <a:spcPct val="90000"/>
                </a:lnSpc>
                <a:spcAft>
                  <a:spcPct val="0"/>
                </a:spcAft>
              </a:pPr>
              <a:r>
                <a:rPr lang="en-US" sz="1400" dirty="0">
                  <a:ln>
                    <a:solidFill>
                      <a:srgbClr val="FFFFFF">
                        <a:alpha val="0"/>
                      </a:srgbClr>
                    </a:solidFill>
                  </a:ln>
                  <a:solidFill>
                    <a:prstClr val="black"/>
                  </a:solidFill>
                </a:rPr>
                <a:t>Your Apps</a:t>
              </a:r>
            </a:p>
          </p:txBody>
        </p:sp>
      </p:grpSp>
      <p:sp>
        <p:nvSpPr>
          <p:cNvPr id="8" name="Rectangle 7"/>
          <p:cNvSpPr/>
          <p:nvPr/>
        </p:nvSpPr>
        <p:spPr>
          <a:xfrm>
            <a:off x="8251593" y="3051964"/>
            <a:ext cx="3858280" cy="959409"/>
          </a:xfrm>
          <a:prstGeom prst="rect">
            <a:avLst/>
          </a:prstGeom>
        </p:spPr>
        <p:txBody>
          <a:bodyPr wrap="square" lIns="182828" tIns="146262" rIns="182828" bIns="146262">
            <a:spAutoFit/>
          </a:bodyPr>
          <a:lstStyle/>
          <a:p>
            <a:pPr defTabSz="913748" fontAlgn="base">
              <a:lnSpc>
                <a:spcPct val="90000"/>
              </a:lnSpc>
              <a:spcBef>
                <a:spcPts val="600"/>
              </a:spcBef>
              <a:spcAft>
                <a:spcPct val="0"/>
              </a:spcAft>
              <a:defRPr/>
            </a:pPr>
            <a:r>
              <a:rPr lang="en-US" sz="1598" spc="-30" dirty="0">
                <a:solidFill>
                  <a:prstClr val="black"/>
                </a:solidFill>
              </a:rPr>
              <a:t>Choose among hundreds of popular SaaS apps from a pre-populated application gallery.</a:t>
            </a:r>
          </a:p>
        </p:txBody>
      </p:sp>
      <p:sp>
        <p:nvSpPr>
          <p:cNvPr id="9" name="Rectangle 8"/>
          <p:cNvSpPr/>
          <p:nvPr/>
        </p:nvSpPr>
        <p:spPr>
          <a:xfrm>
            <a:off x="6997661" y="428908"/>
            <a:ext cx="4295279" cy="738066"/>
          </a:xfrm>
          <a:prstGeom prst="rect">
            <a:avLst/>
          </a:prstGeom>
        </p:spPr>
        <p:txBody>
          <a:bodyPr wrap="square" lIns="182828" tIns="146262" rIns="182828" bIns="146262">
            <a:spAutoFit/>
          </a:bodyPr>
          <a:lstStyle/>
          <a:p>
            <a:pPr defTabSz="913748" fontAlgn="base">
              <a:lnSpc>
                <a:spcPct val="90000"/>
              </a:lnSpc>
              <a:spcBef>
                <a:spcPts val="600"/>
              </a:spcBef>
              <a:spcAft>
                <a:spcPct val="0"/>
              </a:spcAft>
              <a:defRPr/>
            </a:pPr>
            <a:r>
              <a:rPr lang="en-US" sz="1598" spc="-30" dirty="0">
                <a:solidFill>
                  <a:prstClr val="black"/>
                </a:solidFill>
              </a:rPr>
              <a:t>Easily add custom cloud-based apps. Facilitate developers with identity management.</a:t>
            </a:r>
          </a:p>
        </p:txBody>
      </p:sp>
      <p:sp>
        <p:nvSpPr>
          <p:cNvPr id="10" name="Rectangle 9"/>
          <p:cNvSpPr/>
          <p:nvPr/>
        </p:nvSpPr>
        <p:spPr>
          <a:xfrm>
            <a:off x="594390" y="5652388"/>
            <a:ext cx="4866953" cy="1181777"/>
          </a:xfrm>
          <a:prstGeom prst="rect">
            <a:avLst/>
          </a:prstGeom>
        </p:spPr>
        <p:txBody>
          <a:bodyPr wrap="square" lIns="182828" tIns="146262" rIns="182828" bIns="146262">
            <a:spAutoFit/>
          </a:bodyPr>
          <a:lstStyle/>
          <a:p>
            <a:pPr defTabSz="895919" fontAlgn="base">
              <a:lnSpc>
                <a:spcPct val="90000"/>
              </a:lnSpc>
              <a:spcBef>
                <a:spcPts val="588"/>
              </a:spcBef>
              <a:spcAft>
                <a:spcPct val="0"/>
              </a:spcAft>
              <a:defRPr/>
            </a:pPr>
            <a:r>
              <a:rPr lang="en-US" sz="1600" kern="0" spc="-29" dirty="0">
                <a:solidFill>
                  <a:prstClr val="black"/>
                </a:solidFill>
              </a:rPr>
              <a:t>Comprehensive cloud based identity and access management combining directory services, identity governance, application access management and a developer’s identity management platform</a:t>
            </a:r>
          </a:p>
        </p:txBody>
      </p:sp>
      <p:cxnSp>
        <p:nvCxnSpPr>
          <p:cNvPr id="11" name="Straight Arrow Connector 10"/>
          <p:cNvCxnSpPr/>
          <p:nvPr/>
        </p:nvCxnSpPr>
        <p:spPr>
          <a:xfrm flipH="1" flipV="1">
            <a:off x="2365735" y="3734506"/>
            <a:ext cx="1232275" cy="2618"/>
          </a:xfrm>
          <a:prstGeom prst="straightConnector1">
            <a:avLst/>
          </a:prstGeom>
          <a:ln w="25400" cap="rnd" cmpd="sng">
            <a:solidFill>
              <a:schemeClr val="tx1"/>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H="1" flipV="1">
            <a:off x="7042481" y="3766506"/>
            <a:ext cx="1342458" cy="906428"/>
          </a:xfrm>
          <a:prstGeom prst="straightConnector1">
            <a:avLst/>
          </a:prstGeom>
          <a:ln w="25400" cap="rnd" cmpd="sng">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3425062" y="1953564"/>
            <a:ext cx="3371868" cy="738066"/>
          </a:xfrm>
          <a:prstGeom prst="rect">
            <a:avLst/>
          </a:prstGeom>
        </p:spPr>
        <p:txBody>
          <a:bodyPr wrap="square" lIns="182828" tIns="146262" rIns="182828" bIns="146262">
            <a:spAutoFit/>
          </a:bodyPr>
          <a:lstStyle/>
          <a:p>
            <a:pPr defTabSz="913748" fontAlgn="base">
              <a:lnSpc>
                <a:spcPct val="90000"/>
              </a:lnSpc>
              <a:spcBef>
                <a:spcPts val="600"/>
              </a:spcBef>
              <a:spcAft>
                <a:spcPct val="0"/>
              </a:spcAft>
            </a:pPr>
            <a:r>
              <a:rPr lang="en-US" sz="1598" spc="-30" dirty="0">
                <a:solidFill>
                  <a:prstClr val="black"/>
                </a:solidFill>
              </a:rPr>
              <a:t>Sync identity or provide federated identity for single sign-on</a:t>
            </a:r>
          </a:p>
        </p:txBody>
      </p:sp>
      <p:cxnSp>
        <p:nvCxnSpPr>
          <p:cNvPr id="14" name="Straight Arrow Connector 13"/>
          <p:cNvCxnSpPr/>
          <p:nvPr/>
        </p:nvCxnSpPr>
        <p:spPr>
          <a:xfrm flipH="1">
            <a:off x="7042481" y="2908903"/>
            <a:ext cx="1228294" cy="606399"/>
          </a:xfrm>
          <a:prstGeom prst="straightConnector1">
            <a:avLst/>
          </a:prstGeom>
          <a:ln w="25400" cap="rnd" cmpd="sng">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4103414" y="5045889"/>
            <a:ext cx="3712353" cy="747077"/>
          </a:xfrm>
          <a:prstGeom prst="rect">
            <a:avLst/>
          </a:prstGeom>
        </p:spPr>
        <p:txBody>
          <a:bodyPr wrap="square" lIns="182828" tIns="146262" rIns="182828" bIns="146262">
            <a:spAutoFit/>
          </a:bodyPr>
          <a:lstStyle/>
          <a:p>
            <a:pPr defTabSz="913748" fontAlgn="base">
              <a:lnSpc>
                <a:spcPct val="90000"/>
              </a:lnSpc>
              <a:spcBef>
                <a:spcPts val="600"/>
              </a:spcBef>
              <a:spcAft>
                <a:spcPct val="0"/>
              </a:spcAft>
              <a:defRPr/>
            </a:pPr>
            <a:r>
              <a:rPr lang="en-US" sz="1598" spc="-30" dirty="0">
                <a:solidFill>
                  <a:prstClr val="black"/>
                </a:solidFill>
              </a:rPr>
              <a:t>Add multi-factor authentication for additional user identity verification</a:t>
            </a:r>
          </a:p>
        </p:txBody>
      </p:sp>
      <p:grpSp>
        <p:nvGrpSpPr>
          <p:cNvPr id="16" name="Group 15"/>
          <p:cNvGrpSpPr/>
          <p:nvPr/>
        </p:nvGrpSpPr>
        <p:grpSpPr>
          <a:xfrm>
            <a:off x="8255518" y="1873455"/>
            <a:ext cx="2548807" cy="1198834"/>
            <a:chOff x="7765686" y="1436767"/>
            <a:chExt cx="2548807" cy="1198834"/>
          </a:xfrm>
          <a:noFill/>
        </p:grpSpPr>
        <p:sp>
          <p:nvSpPr>
            <p:cNvPr id="17" name="Freeform 16"/>
            <p:cNvSpPr>
              <a:spLocks noChangeAspect="1"/>
            </p:cNvSpPr>
            <p:nvPr/>
          </p:nvSpPr>
          <p:spPr bwMode="auto">
            <a:xfrm>
              <a:off x="7765686" y="1436767"/>
              <a:ext cx="2548807" cy="1198834"/>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chemeClr val="accent1"/>
            </a:solidFill>
            <a:ln w="19050" cap="flat" cmpd="sng" algn="ctr">
              <a:solidFill>
                <a:schemeClr val="tx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kern="0" dirty="0">
                <a:solidFill>
                  <a:prstClr val="black"/>
                </a:solidFill>
                <a:latin typeface="Segoe" pitchFamily="34" charset="0"/>
              </a:endParaRPr>
            </a:p>
          </p:txBody>
        </p:sp>
        <p:sp>
          <p:nvSpPr>
            <p:cNvPr id="18" name="Rectangle 17"/>
            <p:cNvSpPr/>
            <p:nvPr/>
          </p:nvSpPr>
          <p:spPr>
            <a:xfrm>
              <a:off x="8165568" y="2006779"/>
              <a:ext cx="728528" cy="387798"/>
            </a:xfrm>
            <a:prstGeom prst="rect">
              <a:avLst/>
            </a:prstGeom>
            <a:grpFill/>
            <a:ln>
              <a:noFill/>
            </a:ln>
          </p:spPr>
          <p:txBody>
            <a:bodyPr wrap="square" lIns="0" tIns="0" rIns="0" bIns="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096691" fontAlgn="base">
                <a:lnSpc>
                  <a:spcPct val="90000"/>
                </a:lnSpc>
                <a:spcAft>
                  <a:spcPct val="0"/>
                </a:spcAft>
              </a:pPr>
              <a:r>
                <a:rPr lang="en-US" sz="1400" dirty="0">
                  <a:ln>
                    <a:solidFill>
                      <a:srgbClr val="FFFFFF">
                        <a:alpha val="0"/>
                      </a:srgbClr>
                    </a:solidFill>
                  </a:ln>
                  <a:solidFill>
                    <a:prstClr val="black"/>
                  </a:solidFill>
                </a:rPr>
                <a:t>SaaS Apps</a:t>
              </a:r>
            </a:p>
          </p:txBody>
        </p:sp>
        <p:grpSp>
          <p:nvGrpSpPr>
            <p:cNvPr id="19" name="Group 18"/>
            <p:cNvGrpSpPr/>
            <p:nvPr/>
          </p:nvGrpSpPr>
          <p:grpSpPr>
            <a:xfrm>
              <a:off x="9040089" y="1858128"/>
              <a:ext cx="764507" cy="536449"/>
              <a:chOff x="9270133" y="1815999"/>
              <a:chExt cx="764507" cy="536449"/>
            </a:xfrm>
            <a:grpFill/>
          </p:grpSpPr>
          <p:sp>
            <p:nvSpPr>
              <p:cNvPr id="20" name="Freeform 5"/>
              <p:cNvSpPr>
                <a:spLocks noEditPoints="1"/>
              </p:cNvSpPr>
              <p:nvPr/>
            </p:nvSpPr>
            <p:spPr bwMode="auto">
              <a:xfrm>
                <a:off x="9270133" y="1815999"/>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defTabSz="932503">
                  <a:defRPr/>
                </a:pPr>
                <a:endParaRPr lang="en-US" kern="0">
                  <a:solidFill>
                    <a:prstClr val="black"/>
                  </a:solidFill>
                </a:endParaRPr>
              </a:p>
            </p:txBody>
          </p:sp>
          <p:pic>
            <p:nvPicPr>
              <p:cNvPr id="21" name="Picture 20"/>
              <p:cNvPicPr>
                <a:picLocks noChangeAspect="1"/>
              </p:cNvPicPr>
              <p:nvPr/>
            </p:nvPicPr>
            <p:blipFill rotWithShape="1">
              <a:blip r:embed="rId10" cstate="print">
                <a:extLst>
                  <a:ext uri="{28A0092B-C50C-407E-A947-70E740481C1C}">
                    <a14:useLocalDpi xmlns:a14="http://schemas.microsoft.com/office/drawing/2010/main" val="0"/>
                  </a:ext>
                </a:extLst>
              </a:blip>
              <a:srcRect t="1475" b="1715"/>
              <a:stretch/>
            </p:blipFill>
            <p:spPr>
              <a:xfrm>
                <a:off x="9434517" y="1881072"/>
                <a:ext cx="425042" cy="411480"/>
              </a:xfrm>
              <a:prstGeom prst="rect">
                <a:avLst/>
              </a:prstGeom>
              <a:grpFill/>
              <a:ln>
                <a:solidFill>
                  <a:schemeClr val="tx1"/>
                </a:solidFill>
              </a:ln>
            </p:spPr>
          </p:pic>
        </p:grpSp>
      </p:grpSp>
      <p:grpSp>
        <p:nvGrpSpPr>
          <p:cNvPr id="22" name="Group 21"/>
          <p:cNvGrpSpPr/>
          <p:nvPr/>
        </p:nvGrpSpPr>
        <p:grpSpPr>
          <a:xfrm>
            <a:off x="324947" y="2777778"/>
            <a:ext cx="1904259" cy="1836305"/>
            <a:chOff x="324947" y="2777778"/>
            <a:chExt cx="1904259" cy="1836305"/>
          </a:xfrm>
        </p:grpSpPr>
        <p:sp>
          <p:nvSpPr>
            <p:cNvPr id="23" name="Oval 22"/>
            <p:cNvSpPr>
              <a:spLocks noChangeAspect="1"/>
            </p:cNvSpPr>
            <p:nvPr>
              <p:custDataLst>
                <p:tags r:id="rId7"/>
              </p:custDataLst>
            </p:nvPr>
          </p:nvSpPr>
          <p:spPr bwMode="auto">
            <a:xfrm>
              <a:off x="324947" y="2777778"/>
              <a:ext cx="1904259" cy="1836305"/>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9707" tIns="54854" rIns="109707" bIns="54854" numCol="1" rtlCol="0" anchor="ctr" anchorCtr="0" compatLnSpc="1">
              <a:prstTxWarp prst="textNoShape">
                <a:avLst/>
              </a:prstTxWarp>
            </a:bodyPr>
            <a:lstStyle/>
            <a:p>
              <a:pPr algn="ctr" defTabSz="1096645" fontAlgn="base">
                <a:spcBef>
                  <a:spcPct val="0"/>
                </a:spcBef>
                <a:spcAft>
                  <a:spcPct val="0"/>
                </a:spcAft>
              </a:pPr>
              <a:endParaRPr lang="en-US" sz="2700" dirty="0">
                <a:solidFill>
                  <a:prstClr val="black"/>
                </a:solidFill>
              </a:endParaRPr>
            </a:p>
          </p:txBody>
        </p:sp>
        <p:grpSp>
          <p:nvGrpSpPr>
            <p:cNvPr id="24" name="Group 23"/>
            <p:cNvGrpSpPr/>
            <p:nvPr/>
          </p:nvGrpSpPr>
          <p:grpSpPr>
            <a:xfrm>
              <a:off x="401302" y="3021438"/>
              <a:ext cx="1695153" cy="1183989"/>
              <a:chOff x="8588936" y="2621591"/>
              <a:chExt cx="1695153" cy="1183989"/>
            </a:xfrm>
          </p:grpSpPr>
          <p:grpSp>
            <p:nvGrpSpPr>
              <p:cNvPr id="25" name="Group 24"/>
              <p:cNvGrpSpPr/>
              <p:nvPr/>
            </p:nvGrpSpPr>
            <p:grpSpPr>
              <a:xfrm>
                <a:off x="8588936" y="2621591"/>
                <a:ext cx="1695153" cy="1054177"/>
                <a:chOff x="4180433" y="3009950"/>
                <a:chExt cx="1695153" cy="1054177"/>
              </a:xfrm>
            </p:grpSpPr>
            <p:pic>
              <p:nvPicPr>
                <p:cNvPr id="27" name="Picture 2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180433" y="3665675"/>
                  <a:ext cx="1695153" cy="398452"/>
                </a:xfrm>
                <a:prstGeom prst="rect">
                  <a:avLst/>
                </a:prstGeom>
              </p:spPr>
            </p:pic>
            <p:pic>
              <p:nvPicPr>
                <p:cNvPr id="28" name="Picture 2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25105" y="3009950"/>
                  <a:ext cx="1044032" cy="690827"/>
                </a:xfrm>
                <a:prstGeom prst="rect">
                  <a:avLst/>
                </a:prstGeom>
              </p:spPr>
            </p:pic>
          </p:grpSp>
          <p:sp>
            <p:nvSpPr>
              <p:cNvPr id="26" name="Rectangle 25"/>
              <p:cNvSpPr/>
              <p:nvPr/>
            </p:nvSpPr>
            <p:spPr>
              <a:xfrm>
                <a:off x="8955567" y="3590136"/>
                <a:ext cx="1304002" cy="215444"/>
              </a:xfrm>
              <a:prstGeom prst="rect">
                <a:avLst/>
              </a:prstGeom>
              <a:ln>
                <a:noFill/>
              </a:ln>
            </p:spPr>
            <p:txBody>
              <a:bodyPr wrap="square" lIns="0" tIns="0" rIns="0" bIns="0" anchor="ctr">
                <a:spAutoFit/>
              </a:bodyPr>
              <a:lstStyle/>
              <a:p>
                <a:pPr algn="ctr" defTabSz="1096480" fontAlgn="base">
                  <a:spcAft>
                    <a:spcPct val="0"/>
                  </a:spcAft>
                </a:pPr>
                <a:r>
                  <a:rPr lang="en-US" sz="1400" dirty="0">
                    <a:ln>
                      <a:solidFill>
                        <a:srgbClr val="FFFFFF">
                          <a:alpha val="0"/>
                        </a:srgbClr>
                      </a:solidFill>
                    </a:ln>
                    <a:solidFill>
                      <a:prstClr val="black"/>
                    </a:solidFill>
                  </a:rPr>
                  <a:t>Active Directory</a:t>
                </a:r>
              </a:p>
            </p:txBody>
          </p:sp>
        </p:grpSp>
      </p:grpSp>
      <p:grpSp>
        <p:nvGrpSpPr>
          <p:cNvPr id="29" name="Group 28"/>
          <p:cNvGrpSpPr/>
          <p:nvPr/>
        </p:nvGrpSpPr>
        <p:grpSpPr>
          <a:xfrm>
            <a:off x="10243048" y="1167711"/>
            <a:ext cx="520026" cy="407528"/>
            <a:chOff x="2014672" y="2636561"/>
            <a:chExt cx="757275" cy="559586"/>
          </a:xfrm>
        </p:grpSpPr>
        <p:sp>
          <p:nvSpPr>
            <p:cNvPr id="30" name="Rectangle 36"/>
            <p:cNvSpPr>
              <a:spLocks noChangeArrowheads="1"/>
            </p:cNvSpPr>
            <p:nvPr/>
          </p:nvSpPr>
          <p:spPr bwMode="auto">
            <a:xfrm>
              <a:off x="2014672" y="2636561"/>
              <a:ext cx="757275" cy="559586"/>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31" name="Freeform 37"/>
            <p:cNvSpPr>
              <a:spLocks noEditPoints="1"/>
            </p:cNvSpPr>
            <p:nvPr/>
          </p:nvSpPr>
          <p:spPr bwMode="auto">
            <a:xfrm>
              <a:off x="2014672" y="2714775"/>
              <a:ext cx="757275" cy="380232"/>
            </a:xfrm>
            <a:custGeom>
              <a:avLst/>
              <a:gdLst>
                <a:gd name="T0" fmla="*/ 0 w 950"/>
                <a:gd name="T1" fmla="*/ 102 h 477"/>
                <a:gd name="T2" fmla="*/ 950 w 950"/>
                <a:gd name="T3" fmla="*/ 102 h 477"/>
                <a:gd name="T4" fmla="*/ 950 w 950"/>
                <a:gd name="T5" fmla="*/ 225 h 477"/>
                <a:gd name="T6" fmla="*/ 0 w 950"/>
                <a:gd name="T7" fmla="*/ 225 h 477"/>
                <a:gd name="T8" fmla="*/ 0 w 950"/>
                <a:gd name="T9" fmla="*/ 354 h 477"/>
                <a:gd name="T10" fmla="*/ 950 w 950"/>
                <a:gd name="T11" fmla="*/ 354 h 477"/>
                <a:gd name="T12" fmla="*/ 0 w 950"/>
                <a:gd name="T13" fmla="*/ 477 h 477"/>
                <a:gd name="T14" fmla="*/ 950 w 950"/>
                <a:gd name="T15" fmla="*/ 477 h 477"/>
                <a:gd name="T16" fmla="*/ 0 w 950"/>
                <a:gd name="T17" fmla="*/ 0 h 477"/>
                <a:gd name="T18" fmla="*/ 950 w 950"/>
                <a:gd name="T1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0" h="477">
                  <a:moveTo>
                    <a:pt x="0" y="102"/>
                  </a:moveTo>
                  <a:lnTo>
                    <a:pt x="950" y="102"/>
                  </a:lnTo>
                  <a:moveTo>
                    <a:pt x="950" y="225"/>
                  </a:moveTo>
                  <a:lnTo>
                    <a:pt x="0" y="225"/>
                  </a:lnTo>
                  <a:moveTo>
                    <a:pt x="0" y="354"/>
                  </a:moveTo>
                  <a:lnTo>
                    <a:pt x="950" y="354"/>
                  </a:lnTo>
                  <a:moveTo>
                    <a:pt x="0" y="477"/>
                  </a:moveTo>
                  <a:lnTo>
                    <a:pt x="950" y="477"/>
                  </a:lnTo>
                  <a:moveTo>
                    <a:pt x="0" y="0"/>
                  </a:moveTo>
                  <a:lnTo>
                    <a:pt x="950" y="0"/>
                  </a:lnTo>
                </a:path>
              </a:pathLst>
            </a:custGeom>
            <a:ln>
              <a:headEnd/>
              <a:tailEnd/>
            </a:ln>
            <a:extLst/>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32" name="Freeform 38"/>
            <p:cNvSpPr>
              <a:spLocks/>
            </p:cNvSpPr>
            <p:nvPr/>
          </p:nvSpPr>
          <p:spPr bwMode="auto">
            <a:xfrm>
              <a:off x="2022727" y="2670123"/>
              <a:ext cx="709448" cy="483062"/>
            </a:xfrm>
            <a:custGeom>
              <a:avLst/>
              <a:gdLst>
                <a:gd name="T0" fmla="*/ 0 w 1777"/>
                <a:gd name="T1" fmla="*/ 1150 h 1150"/>
                <a:gd name="T2" fmla="*/ 195 w 1777"/>
                <a:gd name="T3" fmla="*/ 1111 h 1150"/>
                <a:gd name="T4" fmla="*/ 306 w 1777"/>
                <a:gd name="T5" fmla="*/ 1088 h 1150"/>
                <a:gd name="T6" fmla="*/ 367 w 1777"/>
                <a:gd name="T7" fmla="*/ 1075 h 1150"/>
                <a:gd name="T8" fmla="*/ 398 w 1777"/>
                <a:gd name="T9" fmla="*/ 1068 h 1150"/>
                <a:gd name="T10" fmla="*/ 405 w 1777"/>
                <a:gd name="T11" fmla="*/ 1067 h 1150"/>
                <a:gd name="T12" fmla="*/ 409 w 1777"/>
                <a:gd name="T13" fmla="*/ 1066 h 1150"/>
                <a:gd name="T14" fmla="*/ 411 w 1777"/>
                <a:gd name="T15" fmla="*/ 1065 h 1150"/>
                <a:gd name="T16" fmla="*/ 412 w 1777"/>
                <a:gd name="T17" fmla="*/ 1063 h 1150"/>
                <a:gd name="T18" fmla="*/ 420 w 1777"/>
                <a:gd name="T19" fmla="*/ 1050 h 1150"/>
                <a:gd name="T20" fmla="*/ 548 w 1777"/>
                <a:gd name="T21" fmla="*/ 854 h 1150"/>
                <a:gd name="T22" fmla="*/ 608 w 1777"/>
                <a:gd name="T23" fmla="*/ 761 h 1150"/>
                <a:gd name="T24" fmla="*/ 635 w 1777"/>
                <a:gd name="T25" fmla="*/ 720 h 1150"/>
                <a:gd name="T26" fmla="*/ 677 w 1777"/>
                <a:gd name="T27" fmla="*/ 696 h 1150"/>
                <a:gd name="T28" fmla="*/ 1021 w 1777"/>
                <a:gd name="T29" fmla="*/ 653 h 1150"/>
                <a:gd name="T30" fmla="*/ 1385 w 1777"/>
                <a:gd name="T31" fmla="*/ 282 h 1150"/>
                <a:gd name="T32" fmla="*/ 1394 w 1777"/>
                <a:gd name="T33" fmla="*/ 277 h 1150"/>
                <a:gd name="T34" fmla="*/ 1518 w 1777"/>
                <a:gd name="T35" fmla="*/ 481 h 1150"/>
                <a:gd name="T36" fmla="*/ 1777 w 1777"/>
                <a:gd name="T37" fmla="*/ 0 h 1150"/>
                <a:gd name="T38" fmla="*/ 1237 w 1777"/>
                <a:gd name="T39" fmla="*/ 16 h 1150"/>
                <a:gd name="T40" fmla="*/ 1360 w 1777"/>
                <a:gd name="T41" fmla="*/ 220 h 1150"/>
                <a:gd name="T42" fmla="*/ 1351 w 1777"/>
                <a:gd name="T43" fmla="*/ 226 h 1150"/>
                <a:gd name="T44" fmla="*/ 974 w 1777"/>
                <a:gd name="T45" fmla="*/ 604 h 1150"/>
                <a:gd name="T46" fmla="*/ 642 w 1777"/>
                <a:gd name="T47" fmla="*/ 640 h 1150"/>
                <a:gd name="T48" fmla="*/ 588 w 1777"/>
                <a:gd name="T49" fmla="*/ 672 h 1150"/>
                <a:gd name="T50" fmla="*/ 554 w 1777"/>
                <a:gd name="T51" fmla="*/ 724 h 1150"/>
                <a:gd name="T52" fmla="*/ 493 w 1777"/>
                <a:gd name="T53" fmla="*/ 818 h 1150"/>
                <a:gd name="T54" fmla="*/ 378 w 1777"/>
                <a:gd name="T55" fmla="*/ 995 h 1150"/>
                <a:gd name="T56" fmla="*/ 371 w 1777"/>
                <a:gd name="T57" fmla="*/ 1005 h 1150"/>
                <a:gd name="T58" fmla="*/ 369 w 1777"/>
                <a:gd name="T59" fmla="*/ 1007 h 1150"/>
                <a:gd name="T60" fmla="*/ 366 w 1777"/>
                <a:gd name="T61" fmla="*/ 1008 h 1150"/>
                <a:gd name="T62" fmla="*/ 360 w 1777"/>
                <a:gd name="T63" fmla="*/ 1009 h 1150"/>
                <a:gd name="T64" fmla="*/ 336 w 1777"/>
                <a:gd name="T65" fmla="*/ 1014 h 1150"/>
                <a:gd name="T66" fmla="*/ 288 w 1777"/>
                <a:gd name="T67" fmla="*/ 1024 h 1150"/>
                <a:gd name="T68" fmla="*/ 182 w 1777"/>
                <a:gd name="T69" fmla="*/ 1046 h 1150"/>
                <a:gd name="T70" fmla="*/ 1 w 1777"/>
                <a:gd name="T71" fmla="*/ 1085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77" h="1150">
                  <a:moveTo>
                    <a:pt x="0" y="1150"/>
                  </a:moveTo>
                  <a:cubicBezTo>
                    <a:pt x="195" y="1111"/>
                    <a:pt x="195" y="1111"/>
                    <a:pt x="195" y="1111"/>
                  </a:cubicBezTo>
                  <a:cubicBezTo>
                    <a:pt x="306" y="1088"/>
                    <a:pt x="306" y="1088"/>
                    <a:pt x="306" y="1088"/>
                  </a:cubicBezTo>
                  <a:cubicBezTo>
                    <a:pt x="367" y="1075"/>
                    <a:pt x="367" y="1075"/>
                    <a:pt x="367" y="1075"/>
                  </a:cubicBezTo>
                  <a:cubicBezTo>
                    <a:pt x="398" y="1068"/>
                    <a:pt x="398" y="1068"/>
                    <a:pt x="398" y="1068"/>
                  </a:cubicBezTo>
                  <a:cubicBezTo>
                    <a:pt x="405" y="1067"/>
                    <a:pt x="405" y="1067"/>
                    <a:pt x="405" y="1067"/>
                  </a:cubicBezTo>
                  <a:cubicBezTo>
                    <a:pt x="409" y="1066"/>
                    <a:pt x="409" y="1066"/>
                    <a:pt x="409" y="1066"/>
                  </a:cubicBezTo>
                  <a:cubicBezTo>
                    <a:pt x="410" y="1066"/>
                    <a:pt x="410" y="1066"/>
                    <a:pt x="411" y="1065"/>
                  </a:cubicBezTo>
                  <a:cubicBezTo>
                    <a:pt x="412" y="1063"/>
                    <a:pt x="412" y="1063"/>
                    <a:pt x="412" y="1063"/>
                  </a:cubicBezTo>
                  <a:cubicBezTo>
                    <a:pt x="420" y="1050"/>
                    <a:pt x="420" y="1050"/>
                    <a:pt x="420" y="1050"/>
                  </a:cubicBezTo>
                  <a:cubicBezTo>
                    <a:pt x="548" y="854"/>
                    <a:pt x="548" y="854"/>
                    <a:pt x="548" y="854"/>
                  </a:cubicBezTo>
                  <a:cubicBezTo>
                    <a:pt x="608" y="761"/>
                    <a:pt x="608" y="761"/>
                    <a:pt x="608" y="761"/>
                  </a:cubicBezTo>
                  <a:cubicBezTo>
                    <a:pt x="617" y="748"/>
                    <a:pt x="625" y="734"/>
                    <a:pt x="635" y="720"/>
                  </a:cubicBezTo>
                  <a:cubicBezTo>
                    <a:pt x="677" y="696"/>
                    <a:pt x="677" y="696"/>
                    <a:pt x="677" y="696"/>
                  </a:cubicBezTo>
                  <a:cubicBezTo>
                    <a:pt x="1021" y="653"/>
                    <a:pt x="1021" y="653"/>
                    <a:pt x="1021" y="653"/>
                  </a:cubicBezTo>
                  <a:cubicBezTo>
                    <a:pt x="1385" y="282"/>
                    <a:pt x="1385" y="282"/>
                    <a:pt x="1385" y="282"/>
                  </a:cubicBezTo>
                  <a:cubicBezTo>
                    <a:pt x="1394" y="277"/>
                    <a:pt x="1394" y="277"/>
                    <a:pt x="1394" y="277"/>
                  </a:cubicBezTo>
                  <a:cubicBezTo>
                    <a:pt x="1518" y="481"/>
                    <a:pt x="1518" y="481"/>
                    <a:pt x="1518" y="481"/>
                  </a:cubicBezTo>
                  <a:cubicBezTo>
                    <a:pt x="1605" y="320"/>
                    <a:pt x="1692" y="160"/>
                    <a:pt x="1777" y="0"/>
                  </a:cubicBezTo>
                  <a:cubicBezTo>
                    <a:pt x="1596" y="6"/>
                    <a:pt x="1416" y="11"/>
                    <a:pt x="1237" y="16"/>
                  </a:cubicBezTo>
                  <a:cubicBezTo>
                    <a:pt x="1360" y="220"/>
                    <a:pt x="1360" y="220"/>
                    <a:pt x="1360" y="220"/>
                  </a:cubicBezTo>
                  <a:cubicBezTo>
                    <a:pt x="1351" y="226"/>
                    <a:pt x="1351" y="226"/>
                    <a:pt x="1351" y="226"/>
                  </a:cubicBezTo>
                  <a:cubicBezTo>
                    <a:pt x="974" y="604"/>
                    <a:pt x="974" y="604"/>
                    <a:pt x="974" y="604"/>
                  </a:cubicBezTo>
                  <a:cubicBezTo>
                    <a:pt x="642" y="640"/>
                    <a:pt x="642" y="640"/>
                    <a:pt x="642" y="640"/>
                  </a:cubicBezTo>
                  <a:cubicBezTo>
                    <a:pt x="588" y="672"/>
                    <a:pt x="588" y="672"/>
                    <a:pt x="588" y="672"/>
                  </a:cubicBezTo>
                  <a:cubicBezTo>
                    <a:pt x="576" y="689"/>
                    <a:pt x="565" y="706"/>
                    <a:pt x="554" y="724"/>
                  </a:cubicBezTo>
                  <a:cubicBezTo>
                    <a:pt x="493" y="818"/>
                    <a:pt x="493" y="818"/>
                    <a:pt x="493" y="818"/>
                  </a:cubicBezTo>
                  <a:cubicBezTo>
                    <a:pt x="378" y="995"/>
                    <a:pt x="378" y="995"/>
                    <a:pt x="378" y="995"/>
                  </a:cubicBezTo>
                  <a:cubicBezTo>
                    <a:pt x="371" y="1005"/>
                    <a:pt x="371" y="1005"/>
                    <a:pt x="371" y="1005"/>
                  </a:cubicBezTo>
                  <a:cubicBezTo>
                    <a:pt x="371" y="1006"/>
                    <a:pt x="370" y="1007"/>
                    <a:pt x="369" y="1007"/>
                  </a:cubicBezTo>
                  <a:cubicBezTo>
                    <a:pt x="366" y="1008"/>
                    <a:pt x="366" y="1008"/>
                    <a:pt x="366" y="1008"/>
                  </a:cubicBezTo>
                  <a:cubicBezTo>
                    <a:pt x="360" y="1009"/>
                    <a:pt x="360" y="1009"/>
                    <a:pt x="360" y="1009"/>
                  </a:cubicBezTo>
                  <a:cubicBezTo>
                    <a:pt x="336" y="1014"/>
                    <a:pt x="336" y="1014"/>
                    <a:pt x="336" y="1014"/>
                  </a:cubicBezTo>
                  <a:cubicBezTo>
                    <a:pt x="288" y="1024"/>
                    <a:pt x="288" y="1024"/>
                    <a:pt x="288" y="1024"/>
                  </a:cubicBezTo>
                  <a:cubicBezTo>
                    <a:pt x="182" y="1046"/>
                    <a:pt x="182" y="1046"/>
                    <a:pt x="182" y="1046"/>
                  </a:cubicBezTo>
                  <a:cubicBezTo>
                    <a:pt x="1" y="1085"/>
                    <a:pt x="1" y="1085"/>
                    <a:pt x="1" y="1085"/>
                  </a:cubicBezTo>
                </a:path>
              </a:pathLst>
            </a:custGeom>
            <a:ln>
              <a:headEnd/>
              <a:tailEn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33" name="Freeform 31"/>
          <p:cNvSpPr>
            <a:spLocks noChangeAspect="1" noEditPoints="1"/>
          </p:cNvSpPr>
          <p:nvPr/>
        </p:nvSpPr>
        <p:spPr bwMode="auto">
          <a:xfrm>
            <a:off x="9771751" y="1396926"/>
            <a:ext cx="467064" cy="453795"/>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nvGrpSpPr>
          <p:cNvPr id="34" name="Group 33"/>
          <p:cNvGrpSpPr>
            <a:grpSpLocks noChangeAspect="1"/>
          </p:cNvGrpSpPr>
          <p:nvPr/>
        </p:nvGrpSpPr>
        <p:grpSpPr>
          <a:xfrm rot="900000">
            <a:off x="2785606" y="3477853"/>
            <a:ext cx="499495" cy="493247"/>
            <a:chOff x="3242937" y="2319398"/>
            <a:chExt cx="796924" cy="786956"/>
          </a:xfrm>
        </p:grpSpPr>
        <p:sp>
          <p:nvSpPr>
            <p:cNvPr id="35" name="Oval 34"/>
            <p:cNvSpPr/>
            <p:nvPr/>
          </p:nvSpPr>
          <p:spPr bwMode="auto">
            <a:xfrm>
              <a:off x="3247921" y="2319398"/>
              <a:ext cx="786956" cy="786956"/>
            </a:xfrm>
            <a:prstGeom prst="ellipse">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solidFill>
                  <a:prstClr val="black"/>
                </a:solidFill>
              </a:endParaRPr>
            </a:p>
          </p:txBody>
        </p:sp>
        <p:sp>
          <p:nvSpPr>
            <p:cNvPr id="36" name="Freeform 31"/>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tx1"/>
            </a:solidFill>
            <a:ln>
              <a:solidFill>
                <a:schemeClr val="accent1"/>
              </a:solid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cxnSp>
        <p:nvCxnSpPr>
          <p:cNvPr id="37" name="Straight Arrow Connector 36"/>
          <p:cNvCxnSpPr/>
          <p:nvPr/>
        </p:nvCxnSpPr>
        <p:spPr>
          <a:xfrm flipH="1" flipV="1">
            <a:off x="2547991" y="2626188"/>
            <a:ext cx="1050020" cy="674208"/>
          </a:xfrm>
          <a:prstGeom prst="straightConnector1">
            <a:avLst/>
          </a:prstGeom>
          <a:ln w="25400" cap="rnd" cmpd="sng">
            <a:solidFill>
              <a:schemeClr val="tx1"/>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8" name="Group 37"/>
          <p:cNvGrpSpPr>
            <a:grpSpLocks noChangeAspect="1"/>
          </p:cNvGrpSpPr>
          <p:nvPr/>
        </p:nvGrpSpPr>
        <p:grpSpPr>
          <a:xfrm rot="900000">
            <a:off x="2805669" y="2702164"/>
            <a:ext cx="499495" cy="493247"/>
            <a:chOff x="3242937" y="2319398"/>
            <a:chExt cx="796924" cy="786956"/>
          </a:xfrm>
          <a:noFill/>
        </p:grpSpPr>
        <p:sp>
          <p:nvSpPr>
            <p:cNvPr id="39" name="Oval 38"/>
            <p:cNvSpPr/>
            <p:nvPr/>
          </p:nvSpPr>
          <p:spPr bwMode="auto">
            <a:xfrm>
              <a:off x="3247921" y="2319398"/>
              <a:ext cx="786956" cy="786956"/>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solidFill>
                  <a:prstClr val="black"/>
                </a:solidFill>
              </a:endParaRPr>
            </a:p>
          </p:txBody>
        </p:sp>
        <p:sp>
          <p:nvSpPr>
            <p:cNvPr id="40" name="Freeform 31"/>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tx1"/>
            </a:solidFill>
            <a:ln>
              <a:solidFill>
                <a:schemeClr val="accent1"/>
              </a:solid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41" name="Group 40"/>
          <p:cNvGrpSpPr/>
          <p:nvPr/>
        </p:nvGrpSpPr>
        <p:grpSpPr>
          <a:xfrm>
            <a:off x="3370858" y="2792835"/>
            <a:ext cx="4005587" cy="2250788"/>
            <a:chOff x="3708589" y="2864284"/>
            <a:chExt cx="3196967" cy="1638708"/>
          </a:xfrm>
        </p:grpSpPr>
        <p:grpSp>
          <p:nvGrpSpPr>
            <p:cNvPr id="42" name="Group 41"/>
            <p:cNvGrpSpPr/>
            <p:nvPr/>
          </p:nvGrpSpPr>
          <p:grpSpPr>
            <a:xfrm>
              <a:off x="3708589" y="2864284"/>
              <a:ext cx="3196967" cy="1638708"/>
              <a:chOff x="3708589" y="2864284"/>
              <a:chExt cx="3196967" cy="1638708"/>
            </a:xfrm>
          </p:grpSpPr>
          <p:sp>
            <p:nvSpPr>
              <p:cNvPr id="45" name="Freeform 44"/>
              <p:cNvSpPr>
                <a:spLocks noChangeAspect="1"/>
              </p:cNvSpPr>
              <p:nvPr/>
            </p:nvSpPr>
            <p:spPr bwMode="auto">
              <a:xfrm>
                <a:off x="3708589" y="2864284"/>
                <a:ext cx="3196967" cy="1638708"/>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noFill/>
              <a:ln w="19050" cap="flat" cmpd="sng" algn="ctr">
                <a:solidFill>
                  <a:schemeClr val="tx1"/>
                </a:solidFill>
                <a:prstDash val="solid"/>
                <a:headEnd type="none" w="med" len="med"/>
                <a:tailEnd type="none" w="med" len="med"/>
              </a:ln>
              <a:effectLst/>
              <a:extLst/>
            </p:spPr>
            <p:txBody>
              <a:bodyPr vert="horz" wrap="square" lIns="114231" tIns="0" rIns="114231" bIns="57115"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1960" fontAlgn="base">
                  <a:spcBef>
                    <a:spcPct val="0"/>
                  </a:spcBef>
                  <a:spcAft>
                    <a:spcPct val="0"/>
                  </a:spcAft>
                  <a:defRPr/>
                </a:pPr>
                <a:endParaRPr lang="en-US" sz="1938" kern="0" dirty="0">
                  <a:solidFill>
                    <a:prstClr val="black"/>
                  </a:solidFill>
                  <a:latin typeface="Segoe" pitchFamily="34" charset="0"/>
                </a:endParaRPr>
              </a:p>
            </p:txBody>
          </p:sp>
          <p:grpSp>
            <p:nvGrpSpPr>
              <p:cNvPr id="46" name="Group 4"/>
              <p:cNvGrpSpPr>
                <a:grpSpLocks noChangeAspect="1"/>
              </p:cNvGrpSpPr>
              <p:nvPr/>
            </p:nvGrpSpPr>
            <p:grpSpPr bwMode="auto">
              <a:xfrm>
                <a:off x="4003481" y="3665404"/>
                <a:ext cx="647854" cy="643771"/>
                <a:chOff x="3125" y="1415"/>
                <a:chExt cx="1586" cy="1576"/>
              </a:xfrm>
              <a:solidFill>
                <a:schemeClr val="tx2"/>
              </a:solidFill>
            </p:grpSpPr>
            <p:sp>
              <p:nvSpPr>
                <p:cNvPr id="47"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ln/>
                <a:extLst/>
              </p:spPr>
              <p:style>
                <a:lnRef idx="2">
                  <a:schemeClr val="dk1"/>
                </a:lnRef>
                <a:fillRef idx="1">
                  <a:schemeClr val="lt1"/>
                </a:fillRef>
                <a:effectRef idx="0">
                  <a:schemeClr val="dk1"/>
                </a:effectRef>
                <a:fontRef idx="minor">
                  <a:schemeClr val="dk1"/>
                </a:fontRef>
              </p:style>
              <p:txBody>
                <a:bodyPr vert="horz" wrap="square" lIns="91414" tIns="45706" rIns="91414" bIns="45706" numCol="1" anchor="t" anchorCtr="0" compatLnSpc="1">
                  <a:prstTxWarp prst="textNoShape">
                    <a:avLst/>
                  </a:prstTxWarp>
                </a:bodyPr>
                <a:lstStyle/>
                <a:p>
                  <a:pPr defTabSz="932384"/>
                  <a:endParaRPr lang="en-US">
                    <a:solidFill>
                      <a:prstClr val="black"/>
                    </a:solidFill>
                  </a:endParaRPr>
                </a:p>
              </p:txBody>
            </p:sp>
            <p:sp>
              <p:nvSpPr>
                <p:cNvPr id="48"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ln/>
                <a:extLst/>
              </p:spPr>
              <p:style>
                <a:lnRef idx="2">
                  <a:schemeClr val="dk1"/>
                </a:lnRef>
                <a:fillRef idx="1">
                  <a:schemeClr val="lt1"/>
                </a:fillRef>
                <a:effectRef idx="0">
                  <a:schemeClr val="dk1"/>
                </a:effectRef>
                <a:fontRef idx="minor">
                  <a:schemeClr val="dk1"/>
                </a:fontRef>
              </p:style>
              <p:txBody>
                <a:bodyPr vert="horz" wrap="square" lIns="91414" tIns="45706" rIns="91414" bIns="45706" numCol="1" anchor="t" anchorCtr="0" compatLnSpc="1">
                  <a:prstTxWarp prst="textNoShape">
                    <a:avLst/>
                  </a:prstTxWarp>
                </a:bodyPr>
                <a:lstStyle/>
                <a:p>
                  <a:pPr defTabSz="932384"/>
                  <a:endParaRPr lang="en-US">
                    <a:solidFill>
                      <a:prstClr val="black"/>
                    </a:solidFill>
                  </a:endParaRPr>
                </a:p>
              </p:txBody>
            </p:sp>
            <p:sp>
              <p:nvSpPr>
                <p:cNvPr id="49"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91414" tIns="45706" rIns="91414" bIns="45706" numCol="1" anchor="t" anchorCtr="0" compatLnSpc="1">
                  <a:prstTxWarp prst="textNoShape">
                    <a:avLst/>
                  </a:prstTxWarp>
                </a:bodyPr>
                <a:lstStyle/>
                <a:p>
                  <a:pPr defTabSz="932384"/>
                  <a:endParaRPr lang="en-US">
                    <a:solidFill>
                      <a:prstClr val="black"/>
                    </a:solidFill>
                  </a:endParaRPr>
                </a:p>
              </p:txBody>
            </p:sp>
          </p:grpSp>
        </p:grpSp>
        <p:sp>
          <p:nvSpPr>
            <p:cNvPr id="43" name="Rectangle 42"/>
            <p:cNvSpPr/>
            <p:nvPr/>
          </p:nvSpPr>
          <p:spPr>
            <a:xfrm>
              <a:off x="5233089" y="3654684"/>
              <a:ext cx="1001770" cy="156856"/>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pPr>
              <a:r>
                <a:rPr lang="en-US" sz="1400" dirty="0">
                  <a:ln>
                    <a:solidFill>
                      <a:srgbClr val="FFFFFF">
                        <a:alpha val="0"/>
                      </a:srgbClr>
                    </a:solidFill>
                  </a:ln>
                  <a:solidFill>
                    <a:prstClr val="black"/>
                  </a:solidFill>
                  <a:latin typeface="Segoe"/>
                </a:rPr>
                <a:t>Active Directory</a:t>
              </a:r>
            </a:p>
          </p:txBody>
        </p:sp>
        <p:pic>
          <p:nvPicPr>
            <p:cNvPr id="44" name="Picture 43"/>
            <p:cNvPicPr>
              <a:picLocks noChangeAspect="1"/>
            </p:cNvPicPr>
            <p:nvPr/>
          </p:nvPicPr>
          <p:blipFill>
            <a:blip r:embed="rId13"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4859500" y="3237630"/>
              <a:ext cx="1882592" cy="436495"/>
            </a:xfrm>
            <a:prstGeom prst="rect">
              <a:avLst/>
            </a:prstGeom>
          </p:spPr>
        </p:pic>
      </p:grpSp>
      <p:grpSp>
        <p:nvGrpSpPr>
          <p:cNvPr id="50" name="Group 49"/>
          <p:cNvGrpSpPr/>
          <p:nvPr/>
        </p:nvGrpSpPr>
        <p:grpSpPr>
          <a:xfrm>
            <a:off x="4702366" y="3840642"/>
            <a:ext cx="1964089" cy="740004"/>
            <a:chOff x="4782347" y="3891752"/>
            <a:chExt cx="1964089" cy="740004"/>
          </a:xfrm>
        </p:grpSpPr>
        <p:sp>
          <p:nvSpPr>
            <p:cNvPr id="51" name="Rectangle 50"/>
            <p:cNvSpPr/>
            <p:nvPr/>
          </p:nvSpPr>
          <p:spPr>
            <a:xfrm>
              <a:off x="5359475" y="4200869"/>
              <a:ext cx="1386961" cy="430887"/>
            </a:xfrm>
            <a:prstGeom prst="rect">
              <a:avLst/>
            </a:prstGeom>
            <a:ln>
              <a:noFill/>
            </a:ln>
          </p:spPr>
          <p:txBody>
            <a:bodyPr wrap="square" lIns="0" tIns="0" rIns="0" bIns="0" anchor="ctr">
              <a:spAutoFit/>
            </a:bodyPr>
            <a:lstStyle/>
            <a:p>
              <a:pPr defTabSz="1118108" fontAlgn="base">
                <a:spcAft>
                  <a:spcPct val="0"/>
                </a:spcAft>
              </a:pPr>
              <a:r>
                <a:rPr lang="en-US" sz="1400" dirty="0">
                  <a:ln>
                    <a:solidFill>
                      <a:srgbClr val="FFFFFF">
                        <a:alpha val="0"/>
                      </a:srgbClr>
                    </a:solidFill>
                  </a:ln>
                  <a:solidFill>
                    <a:prstClr val="black"/>
                  </a:solidFill>
                  <a:latin typeface="Segoe"/>
                </a:rPr>
                <a:t>* Multi-Factor </a:t>
              </a:r>
            </a:p>
            <a:p>
              <a:pPr defTabSz="1118108" fontAlgn="base">
                <a:spcAft>
                  <a:spcPct val="0"/>
                </a:spcAft>
              </a:pPr>
              <a:r>
                <a:rPr lang="en-US" sz="1400" dirty="0">
                  <a:ln>
                    <a:solidFill>
                      <a:srgbClr val="FFFFFF">
                        <a:alpha val="0"/>
                      </a:srgbClr>
                    </a:solidFill>
                  </a:ln>
                  <a:solidFill>
                    <a:prstClr val="black"/>
                  </a:solidFill>
                  <a:latin typeface="Segoe"/>
                </a:rPr>
                <a:t>Authentication</a:t>
              </a:r>
            </a:p>
          </p:txBody>
        </p:sp>
        <p:pic>
          <p:nvPicPr>
            <p:cNvPr id="52" name="Picture 51"/>
            <p:cNvPicPr>
              <a:picLocks noChangeAspect="1"/>
            </p:cNvPicPr>
            <p:nvPr/>
          </p:nvPicPr>
          <p:blipFill>
            <a:blip r:embed="rId14" cstate="print">
              <a:grayscl/>
              <a:extLst>
                <a:ext uri="{28A0092B-C50C-407E-A947-70E740481C1C}">
                  <a14:useLocalDpi xmlns:a14="http://schemas.microsoft.com/office/drawing/2010/main" val="0"/>
                </a:ext>
              </a:extLst>
            </a:blip>
            <a:stretch>
              <a:fillRect/>
            </a:stretch>
          </p:blipFill>
          <p:spPr>
            <a:xfrm rot="21000000">
              <a:off x="4782347" y="3891752"/>
              <a:ext cx="187154" cy="444347"/>
            </a:xfrm>
            <a:prstGeom prst="rect">
              <a:avLst/>
            </a:prstGeom>
          </p:spPr>
        </p:pic>
      </p:grpSp>
      <p:grpSp>
        <p:nvGrpSpPr>
          <p:cNvPr id="53" name="Group 52"/>
          <p:cNvGrpSpPr/>
          <p:nvPr/>
        </p:nvGrpSpPr>
        <p:grpSpPr>
          <a:xfrm>
            <a:off x="8289804" y="4461503"/>
            <a:ext cx="2559050" cy="1395412"/>
            <a:chOff x="8289804" y="4461503"/>
            <a:chExt cx="2559050" cy="1395412"/>
          </a:xfrm>
        </p:grpSpPr>
        <p:grpSp>
          <p:nvGrpSpPr>
            <p:cNvPr id="54" name="Group 4"/>
            <p:cNvGrpSpPr>
              <a:grpSpLocks noChangeAspect="1"/>
            </p:cNvGrpSpPr>
            <p:nvPr/>
          </p:nvGrpSpPr>
          <p:grpSpPr bwMode="auto">
            <a:xfrm>
              <a:off x="8289804" y="4461503"/>
              <a:ext cx="2559050" cy="1395412"/>
              <a:chOff x="5226" y="2791"/>
              <a:chExt cx="1612" cy="879"/>
            </a:xfrm>
          </p:grpSpPr>
          <p:sp>
            <p:nvSpPr>
              <p:cNvPr id="67" name="AutoShape 3"/>
              <p:cNvSpPr>
                <a:spLocks noChangeAspect="1" noChangeArrowheads="1" noTextEdit="1"/>
              </p:cNvSpPr>
              <p:nvPr/>
            </p:nvSpPr>
            <p:spPr bwMode="auto">
              <a:xfrm>
                <a:off x="5226" y="2791"/>
                <a:ext cx="1612" cy="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8" name="Freeform 5"/>
              <p:cNvSpPr>
                <a:spLocks noEditPoints="1"/>
              </p:cNvSpPr>
              <p:nvPr/>
            </p:nvSpPr>
            <p:spPr bwMode="auto">
              <a:xfrm>
                <a:off x="5226" y="2790"/>
                <a:ext cx="1611" cy="880"/>
              </a:xfrm>
              <a:custGeom>
                <a:avLst/>
                <a:gdLst>
                  <a:gd name="T0" fmla="*/ 1353 w 2306"/>
                  <a:gd name="T1" fmla="*/ 82 h 1258"/>
                  <a:gd name="T2" fmla="*/ 1428 w 2306"/>
                  <a:gd name="T3" fmla="*/ 196 h 1258"/>
                  <a:gd name="T4" fmla="*/ 1806 w 2306"/>
                  <a:gd name="T5" fmla="*/ 61 h 1258"/>
                  <a:gd name="T6" fmla="*/ 1587 w 2306"/>
                  <a:gd name="T7" fmla="*/ 74 h 1258"/>
                  <a:gd name="T8" fmla="*/ 1236 w 2306"/>
                  <a:gd name="T9" fmla="*/ 144 h 1258"/>
                  <a:gd name="T10" fmla="*/ 2008 w 2306"/>
                  <a:gd name="T11" fmla="*/ 558 h 1258"/>
                  <a:gd name="T12" fmla="*/ 2168 w 2306"/>
                  <a:gd name="T13" fmla="*/ 846 h 1258"/>
                  <a:gd name="T14" fmla="*/ 2102 w 2306"/>
                  <a:gd name="T15" fmla="*/ 814 h 1258"/>
                  <a:gd name="T16" fmla="*/ 1946 w 2306"/>
                  <a:gd name="T17" fmla="*/ 705 h 1258"/>
                  <a:gd name="T18" fmla="*/ 1968 w 2306"/>
                  <a:gd name="T19" fmla="*/ 858 h 1258"/>
                  <a:gd name="T20" fmla="*/ 1945 w 2306"/>
                  <a:gd name="T21" fmla="*/ 807 h 1258"/>
                  <a:gd name="T22" fmla="*/ 1736 w 2306"/>
                  <a:gd name="T23" fmla="*/ 651 h 1258"/>
                  <a:gd name="T24" fmla="*/ 1381 w 2306"/>
                  <a:gd name="T25" fmla="*/ 614 h 1258"/>
                  <a:gd name="T26" fmla="*/ 1101 w 2306"/>
                  <a:gd name="T27" fmla="*/ 754 h 1258"/>
                  <a:gd name="T28" fmla="*/ 1371 w 2306"/>
                  <a:gd name="T29" fmla="*/ 483 h 1258"/>
                  <a:gd name="T30" fmla="*/ 1148 w 2306"/>
                  <a:gd name="T31" fmla="*/ 467 h 1258"/>
                  <a:gd name="T32" fmla="*/ 1264 w 2306"/>
                  <a:gd name="T33" fmla="*/ 390 h 1258"/>
                  <a:gd name="T34" fmla="*/ 1300 w 2306"/>
                  <a:gd name="T35" fmla="*/ 245 h 1258"/>
                  <a:gd name="T36" fmla="*/ 1516 w 2306"/>
                  <a:gd name="T37" fmla="*/ 198 h 1258"/>
                  <a:gd name="T38" fmla="*/ 1650 w 2306"/>
                  <a:gd name="T39" fmla="*/ 86 h 1258"/>
                  <a:gd name="T40" fmla="*/ 2013 w 2306"/>
                  <a:gd name="T41" fmla="*/ 106 h 1258"/>
                  <a:gd name="T42" fmla="*/ 2084 w 2306"/>
                  <a:gd name="T43" fmla="*/ 354 h 1258"/>
                  <a:gd name="T44" fmla="*/ 1946 w 2306"/>
                  <a:gd name="T45" fmla="*/ 537 h 1258"/>
                  <a:gd name="T46" fmla="*/ 1802 w 2306"/>
                  <a:gd name="T47" fmla="*/ 729 h 1258"/>
                  <a:gd name="T48" fmla="*/ 1743 w 2306"/>
                  <a:gd name="T49" fmla="*/ 652 h 1258"/>
                  <a:gd name="T50" fmla="*/ 1294 w 2306"/>
                  <a:gd name="T51" fmla="*/ 384 h 1258"/>
                  <a:gd name="T52" fmla="*/ 1148 w 2306"/>
                  <a:gd name="T53" fmla="*/ 450 h 1258"/>
                  <a:gd name="T54" fmla="*/ 1320 w 2306"/>
                  <a:gd name="T55" fmla="*/ 565 h 1258"/>
                  <a:gd name="T56" fmla="*/ 2034 w 2306"/>
                  <a:gd name="T57" fmla="*/ 896 h 1258"/>
                  <a:gd name="T58" fmla="*/ 1936 w 2306"/>
                  <a:gd name="T59" fmla="*/ 926 h 1258"/>
                  <a:gd name="T60" fmla="*/ 2258 w 2306"/>
                  <a:gd name="T61" fmla="*/ 1110 h 1258"/>
                  <a:gd name="T62" fmla="*/ 613 w 2306"/>
                  <a:gd name="T63" fmla="*/ 805 h 1258"/>
                  <a:gd name="T64" fmla="*/ 986 w 2306"/>
                  <a:gd name="T65" fmla="*/ 301 h 1258"/>
                  <a:gd name="T66" fmla="*/ 933 w 2306"/>
                  <a:gd name="T67" fmla="*/ 356 h 1258"/>
                  <a:gd name="T68" fmla="*/ 909 w 2306"/>
                  <a:gd name="T69" fmla="*/ 219 h 1258"/>
                  <a:gd name="T70" fmla="*/ 1006 w 2306"/>
                  <a:gd name="T71" fmla="*/ 55 h 1258"/>
                  <a:gd name="T72" fmla="*/ 1095 w 2306"/>
                  <a:gd name="T73" fmla="*/ 121 h 1258"/>
                  <a:gd name="T74" fmla="*/ 1061 w 2306"/>
                  <a:gd name="T75" fmla="*/ 258 h 1258"/>
                  <a:gd name="T76" fmla="*/ 348 w 2306"/>
                  <a:gd name="T77" fmla="*/ 266 h 1258"/>
                  <a:gd name="T78" fmla="*/ 725 w 2306"/>
                  <a:gd name="T79" fmla="*/ 664 h 1258"/>
                  <a:gd name="T80" fmla="*/ 627 w 2306"/>
                  <a:gd name="T81" fmla="*/ 226 h 1258"/>
                  <a:gd name="T82" fmla="*/ 695 w 2306"/>
                  <a:gd name="T83" fmla="*/ 213 h 1258"/>
                  <a:gd name="T84" fmla="*/ 804 w 2306"/>
                  <a:gd name="T85" fmla="*/ 239 h 1258"/>
                  <a:gd name="T86" fmla="*/ 834 w 2306"/>
                  <a:gd name="T87" fmla="*/ 220 h 1258"/>
                  <a:gd name="T88" fmla="*/ 801 w 2306"/>
                  <a:gd name="T89" fmla="*/ 42 h 1258"/>
                  <a:gd name="T90" fmla="*/ 437 w 2306"/>
                  <a:gd name="T91" fmla="*/ 410 h 1258"/>
                  <a:gd name="T92" fmla="*/ 836 w 2306"/>
                  <a:gd name="T93" fmla="*/ 20 h 1258"/>
                  <a:gd name="T94" fmla="*/ 836 w 2306"/>
                  <a:gd name="T95" fmla="*/ 125 h 1258"/>
                  <a:gd name="T96" fmla="*/ 717 w 2306"/>
                  <a:gd name="T97" fmla="*/ 409 h 1258"/>
                  <a:gd name="T98" fmla="*/ 769 w 2306"/>
                  <a:gd name="T99" fmla="*/ 88 h 1258"/>
                  <a:gd name="T100" fmla="*/ 691 w 2306"/>
                  <a:gd name="T101" fmla="*/ 95 h 1258"/>
                  <a:gd name="T102" fmla="*/ 706 w 2306"/>
                  <a:gd name="T103" fmla="*/ 60 h 1258"/>
                  <a:gd name="T104" fmla="*/ 770 w 2306"/>
                  <a:gd name="T105" fmla="*/ 1190 h 1258"/>
                  <a:gd name="T106" fmla="*/ 654 w 2306"/>
                  <a:gd name="T107" fmla="*/ 741 h 1258"/>
                  <a:gd name="T108" fmla="*/ 446 w 2306"/>
                  <a:gd name="T109" fmla="*/ 403 h 1258"/>
                  <a:gd name="T110" fmla="*/ 293 w 2306"/>
                  <a:gd name="T111" fmla="*/ 307 h 1258"/>
                  <a:gd name="T112" fmla="*/ 428 w 2306"/>
                  <a:gd name="T113" fmla="*/ 110 h 1258"/>
                  <a:gd name="T114" fmla="*/ 691 w 2306"/>
                  <a:gd name="T115" fmla="*/ 246 h 1258"/>
                  <a:gd name="T116" fmla="*/ 713 w 2306"/>
                  <a:gd name="T117" fmla="*/ 400 h 1258"/>
                  <a:gd name="T118" fmla="*/ 805 w 2306"/>
                  <a:gd name="T119" fmla="*/ 455 h 1258"/>
                  <a:gd name="T120" fmla="*/ 586 w 2306"/>
                  <a:gd name="T121" fmla="*/ 678 h 1258"/>
                  <a:gd name="T122" fmla="*/ 865 w 2306"/>
                  <a:gd name="T123" fmla="*/ 796 h 1258"/>
                  <a:gd name="T124" fmla="*/ 742 w 2306"/>
                  <a:gd name="T125" fmla="*/ 1121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06" h="1258">
                    <a:moveTo>
                      <a:pt x="1458" y="880"/>
                    </a:moveTo>
                    <a:cubicBezTo>
                      <a:pt x="1459" y="881"/>
                      <a:pt x="1459" y="881"/>
                      <a:pt x="1459" y="881"/>
                    </a:cubicBezTo>
                    <a:cubicBezTo>
                      <a:pt x="1458" y="883"/>
                      <a:pt x="1458" y="883"/>
                      <a:pt x="1458" y="883"/>
                    </a:cubicBezTo>
                    <a:cubicBezTo>
                      <a:pt x="1458" y="882"/>
                      <a:pt x="1458" y="882"/>
                      <a:pt x="1458" y="882"/>
                    </a:cubicBezTo>
                    <a:cubicBezTo>
                      <a:pt x="1458" y="881"/>
                      <a:pt x="1458" y="881"/>
                      <a:pt x="1458" y="881"/>
                    </a:cubicBezTo>
                    <a:cubicBezTo>
                      <a:pt x="1458" y="880"/>
                      <a:pt x="1458" y="880"/>
                      <a:pt x="1458" y="880"/>
                    </a:cubicBezTo>
                    <a:close/>
                    <a:moveTo>
                      <a:pt x="1455" y="878"/>
                    </a:moveTo>
                    <a:cubicBezTo>
                      <a:pt x="1454" y="876"/>
                      <a:pt x="1454" y="876"/>
                      <a:pt x="1454" y="876"/>
                    </a:cubicBezTo>
                    <a:cubicBezTo>
                      <a:pt x="1454" y="877"/>
                      <a:pt x="1454" y="877"/>
                      <a:pt x="1454" y="877"/>
                    </a:cubicBezTo>
                    <a:cubicBezTo>
                      <a:pt x="1453" y="877"/>
                      <a:pt x="1453" y="877"/>
                      <a:pt x="1453" y="877"/>
                    </a:cubicBezTo>
                    <a:cubicBezTo>
                      <a:pt x="1454" y="878"/>
                      <a:pt x="1454" y="878"/>
                      <a:pt x="1454" y="878"/>
                    </a:cubicBezTo>
                    <a:cubicBezTo>
                      <a:pt x="1455" y="878"/>
                      <a:pt x="1455" y="878"/>
                      <a:pt x="1455" y="878"/>
                    </a:cubicBezTo>
                    <a:close/>
                    <a:moveTo>
                      <a:pt x="1447" y="871"/>
                    </a:moveTo>
                    <a:cubicBezTo>
                      <a:pt x="1446" y="871"/>
                      <a:pt x="1446" y="871"/>
                      <a:pt x="1446" y="871"/>
                    </a:cubicBezTo>
                    <a:cubicBezTo>
                      <a:pt x="1445" y="873"/>
                      <a:pt x="1445" y="873"/>
                      <a:pt x="1445" y="873"/>
                    </a:cubicBezTo>
                    <a:cubicBezTo>
                      <a:pt x="1446" y="874"/>
                      <a:pt x="1446" y="874"/>
                      <a:pt x="1446" y="874"/>
                    </a:cubicBezTo>
                    <a:cubicBezTo>
                      <a:pt x="1446" y="875"/>
                      <a:pt x="1446" y="875"/>
                      <a:pt x="1446" y="875"/>
                    </a:cubicBezTo>
                    <a:cubicBezTo>
                      <a:pt x="1447" y="875"/>
                      <a:pt x="1447" y="875"/>
                      <a:pt x="1447" y="875"/>
                    </a:cubicBezTo>
                    <a:cubicBezTo>
                      <a:pt x="1448" y="874"/>
                      <a:pt x="1448" y="874"/>
                      <a:pt x="1448" y="874"/>
                    </a:cubicBezTo>
                    <a:cubicBezTo>
                      <a:pt x="1447" y="873"/>
                      <a:pt x="1447" y="873"/>
                      <a:pt x="1447" y="873"/>
                    </a:cubicBezTo>
                    <a:cubicBezTo>
                      <a:pt x="1448" y="873"/>
                      <a:pt x="1448" y="873"/>
                      <a:pt x="1448" y="873"/>
                    </a:cubicBezTo>
                    <a:cubicBezTo>
                      <a:pt x="1447" y="871"/>
                      <a:pt x="1447" y="871"/>
                      <a:pt x="1447" y="871"/>
                    </a:cubicBezTo>
                    <a:close/>
                    <a:moveTo>
                      <a:pt x="1468" y="862"/>
                    </a:moveTo>
                    <a:cubicBezTo>
                      <a:pt x="1468" y="861"/>
                      <a:pt x="1468" y="861"/>
                      <a:pt x="1468" y="861"/>
                    </a:cubicBezTo>
                    <a:cubicBezTo>
                      <a:pt x="1467" y="861"/>
                      <a:pt x="1467" y="861"/>
                      <a:pt x="1467" y="861"/>
                    </a:cubicBezTo>
                    <a:cubicBezTo>
                      <a:pt x="1468" y="862"/>
                      <a:pt x="1468" y="862"/>
                      <a:pt x="1468" y="862"/>
                    </a:cubicBezTo>
                    <a:close/>
                    <a:moveTo>
                      <a:pt x="1524" y="829"/>
                    </a:moveTo>
                    <a:cubicBezTo>
                      <a:pt x="1524" y="830"/>
                      <a:pt x="1524" y="830"/>
                      <a:pt x="1524" y="830"/>
                    </a:cubicBezTo>
                    <a:cubicBezTo>
                      <a:pt x="1524" y="831"/>
                      <a:pt x="1524" y="831"/>
                      <a:pt x="1524" y="831"/>
                    </a:cubicBezTo>
                    <a:cubicBezTo>
                      <a:pt x="1526" y="830"/>
                      <a:pt x="1526" y="830"/>
                      <a:pt x="1526" y="830"/>
                    </a:cubicBezTo>
                    <a:cubicBezTo>
                      <a:pt x="1525" y="830"/>
                      <a:pt x="1525" y="830"/>
                      <a:pt x="1525" y="830"/>
                    </a:cubicBezTo>
                    <a:cubicBezTo>
                      <a:pt x="1524" y="829"/>
                      <a:pt x="1524" y="829"/>
                      <a:pt x="1524" y="829"/>
                    </a:cubicBezTo>
                    <a:close/>
                    <a:moveTo>
                      <a:pt x="1467" y="858"/>
                    </a:moveTo>
                    <a:cubicBezTo>
                      <a:pt x="1466" y="859"/>
                      <a:pt x="1466" y="859"/>
                      <a:pt x="1466" y="859"/>
                    </a:cubicBezTo>
                    <a:cubicBezTo>
                      <a:pt x="1467" y="859"/>
                      <a:pt x="1467" y="859"/>
                      <a:pt x="1467" y="859"/>
                    </a:cubicBezTo>
                    <a:cubicBezTo>
                      <a:pt x="1468" y="859"/>
                      <a:pt x="1468" y="859"/>
                      <a:pt x="1468" y="859"/>
                    </a:cubicBezTo>
                    <a:cubicBezTo>
                      <a:pt x="1467" y="858"/>
                      <a:pt x="1467" y="858"/>
                      <a:pt x="1467" y="858"/>
                    </a:cubicBezTo>
                    <a:close/>
                    <a:moveTo>
                      <a:pt x="1761" y="741"/>
                    </a:moveTo>
                    <a:cubicBezTo>
                      <a:pt x="1761" y="740"/>
                      <a:pt x="1761" y="740"/>
                      <a:pt x="1761" y="740"/>
                    </a:cubicBezTo>
                    <a:cubicBezTo>
                      <a:pt x="1760" y="741"/>
                      <a:pt x="1760" y="741"/>
                      <a:pt x="1760" y="741"/>
                    </a:cubicBezTo>
                    <a:cubicBezTo>
                      <a:pt x="1761" y="741"/>
                      <a:pt x="1761" y="741"/>
                      <a:pt x="1761" y="741"/>
                    </a:cubicBezTo>
                    <a:close/>
                    <a:moveTo>
                      <a:pt x="1759" y="727"/>
                    </a:moveTo>
                    <a:cubicBezTo>
                      <a:pt x="1759" y="725"/>
                      <a:pt x="1759" y="725"/>
                      <a:pt x="1759" y="725"/>
                    </a:cubicBezTo>
                    <a:cubicBezTo>
                      <a:pt x="1758" y="726"/>
                      <a:pt x="1758" y="726"/>
                      <a:pt x="1758" y="726"/>
                    </a:cubicBezTo>
                    <a:cubicBezTo>
                      <a:pt x="1759" y="727"/>
                      <a:pt x="1759" y="727"/>
                      <a:pt x="1759" y="727"/>
                    </a:cubicBezTo>
                    <a:close/>
                    <a:moveTo>
                      <a:pt x="1760" y="720"/>
                    </a:moveTo>
                    <a:cubicBezTo>
                      <a:pt x="1758" y="721"/>
                      <a:pt x="1758" y="721"/>
                      <a:pt x="1758" y="721"/>
                    </a:cubicBezTo>
                    <a:cubicBezTo>
                      <a:pt x="1758" y="723"/>
                      <a:pt x="1758" y="723"/>
                      <a:pt x="1758" y="723"/>
                    </a:cubicBezTo>
                    <a:cubicBezTo>
                      <a:pt x="1758" y="724"/>
                      <a:pt x="1758" y="724"/>
                      <a:pt x="1758" y="724"/>
                    </a:cubicBezTo>
                    <a:cubicBezTo>
                      <a:pt x="1759" y="725"/>
                      <a:pt x="1759" y="725"/>
                      <a:pt x="1759" y="725"/>
                    </a:cubicBezTo>
                    <a:cubicBezTo>
                      <a:pt x="1759" y="724"/>
                      <a:pt x="1759" y="724"/>
                      <a:pt x="1759" y="724"/>
                    </a:cubicBezTo>
                    <a:cubicBezTo>
                      <a:pt x="1759" y="723"/>
                      <a:pt x="1759" y="723"/>
                      <a:pt x="1759" y="723"/>
                    </a:cubicBezTo>
                    <a:cubicBezTo>
                      <a:pt x="1759" y="722"/>
                      <a:pt x="1759" y="722"/>
                      <a:pt x="1759" y="722"/>
                    </a:cubicBezTo>
                    <a:cubicBezTo>
                      <a:pt x="1760" y="721"/>
                      <a:pt x="1760" y="721"/>
                      <a:pt x="1760" y="721"/>
                    </a:cubicBezTo>
                    <a:cubicBezTo>
                      <a:pt x="1760" y="720"/>
                      <a:pt x="1760" y="720"/>
                      <a:pt x="1760" y="720"/>
                    </a:cubicBezTo>
                    <a:close/>
                    <a:moveTo>
                      <a:pt x="1756" y="725"/>
                    </a:moveTo>
                    <a:cubicBezTo>
                      <a:pt x="1755" y="726"/>
                      <a:pt x="1755" y="726"/>
                      <a:pt x="1755" y="726"/>
                    </a:cubicBezTo>
                    <a:cubicBezTo>
                      <a:pt x="1757" y="726"/>
                      <a:pt x="1757" y="726"/>
                      <a:pt x="1757" y="726"/>
                    </a:cubicBezTo>
                    <a:cubicBezTo>
                      <a:pt x="1756" y="725"/>
                      <a:pt x="1756" y="725"/>
                      <a:pt x="1756" y="725"/>
                    </a:cubicBezTo>
                    <a:close/>
                    <a:moveTo>
                      <a:pt x="1760" y="711"/>
                    </a:moveTo>
                    <a:cubicBezTo>
                      <a:pt x="1759" y="713"/>
                      <a:pt x="1759" y="713"/>
                      <a:pt x="1759" y="713"/>
                    </a:cubicBezTo>
                    <a:cubicBezTo>
                      <a:pt x="1759" y="715"/>
                      <a:pt x="1759" y="715"/>
                      <a:pt x="1759" y="715"/>
                    </a:cubicBezTo>
                    <a:cubicBezTo>
                      <a:pt x="1759" y="716"/>
                      <a:pt x="1759" y="716"/>
                      <a:pt x="1759" y="716"/>
                    </a:cubicBezTo>
                    <a:cubicBezTo>
                      <a:pt x="1759" y="719"/>
                      <a:pt x="1759" y="719"/>
                      <a:pt x="1759" y="719"/>
                    </a:cubicBezTo>
                    <a:cubicBezTo>
                      <a:pt x="1759" y="720"/>
                      <a:pt x="1759" y="720"/>
                      <a:pt x="1759" y="720"/>
                    </a:cubicBezTo>
                    <a:cubicBezTo>
                      <a:pt x="1761" y="719"/>
                      <a:pt x="1761" y="719"/>
                      <a:pt x="1761" y="719"/>
                    </a:cubicBezTo>
                    <a:cubicBezTo>
                      <a:pt x="1761" y="717"/>
                      <a:pt x="1761" y="717"/>
                      <a:pt x="1761" y="717"/>
                    </a:cubicBezTo>
                    <a:cubicBezTo>
                      <a:pt x="1760" y="716"/>
                      <a:pt x="1760" y="716"/>
                      <a:pt x="1760" y="716"/>
                    </a:cubicBezTo>
                    <a:cubicBezTo>
                      <a:pt x="1761" y="715"/>
                      <a:pt x="1761" y="715"/>
                      <a:pt x="1761" y="715"/>
                    </a:cubicBezTo>
                    <a:cubicBezTo>
                      <a:pt x="1761" y="714"/>
                      <a:pt x="1761" y="714"/>
                      <a:pt x="1761" y="714"/>
                    </a:cubicBezTo>
                    <a:cubicBezTo>
                      <a:pt x="1760" y="713"/>
                      <a:pt x="1760" y="713"/>
                      <a:pt x="1760" y="713"/>
                    </a:cubicBezTo>
                    <a:cubicBezTo>
                      <a:pt x="1761" y="712"/>
                      <a:pt x="1761" y="712"/>
                      <a:pt x="1761" y="712"/>
                    </a:cubicBezTo>
                    <a:cubicBezTo>
                      <a:pt x="1760" y="711"/>
                      <a:pt x="1760" y="711"/>
                      <a:pt x="1760" y="711"/>
                    </a:cubicBezTo>
                    <a:close/>
                    <a:moveTo>
                      <a:pt x="1768" y="752"/>
                    </a:moveTo>
                    <a:cubicBezTo>
                      <a:pt x="1767" y="752"/>
                      <a:pt x="1767" y="752"/>
                      <a:pt x="1767" y="752"/>
                    </a:cubicBezTo>
                    <a:cubicBezTo>
                      <a:pt x="1766" y="752"/>
                      <a:pt x="1766" y="752"/>
                      <a:pt x="1766" y="752"/>
                    </a:cubicBezTo>
                    <a:cubicBezTo>
                      <a:pt x="1767" y="753"/>
                      <a:pt x="1767" y="753"/>
                      <a:pt x="1767" y="753"/>
                    </a:cubicBezTo>
                    <a:cubicBezTo>
                      <a:pt x="1768" y="752"/>
                      <a:pt x="1768" y="752"/>
                      <a:pt x="1768" y="752"/>
                    </a:cubicBezTo>
                    <a:close/>
                    <a:moveTo>
                      <a:pt x="1757" y="732"/>
                    </a:moveTo>
                    <a:cubicBezTo>
                      <a:pt x="1757" y="733"/>
                      <a:pt x="1757" y="733"/>
                      <a:pt x="1757" y="733"/>
                    </a:cubicBezTo>
                    <a:cubicBezTo>
                      <a:pt x="1759" y="733"/>
                      <a:pt x="1759" y="733"/>
                      <a:pt x="1759" y="733"/>
                    </a:cubicBezTo>
                    <a:cubicBezTo>
                      <a:pt x="1759" y="731"/>
                      <a:pt x="1759" y="731"/>
                      <a:pt x="1759" y="731"/>
                    </a:cubicBezTo>
                    <a:cubicBezTo>
                      <a:pt x="1759" y="730"/>
                      <a:pt x="1759" y="730"/>
                      <a:pt x="1759" y="730"/>
                    </a:cubicBezTo>
                    <a:cubicBezTo>
                      <a:pt x="1758" y="730"/>
                      <a:pt x="1758" y="730"/>
                      <a:pt x="1758" y="730"/>
                    </a:cubicBezTo>
                    <a:cubicBezTo>
                      <a:pt x="1757" y="732"/>
                      <a:pt x="1757" y="732"/>
                      <a:pt x="1757" y="732"/>
                    </a:cubicBezTo>
                    <a:close/>
                    <a:moveTo>
                      <a:pt x="1766" y="747"/>
                    </a:moveTo>
                    <a:cubicBezTo>
                      <a:pt x="1766" y="746"/>
                      <a:pt x="1766" y="746"/>
                      <a:pt x="1766" y="746"/>
                    </a:cubicBezTo>
                    <a:cubicBezTo>
                      <a:pt x="1765" y="747"/>
                      <a:pt x="1765" y="747"/>
                      <a:pt x="1765" y="747"/>
                    </a:cubicBezTo>
                    <a:cubicBezTo>
                      <a:pt x="1766" y="748"/>
                      <a:pt x="1766" y="748"/>
                      <a:pt x="1766" y="748"/>
                    </a:cubicBezTo>
                    <a:cubicBezTo>
                      <a:pt x="1766" y="747"/>
                      <a:pt x="1766" y="747"/>
                      <a:pt x="1766" y="747"/>
                    </a:cubicBezTo>
                    <a:close/>
                    <a:moveTo>
                      <a:pt x="1765" y="748"/>
                    </a:moveTo>
                    <a:cubicBezTo>
                      <a:pt x="1764" y="749"/>
                      <a:pt x="1764" y="749"/>
                      <a:pt x="1764" y="749"/>
                    </a:cubicBezTo>
                    <a:cubicBezTo>
                      <a:pt x="1764" y="750"/>
                      <a:pt x="1764" y="750"/>
                      <a:pt x="1764" y="750"/>
                    </a:cubicBezTo>
                    <a:cubicBezTo>
                      <a:pt x="1765" y="750"/>
                      <a:pt x="1765" y="750"/>
                      <a:pt x="1765" y="750"/>
                    </a:cubicBezTo>
                    <a:cubicBezTo>
                      <a:pt x="1766" y="750"/>
                      <a:pt x="1766" y="750"/>
                      <a:pt x="1766" y="750"/>
                    </a:cubicBezTo>
                    <a:cubicBezTo>
                      <a:pt x="1765" y="748"/>
                      <a:pt x="1765" y="748"/>
                      <a:pt x="1765" y="748"/>
                    </a:cubicBezTo>
                    <a:close/>
                    <a:moveTo>
                      <a:pt x="1768" y="754"/>
                    </a:moveTo>
                    <a:cubicBezTo>
                      <a:pt x="1768" y="753"/>
                      <a:pt x="1768" y="753"/>
                      <a:pt x="1768" y="753"/>
                    </a:cubicBezTo>
                    <a:cubicBezTo>
                      <a:pt x="1767" y="754"/>
                      <a:pt x="1767" y="754"/>
                      <a:pt x="1767" y="754"/>
                    </a:cubicBezTo>
                    <a:cubicBezTo>
                      <a:pt x="1767" y="755"/>
                      <a:pt x="1767" y="755"/>
                      <a:pt x="1767" y="755"/>
                    </a:cubicBezTo>
                    <a:cubicBezTo>
                      <a:pt x="1767" y="755"/>
                      <a:pt x="1767" y="755"/>
                      <a:pt x="1767" y="756"/>
                    </a:cubicBezTo>
                    <a:cubicBezTo>
                      <a:pt x="1768" y="757"/>
                      <a:pt x="1768" y="757"/>
                      <a:pt x="1768" y="757"/>
                    </a:cubicBezTo>
                    <a:cubicBezTo>
                      <a:pt x="1769" y="756"/>
                      <a:pt x="1769" y="756"/>
                      <a:pt x="1769" y="756"/>
                    </a:cubicBezTo>
                    <a:cubicBezTo>
                      <a:pt x="1768" y="755"/>
                      <a:pt x="1768" y="755"/>
                      <a:pt x="1768" y="755"/>
                    </a:cubicBezTo>
                    <a:cubicBezTo>
                      <a:pt x="1768" y="754"/>
                      <a:pt x="1768" y="754"/>
                      <a:pt x="1768" y="754"/>
                    </a:cubicBezTo>
                    <a:close/>
                    <a:moveTo>
                      <a:pt x="2086" y="713"/>
                    </a:moveTo>
                    <a:cubicBezTo>
                      <a:pt x="2087" y="711"/>
                      <a:pt x="2087" y="711"/>
                      <a:pt x="2087" y="711"/>
                    </a:cubicBezTo>
                    <a:cubicBezTo>
                      <a:pt x="2086" y="710"/>
                      <a:pt x="2086" y="710"/>
                      <a:pt x="2086" y="710"/>
                    </a:cubicBezTo>
                    <a:cubicBezTo>
                      <a:pt x="2085" y="711"/>
                      <a:pt x="2085" y="711"/>
                      <a:pt x="2085" y="711"/>
                    </a:cubicBezTo>
                    <a:cubicBezTo>
                      <a:pt x="2085" y="712"/>
                      <a:pt x="2085" y="712"/>
                      <a:pt x="2085" y="712"/>
                    </a:cubicBezTo>
                    <a:cubicBezTo>
                      <a:pt x="2084" y="712"/>
                      <a:pt x="2084" y="712"/>
                      <a:pt x="2084" y="712"/>
                    </a:cubicBezTo>
                    <a:cubicBezTo>
                      <a:pt x="2085" y="713"/>
                      <a:pt x="2085" y="713"/>
                      <a:pt x="2085" y="713"/>
                    </a:cubicBezTo>
                    <a:cubicBezTo>
                      <a:pt x="2086" y="713"/>
                      <a:pt x="2086" y="713"/>
                      <a:pt x="2086" y="713"/>
                    </a:cubicBezTo>
                    <a:close/>
                    <a:moveTo>
                      <a:pt x="2092" y="698"/>
                    </a:moveTo>
                    <a:cubicBezTo>
                      <a:pt x="2090" y="699"/>
                      <a:pt x="2090" y="699"/>
                      <a:pt x="2090" y="699"/>
                    </a:cubicBezTo>
                    <a:cubicBezTo>
                      <a:pt x="2091" y="701"/>
                      <a:pt x="2091" y="701"/>
                      <a:pt x="2091" y="701"/>
                    </a:cubicBezTo>
                    <a:cubicBezTo>
                      <a:pt x="2091" y="699"/>
                      <a:pt x="2091" y="699"/>
                      <a:pt x="2091" y="699"/>
                    </a:cubicBezTo>
                    <a:cubicBezTo>
                      <a:pt x="2092" y="698"/>
                      <a:pt x="2092" y="698"/>
                      <a:pt x="2092" y="698"/>
                    </a:cubicBezTo>
                    <a:close/>
                    <a:moveTo>
                      <a:pt x="2090" y="707"/>
                    </a:moveTo>
                    <a:cubicBezTo>
                      <a:pt x="2089" y="706"/>
                      <a:pt x="2089" y="706"/>
                      <a:pt x="2089" y="706"/>
                    </a:cubicBezTo>
                    <a:cubicBezTo>
                      <a:pt x="2088" y="707"/>
                      <a:pt x="2088" y="707"/>
                      <a:pt x="2088" y="707"/>
                    </a:cubicBezTo>
                    <a:cubicBezTo>
                      <a:pt x="2089" y="707"/>
                      <a:pt x="2089" y="707"/>
                      <a:pt x="2089" y="707"/>
                    </a:cubicBezTo>
                    <a:cubicBezTo>
                      <a:pt x="2090" y="707"/>
                      <a:pt x="2090" y="707"/>
                      <a:pt x="2090" y="707"/>
                    </a:cubicBezTo>
                    <a:close/>
                    <a:moveTo>
                      <a:pt x="2055" y="233"/>
                    </a:moveTo>
                    <a:cubicBezTo>
                      <a:pt x="2054" y="232"/>
                      <a:pt x="2054" y="232"/>
                      <a:pt x="2054" y="232"/>
                    </a:cubicBezTo>
                    <a:cubicBezTo>
                      <a:pt x="2053" y="232"/>
                      <a:pt x="2053" y="232"/>
                      <a:pt x="2053" y="232"/>
                    </a:cubicBezTo>
                    <a:cubicBezTo>
                      <a:pt x="2053" y="233"/>
                      <a:pt x="2053" y="233"/>
                      <a:pt x="2053" y="233"/>
                    </a:cubicBezTo>
                    <a:cubicBezTo>
                      <a:pt x="2054" y="234"/>
                      <a:pt x="2054" y="234"/>
                      <a:pt x="2054" y="234"/>
                    </a:cubicBezTo>
                    <a:cubicBezTo>
                      <a:pt x="2055" y="234"/>
                      <a:pt x="2055" y="234"/>
                      <a:pt x="2055" y="234"/>
                    </a:cubicBezTo>
                    <a:cubicBezTo>
                      <a:pt x="2055" y="233"/>
                      <a:pt x="2055" y="233"/>
                      <a:pt x="2055" y="233"/>
                    </a:cubicBezTo>
                    <a:close/>
                    <a:moveTo>
                      <a:pt x="1731" y="134"/>
                    </a:moveTo>
                    <a:cubicBezTo>
                      <a:pt x="1732" y="134"/>
                      <a:pt x="1732" y="134"/>
                      <a:pt x="1732" y="134"/>
                    </a:cubicBezTo>
                    <a:cubicBezTo>
                      <a:pt x="1733" y="134"/>
                      <a:pt x="1733" y="134"/>
                      <a:pt x="1733" y="134"/>
                    </a:cubicBezTo>
                    <a:cubicBezTo>
                      <a:pt x="1732" y="133"/>
                      <a:pt x="1732" y="133"/>
                      <a:pt x="1732" y="133"/>
                    </a:cubicBezTo>
                    <a:cubicBezTo>
                      <a:pt x="1731" y="132"/>
                      <a:pt x="1731" y="132"/>
                      <a:pt x="1731" y="132"/>
                    </a:cubicBezTo>
                    <a:cubicBezTo>
                      <a:pt x="1730" y="132"/>
                      <a:pt x="1730" y="132"/>
                      <a:pt x="1730" y="132"/>
                    </a:cubicBezTo>
                    <a:cubicBezTo>
                      <a:pt x="1730" y="133"/>
                      <a:pt x="1730" y="133"/>
                      <a:pt x="1730" y="133"/>
                    </a:cubicBezTo>
                    <a:cubicBezTo>
                      <a:pt x="1731" y="133"/>
                      <a:pt x="1731" y="133"/>
                      <a:pt x="1731" y="133"/>
                    </a:cubicBezTo>
                    <a:lnTo>
                      <a:pt x="1731" y="134"/>
                    </a:lnTo>
                    <a:close/>
                    <a:moveTo>
                      <a:pt x="2079" y="275"/>
                    </a:moveTo>
                    <a:cubicBezTo>
                      <a:pt x="2079" y="274"/>
                      <a:pt x="2079" y="274"/>
                      <a:pt x="2079" y="274"/>
                    </a:cubicBezTo>
                    <a:cubicBezTo>
                      <a:pt x="2080" y="273"/>
                      <a:pt x="2080" y="273"/>
                      <a:pt x="2080" y="273"/>
                    </a:cubicBezTo>
                    <a:cubicBezTo>
                      <a:pt x="2081" y="272"/>
                      <a:pt x="2081" y="272"/>
                      <a:pt x="2081" y="272"/>
                    </a:cubicBezTo>
                    <a:cubicBezTo>
                      <a:pt x="2082" y="271"/>
                      <a:pt x="2082" y="271"/>
                      <a:pt x="2082" y="271"/>
                    </a:cubicBezTo>
                    <a:cubicBezTo>
                      <a:pt x="2083" y="270"/>
                      <a:pt x="2083" y="270"/>
                      <a:pt x="2083" y="270"/>
                    </a:cubicBezTo>
                    <a:cubicBezTo>
                      <a:pt x="2083" y="269"/>
                      <a:pt x="2083" y="269"/>
                      <a:pt x="2083" y="269"/>
                    </a:cubicBezTo>
                    <a:cubicBezTo>
                      <a:pt x="2082" y="267"/>
                      <a:pt x="2082" y="267"/>
                      <a:pt x="2082" y="267"/>
                    </a:cubicBezTo>
                    <a:cubicBezTo>
                      <a:pt x="2080" y="266"/>
                      <a:pt x="2080" y="266"/>
                      <a:pt x="2080" y="266"/>
                    </a:cubicBezTo>
                    <a:cubicBezTo>
                      <a:pt x="2080" y="265"/>
                      <a:pt x="2080" y="265"/>
                      <a:pt x="2080" y="265"/>
                    </a:cubicBezTo>
                    <a:cubicBezTo>
                      <a:pt x="2079" y="266"/>
                      <a:pt x="2079" y="266"/>
                      <a:pt x="2079" y="266"/>
                    </a:cubicBezTo>
                    <a:cubicBezTo>
                      <a:pt x="2079" y="267"/>
                      <a:pt x="2079" y="267"/>
                      <a:pt x="2079" y="267"/>
                    </a:cubicBezTo>
                    <a:cubicBezTo>
                      <a:pt x="2078" y="267"/>
                      <a:pt x="2078" y="267"/>
                      <a:pt x="2078" y="267"/>
                    </a:cubicBezTo>
                    <a:cubicBezTo>
                      <a:pt x="2077" y="269"/>
                      <a:pt x="2077" y="269"/>
                      <a:pt x="2077" y="269"/>
                    </a:cubicBezTo>
                    <a:cubicBezTo>
                      <a:pt x="2076" y="269"/>
                      <a:pt x="2076" y="269"/>
                      <a:pt x="2076" y="269"/>
                    </a:cubicBezTo>
                    <a:cubicBezTo>
                      <a:pt x="2076" y="270"/>
                      <a:pt x="2076" y="270"/>
                      <a:pt x="2076" y="270"/>
                    </a:cubicBezTo>
                    <a:cubicBezTo>
                      <a:pt x="2077" y="270"/>
                      <a:pt x="2077" y="270"/>
                      <a:pt x="2077" y="270"/>
                    </a:cubicBezTo>
                    <a:cubicBezTo>
                      <a:pt x="2078" y="270"/>
                      <a:pt x="2078" y="270"/>
                      <a:pt x="2078" y="270"/>
                    </a:cubicBezTo>
                    <a:cubicBezTo>
                      <a:pt x="2077" y="271"/>
                      <a:pt x="2077" y="271"/>
                      <a:pt x="2077" y="271"/>
                    </a:cubicBezTo>
                    <a:cubicBezTo>
                      <a:pt x="2078" y="273"/>
                      <a:pt x="2078" y="273"/>
                      <a:pt x="2078" y="273"/>
                    </a:cubicBezTo>
                    <a:cubicBezTo>
                      <a:pt x="2078" y="274"/>
                      <a:pt x="2078" y="274"/>
                      <a:pt x="2078" y="274"/>
                    </a:cubicBezTo>
                    <a:cubicBezTo>
                      <a:pt x="2078" y="275"/>
                      <a:pt x="2078" y="275"/>
                      <a:pt x="2078" y="275"/>
                    </a:cubicBezTo>
                    <a:cubicBezTo>
                      <a:pt x="2078" y="276"/>
                      <a:pt x="2078" y="276"/>
                      <a:pt x="2078" y="276"/>
                    </a:cubicBezTo>
                    <a:cubicBezTo>
                      <a:pt x="2078" y="277"/>
                      <a:pt x="2078" y="277"/>
                      <a:pt x="2078" y="277"/>
                    </a:cubicBezTo>
                    <a:cubicBezTo>
                      <a:pt x="2079" y="278"/>
                      <a:pt x="2079" y="278"/>
                      <a:pt x="2079" y="278"/>
                    </a:cubicBezTo>
                    <a:cubicBezTo>
                      <a:pt x="2080" y="278"/>
                      <a:pt x="2080" y="278"/>
                      <a:pt x="2080" y="278"/>
                    </a:cubicBezTo>
                    <a:cubicBezTo>
                      <a:pt x="2079" y="277"/>
                      <a:pt x="2079" y="277"/>
                      <a:pt x="2079" y="277"/>
                    </a:cubicBezTo>
                    <a:cubicBezTo>
                      <a:pt x="2079" y="276"/>
                      <a:pt x="2079" y="276"/>
                      <a:pt x="2079" y="276"/>
                    </a:cubicBezTo>
                    <a:cubicBezTo>
                      <a:pt x="2079" y="275"/>
                      <a:pt x="2079" y="275"/>
                      <a:pt x="2079" y="275"/>
                    </a:cubicBezTo>
                    <a:close/>
                    <a:moveTo>
                      <a:pt x="1396" y="65"/>
                    </a:moveTo>
                    <a:cubicBezTo>
                      <a:pt x="1396" y="65"/>
                      <a:pt x="1396" y="65"/>
                      <a:pt x="1396" y="64"/>
                    </a:cubicBezTo>
                    <a:cubicBezTo>
                      <a:pt x="1396" y="64"/>
                      <a:pt x="1396" y="64"/>
                      <a:pt x="1396" y="63"/>
                    </a:cubicBezTo>
                    <a:cubicBezTo>
                      <a:pt x="1396" y="63"/>
                      <a:pt x="1396" y="63"/>
                      <a:pt x="1394" y="63"/>
                    </a:cubicBezTo>
                    <a:cubicBezTo>
                      <a:pt x="1394" y="63"/>
                      <a:pt x="1394" y="63"/>
                      <a:pt x="1394" y="62"/>
                    </a:cubicBezTo>
                    <a:cubicBezTo>
                      <a:pt x="1394" y="62"/>
                      <a:pt x="1394" y="62"/>
                      <a:pt x="1393" y="62"/>
                    </a:cubicBezTo>
                    <a:cubicBezTo>
                      <a:pt x="1393" y="62"/>
                      <a:pt x="1393" y="62"/>
                      <a:pt x="1393" y="63"/>
                    </a:cubicBezTo>
                    <a:cubicBezTo>
                      <a:pt x="1393" y="63"/>
                      <a:pt x="1393" y="63"/>
                      <a:pt x="1393" y="64"/>
                    </a:cubicBezTo>
                    <a:cubicBezTo>
                      <a:pt x="1393" y="64"/>
                      <a:pt x="1393" y="64"/>
                      <a:pt x="1395" y="65"/>
                    </a:cubicBezTo>
                    <a:cubicBezTo>
                      <a:pt x="1395" y="65"/>
                      <a:pt x="1395" y="65"/>
                      <a:pt x="1396" y="65"/>
                    </a:cubicBezTo>
                    <a:close/>
                    <a:moveTo>
                      <a:pt x="1387" y="56"/>
                    </a:moveTo>
                    <a:cubicBezTo>
                      <a:pt x="1388" y="56"/>
                      <a:pt x="1388" y="56"/>
                      <a:pt x="1388" y="56"/>
                    </a:cubicBezTo>
                    <a:cubicBezTo>
                      <a:pt x="1389" y="56"/>
                      <a:pt x="1389" y="56"/>
                      <a:pt x="1389" y="56"/>
                    </a:cubicBezTo>
                    <a:cubicBezTo>
                      <a:pt x="1389" y="57"/>
                      <a:pt x="1389" y="57"/>
                      <a:pt x="1389" y="57"/>
                    </a:cubicBezTo>
                    <a:cubicBezTo>
                      <a:pt x="1390" y="56"/>
                      <a:pt x="1390" y="56"/>
                      <a:pt x="1390" y="56"/>
                    </a:cubicBezTo>
                    <a:cubicBezTo>
                      <a:pt x="1391" y="55"/>
                      <a:pt x="1391" y="55"/>
                      <a:pt x="1391" y="55"/>
                    </a:cubicBezTo>
                    <a:cubicBezTo>
                      <a:pt x="1391" y="54"/>
                      <a:pt x="1391" y="54"/>
                      <a:pt x="1391" y="54"/>
                    </a:cubicBezTo>
                    <a:cubicBezTo>
                      <a:pt x="1389" y="54"/>
                      <a:pt x="1389" y="54"/>
                      <a:pt x="1389" y="54"/>
                    </a:cubicBezTo>
                    <a:cubicBezTo>
                      <a:pt x="1389" y="53"/>
                      <a:pt x="1389" y="53"/>
                      <a:pt x="1389" y="53"/>
                    </a:cubicBezTo>
                    <a:cubicBezTo>
                      <a:pt x="1388" y="53"/>
                      <a:pt x="1388" y="53"/>
                      <a:pt x="1388" y="53"/>
                    </a:cubicBezTo>
                    <a:cubicBezTo>
                      <a:pt x="1387" y="53"/>
                      <a:pt x="1387" y="53"/>
                      <a:pt x="1387" y="53"/>
                    </a:cubicBezTo>
                    <a:cubicBezTo>
                      <a:pt x="1385" y="54"/>
                      <a:pt x="1385" y="54"/>
                      <a:pt x="1385" y="54"/>
                    </a:cubicBezTo>
                    <a:cubicBezTo>
                      <a:pt x="1385" y="55"/>
                      <a:pt x="1385" y="55"/>
                      <a:pt x="1385" y="55"/>
                    </a:cubicBezTo>
                    <a:cubicBezTo>
                      <a:pt x="1386" y="56"/>
                      <a:pt x="1386" y="56"/>
                      <a:pt x="1386" y="56"/>
                    </a:cubicBezTo>
                    <a:cubicBezTo>
                      <a:pt x="1387" y="56"/>
                      <a:pt x="1387" y="56"/>
                      <a:pt x="1387" y="56"/>
                    </a:cubicBezTo>
                    <a:close/>
                    <a:moveTo>
                      <a:pt x="2063" y="435"/>
                    </a:moveTo>
                    <a:cubicBezTo>
                      <a:pt x="2063" y="434"/>
                      <a:pt x="2063" y="434"/>
                      <a:pt x="2063" y="434"/>
                    </a:cubicBezTo>
                    <a:cubicBezTo>
                      <a:pt x="2064" y="432"/>
                      <a:pt x="2064" y="432"/>
                      <a:pt x="2064" y="432"/>
                    </a:cubicBezTo>
                    <a:cubicBezTo>
                      <a:pt x="2065" y="431"/>
                      <a:pt x="2065" y="431"/>
                      <a:pt x="2065" y="431"/>
                    </a:cubicBezTo>
                    <a:cubicBezTo>
                      <a:pt x="2064" y="431"/>
                      <a:pt x="2064" y="431"/>
                      <a:pt x="2064" y="431"/>
                    </a:cubicBezTo>
                    <a:cubicBezTo>
                      <a:pt x="2063" y="431"/>
                      <a:pt x="2063" y="431"/>
                      <a:pt x="2063" y="431"/>
                    </a:cubicBezTo>
                    <a:cubicBezTo>
                      <a:pt x="2063" y="432"/>
                      <a:pt x="2063" y="432"/>
                      <a:pt x="2063" y="432"/>
                    </a:cubicBezTo>
                    <a:cubicBezTo>
                      <a:pt x="2062" y="433"/>
                      <a:pt x="2062" y="433"/>
                      <a:pt x="2062" y="433"/>
                    </a:cubicBezTo>
                    <a:cubicBezTo>
                      <a:pt x="2062" y="434"/>
                      <a:pt x="2062" y="434"/>
                      <a:pt x="2062" y="434"/>
                    </a:cubicBezTo>
                    <a:cubicBezTo>
                      <a:pt x="2061" y="434"/>
                      <a:pt x="2061" y="434"/>
                      <a:pt x="2061" y="434"/>
                    </a:cubicBezTo>
                    <a:cubicBezTo>
                      <a:pt x="2061" y="435"/>
                      <a:pt x="2061" y="435"/>
                      <a:pt x="2061" y="435"/>
                    </a:cubicBezTo>
                    <a:cubicBezTo>
                      <a:pt x="2060" y="436"/>
                      <a:pt x="2060" y="436"/>
                      <a:pt x="2060" y="436"/>
                    </a:cubicBezTo>
                    <a:cubicBezTo>
                      <a:pt x="2060" y="438"/>
                      <a:pt x="2060" y="438"/>
                      <a:pt x="2060" y="438"/>
                    </a:cubicBezTo>
                    <a:cubicBezTo>
                      <a:pt x="2062" y="437"/>
                      <a:pt x="2062" y="437"/>
                      <a:pt x="2062" y="437"/>
                    </a:cubicBezTo>
                    <a:cubicBezTo>
                      <a:pt x="2063" y="435"/>
                      <a:pt x="2063" y="435"/>
                      <a:pt x="2063" y="435"/>
                    </a:cubicBezTo>
                    <a:close/>
                    <a:moveTo>
                      <a:pt x="1391" y="61"/>
                    </a:moveTo>
                    <a:cubicBezTo>
                      <a:pt x="1391" y="61"/>
                      <a:pt x="1391" y="61"/>
                      <a:pt x="1389" y="62"/>
                    </a:cubicBezTo>
                    <a:cubicBezTo>
                      <a:pt x="1389" y="62"/>
                      <a:pt x="1389" y="62"/>
                      <a:pt x="1389" y="63"/>
                    </a:cubicBezTo>
                    <a:cubicBezTo>
                      <a:pt x="1389" y="63"/>
                      <a:pt x="1389" y="63"/>
                      <a:pt x="1390" y="63"/>
                    </a:cubicBezTo>
                    <a:cubicBezTo>
                      <a:pt x="1390" y="63"/>
                      <a:pt x="1390" y="63"/>
                      <a:pt x="1391" y="63"/>
                    </a:cubicBezTo>
                    <a:cubicBezTo>
                      <a:pt x="1391" y="63"/>
                      <a:pt x="1391" y="63"/>
                      <a:pt x="1392" y="62"/>
                    </a:cubicBezTo>
                    <a:cubicBezTo>
                      <a:pt x="1392" y="62"/>
                      <a:pt x="1392" y="62"/>
                      <a:pt x="1392" y="61"/>
                    </a:cubicBezTo>
                    <a:cubicBezTo>
                      <a:pt x="1392" y="61"/>
                      <a:pt x="1392" y="61"/>
                      <a:pt x="1391" y="60"/>
                    </a:cubicBezTo>
                    <a:cubicBezTo>
                      <a:pt x="1391" y="60"/>
                      <a:pt x="1391" y="60"/>
                      <a:pt x="1391" y="61"/>
                    </a:cubicBezTo>
                    <a:close/>
                    <a:moveTo>
                      <a:pt x="1391" y="53"/>
                    </a:moveTo>
                    <a:cubicBezTo>
                      <a:pt x="1391" y="54"/>
                      <a:pt x="1391" y="54"/>
                      <a:pt x="1391" y="54"/>
                    </a:cubicBezTo>
                    <a:cubicBezTo>
                      <a:pt x="1392" y="54"/>
                      <a:pt x="1392" y="54"/>
                      <a:pt x="1392" y="54"/>
                    </a:cubicBezTo>
                    <a:cubicBezTo>
                      <a:pt x="1391" y="53"/>
                      <a:pt x="1391" y="53"/>
                      <a:pt x="1391" y="53"/>
                    </a:cubicBezTo>
                    <a:close/>
                    <a:moveTo>
                      <a:pt x="1390" y="84"/>
                    </a:moveTo>
                    <a:cubicBezTo>
                      <a:pt x="1391" y="84"/>
                      <a:pt x="1391" y="84"/>
                      <a:pt x="1391" y="84"/>
                    </a:cubicBezTo>
                    <a:cubicBezTo>
                      <a:pt x="1390" y="83"/>
                      <a:pt x="1390" y="83"/>
                      <a:pt x="1390" y="83"/>
                    </a:cubicBezTo>
                    <a:cubicBezTo>
                      <a:pt x="1390" y="82"/>
                      <a:pt x="1390" y="82"/>
                      <a:pt x="1390" y="82"/>
                    </a:cubicBezTo>
                    <a:cubicBezTo>
                      <a:pt x="1389" y="82"/>
                      <a:pt x="1389" y="82"/>
                      <a:pt x="1389" y="82"/>
                    </a:cubicBezTo>
                    <a:cubicBezTo>
                      <a:pt x="1388" y="83"/>
                      <a:pt x="1388" y="83"/>
                      <a:pt x="1388" y="83"/>
                    </a:cubicBezTo>
                    <a:cubicBezTo>
                      <a:pt x="1388" y="84"/>
                      <a:pt x="1388" y="84"/>
                      <a:pt x="1388" y="84"/>
                    </a:cubicBezTo>
                    <a:cubicBezTo>
                      <a:pt x="1389" y="84"/>
                      <a:pt x="1389" y="84"/>
                      <a:pt x="1389" y="84"/>
                    </a:cubicBezTo>
                    <a:cubicBezTo>
                      <a:pt x="1390" y="84"/>
                      <a:pt x="1390" y="84"/>
                      <a:pt x="1390" y="84"/>
                    </a:cubicBezTo>
                    <a:close/>
                    <a:moveTo>
                      <a:pt x="1392" y="80"/>
                    </a:moveTo>
                    <a:cubicBezTo>
                      <a:pt x="1392" y="79"/>
                      <a:pt x="1392" y="79"/>
                      <a:pt x="1392" y="79"/>
                    </a:cubicBezTo>
                    <a:cubicBezTo>
                      <a:pt x="1391" y="79"/>
                      <a:pt x="1391" y="79"/>
                      <a:pt x="1391" y="79"/>
                    </a:cubicBezTo>
                    <a:cubicBezTo>
                      <a:pt x="1391" y="80"/>
                      <a:pt x="1391" y="80"/>
                      <a:pt x="1391" y="80"/>
                    </a:cubicBezTo>
                    <a:cubicBezTo>
                      <a:pt x="1390" y="80"/>
                      <a:pt x="1390" y="80"/>
                      <a:pt x="1390" y="80"/>
                    </a:cubicBezTo>
                    <a:cubicBezTo>
                      <a:pt x="1391" y="81"/>
                      <a:pt x="1391" y="81"/>
                      <a:pt x="1391" y="81"/>
                    </a:cubicBezTo>
                    <a:cubicBezTo>
                      <a:pt x="1392" y="80"/>
                      <a:pt x="1392" y="80"/>
                      <a:pt x="1392" y="80"/>
                    </a:cubicBezTo>
                    <a:close/>
                    <a:moveTo>
                      <a:pt x="1389" y="81"/>
                    </a:moveTo>
                    <a:cubicBezTo>
                      <a:pt x="1389" y="80"/>
                      <a:pt x="1389" y="80"/>
                      <a:pt x="1389" y="80"/>
                    </a:cubicBezTo>
                    <a:cubicBezTo>
                      <a:pt x="1388" y="81"/>
                      <a:pt x="1388" y="81"/>
                      <a:pt x="1388" y="81"/>
                    </a:cubicBezTo>
                    <a:cubicBezTo>
                      <a:pt x="1389" y="81"/>
                      <a:pt x="1389" y="81"/>
                      <a:pt x="1389" y="81"/>
                    </a:cubicBezTo>
                    <a:close/>
                    <a:moveTo>
                      <a:pt x="1397" y="75"/>
                    </a:moveTo>
                    <a:cubicBezTo>
                      <a:pt x="1398" y="75"/>
                      <a:pt x="1398" y="75"/>
                      <a:pt x="1398" y="75"/>
                    </a:cubicBezTo>
                    <a:cubicBezTo>
                      <a:pt x="1398" y="74"/>
                      <a:pt x="1398" y="74"/>
                      <a:pt x="1398" y="74"/>
                    </a:cubicBezTo>
                    <a:cubicBezTo>
                      <a:pt x="1397" y="73"/>
                      <a:pt x="1397" y="73"/>
                      <a:pt x="1397" y="73"/>
                    </a:cubicBezTo>
                    <a:cubicBezTo>
                      <a:pt x="1397" y="74"/>
                      <a:pt x="1397" y="74"/>
                      <a:pt x="1397" y="74"/>
                    </a:cubicBezTo>
                    <a:cubicBezTo>
                      <a:pt x="1396" y="74"/>
                      <a:pt x="1396" y="74"/>
                      <a:pt x="1396" y="74"/>
                    </a:cubicBezTo>
                    <a:cubicBezTo>
                      <a:pt x="1395" y="74"/>
                      <a:pt x="1395" y="74"/>
                      <a:pt x="1395" y="74"/>
                    </a:cubicBezTo>
                    <a:cubicBezTo>
                      <a:pt x="1396" y="75"/>
                      <a:pt x="1396" y="75"/>
                      <a:pt x="1396" y="75"/>
                    </a:cubicBezTo>
                    <a:cubicBezTo>
                      <a:pt x="1397" y="75"/>
                      <a:pt x="1397" y="75"/>
                      <a:pt x="1397" y="75"/>
                    </a:cubicBezTo>
                    <a:close/>
                    <a:moveTo>
                      <a:pt x="1395" y="56"/>
                    </a:moveTo>
                    <a:cubicBezTo>
                      <a:pt x="1395" y="56"/>
                      <a:pt x="1395" y="56"/>
                      <a:pt x="1395" y="55"/>
                    </a:cubicBezTo>
                    <a:cubicBezTo>
                      <a:pt x="1395" y="55"/>
                      <a:pt x="1395" y="55"/>
                      <a:pt x="1395" y="54"/>
                    </a:cubicBezTo>
                    <a:cubicBezTo>
                      <a:pt x="1395" y="54"/>
                      <a:pt x="1395" y="54"/>
                      <a:pt x="1394" y="54"/>
                    </a:cubicBezTo>
                    <a:cubicBezTo>
                      <a:pt x="1394" y="54"/>
                      <a:pt x="1394" y="54"/>
                      <a:pt x="1393" y="54"/>
                    </a:cubicBezTo>
                    <a:cubicBezTo>
                      <a:pt x="1393" y="54"/>
                      <a:pt x="1393" y="54"/>
                      <a:pt x="1393" y="55"/>
                    </a:cubicBezTo>
                    <a:cubicBezTo>
                      <a:pt x="1393" y="55"/>
                      <a:pt x="1393" y="55"/>
                      <a:pt x="1393" y="56"/>
                    </a:cubicBezTo>
                    <a:cubicBezTo>
                      <a:pt x="1393" y="56"/>
                      <a:pt x="1393" y="56"/>
                      <a:pt x="1394" y="56"/>
                    </a:cubicBezTo>
                    <a:cubicBezTo>
                      <a:pt x="1394" y="56"/>
                      <a:pt x="1394" y="56"/>
                      <a:pt x="1395" y="56"/>
                    </a:cubicBezTo>
                    <a:close/>
                    <a:moveTo>
                      <a:pt x="1396" y="68"/>
                    </a:moveTo>
                    <a:cubicBezTo>
                      <a:pt x="1396" y="68"/>
                      <a:pt x="1396" y="68"/>
                      <a:pt x="1395" y="69"/>
                    </a:cubicBezTo>
                    <a:cubicBezTo>
                      <a:pt x="1395" y="69"/>
                      <a:pt x="1395" y="69"/>
                      <a:pt x="1395" y="70"/>
                    </a:cubicBezTo>
                    <a:cubicBezTo>
                      <a:pt x="1395" y="70"/>
                      <a:pt x="1395" y="70"/>
                      <a:pt x="1396" y="70"/>
                    </a:cubicBezTo>
                    <a:cubicBezTo>
                      <a:pt x="1396" y="70"/>
                      <a:pt x="1396" y="70"/>
                      <a:pt x="1397" y="70"/>
                    </a:cubicBezTo>
                    <a:cubicBezTo>
                      <a:pt x="1397" y="70"/>
                      <a:pt x="1397" y="70"/>
                      <a:pt x="1398" y="69"/>
                    </a:cubicBezTo>
                    <a:cubicBezTo>
                      <a:pt x="1398" y="69"/>
                      <a:pt x="1398" y="69"/>
                      <a:pt x="1398" y="68"/>
                    </a:cubicBezTo>
                    <a:cubicBezTo>
                      <a:pt x="1398" y="68"/>
                      <a:pt x="1398" y="68"/>
                      <a:pt x="1397" y="66"/>
                    </a:cubicBezTo>
                    <a:cubicBezTo>
                      <a:pt x="1397" y="66"/>
                      <a:pt x="1397" y="66"/>
                      <a:pt x="1396" y="67"/>
                    </a:cubicBezTo>
                    <a:cubicBezTo>
                      <a:pt x="1396" y="67"/>
                      <a:pt x="1396" y="67"/>
                      <a:pt x="1396" y="68"/>
                    </a:cubicBezTo>
                    <a:close/>
                    <a:moveTo>
                      <a:pt x="1390" y="76"/>
                    </a:moveTo>
                    <a:cubicBezTo>
                      <a:pt x="1390" y="76"/>
                      <a:pt x="1390" y="76"/>
                      <a:pt x="1390" y="75"/>
                    </a:cubicBezTo>
                    <a:cubicBezTo>
                      <a:pt x="1390" y="75"/>
                      <a:pt x="1390" y="75"/>
                      <a:pt x="1391" y="75"/>
                    </a:cubicBezTo>
                    <a:cubicBezTo>
                      <a:pt x="1391" y="75"/>
                      <a:pt x="1391" y="75"/>
                      <a:pt x="1392" y="75"/>
                    </a:cubicBezTo>
                    <a:cubicBezTo>
                      <a:pt x="1392" y="75"/>
                      <a:pt x="1392" y="75"/>
                      <a:pt x="1393" y="75"/>
                    </a:cubicBezTo>
                    <a:cubicBezTo>
                      <a:pt x="1393" y="75"/>
                      <a:pt x="1393" y="75"/>
                      <a:pt x="1393" y="74"/>
                    </a:cubicBezTo>
                    <a:cubicBezTo>
                      <a:pt x="1393" y="74"/>
                      <a:pt x="1393" y="74"/>
                      <a:pt x="1392" y="73"/>
                    </a:cubicBezTo>
                    <a:cubicBezTo>
                      <a:pt x="1392" y="73"/>
                      <a:pt x="1392" y="73"/>
                      <a:pt x="1391" y="73"/>
                    </a:cubicBezTo>
                    <a:cubicBezTo>
                      <a:pt x="1391" y="73"/>
                      <a:pt x="1391" y="73"/>
                      <a:pt x="1390" y="72"/>
                    </a:cubicBezTo>
                    <a:cubicBezTo>
                      <a:pt x="1390" y="72"/>
                      <a:pt x="1390" y="72"/>
                      <a:pt x="1389" y="73"/>
                    </a:cubicBezTo>
                    <a:cubicBezTo>
                      <a:pt x="1389" y="73"/>
                      <a:pt x="1389" y="73"/>
                      <a:pt x="1388" y="74"/>
                    </a:cubicBezTo>
                    <a:cubicBezTo>
                      <a:pt x="1388" y="74"/>
                      <a:pt x="1388" y="74"/>
                      <a:pt x="1388" y="75"/>
                    </a:cubicBezTo>
                    <a:cubicBezTo>
                      <a:pt x="1388" y="75"/>
                      <a:pt x="1388" y="75"/>
                      <a:pt x="1389" y="76"/>
                    </a:cubicBezTo>
                    <a:cubicBezTo>
                      <a:pt x="1389" y="76"/>
                      <a:pt x="1389" y="76"/>
                      <a:pt x="1390" y="76"/>
                    </a:cubicBezTo>
                    <a:close/>
                    <a:moveTo>
                      <a:pt x="1388" y="72"/>
                    </a:moveTo>
                    <a:cubicBezTo>
                      <a:pt x="1388" y="72"/>
                      <a:pt x="1388" y="72"/>
                      <a:pt x="1387" y="72"/>
                    </a:cubicBezTo>
                    <a:cubicBezTo>
                      <a:pt x="1387" y="72"/>
                      <a:pt x="1387" y="72"/>
                      <a:pt x="1386" y="72"/>
                    </a:cubicBezTo>
                    <a:cubicBezTo>
                      <a:pt x="1386" y="72"/>
                      <a:pt x="1386" y="72"/>
                      <a:pt x="1385" y="71"/>
                    </a:cubicBezTo>
                    <a:cubicBezTo>
                      <a:pt x="1385" y="71"/>
                      <a:pt x="1385" y="71"/>
                      <a:pt x="1383" y="71"/>
                    </a:cubicBezTo>
                    <a:cubicBezTo>
                      <a:pt x="1383" y="71"/>
                      <a:pt x="1383" y="71"/>
                      <a:pt x="1382" y="72"/>
                    </a:cubicBezTo>
                    <a:cubicBezTo>
                      <a:pt x="1382" y="72"/>
                      <a:pt x="1382" y="72"/>
                      <a:pt x="1381" y="72"/>
                    </a:cubicBezTo>
                    <a:cubicBezTo>
                      <a:pt x="1381" y="72"/>
                      <a:pt x="1381" y="72"/>
                      <a:pt x="1381" y="73"/>
                    </a:cubicBezTo>
                    <a:cubicBezTo>
                      <a:pt x="1381" y="73"/>
                      <a:pt x="1381" y="73"/>
                      <a:pt x="1382" y="74"/>
                    </a:cubicBezTo>
                    <a:cubicBezTo>
                      <a:pt x="1382" y="74"/>
                      <a:pt x="1382" y="74"/>
                      <a:pt x="1384" y="74"/>
                    </a:cubicBezTo>
                    <a:cubicBezTo>
                      <a:pt x="1385" y="74"/>
                      <a:pt x="1385" y="74"/>
                      <a:pt x="1385" y="74"/>
                    </a:cubicBezTo>
                    <a:cubicBezTo>
                      <a:pt x="1385" y="74"/>
                      <a:pt x="1385" y="74"/>
                      <a:pt x="1388" y="73"/>
                    </a:cubicBezTo>
                    <a:cubicBezTo>
                      <a:pt x="1388" y="73"/>
                      <a:pt x="1388" y="73"/>
                      <a:pt x="1388" y="72"/>
                    </a:cubicBezTo>
                    <a:close/>
                    <a:moveTo>
                      <a:pt x="1391" y="288"/>
                    </a:moveTo>
                    <a:cubicBezTo>
                      <a:pt x="1390" y="287"/>
                      <a:pt x="1390" y="287"/>
                      <a:pt x="1390" y="287"/>
                    </a:cubicBezTo>
                    <a:cubicBezTo>
                      <a:pt x="1389" y="287"/>
                      <a:pt x="1389" y="287"/>
                      <a:pt x="1389" y="287"/>
                    </a:cubicBezTo>
                    <a:cubicBezTo>
                      <a:pt x="1389" y="288"/>
                      <a:pt x="1389" y="288"/>
                      <a:pt x="1389" y="288"/>
                    </a:cubicBezTo>
                    <a:cubicBezTo>
                      <a:pt x="1390" y="288"/>
                      <a:pt x="1390" y="288"/>
                      <a:pt x="1390" y="288"/>
                    </a:cubicBezTo>
                    <a:cubicBezTo>
                      <a:pt x="1391" y="288"/>
                      <a:pt x="1391" y="288"/>
                      <a:pt x="1391" y="288"/>
                    </a:cubicBezTo>
                    <a:close/>
                    <a:moveTo>
                      <a:pt x="1580" y="215"/>
                    </a:moveTo>
                    <a:cubicBezTo>
                      <a:pt x="1580" y="216"/>
                      <a:pt x="1580" y="216"/>
                      <a:pt x="1580" y="216"/>
                    </a:cubicBezTo>
                    <a:cubicBezTo>
                      <a:pt x="1580" y="217"/>
                      <a:pt x="1580" y="217"/>
                      <a:pt x="1580" y="217"/>
                    </a:cubicBezTo>
                    <a:cubicBezTo>
                      <a:pt x="1581" y="216"/>
                      <a:pt x="1581" y="216"/>
                      <a:pt x="1581" y="216"/>
                    </a:cubicBezTo>
                    <a:cubicBezTo>
                      <a:pt x="1580" y="215"/>
                      <a:pt x="1580" y="215"/>
                      <a:pt x="1580" y="215"/>
                    </a:cubicBezTo>
                    <a:close/>
                    <a:moveTo>
                      <a:pt x="1386" y="79"/>
                    </a:moveTo>
                    <a:cubicBezTo>
                      <a:pt x="1387" y="80"/>
                      <a:pt x="1387" y="80"/>
                      <a:pt x="1387" y="80"/>
                    </a:cubicBezTo>
                    <a:cubicBezTo>
                      <a:pt x="1387" y="79"/>
                      <a:pt x="1387" y="79"/>
                      <a:pt x="1387" y="79"/>
                    </a:cubicBezTo>
                    <a:cubicBezTo>
                      <a:pt x="1387" y="78"/>
                      <a:pt x="1387" y="78"/>
                      <a:pt x="1387" y="78"/>
                    </a:cubicBezTo>
                    <a:cubicBezTo>
                      <a:pt x="1386" y="78"/>
                      <a:pt x="1386" y="78"/>
                      <a:pt x="1386" y="78"/>
                    </a:cubicBezTo>
                    <a:cubicBezTo>
                      <a:pt x="1385" y="78"/>
                      <a:pt x="1385" y="78"/>
                      <a:pt x="1385" y="78"/>
                    </a:cubicBezTo>
                    <a:cubicBezTo>
                      <a:pt x="1386" y="79"/>
                      <a:pt x="1386" y="79"/>
                      <a:pt x="1386" y="79"/>
                    </a:cubicBezTo>
                    <a:close/>
                    <a:moveTo>
                      <a:pt x="1388" y="50"/>
                    </a:moveTo>
                    <a:cubicBezTo>
                      <a:pt x="1390" y="49"/>
                      <a:pt x="1390" y="49"/>
                      <a:pt x="1390" y="49"/>
                    </a:cubicBezTo>
                    <a:cubicBezTo>
                      <a:pt x="1391" y="49"/>
                      <a:pt x="1391" y="49"/>
                      <a:pt x="1391" y="49"/>
                    </a:cubicBezTo>
                    <a:cubicBezTo>
                      <a:pt x="1391" y="48"/>
                      <a:pt x="1391" y="48"/>
                      <a:pt x="1391" y="48"/>
                    </a:cubicBezTo>
                    <a:cubicBezTo>
                      <a:pt x="1392" y="48"/>
                      <a:pt x="1392" y="48"/>
                      <a:pt x="1392" y="48"/>
                    </a:cubicBezTo>
                    <a:cubicBezTo>
                      <a:pt x="1391" y="47"/>
                      <a:pt x="1391" y="47"/>
                      <a:pt x="1391" y="47"/>
                    </a:cubicBezTo>
                    <a:cubicBezTo>
                      <a:pt x="1391" y="46"/>
                      <a:pt x="1391" y="46"/>
                      <a:pt x="1391" y="46"/>
                    </a:cubicBezTo>
                    <a:cubicBezTo>
                      <a:pt x="1390" y="45"/>
                      <a:pt x="1390" y="45"/>
                      <a:pt x="1390" y="45"/>
                    </a:cubicBezTo>
                    <a:cubicBezTo>
                      <a:pt x="1389" y="46"/>
                      <a:pt x="1389" y="46"/>
                      <a:pt x="1389" y="46"/>
                    </a:cubicBezTo>
                    <a:cubicBezTo>
                      <a:pt x="1388" y="46"/>
                      <a:pt x="1388" y="46"/>
                      <a:pt x="1388" y="46"/>
                    </a:cubicBezTo>
                    <a:cubicBezTo>
                      <a:pt x="1387" y="47"/>
                      <a:pt x="1387" y="47"/>
                      <a:pt x="1387" y="47"/>
                    </a:cubicBezTo>
                    <a:cubicBezTo>
                      <a:pt x="1387" y="48"/>
                      <a:pt x="1387" y="48"/>
                      <a:pt x="1387" y="48"/>
                    </a:cubicBezTo>
                    <a:cubicBezTo>
                      <a:pt x="1388" y="49"/>
                      <a:pt x="1388" y="49"/>
                      <a:pt x="1388" y="49"/>
                    </a:cubicBezTo>
                    <a:lnTo>
                      <a:pt x="1388" y="50"/>
                    </a:lnTo>
                    <a:close/>
                    <a:moveTo>
                      <a:pt x="2073" y="410"/>
                    </a:moveTo>
                    <a:cubicBezTo>
                      <a:pt x="2073" y="411"/>
                      <a:pt x="2073" y="411"/>
                      <a:pt x="2073" y="411"/>
                    </a:cubicBezTo>
                    <a:cubicBezTo>
                      <a:pt x="2074" y="411"/>
                      <a:pt x="2074" y="411"/>
                      <a:pt x="2074" y="411"/>
                    </a:cubicBezTo>
                    <a:cubicBezTo>
                      <a:pt x="2073" y="410"/>
                      <a:pt x="2073" y="410"/>
                      <a:pt x="2073" y="410"/>
                    </a:cubicBezTo>
                    <a:close/>
                    <a:moveTo>
                      <a:pt x="2078" y="380"/>
                    </a:moveTo>
                    <a:cubicBezTo>
                      <a:pt x="2078" y="382"/>
                      <a:pt x="2078" y="382"/>
                      <a:pt x="2078" y="382"/>
                    </a:cubicBezTo>
                    <a:cubicBezTo>
                      <a:pt x="2078" y="383"/>
                      <a:pt x="2078" y="383"/>
                      <a:pt x="2078" y="383"/>
                    </a:cubicBezTo>
                    <a:cubicBezTo>
                      <a:pt x="2077" y="383"/>
                      <a:pt x="2077" y="383"/>
                      <a:pt x="2077" y="383"/>
                    </a:cubicBezTo>
                    <a:cubicBezTo>
                      <a:pt x="2076" y="385"/>
                      <a:pt x="2076" y="385"/>
                      <a:pt x="2076" y="385"/>
                    </a:cubicBezTo>
                    <a:cubicBezTo>
                      <a:pt x="2075" y="385"/>
                      <a:pt x="2075" y="385"/>
                      <a:pt x="2075" y="385"/>
                    </a:cubicBezTo>
                    <a:cubicBezTo>
                      <a:pt x="2076" y="386"/>
                      <a:pt x="2076" y="386"/>
                      <a:pt x="2076" y="386"/>
                    </a:cubicBezTo>
                    <a:cubicBezTo>
                      <a:pt x="2076" y="387"/>
                      <a:pt x="2076" y="387"/>
                      <a:pt x="2076" y="387"/>
                    </a:cubicBezTo>
                    <a:cubicBezTo>
                      <a:pt x="2075" y="387"/>
                      <a:pt x="2075" y="387"/>
                      <a:pt x="2075" y="387"/>
                    </a:cubicBezTo>
                    <a:cubicBezTo>
                      <a:pt x="2076" y="388"/>
                      <a:pt x="2076" y="388"/>
                      <a:pt x="2076" y="388"/>
                    </a:cubicBezTo>
                    <a:cubicBezTo>
                      <a:pt x="2077" y="388"/>
                      <a:pt x="2077" y="388"/>
                      <a:pt x="2077" y="388"/>
                    </a:cubicBezTo>
                    <a:cubicBezTo>
                      <a:pt x="2078" y="388"/>
                      <a:pt x="2078" y="388"/>
                      <a:pt x="2078" y="388"/>
                    </a:cubicBezTo>
                    <a:cubicBezTo>
                      <a:pt x="2078" y="387"/>
                      <a:pt x="2078" y="387"/>
                      <a:pt x="2078" y="387"/>
                    </a:cubicBezTo>
                    <a:cubicBezTo>
                      <a:pt x="2078" y="386"/>
                      <a:pt x="2078" y="386"/>
                      <a:pt x="2078" y="386"/>
                    </a:cubicBezTo>
                    <a:cubicBezTo>
                      <a:pt x="2079" y="386"/>
                      <a:pt x="2079" y="386"/>
                      <a:pt x="2079" y="386"/>
                    </a:cubicBezTo>
                    <a:cubicBezTo>
                      <a:pt x="2080" y="384"/>
                      <a:pt x="2080" y="384"/>
                      <a:pt x="2080" y="384"/>
                    </a:cubicBezTo>
                    <a:cubicBezTo>
                      <a:pt x="2080" y="383"/>
                      <a:pt x="2080" y="383"/>
                      <a:pt x="2080" y="383"/>
                    </a:cubicBezTo>
                    <a:cubicBezTo>
                      <a:pt x="2080" y="382"/>
                      <a:pt x="2080" y="382"/>
                      <a:pt x="2080" y="382"/>
                    </a:cubicBezTo>
                    <a:cubicBezTo>
                      <a:pt x="2081" y="381"/>
                      <a:pt x="2081" y="381"/>
                      <a:pt x="2081" y="381"/>
                    </a:cubicBezTo>
                    <a:cubicBezTo>
                      <a:pt x="2080" y="380"/>
                      <a:pt x="2080" y="380"/>
                      <a:pt x="2080" y="380"/>
                    </a:cubicBezTo>
                    <a:cubicBezTo>
                      <a:pt x="2078" y="379"/>
                      <a:pt x="2078" y="379"/>
                      <a:pt x="2078" y="379"/>
                    </a:cubicBezTo>
                    <a:cubicBezTo>
                      <a:pt x="2078" y="380"/>
                      <a:pt x="2078" y="380"/>
                      <a:pt x="2078" y="380"/>
                    </a:cubicBezTo>
                    <a:close/>
                    <a:moveTo>
                      <a:pt x="2076" y="394"/>
                    </a:moveTo>
                    <a:cubicBezTo>
                      <a:pt x="2075" y="395"/>
                      <a:pt x="2075" y="395"/>
                      <a:pt x="2075" y="395"/>
                    </a:cubicBezTo>
                    <a:cubicBezTo>
                      <a:pt x="2076" y="396"/>
                      <a:pt x="2076" y="396"/>
                      <a:pt x="2076" y="396"/>
                    </a:cubicBezTo>
                    <a:cubicBezTo>
                      <a:pt x="2077" y="395"/>
                      <a:pt x="2077" y="395"/>
                      <a:pt x="2077" y="395"/>
                    </a:cubicBezTo>
                    <a:cubicBezTo>
                      <a:pt x="2076" y="394"/>
                      <a:pt x="2076" y="394"/>
                      <a:pt x="2076" y="394"/>
                    </a:cubicBezTo>
                    <a:close/>
                    <a:moveTo>
                      <a:pt x="1394" y="87"/>
                    </a:moveTo>
                    <a:cubicBezTo>
                      <a:pt x="1395" y="87"/>
                      <a:pt x="1395" y="87"/>
                      <a:pt x="1395" y="87"/>
                    </a:cubicBezTo>
                    <a:cubicBezTo>
                      <a:pt x="1396" y="86"/>
                      <a:pt x="1396" y="86"/>
                      <a:pt x="1396" y="86"/>
                    </a:cubicBezTo>
                    <a:cubicBezTo>
                      <a:pt x="1398" y="86"/>
                      <a:pt x="1398" y="86"/>
                      <a:pt x="1398" y="86"/>
                    </a:cubicBezTo>
                    <a:cubicBezTo>
                      <a:pt x="1398" y="85"/>
                      <a:pt x="1398" y="85"/>
                      <a:pt x="1398" y="85"/>
                    </a:cubicBezTo>
                    <a:cubicBezTo>
                      <a:pt x="1397" y="84"/>
                      <a:pt x="1397" y="84"/>
                      <a:pt x="1397" y="84"/>
                    </a:cubicBezTo>
                    <a:cubicBezTo>
                      <a:pt x="1397" y="83"/>
                      <a:pt x="1397" y="83"/>
                      <a:pt x="1397" y="83"/>
                    </a:cubicBezTo>
                    <a:cubicBezTo>
                      <a:pt x="1397" y="82"/>
                      <a:pt x="1397" y="82"/>
                      <a:pt x="1397" y="82"/>
                    </a:cubicBezTo>
                    <a:cubicBezTo>
                      <a:pt x="1396" y="80"/>
                      <a:pt x="1396" y="80"/>
                      <a:pt x="1396" y="80"/>
                    </a:cubicBezTo>
                    <a:cubicBezTo>
                      <a:pt x="1395" y="80"/>
                      <a:pt x="1395" y="80"/>
                      <a:pt x="1395" y="80"/>
                    </a:cubicBezTo>
                    <a:cubicBezTo>
                      <a:pt x="1393" y="80"/>
                      <a:pt x="1393" y="80"/>
                      <a:pt x="1393" y="80"/>
                    </a:cubicBezTo>
                    <a:cubicBezTo>
                      <a:pt x="1392" y="81"/>
                      <a:pt x="1392" y="81"/>
                      <a:pt x="1392" y="81"/>
                    </a:cubicBezTo>
                    <a:cubicBezTo>
                      <a:pt x="1392" y="82"/>
                      <a:pt x="1392" y="82"/>
                      <a:pt x="1392" y="82"/>
                    </a:cubicBezTo>
                    <a:cubicBezTo>
                      <a:pt x="1393" y="84"/>
                      <a:pt x="1393" y="84"/>
                      <a:pt x="1393" y="84"/>
                    </a:cubicBezTo>
                    <a:cubicBezTo>
                      <a:pt x="1393" y="86"/>
                      <a:pt x="1393" y="86"/>
                      <a:pt x="1393" y="86"/>
                    </a:cubicBezTo>
                    <a:cubicBezTo>
                      <a:pt x="1394" y="87"/>
                      <a:pt x="1394" y="87"/>
                      <a:pt x="1394" y="87"/>
                    </a:cubicBezTo>
                    <a:close/>
                    <a:moveTo>
                      <a:pt x="2081" y="379"/>
                    </a:moveTo>
                    <a:cubicBezTo>
                      <a:pt x="2081" y="378"/>
                      <a:pt x="2081" y="378"/>
                      <a:pt x="2081" y="378"/>
                    </a:cubicBezTo>
                    <a:cubicBezTo>
                      <a:pt x="2080" y="377"/>
                      <a:pt x="2080" y="377"/>
                      <a:pt x="2080" y="377"/>
                    </a:cubicBezTo>
                    <a:cubicBezTo>
                      <a:pt x="2080" y="378"/>
                      <a:pt x="2080" y="378"/>
                      <a:pt x="2080" y="378"/>
                    </a:cubicBezTo>
                    <a:cubicBezTo>
                      <a:pt x="2080" y="379"/>
                      <a:pt x="2080" y="379"/>
                      <a:pt x="2080" y="379"/>
                    </a:cubicBezTo>
                    <a:cubicBezTo>
                      <a:pt x="2080" y="380"/>
                      <a:pt x="2080" y="380"/>
                      <a:pt x="2080" y="380"/>
                    </a:cubicBezTo>
                    <a:cubicBezTo>
                      <a:pt x="2081" y="380"/>
                      <a:pt x="2081" y="380"/>
                      <a:pt x="2081" y="380"/>
                    </a:cubicBezTo>
                    <a:cubicBezTo>
                      <a:pt x="2081" y="379"/>
                      <a:pt x="2081" y="379"/>
                      <a:pt x="2081" y="379"/>
                    </a:cubicBezTo>
                    <a:close/>
                    <a:moveTo>
                      <a:pt x="2050" y="445"/>
                    </a:moveTo>
                    <a:cubicBezTo>
                      <a:pt x="2049" y="445"/>
                      <a:pt x="2049" y="445"/>
                      <a:pt x="2049" y="445"/>
                    </a:cubicBezTo>
                    <a:cubicBezTo>
                      <a:pt x="2049" y="446"/>
                      <a:pt x="2049" y="446"/>
                      <a:pt x="2049" y="446"/>
                    </a:cubicBezTo>
                    <a:cubicBezTo>
                      <a:pt x="2049" y="447"/>
                      <a:pt x="2049" y="447"/>
                      <a:pt x="2049" y="447"/>
                    </a:cubicBezTo>
                    <a:cubicBezTo>
                      <a:pt x="2048" y="448"/>
                      <a:pt x="2048" y="448"/>
                      <a:pt x="2048" y="448"/>
                    </a:cubicBezTo>
                    <a:cubicBezTo>
                      <a:pt x="2048" y="449"/>
                      <a:pt x="2048" y="449"/>
                      <a:pt x="2048" y="449"/>
                    </a:cubicBezTo>
                    <a:cubicBezTo>
                      <a:pt x="2048" y="450"/>
                      <a:pt x="2048" y="450"/>
                      <a:pt x="2048" y="450"/>
                    </a:cubicBezTo>
                    <a:cubicBezTo>
                      <a:pt x="2048" y="451"/>
                      <a:pt x="2048" y="451"/>
                      <a:pt x="2048" y="451"/>
                    </a:cubicBezTo>
                    <a:cubicBezTo>
                      <a:pt x="2048" y="452"/>
                      <a:pt x="2048" y="452"/>
                      <a:pt x="2048" y="452"/>
                    </a:cubicBezTo>
                    <a:cubicBezTo>
                      <a:pt x="2049" y="452"/>
                      <a:pt x="2049" y="452"/>
                      <a:pt x="2049" y="452"/>
                    </a:cubicBezTo>
                    <a:cubicBezTo>
                      <a:pt x="2049" y="450"/>
                      <a:pt x="2049" y="450"/>
                      <a:pt x="2049" y="450"/>
                    </a:cubicBezTo>
                    <a:cubicBezTo>
                      <a:pt x="2050" y="450"/>
                      <a:pt x="2050" y="450"/>
                      <a:pt x="2050" y="450"/>
                    </a:cubicBezTo>
                    <a:cubicBezTo>
                      <a:pt x="2050" y="448"/>
                      <a:pt x="2050" y="448"/>
                      <a:pt x="2050" y="448"/>
                    </a:cubicBezTo>
                    <a:cubicBezTo>
                      <a:pt x="2050" y="447"/>
                      <a:pt x="2050" y="447"/>
                      <a:pt x="2050" y="447"/>
                    </a:cubicBezTo>
                    <a:cubicBezTo>
                      <a:pt x="2051" y="446"/>
                      <a:pt x="2051" y="446"/>
                      <a:pt x="2051" y="446"/>
                    </a:cubicBezTo>
                    <a:cubicBezTo>
                      <a:pt x="2051" y="447"/>
                      <a:pt x="2051" y="447"/>
                      <a:pt x="2051" y="447"/>
                    </a:cubicBezTo>
                    <a:cubicBezTo>
                      <a:pt x="2052" y="446"/>
                      <a:pt x="2052" y="446"/>
                      <a:pt x="2052" y="446"/>
                    </a:cubicBezTo>
                    <a:cubicBezTo>
                      <a:pt x="2053" y="444"/>
                      <a:pt x="2053" y="444"/>
                      <a:pt x="2053" y="444"/>
                    </a:cubicBezTo>
                    <a:cubicBezTo>
                      <a:pt x="2054" y="442"/>
                      <a:pt x="2054" y="442"/>
                      <a:pt x="2054" y="442"/>
                    </a:cubicBezTo>
                    <a:cubicBezTo>
                      <a:pt x="2053" y="442"/>
                      <a:pt x="2053" y="442"/>
                      <a:pt x="2053" y="442"/>
                    </a:cubicBezTo>
                    <a:cubicBezTo>
                      <a:pt x="2052" y="442"/>
                      <a:pt x="2052" y="442"/>
                      <a:pt x="2052" y="442"/>
                    </a:cubicBezTo>
                    <a:cubicBezTo>
                      <a:pt x="2051" y="441"/>
                      <a:pt x="2051" y="441"/>
                      <a:pt x="2051" y="441"/>
                    </a:cubicBezTo>
                    <a:cubicBezTo>
                      <a:pt x="2050" y="442"/>
                      <a:pt x="2050" y="442"/>
                      <a:pt x="2050" y="442"/>
                    </a:cubicBezTo>
                    <a:cubicBezTo>
                      <a:pt x="2051" y="443"/>
                      <a:pt x="2051" y="443"/>
                      <a:pt x="2051" y="443"/>
                    </a:cubicBezTo>
                    <a:cubicBezTo>
                      <a:pt x="2050" y="444"/>
                      <a:pt x="2050" y="444"/>
                      <a:pt x="2050" y="444"/>
                    </a:cubicBezTo>
                    <a:cubicBezTo>
                      <a:pt x="2050" y="445"/>
                      <a:pt x="2050" y="445"/>
                      <a:pt x="2050" y="445"/>
                    </a:cubicBezTo>
                    <a:close/>
                    <a:moveTo>
                      <a:pt x="2049" y="459"/>
                    </a:moveTo>
                    <a:cubicBezTo>
                      <a:pt x="2050" y="458"/>
                      <a:pt x="2050" y="458"/>
                      <a:pt x="2050" y="458"/>
                    </a:cubicBezTo>
                    <a:cubicBezTo>
                      <a:pt x="2050" y="457"/>
                      <a:pt x="2050" y="457"/>
                      <a:pt x="2050" y="457"/>
                    </a:cubicBezTo>
                    <a:cubicBezTo>
                      <a:pt x="2049" y="457"/>
                      <a:pt x="2049" y="457"/>
                      <a:pt x="2049" y="457"/>
                    </a:cubicBezTo>
                    <a:cubicBezTo>
                      <a:pt x="2048" y="459"/>
                      <a:pt x="2048" y="459"/>
                      <a:pt x="2048" y="459"/>
                    </a:cubicBezTo>
                    <a:cubicBezTo>
                      <a:pt x="2049" y="459"/>
                      <a:pt x="2049" y="459"/>
                      <a:pt x="2049" y="459"/>
                    </a:cubicBezTo>
                    <a:close/>
                    <a:moveTo>
                      <a:pt x="2071" y="423"/>
                    </a:moveTo>
                    <a:cubicBezTo>
                      <a:pt x="2071" y="422"/>
                      <a:pt x="2071" y="422"/>
                      <a:pt x="2071" y="422"/>
                    </a:cubicBezTo>
                    <a:cubicBezTo>
                      <a:pt x="2070" y="424"/>
                      <a:pt x="2070" y="424"/>
                      <a:pt x="2070" y="424"/>
                    </a:cubicBezTo>
                    <a:cubicBezTo>
                      <a:pt x="2071" y="424"/>
                      <a:pt x="2071" y="424"/>
                      <a:pt x="2071" y="424"/>
                    </a:cubicBezTo>
                    <a:cubicBezTo>
                      <a:pt x="2071" y="423"/>
                      <a:pt x="2071" y="423"/>
                      <a:pt x="2071" y="423"/>
                    </a:cubicBezTo>
                    <a:close/>
                    <a:moveTo>
                      <a:pt x="2057" y="442"/>
                    </a:moveTo>
                    <a:cubicBezTo>
                      <a:pt x="2057" y="440"/>
                      <a:pt x="2057" y="440"/>
                      <a:pt x="2057" y="440"/>
                    </a:cubicBezTo>
                    <a:cubicBezTo>
                      <a:pt x="2056" y="439"/>
                      <a:pt x="2056" y="439"/>
                      <a:pt x="2056" y="439"/>
                    </a:cubicBezTo>
                    <a:cubicBezTo>
                      <a:pt x="2054" y="441"/>
                      <a:pt x="2054" y="441"/>
                      <a:pt x="2054" y="441"/>
                    </a:cubicBezTo>
                    <a:cubicBezTo>
                      <a:pt x="2054" y="442"/>
                      <a:pt x="2054" y="442"/>
                      <a:pt x="2054" y="442"/>
                    </a:cubicBezTo>
                    <a:cubicBezTo>
                      <a:pt x="2056" y="442"/>
                      <a:pt x="2056" y="442"/>
                      <a:pt x="2056" y="442"/>
                    </a:cubicBezTo>
                    <a:cubicBezTo>
                      <a:pt x="2057" y="442"/>
                      <a:pt x="2057" y="442"/>
                      <a:pt x="2057" y="442"/>
                    </a:cubicBezTo>
                    <a:close/>
                    <a:moveTo>
                      <a:pt x="2075" y="403"/>
                    </a:moveTo>
                    <a:cubicBezTo>
                      <a:pt x="2076" y="402"/>
                      <a:pt x="2076" y="402"/>
                      <a:pt x="2076" y="402"/>
                    </a:cubicBezTo>
                    <a:cubicBezTo>
                      <a:pt x="2076" y="401"/>
                      <a:pt x="2076" y="401"/>
                      <a:pt x="2076" y="401"/>
                    </a:cubicBezTo>
                    <a:cubicBezTo>
                      <a:pt x="2075" y="402"/>
                      <a:pt x="2075" y="402"/>
                      <a:pt x="2075" y="402"/>
                    </a:cubicBezTo>
                    <a:cubicBezTo>
                      <a:pt x="2075" y="403"/>
                      <a:pt x="2075" y="403"/>
                      <a:pt x="2075" y="403"/>
                    </a:cubicBezTo>
                    <a:close/>
                    <a:moveTo>
                      <a:pt x="1385" y="82"/>
                    </a:moveTo>
                    <a:cubicBezTo>
                      <a:pt x="1386" y="83"/>
                      <a:pt x="1386" y="83"/>
                      <a:pt x="1386" y="83"/>
                    </a:cubicBezTo>
                    <a:cubicBezTo>
                      <a:pt x="1386" y="82"/>
                      <a:pt x="1386" y="82"/>
                      <a:pt x="1386" y="82"/>
                    </a:cubicBezTo>
                    <a:cubicBezTo>
                      <a:pt x="1387" y="81"/>
                      <a:pt x="1387" y="81"/>
                      <a:pt x="1387" y="81"/>
                    </a:cubicBezTo>
                    <a:cubicBezTo>
                      <a:pt x="1386" y="80"/>
                      <a:pt x="1386" y="80"/>
                      <a:pt x="1386" y="80"/>
                    </a:cubicBezTo>
                    <a:cubicBezTo>
                      <a:pt x="1385" y="80"/>
                      <a:pt x="1385" y="80"/>
                      <a:pt x="1385" y="80"/>
                    </a:cubicBezTo>
                    <a:cubicBezTo>
                      <a:pt x="1385" y="81"/>
                      <a:pt x="1385" y="81"/>
                      <a:pt x="1385" y="81"/>
                    </a:cubicBezTo>
                    <a:cubicBezTo>
                      <a:pt x="1385" y="82"/>
                      <a:pt x="1385" y="82"/>
                      <a:pt x="1385" y="82"/>
                    </a:cubicBezTo>
                    <a:close/>
                    <a:moveTo>
                      <a:pt x="1630" y="82"/>
                    </a:moveTo>
                    <a:cubicBezTo>
                      <a:pt x="1630" y="83"/>
                      <a:pt x="1630" y="83"/>
                      <a:pt x="1630" y="83"/>
                    </a:cubicBezTo>
                    <a:cubicBezTo>
                      <a:pt x="1631" y="82"/>
                      <a:pt x="1631" y="82"/>
                      <a:pt x="1631" y="82"/>
                    </a:cubicBezTo>
                    <a:cubicBezTo>
                      <a:pt x="1632" y="81"/>
                      <a:pt x="1632" y="81"/>
                      <a:pt x="1632" y="81"/>
                    </a:cubicBezTo>
                    <a:cubicBezTo>
                      <a:pt x="1631" y="79"/>
                      <a:pt x="1631" y="79"/>
                      <a:pt x="1631" y="79"/>
                    </a:cubicBezTo>
                    <a:cubicBezTo>
                      <a:pt x="1630" y="79"/>
                      <a:pt x="1630" y="79"/>
                      <a:pt x="1630" y="79"/>
                    </a:cubicBezTo>
                    <a:cubicBezTo>
                      <a:pt x="1629" y="79"/>
                      <a:pt x="1629" y="79"/>
                      <a:pt x="1629" y="79"/>
                    </a:cubicBezTo>
                    <a:cubicBezTo>
                      <a:pt x="1629" y="80"/>
                      <a:pt x="1629" y="80"/>
                      <a:pt x="1629" y="80"/>
                    </a:cubicBezTo>
                    <a:cubicBezTo>
                      <a:pt x="1630" y="81"/>
                      <a:pt x="1630" y="81"/>
                      <a:pt x="1630" y="81"/>
                    </a:cubicBezTo>
                    <a:cubicBezTo>
                      <a:pt x="1630" y="82"/>
                      <a:pt x="1630" y="82"/>
                      <a:pt x="1630" y="82"/>
                    </a:cubicBezTo>
                    <a:close/>
                    <a:moveTo>
                      <a:pt x="1684" y="126"/>
                    </a:moveTo>
                    <a:cubicBezTo>
                      <a:pt x="1687" y="127"/>
                      <a:pt x="1687" y="127"/>
                      <a:pt x="1687" y="127"/>
                    </a:cubicBezTo>
                    <a:cubicBezTo>
                      <a:pt x="1688" y="127"/>
                      <a:pt x="1688" y="127"/>
                      <a:pt x="1688" y="127"/>
                    </a:cubicBezTo>
                    <a:cubicBezTo>
                      <a:pt x="1689" y="127"/>
                      <a:pt x="1689" y="127"/>
                      <a:pt x="1689" y="127"/>
                    </a:cubicBezTo>
                    <a:cubicBezTo>
                      <a:pt x="1690" y="127"/>
                      <a:pt x="1690" y="127"/>
                      <a:pt x="1690" y="127"/>
                    </a:cubicBezTo>
                    <a:cubicBezTo>
                      <a:pt x="1690" y="126"/>
                      <a:pt x="1690" y="126"/>
                      <a:pt x="1690" y="126"/>
                    </a:cubicBezTo>
                    <a:cubicBezTo>
                      <a:pt x="1691" y="125"/>
                      <a:pt x="1691" y="125"/>
                      <a:pt x="1691" y="125"/>
                    </a:cubicBezTo>
                    <a:cubicBezTo>
                      <a:pt x="1690" y="124"/>
                      <a:pt x="1690" y="124"/>
                      <a:pt x="1690" y="124"/>
                    </a:cubicBezTo>
                    <a:cubicBezTo>
                      <a:pt x="1690" y="122"/>
                      <a:pt x="1690" y="122"/>
                      <a:pt x="1690" y="122"/>
                    </a:cubicBezTo>
                    <a:cubicBezTo>
                      <a:pt x="1689" y="121"/>
                      <a:pt x="1689" y="121"/>
                      <a:pt x="1689" y="121"/>
                    </a:cubicBezTo>
                    <a:cubicBezTo>
                      <a:pt x="1689" y="120"/>
                      <a:pt x="1689" y="120"/>
                      <a:pt x="1689" y="120"/>
                    </a:cubicBezTo>
                    <a:cubicBezTo>
                      <a:pt x="1689" y="119"/>
                      <a:pt x="1689" y="119"/>
                      <a:pt x="1689" y="119"/>
                    </a:cubicBezTo>
                    <a:cubicBezTo>
                      <a:pt x="1688" y="119"/>
                      <a:pt x="1688" y="119"/>
                      <a:pt x="1688" y="119"/>
                    </a:cubicBezTo>
                    <a:cubicBezTo>
                      <a:pt x="1685" y="119"/>
                      <a:pt x="1685" y="119"/>
                      <a:pt x="1685" y="119"/>
                    </a:cubicBezTo>
                    <a:cubicBezTo>
                      <a:pt x="1683" y="121"/>
                      <a:pt x="1683" y="121"/>
                      <a:pt x="1683" y="121"/>
                    </a:cubicBezTo>
                    <a:cubicBezTo>
                      <a:pt x="1682" y="121"/>
                      <a:pt x="1682" y="121"/>
                      <a:pt x="1682" y="121"/>
                    </a:cubicBezTo>
                    <a:cubicBezTo>
                      <a:pt x="1682" y="123"/>
                      <a:pt x="1682" y="123"/>
                      <a:pt x="1682" y="123"/>
                    </a:cubicBezTo>
                    <a:cubicBezTo>
                      <a:pt x="1683" y="123"/>
                      <a:pt x="1683" y="123"/>
                      <a:pt x="1683" y="123"/>
                    </a:cubicBezTo>
                    <a:cubicBezTo>
                      <a:pt x="1683" y="124"/>
                      <a:pt x="1683" y="124"/>
                      <a:pt x="1683" y="124"/>
                    </a:cubicBezTo>
                    <a:cubicBezTo>
                      <a:pt x="1683" y="125"/>
                      <a:pt x="1683" y="125"/>
                      <a:pt x="1683" y="125"/>
                    </a:cubicBezTo>
                    <a:cubicBezTo>
                      <a:pt x="1682" y="125"/>
                      <a:pt x="1682" y="125"/>
                      <a:pt x="1682" y="125"/>
                    </a:cubicBezTo>
                    <a:cubicBezTo>
                      <a:pt x="1681" y="125"/>
                      <a:pt x="1681" y="125"/>
                      <a:pt x="1681" y="125"/>
                    </a:cubicBezTo>
                    <a:cubicBezTo>
                      <a:pt x="1682" y="126"/>
                      <a:pt x="1682" y="126"/>
                      <a:pt x="1682" y="126"/>
                    </a:cubicBezTo>
                    <a:cubicBezTo>
                      <a:pt x="1684" y="126"/>
                      <a:pt x="1684" y="126"/>
                      <a:pt x="1684" y="126"/>
                    </a:cubicBezTo>
                    <a:close/>
                    <a:moveTo>
                      <a:pt x="2076" y="398"/>
                    </a:moveTo>
                    <a:cubicBezTo>
                      <a:pt x="2076" y="399"/>
                      <a:pt x="2076" y="399"/>
                      <a:pt x="2076" y="399"/>
                    </a:cubicBezTo>
                    <a:cubicBezTo>
                      <a:pt x="2077" y="398"/>
                      <a:pt x="2077" y="398"/>
                      <a:pt x="2077" y="398"/>
                    </a:cubicBezTo>
                    <a:cubicBezTo>
                      <a:pt x="2076" y="397"/>
                      <a:pt x="2076" y="397"/>
                      <a:pt x="2076" y="397"/>
                    </a:cubicBezTo>
                    <a:cubicBezTo>
                      <a:pt x="2076" y="398"/>
                      <a:pt x="2076" y="398"/>
                      <a:pt x="2076" y="398"/>
                    </a:cubicBezTo>
                    <a:close/>
                    <a:moveTo>
                      <a:pt x="1617" y="68"/>
                    </a:moveTo>
                    <a:cubicBezTo>
                      <a:pt x="1617" y="68"/>
                      <a:pt x="1617" y="68"/>
                      <a:pt x="1618" y="68"/>
                    </a:cubicBezTo>
                    <a:cubicBezTo>
                      <a:pt x="1618" y="68"/>
                      <a:pt x="1618" y="68"/>
                      <a:pt x="1620" y="68"/>
                    </a:cubicBezTo>
                    <a:cubicBezTo>
                      <a:pt x="1620" y="68"/>
                      <a:pt x="1620" y="68"/>
                      <a:pt x="1621" y="67"/>
                    </a:cubicBezTo>
                    <a:cubicBezTo>
                      <a:pt x="1621" y="67"/>
                      <a:pt x="1621" y="67"/>
                      <a:pt x="1622" y="68"/>
                    </a:cubicBezTo>
                    <a:cubicBezTo>
                      <a:pt x="1622" y="68"/>
                      <a:pt x="1622" y="68"/>
                      <a:pt x="1622" y="67"/>
                    </a:cubicBezTo>
                    <a:cubicBezTo>
                      <a:pt x="1622" y="67"/>
                      <a:pt x="1622" y="67"/>
                      <a:pt x="1622" y="65"/>
                    </a:cubicBezTo>
                    <a:cubicBezTo>
                      <a:pt x="1622" y="65"/>
                      <a:pt x="1622" y="65"/>
                      <a:pt x="1621" y="65"/>
                    </a:cubicBezTo>
                    <a:cubicBezTo>
                      <a:pt x="1621" y="65"/>
                      <a:pt x="1621" y="65"/>
                      <a:pt x="1620" y="65"/>
                    </a:cubicBezTo>
                    <a:cubicBezTo>
                      <a:pt x="1620" y="65"/>
                      <a:pt x="1620" y="65"/>
                      <a:pt x="1619" y="65"/>
                    </a:cubicBezTo>
                    <a:cubicBezTo>
                      <a:pt x="1619" y="65"/>
                      <a:pt x="1619" y="65"/>
                      <a:pt x="1619" y="66"/>
                    </a:cubicBezTo>
                    <a:cubicBezTo>
                      <a:pt x="1619" y="66"/>
                      <a:pt x="1619" y="66"/>
                      <a:pt x="1617" y="66"/>
                    </a:cubicBezTo>
                    <a:cubicBezTo>
                      <a:pt x="1617" y="66"/>
                      <a:pt x="1617" y="66"/>
                      <a:pt x="1616" y="67"/>
                    </a:cubicBezTo>
                    <a:cubicBezTo>
                      <a:pt x="1616" y="67"/>
                      <a:pt x="1616" y="67"/>
                      <a:pt x="1617" y="68"/>
                    </a:cubicBezTo>
                    <a:close/>
                    <a:moveTo>
                      <a:pt x="1372" y="93"/>
                    </a:moveTo>
                    <a:cubicBezTo>
                      <a:pt x="1372" y="94"/>
                      <a:pt x="1372" y="94"/>
                      <a:pt x="1372" y="94"/>
                    </a:cubicBezTo>
                    <a:cubicBezTo>
                      <a:pt x="1373" y="94"/>
                      <a:pt x="1373" y="94"/>
                      <a:pt x="1373" y="94"/>
                    </a:cubicBezTo>
                    <a:cubicBezTo>
                      <a:pt x="1374" y="93"/>
                      <a:pt x="1374" y="93"/>
                      <a:pt x="1374" y="93"/>
                    </a:cubicBezTo>
                    <a:cubicBezTo>
                      <a:pt x="1376" y="94"/>
                      <a:pt x="1376" y="94"/>
                      <a:pt x="1376" y="94"/>
                    </a:cubicBezTo>
                    <a:cubicBezTo>
                      <a:pt x="1377" y="93"/>
                      <a:pt x="1377" y="93"/>
                      <a:pt x="1377" y="93"/>
                    </a:cubicBezTo>
                    <a:cubicBezTo>
                      <a:pt x="1376" y="92"/>
                      <a:pt x="1376" y="92"/>
                      <a:pt x="1376" y="92"/>
                    </a:cubicBezTo>
                    <a:cubicBezTo>
                      <a:pt x="1375" y="92"/>
                      <a:pt x="1375" y="92"/>
                      <a:pt x="1375" y="92"/>
                    </a:cubicBezTo>
                    <a:cubicBezTo>
                      <a:pt x="1375" y="90"/>
                      <a:pt x="1375" y="90"/>
                      <a:pt x="1375" y="90"/>
                    </a:cubicBezTo>
                    <a:cubicBezTo>
                      <a:pt x="1373" y="88"/>
                      <a:pt x="1373" y="88"/>
                      <a:pt x="1373" y="88"/>
                    </a:cubicBezTo>
                    <a:cubicBezTo>
                      <a:pt x="1373" y="89"/>
                      <a:pt x="1373" y="89"/>
                      <a:pt x="1373" y="89"/>
                    </a:cubicBezTo>
                    <a:cubicBezTo>
                      <a:pt x="1373" y="91"/>
                      <a:pt x="1373" y="91"/>
                      <a:pt x="1373" y="91"/>
                    </a:cubicBezTo>
                    <a:cubicBezTo>
                      <a:pt x="1373" y="92"/>
                      <a:pt x="1373" y="92"/>
                      <a:pt x="1373" y="92"/>
                    </a:cubicBezTo>
                    <a:cubicBezTo>
                      <a:pt x="1371" y="92"/>
                      <a:pt x="1371" y="92"/>
                      <a:pt x="1371" y="92"/>
                    </a:cubicBezTo>
                    <a:cubicBezTo>
                      <a:pt x="1372" y="93"/>
                      <a:pt x="1372" y="93"/>
                      <a:pt x="1372" y="93"/>
                    </a:cubicBezTo>
                    <a:close/>
                    <a:moveTo>
                      <a:pt x="1381" y="69"/>
                    </a:moveTo>
                    <a:cubicBezTo>
                      <a:pt x="1383" y="69"/>
                      <a:pt x="1383" y="69"/>
                      <a:pt x="1383" y="69"/>
                    </a:cubicBezTo>
                    <a:cubicBezTo>
                      <a:pt x="1384" y="68"/>
                      <a:pt x="1384" y="68"/>
                      <a:pt x="1384" y="68"/>
                    </a:cubicBezTo>
                    <a:cubicBezTo>
                      <a:pt x="1385" y="69"/>
                      <a:pt x="1385" y="69"/>
                      <a:pt x="1385" y="69"/>
                    </a:cubicBezTo>
                    <a:cubicBezTo>
                      <a:pt x="1386" y="70"/>
                      <a:pt x="1386" y="70"/>
                      <a:pt x="1386" y="70"/>
                    </a:cubicBezTo>
                    <a:cubicBezTo>
                      <a:pt x="1387" y="70"/>
                      <a:pt x="1387" y="70"/>
                      <a:pt x="1387" y="70"/>
                    </a:cubicBezTo>
                    <a:cubicBezTo>
                      <a:pt x="1388" y="71"/>
                      <a:pt x="1388" y="71"/>
                      <a:pt x="1388" y="71"/>
                    </a:cubicBezTo>
                    <a:cubicBezTo>
                      <a:pt x="1389" y="72"/>
                      <a:pt x="1389" y="72"/>
                      <a:pt x="1389" y="72"/>
                    </a:cubicBezTo>
                    <a:cubicBezTo>
                      <a:pt x="1391" y="71"/>
                      <a:pt x="1391" y="71"/>
                      <a:pt x="1391" y="71"/>
                    </a:cubicBezTo>
                    <a:cubicBezTo>
                      <a:pt x="1392" y="72"/>
                      <a:pt x="1392" y="72"/>
                      <a:pt x="1392" y="72"/>
                    </a:cubicBezTo>
                    <a:cubicBezTo>
                      <a:pt x="1394" y="73"/>
                      <a:pt x="1394" y="73"/>
                      <a:pt x="1394" y="73"/>
                    </a:cubicBezTo>
                    <a:cubicBezTo>
                      <a:pt x="1394" y="72"/>
                      <a:pt x="1394" y="72"/>
                      <a:pt x="1394" y="72"/>
                    </a:cubicBezTo>
                    <a:cubicBezTo>
                      <a:pt x="1395" y="71"/>
                      <a:pt x="1395" y="71"/>
                      <a:pt x="1395" y="71"/>
                    </a:cubicBezTo>
                    <a:cubicBezTo>
                      <a:pt x="1394" y="69"/>
                      <a:pt x="1394" y="69"/>
                      <a:pt x="1394" y="69"/>
                    </a:cubicBezTo>
                    <a:cubicBezTo>
                      <a:pt x="1394" y="69"/>
                      <a:pt x="1394" y="69"/>
                      <a:pt x="1395" y="67"/>
                    </a:cubicBezTo>
                    <a:cubicBezTo>
                      <a:pt x="1395" y="67"/>
                      <a:pt x="1395" y="67"/>
                      <a:pt x="1395" y="66"/>
                    </a:cubicBezTo>
                    <a:cubicBezTo>
                      <a:pt x="1395" y="66"/>
                      <a:pt x="1395" y="66"/>
                      <a:pt x="1394" y="66"/>
                    </a:cubicBezTo>
                    <a:cubicBezTo>
                      <a:pt x="1394" y="66"/>
                      <a:pt x="1394" y="66"/>
                      <a:pt x="1393" y="66"/>
                    </a:cubicBezTo>
                    <a:cubicBezTo>
                      <a:pt x="1393" y="66"/>
                      <a:pt x="1393" y="66"/>
                      <a:pt x="1391" y="65"/>
                    </a:cubicBezTo>
                    <a:cubicBezTo>
                      <a:pt x="1391" y="65"/>
                      <a:pt x="1391" y="65"/>
                      <a:pt x="1389" y="64"/>
                    </a:cubicBezTo>
                    <a:cubicBezTo>
                      <a:pt x="1389" y="64"/>
                      <a:pt x="1389" y="64"/>
                      <a:pt x="1388" y="64"/>
                    </a:cubicBezTo>
                    <a:cubicBezTo>
                      <a:pt x="1388" y="64"/>
                      <a:pt x="1388" y="64"/>
                      <a:pt x="1386" y="64"/>
                    </a:cubicBezTo>
                    <a:cubicBezTo>
                      <a:pt x="1386" y="64"/>
                      <a:pt x="1386" y="64"/>
                      <a:pt x="1386" y="65"/>
                    </a:cubicBezTo>
                    <a:cubicBezTo>
                      <a:pt x="1386" y="65"/>
                      <a:pt x="1386" y="65"/>
                      <a:pt x="1387" y="65"/>
                    </a:cubicBezTo>
                    <a:cubicBezTo>
                      <a:pt x="1387" y="65"/>
                      <a:pt x="1387" y="65"/>
                      <a:pt x="1388" y="65"/>
                    </a:cubicBezTo>
                    <a:cubicBezTo>
                      <a:pt x="1388" y="65"/>
                      <a:pt x="1388" y="65"/>
                      <a:pt x="1390" y="66"/>
                    </a:cubicBezTo>
                    <a:cubicBezTo>
                      <a:pt x="1390" y="66"/>
                      <a:pt x="1390" y="66"/>
                      <a:pt x="1392" y="68"/>
                    </a:cubicBezTo>
                    <a:cubicBezTo>
                      <a:pt x="1392" y="68"/>
                      <a:pt x="1392" y="68"/>
                      <a:pt x="1393" y="69"/>
                    </a:cubicBezTo>
                    <a:cubicBezTo>
                      <a:pt x="1391" y="69"/>
                      <a:pt x="1391" y="69"/>
                      <a:pt x="1391" y="69"/>
                    </a:cubicBezTo>
                    <a:cubicBezTo>
                      <a:pt x="1389" y="67"/>
                      <a:pt x="1389" y="67"/>
                      <a:pt x="1389" y="67"/>
                    </a:cubicBezTo>
                    <a:cubicBezTo>
                      <a:pt x="1388" y="67"/>
                      <a:pt x="1388" y="67"/>
                      <a:pt x="1388" y="67"/>
                    </a:cubicBezTo>
                    <a:cubicBezTo>
                      <a:pt x="1387" y="67"/>
                      <a:pt x="1387" y="67"/>
                      <a:pt x="1387" y="67"/>
                    </a:cubicBezTo>
                    <a:cubicBezTo>
                      <a:pt x="1386" y="67"/>
                      <a:pt x="1386" y="67"/>
                      <a:pt x="1386" y="67"/>
                    </a:cubicBezTo>
                    <a:cubicBezTo>
                      <a:pt x="1385" y="66"/>
                      <a:pt x="1385" y="66"/>
                      <a:pt x="1385" y="66"/>
                    </a:cubicBezTo>
                    <a:cubicBezTo>
                      <a:pt x="1382" y="66"/>
                      <a:pt x="1382" y="66"/>
                      <a:pt x="1382" y="66"/>
                    </a:cubicBezTo>
                    <a:cubicBezTo>
                      <a:pt x="1380" y="66"/>
                      <a:pt x="1380" y="66"/>
                      <a:pt x="1380" y="66"/>
                    </a:cubicBezTo>
                    <a:cubicBezTo>
                      <a:pt x="1381" y="68"/>
                      <a:pt x="1381" y="68"/>
                      <a:pt x="1381" y="68"/>
                    </a:cubicBezTo>
                    <a:cubicBezTo>
                      <a:pt x="1381" y="69"/>
                      <a:pt x="1381" y="69"/>
                      <a:pt x="1381" y="69"/>
                    </a:cubicBezTo>
                    <a:close/>
                    <a:moveTo>
                      <a:pt x="2074" y="378"/>
                    </a:moveTo>
                    <a:cubicBezTo>
                      <a:pt x="2074" y="379"/>
                      <a:pt x="2074" y="379"/>
                      <a:pt x="2074" y="379"/>
                    </a:cubicBezTo>
                    <a:cubicBezTo>
                      <a:pt x="2076" y="379"/>
                      <a:pt x="2076" y="379"/>
                      <a:pt x="2076" y="379"/>
                    </a:cubicBezTo>
                    <a:cubicBezTo>
                      <a:pt x="2076" y="378"/>
                      <a:pt x="2076" y="378"/>
                      <a:pt x="2076" y="378"/>
                    </a:cubicBezTo>
                    <a:cubicBezTo>
                      <a:pt x="2075" y="377"/>
                      <a:pt x="2075" y="377"/>
                      <a:pt x="2075" y="377"/>
                    </a:cubicBezTo>
                    <a:cubicBezTo>
                      <a:pt x="2074" y="378"/>
                      <a:pt x="2074" y="378"/>
                      <a:pt x="2074" y="378"/>
                    </a:cubicBezTo>
                    <a:close/>
                    <a:moveTo>
                      <a:pt x="1386" y="62"/>
                    </a:moveTo>
                    <a:cubicBezTo>
                      <a:pt x="1383" y="63"/>
                      <a:pt x="1383" y="63"/>
                      <a:pt x="1383" y="63"/>
                    </a:cubicBezTo>
                    <a:cubicBezTo>
                      <a:pt x="1384" y="64"/>
                      <a:pt x="1384" y="64"/>
                      <a:pt x="1384" y="64"/>
                    </a:cubicBezTo>
                    <a:cubicBezTo>
                      <a:pt x="1385" y="64"/>
                      <a:pt x="1385" y="64"/>
                      <a:pt x="1385" y="64"/>
                    </a:cubicBezTo>
                    <a:cubicBezTo>
                      <a:pt x="1386" y="63"/>
                      <a:pt x="1386" y="63"/>
                      <a:pt x="1386" y="63"/>
                    </a:cubicBezTo>
                    <a:cubicBezTo>
                      <a:pt x="1388" y="63"/>
                      <a:pt x="1388" y="63"/>
                      <a:pt x="1388" y="63"/>
                    </a:cubicBezTo>
                    <a:cubicBezTo>
                      <a:pt x="1389" y="61"/>
                      <a:pt x="1389" y="61"/>
                      <a:pt x="1389" y="61"/>
                    </a:cubicBezTo>
                    <a:cubicBezTo>
                      <a:pt x="1390" y="59"/>
                      <a:pt x="1390" y="59"/>
                      <a:pt x="1390" y="59"/>
                    </a:cubicBezTo>
                    <a:cubicBezTo>
                      <a:pt x="1391" y="58"/>
                      <a:pt x="1391" y="58"/>
                      <a:pt x="1391" y="58"/>
                    </a:cubicBezTo>
                    <a:cubicBezTo>
                      <a:pt x="1390" y="57"/>
                      <a:pt x="1390" y="57"/>
                      <a:pt x="1390" y="57"/>
                    </a:cubicBezTo>
                    <a:cubicBezTo>
                      <a:pt x="1389" y="58"/>
                      <a:pt x="1389" y="58"/>
                      <a:pt x="1389" y="58"/>
                    </a:cubicBezTo>
                    <a:cubicBezTo>
                      <a:pt x="1387" y="58"/>
                      <a:pt x="1387" y="58"/>
                      <a:pt x="1387" y="58"/>
                    </a:cubicBezTo>
                    <a:cubicBezTo>
                      <a:pt x="1386" y="57"/>
                      <a:pt x="1386" y="57"/>
                      <a:pt x="1386" y="57"/>
                    </a:cubicBezTo>
                    <a:cubicBezTo>
                      <a:pt x="1385" y="58"/>
                      <a:pt x="1385" y="58"/>
                      <a:pt x="1385" y="58"/>
                    </a:cubicBezTo>
                    <a:cubicBezTo>
                      <a:pt x="1385" y="59"/>
                      <a:pt x="1385" y="59"/>
                      <a:pt x="1385" y="59"/>
                    </a:cubicBezTo>
                    <a:cubicBezTo>
                      <a:pt x="1385" y="60"/>
                      <a:pt x="1385" y="60"/>
                      <a:pt x="1385" y="60"/>
                    </a:cubicBezTo>
                    <a:cubicBezTo>
                      <a:pt x="1386" y="60"/>
                      <a:pt x="1386" y="60"/>
                      <a:pt x="1386" y="60"/>
                    </a:cubicBezTo>
                    <a:cubicBezTo>
                      <a:pt x="1387" y="61"/>
                      <a:pt x="1387" y="61"/>
                      <a:pt x="1387" y="61"/>
                    </a:cubicBezTo>
                    <a:cubicBezTo>
                      <a:pt x="1387" y="62"/>
                      <a:pt x="1387" y="62"/>
                      <a:pt x="1387" y="62"/>
                    </a:cubicBezTo>
                    <a:cubicBezTo>
                      <a:pt x="1386" y="62"/>
                      <a:pt x="1386" y="62"/>
                      <a:pt x="1386" y="62"/>
                    </a:cubicBezTo>
                    <a:close/>
                    <a:moveTo>
                      <a:pt x="1408" y="49"/>
                    </a:moveTo>
                    <a:cubicBezTo>
                      <a:pt x="1408" y="49"/>
                      <a:pt x="1408" y="49"/>
                      <a:pt x="1409" y="49"/>
                    </a:cubicBezTo>
                    <a:cubicBezTo>
                      <a:pt x="1409" y="49"/>
                      <a:pt x="1409" y="49"/>
                      <a:pt x="1410" y="48"/>
                    </a:cubicBezTo>
                    <a:cubicBezTo>
                      <a:pt x="1410" y="48"/>
                      <a:pt x="1410" y="48"/>
                      <a:pt x="1410" y="47"/>
                    </a:cubicBezTo>
                    <a:cubicBezTo>
                      <a:pt x="1410" y="47"/>
                      <a:pt x="1410" y="47"/>
                      <a:pt x="1409" y="47"/>
                    </a:cubicBezTo>
                    <a:cubicBezTo>
                      <a:pt x="1409" y="47"/>
                      <a:pt x="1409" y="47"/>
                      <a:pt x="1408" y="46"/>
                    </a:cubicBezTo>
                    <a:cubicBezTo>
                      <a:pt x="1408" y="46"/>
                      <a:pt x="1408" y="46"/>
                      <a:pt x="1407" y="46"/>
                    </a:cubicBezTo>
                    <a:cubicBezTo>
                      <a:pt x="1407" y="46"/>
                      <a:pt x="1407" y="46"/>
                      <a:pt x="1406" y="47"/>
                    </a:cubicBezTo>
                    <a:cubicBezTo>
                      <a:pt x="1406" y="47"/>
                      <a:pt x="1406" y="47"/>
                      <a:pt x="1405" y="48"/>
                    </a:cubicBezTo>
                    <a:cubicBezTo>
                      <a:pt x="1405" y="48"/>
                      <a:pt x="1405" y="48"/>
                      <a:pt x="1407" y="48"/>
                    </a:cubicBezTo>
                    <a:cubicBezTo>
                      <a:pt x="1407" y="48"/>
                      <a:pt x="1407" y="48"/>
                      <a:pt x="1408" y="49"/>
                    </a:cubicBezTo>
                    <a:close/>
                    <a:moveTo>
                      <a:pt x="1367" y="67"/>
                    </a:moveTo>
                    <a:cubicBezTo>
                      <a:pt x="1367" y="67"/>
                      <a:pt x="1367" y="67"/>
                      <a:pt x="1366" y="66"/>
                    </a:cubicBezTo>
                    <a:cubicBezTo>
                      <a:pt x="1366" y="66"/>
                      <a:pt x="1366" y="66"/>
                      <a:pt x="1365" y="67"/>
                    </a:cubicBezTo>
                    <a:cubicBezTo>
                      <a:pt x="1365" y="67"/>
                      <a:pt x="1365" y="67"/>
                      <a:pt x="1365" y="68"/>
                    </a:cubicBezTo>
                    <a:cubicBezTo>
                      <a:pt x="1365" y="68"/>
                      <a:pt x="1365" y="68"/>
                      <a:pt x="1367" y="68"/>
                    </a:cubicBezTo>
                    <a:cubicBezTo>
                      <a:pt x="1367" y="68"/>
                      <a:pt x="1367" y="68"/>
                      <a:pt x="1367" y="67"/>
                    </a:cubicBezTo>
                    <a:close/>
                    <a:moveTo>
                      <a:pt x="1348" y="84"/>
                    </a:moveTo>
                    <a:cubicBezTo>
                      <a:pt x="1350" y="85"/>
                      <a:pt x="1350" y="85"/>
                      <a:pt x="1350" y="85"/>
                    </a:cubicBezTo>
                    <a:cubicBezTo>
                      <a:pt x="1350" y="86"/>
                      <a:pt x="1350" y="86"/>
                      <a:pt x="1350" y="86"/>
                    </a:cubicBezTo>
                    <a:cubicBezTo>
                      <a:pt x="1351" y="86"/>
                      <a:pt x="1351" y="86"/>
                      <a:pt x="1351" y="86"/>
                    </a:cubicBezTo>
                    <a:cubicBezTo>
                      <a:pt x="1351" y="85"/>
                      <a:pt x="1351" y="85"/>
                      <a:pt x="1351" y="85"/>
                    </a:cubicBezTo>
                    <a:cubicBezTo>
                      <a:pt x="1352" y="84"/>
                      <a:pt x="1352" y="84"/>
                      <a:pt x="1352" y="84"/>
                    </a:cubicBezTo>
                    <a:cubicBezTo>
                      <a:pt x="1353" y="85"/>
                      <a:pt x="1353" y="85"/>
                      <a:pt x="1353" y="85"/>
                    </a:cubicBezTo>
                    <a:cubicBezTo>
                      <a:pt x="1354" y="87"/>
                      <a:pt x="1354" y="87"/>
                      <a:pt x="1354" y="87"/>
                    </a:cubicBezTo>
                    <a:cubicBezTo>
                      <a:pt x="1355" y="87"/>
                      <a:pt x="1355" y="87"/>
                      <a:pt x="1355" y="87"/>
                    </a:cubicBezTo>
                    <a:cubicBezTo>
                      <a:pt x="1354" y="85"/>
                      <a:pt x="1354" y="85"/>
                      <a:pt x="1354" y="85"/>
                    </a:cubicBezTo>
                    <a:cubicBezTo>
                      <a:pt x="1354" y="83"/>
                      <a:pt x="1354" y="83"/>
                      <a:pt x="1354" y="83"/>
                    </a:cubicBezTo>
                    <a:cubicBezTo>
                      <a:pt x="1353" y="83"/>
                      <a:pt x="1353" y="83"/>
                      <a:pt x="1353" y="83"/>
                    </a:cubicBezTo>
                    <a:cubicBezTo>
                      <a:pt x="1353" y="82"/>
                      <a:pt x="1353" y="82"/>
                      <a:pt x="1353" y="82"/>
                    </a:cubicBezTo>
                    <a:cubicBezTo>
                      <a:pt x="1352" y="81"/>
                      <a:pt x="1352" y="81"/>
                      <a:pt x="1352" y="81"/>
                    </a:cubicBezTo>
                    <a:cubicBezTo>
                      <a:pt x="1353" y="80"/>
                      <a:pt x="1353" y="80"/>
                      <a:pt x="1353" y="80"/>
                    </a:cubicBezTo>
                    <a:cubicBezTo>
                      <a:pt x="1354" y="79"/>
                      <a:pt x="1354" y="79"/>
                      <a:pt x="1354" y="79"/>
                    </a:cubicBezTo>
                    <a:cubicBezTo>
                      <a:pt x="1356" y="78"/>
                      <a:pt x="1356" y="78"/>
                      <a:pt x="1356" y="78"/>
                    </a:cubicBezTo>
                    <a:cubicBezTo>
                      <a:pt x="1357" y="78"/>
                      <a:pt x="1357" y="78"/>
                      <a:pt x="1357" y="78"/>
                    </a:cubicBezTo>
                    <a:cubicBezTo>
                      <a:pt x="1358" y="78"/>
                      <a:pt x="1358" y="78"/>
                      <a:pt x="1358" y="78"/>
                    </a:cubicBezTo>
                    <a:cubicBezTo>
                      <a:pt x="1358" y="79"/>
                      <a:pt x="1358" y="79"/>
                      <a:pt x="1358" y="79"/>
                    </a:cubicBezTo>
                    <a:cubicBezTo>
                      <a:pt x="1360" y="80"/>
                      <a:pt x="1360" y="80"/>
                      <a:pt x="1360" y="80"/>
                    </a:cubicBezTo>
                    <a:cubicBezTo>
                      <a:pt x="1361" y="80"/>
                      <a:pt x="1361" y="80"/>
                      <a:pt x="1361" y="80"/>
                    </a:cubicBezTo>
                    <a:cubicBezTo>
                      <a:pt x="1361" y="79"/>
                      <a:pt x="1361" y="79"/>
                      <a:pt x="1361" y="79"/>
                    </a:cubicBezTo>
                    <a:cubicBezTo>
                      <a:pt x="1362" y="79"/>
                      <a:pt x="1362" y="79"/>
                      <a:pt x="1362" y="79"/>
                    </a:cubicBezTo>
                    <a:cubicBezTo>
                      <a:pt x="1361" y="78"/>
                      <a:pt x="1361" y="78"/>
                      <a:pt x="1361" y="78"/>
                    </a:cubicBezTo>
                    <a:cubicBezTo>
                      <a:pt x="1360" y="78"/>
                      <a:pt x="1360" y="78"/>
                      <a:pt x="1360" y="78"/>
                    </a:cubicBezTo>
                    <a:cubicBezTo>
                      <a:pt x="1357" y="76"/>
                      <a:pt x="1357" y="76"/>
                      <a:pt x="1357" y="76"/>
                    </a:cubicBezTo>
                    <a:cubicBezTo>
                      <a:pt x="1354" y="75"/>
                      <a:pt x="1354" y="75"/>
                      <a:pt x="1354" y="75"/>
                    </a:cubicBezTo>
                    <a:cubicBezTo>
                      <a:pt x="1352" y="76"/>
                      <a:pt x="1352" y="76"/>
                      <a:pt x="1352" y="76"/>
                    </a:cubicBezTo>
                    <a:cubicBezTo>
                      <a:pt x="1350" y="78"/>
                      <a:pt x="1350" y="78"/>
                      <a:pt x="1350" y="78"/>
                    </a:cubicBezTo>
                    <a:cubicBezTo>
                      <a:pt x="1349" y="79"/>
                      <a:pt x="1349" y="79"/>
                      <a:pt x="1349" y="79"/>
                    </a:cubicBezTo>
                    <a:cubicBezTo>
                      <a:pt x="1347" y="80"/>
                      <a:pt x="1347" y="80"/>
                      <a:pt x="1347" y="80"/>
                    </a:cubicBezTo>
                    <a:cubicBezTo>
                      <a:pt x="1346" y="81"/>
                      <a:pt x="1346" y="81"/>
                      <a:pt x="1346" y="81"/>
                    </a:cubicBezTo>
                    <a:cubicBezTo>
                      <a:pt x="1346" y="84"/>
                      <a:pt x="1346" y="84"/>
                      <a:pt x="1346" y="84"/>
                    </a:cubicBezTo>
                    <a:cubicBezTo>
                      <a:pt x="1347" y="85"/>
                      <a:pt x="1347" y="85"/>
                      <a:pt x="1347" y="85"/>
                    </a:cubicBezTo>
                    <a:cubicBezTo>
                      <a:pt x="1348" y="84"/>
                      <a:pt x="1348" y="84"/>
                      <a:pt x="1348" y="84"/>
                    </a:cubicBezTo>
                    <a:close/>
                    <a:moveTo>
                      <a:pt x="1409" y="88"/>
                    </a:moveTo>
                    <a:cubicBezTo>
                      <a:pt x="1410" y="86"/>
                      <a:pt x="1410" y="86"/>
                      <a:pt x="1410" y="86"/>
                    </a:cubicBezTo>
                    <a:cubicBezTo>
                      <a:pt x="1410" y="84"/>
                      <a:pt x="1410" y="84"/>
                      <a:pt x="1410" y="84"/>
                    </a:cubicBezTo>
                    <a:cubicBezTo>
                      <a:pt x="1408" y="84"/>
                      <a:pt x="1408" y="84"/>
                      <a:pt x="1408" y="84"/>
                    </a:cubicBezTo>
                    <a:cubicBezTo>
                      <a:pt x="1407" y="84"/>
                      <a:pt x="1407" y="84"/>
                      <a:pt x="1407" y="84"/>
                    </a:cubicBezTo>
                    <a:cubicBezTo>
                      <a:pt x="1405" y="85"/>
                      <a:pt x="1405" y="85"/>
                      <a:pt x="1405" y="85"/>
                    </a:cubicBezTo>
                    <a:cubicBezTo>
                      <a:pt x="1405" y="86"/>
                      <a:pt x="1405" y="86"/>
                      <a:pt x="1405" y="86"/>
                    </a:cubicBezTo>
                    <a:cubicBezTo>
                      <a:pt x="1406" y="87"/>
                      <a:pt x="1406" y="87"/>
                      <a:pt x="1406" y="87"/>
                    </a:cubicBezTo>
                    <a:cubicBezTo>
                      <a:pt x="1407" y="88"/>
                      <a:pt x="1407" y="88"/>
                      <a:pt x="1407" y="88"/>
                    </a:cubicBezTo>
                    <a:cubicBezTo>
                      <a:pt x="1409" y="88"/>
                      <a:pt x="1409" y="88"/>
                      <a:pt x="1409" y="88"/>
                    </a:cubicBezTo>
                    <a:close/>
                    <a:moveTo>
                      <a:pt x="2053" y="236"/>
                    </a:moveTo>
                    <a:cubicBezTo>
                      <a:pt x="2053" y="236"/>
                      <a:pt x="2053" y="236"/>
                      <a:pt x="2052" y="236"/>
                    </a:cubicBezTo>
                    <a:cubicBezTo>
                      <a:pt x="2052" y="236"/>
                      <a:pt x="2052" y="236"/>
                      <a:pt x="2053" y="237"/>
                    </a:cubicBezTo>
                    <a:cubicBezTo>
                      <a:pt x="2053" y="237"/>
                      <a:pt x="2053" y="237"/>
                      <a:pt x="2053" y="236"/>
                    </a:cubicBezTo>
                    <a:close/>
                    <a:moveTo>
                      <a:pt x="1361" y="82"/>
                    </a:moveTo>
                    <a:cubicBezTo>
                      <a:pt x="1359" y="81"/>
                      <a:pt x="1359" y="81"/>
                      <a:pt x="1359" y="81"/>
                    </a:cubicBezTo>
                    <a:cubicBezTo>
                      <a:pt x="1358" y="82"/>
                      <a:pt x="1358" y="82"/>
                      <a:pt x="1358" y="82"/>
                    </a:cubicBezTo>
                    <a:cubicBezTo>
                      <a:pt x="1357" y="81"/>
                      <a:pt x="1357" y="81"/>
                      <a:pt x="1357" y="81"/>
                    </a:cubicBezTo>
                    <a:cubicBezTo>
                      <a:pt x="1356" y="80"/>
                      <a:pt x="1356" y="80"/>
                      <a:pt x="1356" y="80"/>
                    </a:cubicBezTo>
                    <a:cubicBezTo>
                      <a:pt x="1356" y="81"/>
                      <a:pt x="1356" y="81"/>
                      <a:pt x="1356" y="81"/>
                    </a:cubicBezTo>
                    <a:cubicBezTo>
                      <a:pt x="1356" y="82"/>
                      <a:pt x="1356" y="82"/>
                      <a:pt x="1356" y="82"/>
                    </a:cubicBezTo>
                    <a:cubicBezTo>
                      <a:pt x="1355" y="83"/>
                      <a:pt x="1355" y="83"/>
                      <a:pt x="1355" y="83"/>
                    </a:cubicBezTo>
                    <a:cubicBezTo>
                      <a:pt x="1356" y="84"/>
                      <a:pt x="1356" y="84"/>
                      <a:pt x="1356" y="84"/>
                    </a:cubicBezTo>
                    <a:cubicBezTo>
                      <a:pt x="1357" y="83"/>
                      <a:pt x="1357" y="83"/>
                      <a:pt x="1357" y="83"/>
                    </a:cubicBezTo>
                    <a:cubicBezTo>
                      <a:pt x="1358" y="83"/>
                      <a:pt x="1358" y="83"/>
                      <a:pt x="1358" y="83"/>
                    </a:cubicBezTo>
                    <a:cubicBezTo>
                      <a:pt x="1359" y="85"/>
                      <a:pt x="1359" y="85"/>
                      <a:pt x="1359" y="85"/>
                    </a:cubicBezTo>
                    <a:cubicBezTo>
                      <a:pt x="1360" y="85"/>
                      <a:pt x="1360" y="85"/>
                      <a:pt x="1360" y="85"/>
                    </a:cubicBezTo>
                    <a:cubicBezTo>
                      <a:pt x="1360" y="86"/>
                      <a:pt x="1360" y="86"/>
                      <a:pt x="1360" y="86"/>
                    </a:cubicBezTo>
                    <a:cubicBezTo>
                      <a:pt x="1359" y="86"/>
                      <a:pt x="1359" y="86"/>
                      <a:pt x="1359" y="86"/>
                    </a:cubicBezTo>
                    <a:cubicBezTo>
                      <a:pt x="1358" y="86"/>
                      <a:pt x="1358" y="86"/>
                      <a:pt x="1358" y="86"/>
                    </a:cubicBezTo>
                    <a:cubicBezTo>
                      <a:pt x="1357" y="87"/>
                      <a:pt x="1357" y="87"/>
                      <a:pt x="1357" y="87"/>
                    </a:cubicBezTo>
                    <a:cubicBezTo>
                      <a:pt x="1357" y="90"/>
                      <a:pt x="1357" y="90"/>
                      <a:pt x="1357" y="90"/>
                    </a:cubicBezTo>
                    <a:cubicBezTo>
                      <a:pt x="1358" y="91"/>
                      <a:pt x="1358" y="91"/>
                      <a:pt x="1358" y="91"/>
                    </a:cubicBezTo>
                    <a:cubicBezTo>
                      <a:pt x="1358" y="92"/>
                      <a:pt x="1358" y="92"/>
                      <a:pt x="1358" y="92"/>
                    </a:cubicBezTo>
                    <a:cubicBezTo>
                      <a:pt x="1359" y="92"/>
                      <a:pt x="1359" y="92"/>
                      <a:pt x="1359" y="92"/>
                    </a:cubicBezTo>
                    <a:cubicBezTo>
                      <a:pt x="1360" y="92"/>
                      <a:pt x="1360" y="92"/>
                      <a:pt x="1360" y="92"/>
                    </a:cubicBezTo>
                    <a:cubicBezTo>
                      <a:pt x="1360" y="91"/>
                      <a:pt x="1360" y="91"/>
                      <a:pt x="1360" y="91"/>
                    </a:cubicBezTo>
                    <a:cubicBezTo>
                      <a:pt x="1360" y="90"/>
                      <a:pt x="1360" y="90"/>
                      <a:pt x="1360" y="90"/>
                    </a:cubicBezTo>
                    <a:cubicBezTo>
                      <a:pt x="1361" y="90"/>
                      <a:pt x="1361" y="90"/>
                      <a:pt x="1361" y="90"/>
                    </a:cubicBezTo>
                    <a:cubicBezTo>
                      <a:pt x="1362" y="91"/>
                      <a:pt x="1362" y="91"/>
                      <a:pt x="1362" y="91"/>
                    </a:cubicBezTo>
                    <a:cubicBezTo>
                      <a:pt x="1362" y="93"/>
                      <a:pt x="1362" y="93"/>
                      <a:pt x="1362" y="93"/>
                    </a:cubicBezTo>
                    <a:cubicBezTo>
                      <a:pt x="1363" y="93"/>
                      <a:pt x="1363" y="93"/>
                      <a:pt x="1363" y="93"/>
                    </a:cubicBezTo>
                    <a:cubicBezTo>
                      <a:pt x="1364" y="92"/>
                      <a:pt x="1364" y="92"/>
                      <a:pt x="1364" y="92"/>
                    </a:cubicBezTo>
                    <a:cubicBezTo>
                      <a:pt x="1364" y="91"/>
                      <a:pt x="1364" y="91"/>
                      <a:pt x="1364" y="91"/>
                    </a:cubicBezTo>
                    <a:cubicBezTo>
                      <a:pt x="1364" y="90"/>
                      <a:pt x="1364" y="90"/>
                      <a:pt x="1364" y="90"/>
                    </a:cubicBezTo>
                    <a:cubicBezTo>
                      <a:pt x="1365" y="91"/>
                      <a:pt x="1365" y="91"/>
                      <a:pt x="1365" y="91"/>
                    </a:cubicBezTo>
                    <a:cubicBezTo>
                      <a:pt x="1366" y="90"/>
                      <a:pt x="1366" y="90"/>
                      <a:pt x="1366" y="90"/>
                    </a:cubicBezTo>
                    <a:cubicBezTo>
                      <a:pt x="1366" y="88"/>
                      <a:pt x="1366" y="88"/>
                      <a:pt x="1366" y="88"/>
                    </a:cubicBezTo>
                    <a:cubicBezTo>
                      <a:pt x="1366" y="87"/>
                      <a:pt x="1366" y="87"/>
                      <a:pt x="1366" y="87"/>
                    </a:cubicBezTo>
                    <a:cubicBezTo>
                      <a:pt x="1365" y="86"/>
                      <a:pt x="1365" y="86"/>
                      <a:pt x="1365" y="86"/>
                    </a:cubicBezTo>
                    <a:cubicBezTo>
                      <a:pt x="1364" y="85"/>
                      <a:pt x="1364" y="85"/>
                      <a:pt x="1364" y="85"/>
                    </a:cubicBezTo>
                    <a:cubicBezTo>
                      <a:pt x="1366" y="85"/>
                      <a:pt x="1366" y="85"/>
                      <a:pt x="1366" y="85"/>
                    </a:cubicBezTo>
                    <a:cubicBezTo>
                      <a:pt x="1367" y="85"/>
                      <a:pt x="1367" y="85"/>
                      <a:pt x="1367" y="85"/>
                    </a:cubicBezTo>
                    <a:cubicBezTo>
                      <a:pt x="1369" y="84"/>
                      <a:pt x="1369" y="84"/>
                      <a:pt x="1369" y="84"/>
                    </a:cubicBezTo>
                    <a:cubicBezTo>
                      <a:pt x="1369" y="83"/>
                      <a:pt x="1369" y="83"/>
                      <a:pt x="1369" y="83"/>
                    </a:cubicBezTo>
                    <a:cubicBezTo>
                      <a:pt x="1368" y="82"/>
                      <a:pt x="1368" y="82"/>
                      <a:pt x="1368" y="82"/>
                    </a:cubicBezTo>
                    <a:cubicBezTo>
                      <a:pt x="1367" y="82"/>
                      <a:pt x="1367" y="82"/>
                      <a:pt x="1367" y="82"/>
                    </a:cubicBezTo>
                    <a:cubicBezTo>
                      <a:pt x="1367" y="81"/>
                      <a:pt x="1367" y="81"/>
                      <a:pt x="1367" y="81"/>
                    </a:cubicBezTo>
                    <a:cubicBezTo>
                      <a:pt x="1368" y="80"/>
                      <a:pt x="1368" y="80"/>
                      <a:pt x="1368" y="80"/>
                    </a:cubicBezTo>
                    <a:cubicBezTo>
                      <a:pt x="1369" y="80"/>
                      <a:pt x="1369" y="80"/>
                      <a:pt x="1369" y="80"/>
                    </a:cubicBezTo>
                    <a:cubicBezTo>
                      <a:pt x="1369" y="81"/>
                      <a:pt x="1369" y="81"/>
                      <a:pt x="1369" y="81"/>
                    </a:cubicBezTo>
                    <a:cubicBezTo>
                      <a:pt x="1370" y="81"/>
                      <a:pt x="1370" y="81"/>
                      <a:pt x="1370" y="81"/>
                    </a:cubicBezTo>
                    <a:cubicBezTo>
                      <a:pt x="1371" y="79"/>
                      <a:pt x="1371" y="79"/>
                      <a:pt x="1371" y="79"/>
                    </a:cubicBezTo>
                    <a:cubicBezTo>
                      <a:pt x="1372" y="79"/>
                      <a:pt x="1372" y="79"/>
                      <a:pt x="1372" y="79"/>
                    </a:cubicBezTo>
                    <a:cubicBezTo>
                      <a:pt x="1372" y="78"/>
                      <a:pt x="1372" y="78"/>
                      <a:pt x="1372" y="78"/>
                    </a:cubicBezTo>
                    <a:cubicBezTo>
                      <a:pt x="1372" y="77"/>
                      <a:pt x="1372" y="77"/>
                      <a:pt x="1372" y="77"/>
                    </a:cubicBezTo>
                    <a:cubicBezTo>
                      <a:pt x="1370" y="76"/>
                      <a:pt x="1370" y="76"/>
                      <a:pt x="1370" y="76"/>
                    </a:cubicBezTo>
                    <a:cubicBezTo>
                      <a:pt x="1370" y="75"/>
                      <a:pt x="1370" y="75"/>
                      <a:pt x="1370" y="75"/>
                    </a:cubicBezTo>
                    <a:cubicBezTo>
                      <a:pt x="1370" y="74"/>
                      <a:pt x="1370" y="74"/>
                      <a:pt x="1370" y="74"/>
                    </a:cubicBezTo>
                    <a:cubicBezTo>
                      <a:pt x="1368" y="75"/>
                      <a:pt x="1368" y="75"/>
                      <a:pt x="1368" y="75"/>
                    </a:cubicBezTo>
                    <a:cubicBezTo>
                      <a:pt x="1367" y="76"/>
                      <a:pt x="1367" y="76"/>
                      <a:pt x="1367" y="76"/>
                    </a:cubicBezTo>
                    <a:cubicBezTo>
                      <a:pt x="1367" y="75"/>
                      <a:pt x="1367" y="75"/>
                      <a:pt x="1367" y="75"/>
                    </a:cubicBezTo>
                    <a:cubicBezTo>
                      <a:pt x="1368" y="74"/>
                      <a:pt x="1368" y="74"/>
                      <a:pt x="1368" y="74"/>
                    </a:cubicBezTo>
                    <a:cubicBezTo>
                      <a:pt x="1368" y="73"/>
                      <a:pt x="1368" y="73"/>
                      <a:pt x="1368" y="73"/>
                    </a:cubicBezTo>
                    <a:cubicBezTo>
                      <a:pt x="1369" y="71"/>
                      <a:pt x="1369" y="71"/>
                      <a:pt x="1369" y="71"/>
                    </a:cubicBezTo>
                    <a:cubicBezTo>
                      <a:pt x="1368" y="71"/>
                      <a:pt x="1368" y="71"/>
                      <a:pt x="1368" y="71"/>
                    </a:cubicBezTo>
                    <a:cubicBezTo>
                      <a:pt x="1367" y="72"/>
                      <a:pt x="1367" y="72"/>
                      <a:pt x="1367" y="72"/>
                    </a:cubicBezTo>
                    <a:cubicBezTo>
                      <a:pt x="1366" y="74"/>
                      <a:pt x="1366" y="74"/>
                      <a:pt x="1366" y="74"/>
                    </a:cubicBezTo>
                    <a:cubicBezTo>
                      <a:pt x="1366" y="72"/>
                      <a:pt x="1366" y="72"/>
                      <a:pt x="1366" y="72"/>
                    </a:cubicBezTo>
                    <a:cubicBezTo>
                      <a:pt x="1365" y="72"/>
                      <a:pt x="1365" y="72"/>
                      <a:pt x="1365" y="72"/>
                    </a:cubicBezTo>
                    <a:cubicBezTo>
                      <a:pt x="1365" y="74"/>
                      <a:pt x="1365" y="74"/>
                      <a:pt x="1365" y="74"/>
                    </a:cubicBezTo>
                    <a:cubicBezTo>
                      <a:pt x="1364" y="74"/>
                      <a:pt x="1364" y="74"/>
                      <a:pt x="1364" y="74"/>
                    </a:cubicBezTo>
                    <a:cubicBezTo>
                      <a:pt x="1364" y="75"/>
                      <a:pt x="1364" y="75"/>
                      <a:pt x="1364" y="75"/>
                    </a:cubicBezTo>
                    <a:cubicBezTo>
                      <a:pt x="1364" y="76"/>
                      <a:pt x="1364" y="76"/>
                      <a:pt x="1364" y="76"/>
                    </a:cubicBezTo>
                    <a:cubicBezTo>
                      <a:pt x="1365" y="75"/>
                      <a:pt x="1365" y="75"/>
                      <a:pt x="1365" y="75"/>
                    </a:cubicBezTo>
                    <a:cubicBezTo>
                      <a:pt x="1366" y="76"/>
                      <a:pt x="1366" y="76"/>
                      <a:pt x="1366" y="76"/>
                    </a:cubicBezTo>
                    <a:cubicBezTo>
                      <a:pt x="1365" y="77"/>
                      <a:pt x="1365" y="77"/>
                      <a:pt x="1365" y="77"/>
                    </a:cubicBezTo>
                    <a:cubicBezTo>
                      <a:pt x="1364" y="78"/>
                      <a:pt x="1364" y="78"/>
                      <a:pt x="1364" y="78"/>
                    </a:cubicBezTo>
                    <a:cubicBezTo>
                      <a:pt x="1364" y="79"/>
                      <a:pt x="1364" y="79"/>
                      <a:pt x="1364" y="79"/>
                    </a:cubicBezTo>
                    <a:cubicBezTo>
                      <a:pt x="1363" y="80"/>
                      <a:pt x="1363" y="80"/>
                      <a:pt x="1363" y="80"/>
                    </a:cubicBezTo>
                    <a:cubicBezTo>
                      <a:pt x="1362" y="81"/>
                      <a:pt x="1362" y="81"/>
                      <a:pt x="1362" y="81"/>
                    </a:cubicBezTo>
                    <a:cubicBezTo>
                      <a:pt x="1361" y="82"/>
                      <a:pt x="1361" y="82"/>
                      <a:pt x="1361" y="82"/>
                    </a:cubicBezTo>
                    <a:close/>
                    <a:moveTo>
                      <a:pt x="1969" y="120"/>
                    </a:moveTo>
                    <a:cubicBezTo>
                      <a:pt x="1969" y="119"/>
                      <a:pt x="1969" y="119"/>
                      <a:pt x="1969" y="119"/>
                    </a:cubicBezTo>
                    <a:cubicBezTo>
                      <a:pt x="1968" y="118"/>
                      <a:pt x="1968" y="118"/>
                      <a:pt x="1968" y="118"/>
                    </a:cubicBezTo>
                    <a:cubicBezTo>
                      <a:pt x="1968" y="119"/>
                      <a:pt x="1968" y="119"/>
                      <a:pt x="1968" y="119"/>
                    </a:cubicBezTo>
                    <a:cubicBezTo>
                      <a:pt x="1969" y="121"/>
                      <a:pt x="1969" y="121"/>
                      <a:pt x="1969" y="121"/>
                    </a:cubicBezTo>
                    <a:cubicBezTo>
                      <a:pt x="1969" y="120"/>
                      <a:pt x="1969" y="120"/>
                      <a:pt x="1969" y="120"/>
                    </a:cubicBezTo>
                    <a:close/>
                    <a:moveTo>
                      <a:pt x="2043" y="452"/>
                    </a:moveTo>
                    <a:cubicBezTo>
                      <a:pt x="2043" y="454"/>
                      <a:pt x="2043" y="454"/>
                      <a:pt x="2043" y="454"/>
                    </a:cubicBezTo>
                    <a:cubicBezTo>
                      <a:pt x="2042" y="455"/>
                      <a:pt x="2042" y="455"/>
                      <a:pt x="2042" y="455"/>
                    </a:cubicBezTo>
                    <a:cubicBezTo>
                      <a:pt x="2042" y="457"/>
                      <a:pt x="2042" y="457"/>
                      <a:pt x="2042" y="457"/>
                    </a:cubicBezTo>
                    <a:cubicBezTo>
                      <a:pt x="2041" y="458"/>
                      <a:pt x="2041" y="458"/>
                      <a:pt x="2041" y="458"/>
                    </a:cubicBezTo>
                    <a:cubicBezTo>
                      <a:pt x="2042" y="459"/>
                      <a:pt x="2042" y="459"/>
                      <a:pt x="2042" y="459"/>
                    </a:cubicBezTo>
                    <a:cubicBezTo>
                      <a:pt x="2043" y="460"/>
                      <a:pt x="2043" y="460"/>
                      <a:pt x="2043" y="460"/>
                    </a:cubicBezTo>
                    <a:cubicBezTo>
                      <a:pt x="2043" y="458"/>
                      <a:pt x="2043" y="458"/>
                      <a:pt x="2043" y="458"/>
                    </a:cubicBezTo>
                    <a:cubicBezTo>
                      <a:pt x="2043" y="455"/>
                      <a:pt x="2043" y="455"/>
                      <a:pt x="2043" y="455"/>
                    </a:cubicBezTo>
                    <a:cubicBezTo>
                      <a:pt x="2044" y="455"/>
                      <a:pt x="2044" y="455"/>
                      <a:pt x="2044" y="455"/>
                    </a:cubicBezTo>
                    <a:cubicBezTo>
                      <a:pt x="2045" y="454"/>
                      <a:pt x="2045" y="454"/>
                      <a:pt x="2045" y="454"/>
                    </a:cubicBezTo>
                    <a:cubicBezTo>
                      <a:pt x="2046" y="452"/>
                      <a:pt x="2046" y="452"/>
                      <a:pt x="2046" y="452"/>
                    </a:cubicBezTo>
                    <a:cubicBezTo>
                      <a:pt x="2045" y="452"/>
                      <a:pt x="2045" y="452"/>
                      <a:pt x="2045" y="452"/>
                    </a:cubicBezTo>
                    <a:cubicBezTo>
                      <a:pt x="2044" y="453"/>
                      <a:pt x="2044" y="453"/>
                      <a:pt x="2044" y="453"/>
                    </a:cubicBezTo>
                    <a:cubicBezTo>
                      <a:pt x="2044" y="452"/>
                      <a:pt x="2044" y="452"/>
                      <a:pt x="2044" y="452"/>
                    </a:cubicBezTo>
                    <a:cubicBezTo>
                      <a:pt x="2043" y="452"/>
                      <a:pt x="2043" y="452"/>
                      <a:pt x="2043" y="452"/>
                    </a:cubicBezTo>
                    <a:close/>
                    <a:moveTo>
                      <a:pt x="1994" y="384"/>
                    </a:moveTo>
                    <a:cubicBezTo>
                      <a:pt x="1995" y="384"/>
                      <a:pt x="1995" y="384"/>
                      <a:pt x="1995" y="384"/>
                    </a:cubicBezTo>
                    <a:cubicBezTo>
                      <a:pt x="1996" y="386"/>
                      <a:pt x="1996" y="386"/>
                      <a:pt x="1996" y="386"/>
                    </a:cubicBezTo>
                    <a:cubicBezTo>
                      <a:pt x="1996" y="388"/>
                      <a:pt x="1996" y="388"/>
                      <a:pt x="1996" y="388"/>
                    </a:cubicBezTo>
                    <a:cubicBezTo>
                      <a:pt x="1996" y="390"/>
                      <a:pt x="1996" y="390"/>
                      <a:pt x="1996" y="390"/>
                    </a:cubicBezTo>
                    <a:cubicBezTo>
                      <a:pt x="1997" y="392"/>
                      <a:pt x="1997" y="392"/>
                      <a:pt x="1997" y="392"/>
                    </a:cubicBezTo>
                    <a:cubicBezTo>
                      <a:pt x="1997" y="393"/>
                      <a:pt x="1997" y="393"/>
                      <a:pt x="1997" y="393"/>
                    </a:cubicBezTo>
                    <a:cubicBezTo>
                      <a:pt x="1998" y="394"/>
                      <a:pt x="1998" y="394"/>
                      <a:pt x="1998" y="394"/>
                    </a:cubicBezTo>
                    <a:cubicBezTo>
                      <a:pt x="2000" y="395"/>
                      <a:pt x="2000" y="395"/>
                      <a:pt x="2000" y="395"/>
                    </a:cubicBezTo>
                    <a:cubicBezTo>
                      <a:pt x="1999" y="395"/>
                      <a:pt x="1999" y="395"/>
                      <a:pt x="1999" y="395"/>
                    </a:cubicBezTo>
                    <a:cubicBezTo>
                      <a:pt x="1999" y="396"/>
                      <a:pt x="1999" y="396"/>
                      <a:pt x="1999" y="396"/>
                    </a:cubicBezTo>
                    <a:cubicBezTo>
                      <a:pt x="2001" y="398"/>
                      <a:pt x="2001" y="398"/>
                      <a:pt x="2001" y="398"/>
                    </a:cubicBezTo>
                    <a:cubicBezTo>
                      <a:pt x="2001" y="400"/>
                      <a:pt x="2001" y="400"/>
                      <a:pt x="2001" y="400"/>
                    </a:cubicBezTo>
                    <a:cubicBezTo>
                      <a:pt x="2002" y="401"/>
                      <a:pt x="2002" y="401"/>
                      <a:pt x="2002" y="401"/>
                    </a:cubicBezTo>
                    <a:cubicBezTo>
                      <a:pt x="2002" y="404"/>
                      <a:pt x="2002" y="404"/>
                      <a:pt x="2002" y="404"/>
                    </a:cubicBezTo>
                    <a:cubicBezTo>
                      <a:pt x="2002" y="405"/>
                      <a:pt x="2002" y="405"/>
                      <a:pt x="2002" y="405"/>
                    </a:cubicBezTo>
                    <a:cubicBezTo>
                      <a:pt x="2002" y="406"/>
                      <a:pt x="2002" y="406"/>
                      <a:pt x="2002" y="406"/>
                    </a:cubicBezTo>
                    <a:cubicBezTo>
                      <a:pt x="2002" y="408"/>
                      <a:pt x="2002" y="408"/>
                      <a:pt x="2002" y="408"/>
                    </a:cubicBezTo>
                    <a:cubicBezTo>
                      <a:pt x="2003" y="410"/>
                      <a:pt x="2003" y="410"/>
                      <a:pt x="2003" y="410"/>
                    </a:cubicBezTo>
                    <a:cubicBezTo>
                      <a:pt x="2003" y="411"/>
                      <a:pt x="2003" y="411"/>
                      <a:pt x="2003" y="411"/>
                    </a:cubicBezTo>
                    <a:cubicBezTo>
                      <a:pt x="2003" y="413"/>
                      <a:pt x="2003" y="413"/>
                      <a:pt x="2003" y="413"/>
                    </a:cubicBezTo>
                    <a:cubicBezTo>
                      <a:pt x="2004" y="414"/>
                      <a:pt x="2004" y="414"/>
                      <a:pt x="2004" y="414"/>
                    </a:cubicBezTo>
                    <a:cubicBezTo>
                      <a:pt x="2007" y="417"/>
                      <a:pt x="2007" y="417"/>
                      <a:pt x="2007" y="417"/>
                    </a:cubicBezTo>
                    <a:cubicBezTo>
                      <a:pt x="2007" y="418"/>
                      <a:pt x="2007" y="418"/>
                      <a:pt x="2007" y="418"/>
                    </a:cubicBezTo>
                    <a:cubicBezTo>
                      <a:pt x="2008" y="420"/>
                      <a:pt x="2008" y="420"/>
                      <a:pt x="2008" y="420"/>
                    </a:cubicBezTo>
                    <a:cubicBezTo>
                      <a:pt x="2008" y="422"/>
                      <a:pt x="2008" y="422"/>
                      <a:pt x="2008" y="422"/>
                    </a:cubicBezTo>
                    <a:cubicBezTo>
                      <a:pt x="2008" y="425"/>
                      <a:pt x="2008" y="425"/>
                      <a:pt x="2008" y="425"/>
                    </a:cubicBezTo>
                    <a:cubicBezTo>
                      <a:pt x="2009" y="427"/>
                      <a:pt x="2009" y="427"/>
                      <a:pt x="2009" y="427"/>
                    </a:cubicBezTo>
                    <a:cubicBezTo>
                      <a:pt x="2009" y="428"/>
                      <a:pt x="2009" y="428"/>
                      <a:pt x="2009" y="428"/>
                    </a:cubicBezTo>
                    <a:cubicBezTo>
                      <a:pt x="2011" y="430"/>
                      <a:pt x="2011" y="430"/>
                      <a:pt x="2011" y="430"/>
                    </a:cubicBezTo>
                    <a:cubicBezTo>
                      <a:pt x="2011" y="431"/>
                      <a:pt x="2011" y="431"/>
                      <a:pt x="2011" y="431"/>
                    </a:cubicBezTo>
                    <a:cubicBezTo>
                      <a:pt x="2011" y="433"/>
                      <a:pt x="2011" y="433"/>
                      <a:pt x="2011" y="433"/>
                    </a:cubicBezTo>
                    <a:cubicBezTo>
                      <a:pt x="2011" y="436"/>
                      <a:pt x="2011" y="436"/>
                      <a:pt x="2011" y="436"/>
                    </a:cubicBezTo>
                    <a:cubicBezTo>
                      <a:pt x="2011" y="437"/>
                      <a:pt x="2011" y="437"/>
                      <a:pt x="2011" y="437"/>
                    </a:cubicBezTo>
                    <a:cubicBezTo>
                      <a:pt x="2012" y="438"/>
                      <a:pt x="2012" y="438"/>
                      <a:pt x="2012" y="438"/>
                    </a:cubicBezTo>
                    <a:cubicBezTo>
                      <a:pt x="2013" y="440"/>
                      <a:pt x="2013" y="440"/>
                      <a:pt x="2013" y="440"/>
                    </a:cubicBezTo>
                    <a:cubicBezTo>
                      <a:pt x="2015" y="441"/>
                      <a:pt x="2015" y="441"/>
                      <a:pt x="2015" y="441"/>
                    </a:cubicBezTo>
                    <a:cubicBezTo>
                      <a:pt x="2015" y="440"/>
                      <a:pt x="2015" y="440"/>
                      <a:pt x="2015" y="440"/>
                    </a:cubicBezTo>
                    <a:cubicBezTo>
                      <a:pt x="2015" y="438"/>
                      <a:pt x="2015" y="438"/>
                      <a:pt x="2015" y="438"/>
                    </a:cubicBezTo>
                    <a:cubicBezTo>
                      <a:pt x="2014" y="437"/>
                      <a:pt x="2014" y="437"/>
                      <a:pt x="2014" y="437"/>
                    </a:cubicBezTo>
                    <a:cubicBezTo>
                      <a:pt x="2014" y="436"/>
                      <a:pt x="2014" y="436"/>
                      <a:pt x="2014" y="436"/>
                    </a:cubicBezTo>
                    <a:cubicBezTo>
                      <a:pt x="2014" y="434"/>
                      <a:pt x="2014" y="434"/>
                      <a:pt x="2014" y="434"/>
                    </a:cubicBezTo>
                    <a:cubicBezTo>
                      <a:pt x="2015" y="433"/>
                      <a:pt x="2015" y="433"/>
                      <a:pt x="2015" y="433"/>
                    </a:cubicBezTo>
                    <a:cubicBezTo>
                      <a:pt x="2016" y="433"/>
                      <a:pt x="2016" y="433"/>
                      <a:pt x="2016" y="433"/>
                    </a:cubicBezTo>
                    <a:cubicBezTo>
                      <a:pt x="2016" y="434"/>
                      <a:pt x="2016" y="434"/>
                      <a:pt x="2016" y="434"/>
                    </a:cubicBezTo>
                    <a:cubicBezTo>
                      <a:pt x="2017" y="434"/>
                      <a:pt x="2017" y="434"/>
                      <a:pt x="2017" y="434"/>
                    </a:cubicBezTo>
                    <a:cubicBezTo>
                      <a:pt x="2019" y="434"/>
                      <a:pt x="2019" y="434"/>
                      <a:pt x="2019" y="434"/>
                    </a:cubicBezTo>
                    <a:cubicBezTo>
                      <a:pt x="2019" y="433"/>
                      <a:pt x="2019" y="433"/>
                      <a:pt x="2019" y="433"/>
                    </a:cubicBezTo>
                    <a:cubicBezTo>
                      <a:pt x="2020" y="433"/>
                      <a:pt x="2020" y="433"/>
                      <a:pt x="2020" y="433"/>
                    </a:cubicBezTo>
                    <a:cubicBezTo>
                      <a:pt x="2020" y="434"/>
                      <a:pt x="2020" y="434"/>
                      <a:pt x="2020" y="434"/>
                    </a:cubicBezTo>
                    <a:cubicBezTo>
                      <a:pt x="2020" y="435"/>
                      <a:pt x="2020" y="435"/>
                      <a:pt x="2020" y="435"/>
                    </a:cubicBezTo>
                    <a:cubicBezTo>
                      <a:pt x="2021" y="437"/>
                      <a:pt x="2021" y="437"/>
                      <a:pt x="2021" y="437"/>
                    </a:cubicBezTo>
                    <a:cubicBezTo>
                      <a:pt x="2022" y="438"/>
                      <a:pt x="2022" y="438"/>
                      <a:pt x="2022" y="438"/>
                    </a:cubicBezTo>
                    <a:cubicBezTo>
                      <a:pt x="2022" y="437"/>
                      <a:pt x="2022" y="437"/>
                      <a:pt x="2022" y="437"/>
                    </a:cubicBezTo>
                    <a:cubicBezTo>
                      <a:pt x="2022" y="436"/>
                      <a:pt x="2022" y="436"/>
                      <a:pt x="2022" y="436"/>
                    </a:cubicBezTo>
                    <a:cubicBezTo>
                      <a:pt x="2022" y="434"/>
                      <a:pt x="2022" y="434"/>
                      <a:pt x="2022" y="434"/>
                    </a:cubicBezTo>
                    <a:cubicBezTo>
                      <a:pt x="2021" y="433"/>
                      <a:pt x="2021" y="433"/>
                      <a:pt x="2021" y="433"/>
                    </a:cubicBezTo>
                    <a:cubicBezTo>
                      <a:pt x="2021" y="432"/>
                      <a:pt x="2021" y="432"/>
                      <a:pt x="2021" y="432"/>
                    </a:cubicBezTo>
                    <a:cubicBezTo>
                      <a:pt x="2020" y="431"/>
                      <a:pt x="2020" y="431"/>
                      <a:pt x="2020" y="431"/>
                    </a:cubicBezTo>
                    <a:cubicBezTo>
                      <a:pt x="2019" y="431"/>
                      <a:pt x="2019" y="431"/>
                      <a:pt x="2019" y="431"/>
                    </a:cubicBezTo>
                    <a:cubicBezTo>
                      <a:pt x="2017" y="430"/>
                      <a:pt x="2017" y="430"/>
                      <a:pt x="2017" y="430"/>
                    </a:cubicBezTo>
                    <a:cubicBezTo>
                      <a:pt x="2017" y="428"/>
                      <a:pt x="2017" y="428"/>
                      <a:pt x="2017" y="428"/>
                    </a:cubicBezTo>
                    <a:cubicBezTo>
                      <a:pt x="2016" y="427"/>
                      <a:pt x="2016" y="427"/>
                      <a:pt x="2016" y="427"/>
                    </a:cubicBezTo>
                    <a:cubicBezTo>
                      <a:pt x="2014" y="425"/>
                      <a:pt x="2014" y="425"/>
                      <a:pt x="2014" y="425"/>
                    </a:cubicBezTo>
                    <a:cubicBezTo>
                      <a:pt x="2013" y="425"/>
                      <a:pt x="2013" y="425"/>
                      <a:pt x="2013" y="425"/>
                    </a:cubicBezTo>
                    <a:cubicBezTo>
                      <a:pt x="2012" y="424"/>
                      <a:pt x="2012" y="424"/>
                      <a:pt x="2012" y="424"/>
                    </a:cubicBezTo>
                    <a:cubicBezTo>
                      <a:pt x="2012" y="422"/>
                      <a:pt x="2012" y="422"/>
                      <a:pt x="2012" y="422"/>
                    </a:cubicBezTo>
                    <a:cubicBezTo>
                      <a:pt x="2011" y="420"/>
                      <a:pt x="2011" y="420"/>
                      <a:pt x="2011" y="420"/>
                    </a:cubicBezTo>
                    <a:cubicBezTo>
                      <a:pt x="2010" y="419"/>
                      <a:pt x="2010" y="419"/>
                      <a:pt x="2010" y="419"/>
                    </a:cubicBezTo>
                    <a:cubicBezTo>
                      <a:pt x="2010" y="416"/>
                      <a:pt x="2010" y="416"/>
                      <a:pt x="2010" y="416"/>
                    </a:cubicBezTo>
                    <a:cubicBezTo>
                      <a:pt x="2010" y="414"/>
                      <a:pt x="2010" y="414"/>
                      <a:pt x="2010" y="414"/>
                    </a:cubicBezTo>
                    <a:cubicBezTo>
                      <a:pt x="2009" y="413"/>
                      <a:pt x="2009" y="413"/>
                      <a:pt x="2009" y="413"/>
                    </a:cubicBezTo>
                    <a:cubicBezTo>
                      <a:pt x="2010" y="411"/>
                      <a:pt x="2010" y="411"/>
                      <a:pt x="2010" y="411"/>
                    </a:cubicBezTo>
                    <a:cubicBezTo>
                      <a:pt x="2010" y="409"/>
                      <a:pt x="2010" y="409"/>
                      <a:pt x="2010" y="409"/>
                    </a:cubicBezTo>
                    <a:cubicBezTo>
                      <a:pt x="2009" y="408"/>
                      <a:pt x="2009" y="408"/>
                      <a:pt x="2009" y="408"/>
                    </a:cubicBezTo>
                    <a:cubicBezTo>
                      <a:pt x="2009" y="407"/>
                      <a:pt x="2009" y="407"/>
                      <a:pt x="2009" y="407"/>
                    </a:cubicBezTo>
                    <a:cubicBezTo>
                      <a:pt x="2009" y="406"/>
                      <a:pt x="2009" y="406"/>
                      <a:pt x="2009" y="406"/>
                    </a:cubicBezTo>
                    <a:cubicBezTo>
                      <a:pt x="2009" y="405"/>
                      <a:pt x="2009" y="405"/>
                      <a:pt x="2009" y="405"/>
                    </a:cubicBezTo>
                    <a:cubicBezTo>
                      <a:pt x="2010" y="405"/>
                      <a:pt x="2010" y="405"/>
                      <a:pt x="2010" y="405"/>
                    </a:cubicBezTo>
                    <a:cubicBezTo>
                      <a:pt x="2011" y="405"/>
                      <a:pt x="2011" y="405"/>
                      <a:pt x="2011" y="405"/>
                    </a:cubicBezTo>
                    <a:cubicBezTo>
                      <a:pt x="2012" y="405"/>
                      <a:pt x="2012" y="405"/>
                      <a:pt x="2012" y="405"/>
                    </a:cubicBezTo>
                    <a:cubicBezTo>
                      <a:pt x="2014" y="405"/>
                      <a:pt x="2014" y="405"/>
                      <a:pt x="2014" y="405"/>
                    </a:cubicBezTo>
                    <a:cubicBezTo>
                      <a:pt x="2015" y="406"/>
                      <a:pt x="2015" y="406"/>
                      <a:pt x="2015" y="406"/>
                    </a:cubicBezTo>
                    <a:cubicBezTo>
                      <a:pt x="2016" y="408"/>
                      <a:pt x="2016" y="408"/>
                      <a:pt x="2016" y="408"/>
                    </a:cubicBezTo>
                    <a:cubicBezTo>
                      <a:pt x="2017" y="408"/>
                      <a:pt x="2017" y="408"/>
                      <a:pt x="2017" y="408"/>
                    </a:cubicBezTo>
                    <a:cubicBezTo>
                      <a:pt x="2018" y="409"/>
                      <a:pt x="2018" y="409"/>
                      <a:pt x="2018" y="409"/>
                    </a:cubicBezTo>
                    <a:cubicBezTo>
                      <a:pt x="2020" y="411"/>
                      <a:pt x="2020" y="411"/>
                      <a:pt x="2020" y="411"/>
                    </a:cubicBezTo>
                    <a:cubicBezTo>
                      <a:pt x="2020" y="410"/>
                      <a:pt x="2020" y="410"/>
                      <a:pt x="2020" y="410"/>
                    </a:cubicBezTo>
                    <a:cubicBezTo>
                      <a:pt x="2018" y="408"/>
                      <a:pt x="2018" y="408"/>
                      <a:pt x="2018" y="408"/>
                    </a:cubicBezTo>
                    <a:cubicBezTo>
                      <a:pt x="2017" y="407"/>
                      <a:pt x="2017" y="407"/>
                      <a:pt x="2017" y="407"/>
                    </a:cubicBezTo>
                    <a:cubicBezTo>
                      <a:pt x="2016" y="405"/>
                      <a:pt x="2016" y="405"/>
                      <a:pt x="2016" y="405"/>
                    </a:cubicBezTo>
                    <a:cubicBezTo>
                      <a:pt x="2014" y="403"/>
                      <a:pt x="2014" y="403"/>
                      <a:pt x="2014" y="403"/>
                    </a:cubicBezTo>
                    <a:cubicBezTo>
                      <a:pt x="2014" y="402"/>
                      <a:pt x="2014" y="402"/>
                      <a:pt x="2014" y="402"/>
                    </a:cubicBezTo>
                    <a:cubicBezTo>
                      <a:pt x="2013" y="400"/>
                      <a:pt x="2013" y="400"/>
                      <a:pt x="2013" y="400"/>
                    </a:cubicBezTo>
                    <a:cubicBezTo>
                      <a:pt x="2012" y="398"/>
                      <a:pt x="2012" y="398"/>
                      <a:pt x="2012" y="398"/>
                    </a:cubicBezTo>
                    <a:cubicBezTo>
                      <a:pt x="2011" y="398"/>
                      <a:pt x="2011" y="398"/>
                      <a:pt x="2011" y="398"/>
                    </a:cubicBezTo>
                    <a:cubicBezTo>
                      <a:pt x="2011" y="397"/>
                      <a:pt x="2011" y="397"/>
                      <a:pt x="2011" y="397"/>
                    </a:cubicBezTo>
                    <a:cubicBezTo>
                      <a:pt x="2009" y="394"/>
                      <a:pt x="2009" y="394"/>
                      <a:pt x="2009" y="394"/>
                    </a:cubicBezTo>
                    <a:cubicBezTo>
                      <a:pt x="2007" y="391"/>
                      <a:pt x="2007" y="391"/>
                      <a:pt x="2007" y="391"/>
                    </a:cubicBezTo>
                    <a:cubicBezTo>
                      <a:pt x="2007" y="390"/>
                      <a:pt x="2007" y="390"/>
                      <a:pt x="2007" y="390"/>
                    </a:cubicBezTo>
                    <a:cubicBezTo>
                      <a:pt x="2005" y="387"/>
                      <a:pt x="2005" y="387"/>
                      <a:pt x="2005" y="387"/>
                    </a:cubicBezTo>
                    <a:cubicBezTo>
                      <a:pt x="2004" y="385"/>
                      <a:pt x="2004" y="385"/>
                      <a:pt x="2004" y="385"/>
                    </a:cubicBezTo>
                    <a:cubicBezTo>
                      <a:pt x="2003" y="384"/>
                      <a:pt x="2003" y="384"/>
                      <a:pt x="2003" y="384"/>
                    </a:cubicBezTo>
                    <a:cubicBezTo>
                      <a:pt x="2003" y="383"/>
                      <a:pt x="2003" y="383"/>
                      <a:pt x="2003" y="383"/>
                    </a:cubicBezTo>
                    <a:cubicBezTo>
                      <a:pt x="2002" y="382"/>
                      <a:pt x="2002" y="382"/>
                      <a:pt x="2002" y="382"/>
                    </a:cubicBezTo>
                    <a:cubicBezTo>
                      <a:pt x="2001" y="381"/>
                      <a:pt x="2001" y="381"/>
                      <a:pt x="2001" y="381"/>
                    </a:cubicBezTo>
                    <a:cubicBezTo>
                      <a:pt x="2001" y="382"/>
                      <a:pt x="2001" y="382"/>
                      <a:pt x="2001" y="382"/>
                    </a:cubicBezTo>
                    <a:cubicBezTo>
                      <a:pt x="2000" y="382"/>
                      <a:pt x="2000" y="382"/>
                      <a:pt x="2000" y="382"/>
                    </a:cubicBezTo>
                    <a:cubicBezTo>
                      <a:pt x="2000" y="381"/>
                      <a:pt x="2000" y="381"/>
                      <a:pt x="2000" y="381"/>
                    </a:cubicBezTo>
                    <a:cubicBezTo>
                      <a:pt x="2000" y="380"/>
                      <a:pt x="2000" y="380"/>
                      <a:pt x="2000" y="380"/>
                    </a:cubicBezTo>
                    <a:cubicBezTo>
                      <a:pt x="2000" y="379"/>
                      <a:pt x="2000" y="379"/>
                      <a:pt x="2000" y="379"/>
                    </a:cubicBezTo>
                    <a:cubicBezTo>
                      <a:pt x="1999" y="379"/>
                      <a:pt x="1999" y="379"/>
                      <a:pt x="1999" y="379"/>
                    </a:cubicBezTo>
                    <a:cubicBezTo>
                      <a:pt x="1998" y="377"/>
                      <a:pt x="1998" y="377"/>
                      <a:pt x="1998" y="377"/>
                    </a:cubicBezTo>
                    <a:cubicBezTo>
                      <a:pt x="1997" y="376"/>
                      <a:pt x="1997" y="376"/>
                      <a:pt x="1997" y="376"/>
                    </a:cubicBezTo>
                    <a:cubicBezTo>
                      <a:pt x="1996" y="375"/>
                      <a:pt x="1996" y="375"/>
                      <a:pt x="1996" y="375"/>
                    </a:cubicBezTo>
                    <a:cubicBezTo>
                      <a:pt x="1996" y="373"/>
                      <a:pt x="1996" y="373"/>
                      <a:pt x="1996" y="373"/>
                    </a:cubicBezTo>
                    <a:cubicBezTo>
                      <a:pt x="1997" y="372"/>
                      <a:pt x="1997" y="372"/>
                      <a:pt x="1997" y="372"/>
                    </a:cubicBezTo>
                    <a:cubicBezTo>
                      <a:pt x="1997" y="371"/>
                      <a:pt x="1997" y="371"/>
                      <a:pt x="1997" y="371"/>
                    </a:cubicBezTo>
                    <a:cubicBezTo>
                      <a:pt x="1996" y="369"/>
                      <a:pt x="1996" y="369"/>
                      <a:pt x="1996" y="369"/>
                    </a:cubicBezTo>
                    <a:cubicBezTo>
                      <a:pt x="1996" y="367"/>
                      <a:pt x="1996" y="367"/>
                      <a:pt x="1996" y="367"/>
                    </a:cubicBezTo>
                    <a:cubicBezTo>
                      <a:pt x="1995" y="367"/>
                      <a:pt x="1995" y="367"/>
                      <a:pt x="1995" y="367"/>
                    </a:cubicBezTo>
                    <a:cubicBezTo>
                      <a:pt x="1993" y="365"/>
                      <a:pt x="1993" y="365"/>
                      <a:pt x="1993" y="365"/>
                    </a:cubicBezTo>
                    <a:cubicBezTo>
                      <a:pt x="1993" y="364"/>
                      <a:pt x="1993" y="364"/>
                      <a:pt x="1993" y="364"/>
                    </a:cubicBezTo>
                    <a:cubicBezTo>
                      <a:pt x="1993" y="363"/>
                      <a:pt x="1993" y="363"/>
                      <a:pt x="1993" y="363"/>
                    </a:cubicBezTo>
                    <a:cubicBezTo>
                      <a:pt x="1994" y="364"/>
                      <a:pt x="1994" y="364"/>
                      <a:pt x="1994" y="364"/>
                    </a:cubicBezTo>
                    <a:cubicBezTo>
                      <a:pt x="1995" y="366"/>
                      <a:pt x="1995" y="366"/>
                      <a:pt x="1995" y="366"/>
                    </a:cubicBezTo>
                    <a:cubicBezTo>
                      <a:pt x="1995" y="364"/>
                      <a:pt x="1995" y="364"/>
                      <a:pt x="1995" y="364"/>
                    </a:cubicBezTo>
                    <a:cubicBezTo>
                      <a:pt x="1993" y="362"/>
                      <a:pt x="1993" y="362"/>
                      <a:pt x="1993" y="362"/>
                    </a:cubicBezTo>
                    <a:cubicBezTo>
                      <a:pt x="1992" y="361"/>
                      <a:pt x="1992" y="361"/>
                      <a:pt x="1992" y="361"/>
                    </a:cubicBezTo>
                    <a:cubicBezTo>
                      <a:pt x="1991" y="361"/>
                      <a:pt x="1991" y="361"/>
                      <a:pt x="1991" y="361"/>
                    </a:cubicBezTo>
                    <a:cubicBezTo>
                      <a:pt x="1991" y="359"/>
                      <a:pt x="1991" y="359"/>
                      <a:pt x="1991" y="359"/>
                    </a:cubicBezTo>
                    <a:cubicBezTo>
                      <a:pt x="1989" y="357"/>
                      <a:pt x="1989" y="357"/>
                      <a:pt x="1989" y="357"/>
                    </a:cubicBezTo>
                    <a:cubicBezTo>
                      <a:pt x="1988" y="356"/>
                      <a:pt x="1988" y="356"/>
                      <a:pt x="1988" y="356"/>
                    </a:cubicBezTo>
                    <a:cubicBezTo>
                      <a:pt x="1988" y="354"/>
                      <a:pt x="1988" y="354"/>
                      <a:pt x="1988" y="354"/>
                    </a:cubicBezTo>
                    <a:cubicBezTo>
                      <a:pt x="1987" y="353"/>
                      <a:pt x="1987" y="353"/>
                      <a:pt x="1987" y="353"/>
                    </a:cubicBezTo>
                    <a:cubicBezTo>
                      <a:pt x="1985" y="352"/>
                      <a:pt x="1985" y="352"/>
                      <a:pt x="1985" y="352"/>
                    </a:cubicBezTo>
                    <a:cubicBezTo>
                      <a:pt x="1984" y="351"/>
                      <a:pt x="1984" y="351"/>
                      <a:pt x="1984" y="351"/>
                    </a:cubicBezTo>
                    <a:cubicBezTo>
                      <a:pt x="1984" y="352"/>
                      <a:pt x="1984" y="352"/>
                      <a:pt x="1984" y="352"/>
                    </a:cubicBezTo>
                    <a:cubicBezTo>
                      <a:pt x="1983" y="352"/>
                      <a:pt x="1983" y="352"/>
                      <a:pt x="1983" y="352"/>
                    </a:cubicBezTo>
                    <a:cubicBezTo>
                      <a:pt x="1982" y="352"/>
                      <a:pt x="1982" y="352"/>
                      <a:pt x="1982" y="352"/>
                    </a:cubicBezTo>
                    <a:cubicBezTo>
                      <a:pt x="1981" y="352"/>
                      <a:pt x="1981" y="352"/>
                      <a:pt x="1981" y="352"/>
                    </a:cubicBezTo>
                    <a:cubicBezTo>
                      <a:pt x="1983" y="354"/>
                      <a:pt x="1983" y="354"/>
                      <a:pt x="1983" y="354"/>
                    </a:cubicBezTo>
                    <a:cubicBezTo>
                      <a:pt x="1985" y="355"/>
                      <a:pt x="1985" y="355"/>
                      <a:pt x="1985" y="355"/>
                    </a:cubicBezTo>
                    <a:cubicBezTo>
                      <a:pt x="1986" y="356"/>
                      <a:pt x="1986" y="356"/>
                      <a:pt x="1986" y="356"/>
                    </a:cubicBezTo>
                    <a:cubicBezTo>
                      <a:pt x="1985" y="357"/>
                      <a:pt x="1985" y="357"/>
                      <a:pt x="1985" y="357"/>
                    </a:cubicBezTo>
                    <a:cubicBezTo>
                      <a:pt x="1986" y="357"/>
                      <a:pt x="1986" y="357"/>
                      <a:pt x="1986" y="357"/>
                    </a:cubicBezTo>
                    <a:cubicBezTo>
                      <a:pt x="1987" y="357"/>
                      <a:pt x="1987" y="357"/>
                      <a:pt x="1987" y="357"/>
                    </a:cubicBezTo>
                    <a:cubicBezTo>
                      <a:pt x="1987" y="358"/>
                      <a:pt x="1987" y="358"/>
                      <a:pt x="1987" y="358"/>
                    </a:cubicBezTo>
                    <a:cubicBezTo>
                      <a:pt x="1986" y="358"/>
                      <a:pt x="1986" y="358"/>
                      <a:pt x="1986" y="358"/>
                    </a:cubicBezTo>
                    <a:cubicBezTo>
                      <a:pt x="1986" y="359"/>
                      <a:pt x="1986" y="359"/>
                      <a:pt x="1986" y="359"/>
                    </a:cubicBezTo>
                    <a:cubicBezTo>
                      <a:pt x="1987" y="359"/>
                      <a:pt x="1987" y="359"/>
                      <a:pt x="1987" y="359"/>
                    </a:cubicBezTo>
                    <a:cubicBezTo>
                      <a:pt x="1987" y="361"/>
                      <a:pt x="1987" y="361"/>
                      <a:pt x="1987" y="361"/>
                    </a:cubicBezTo>
                    <a:cubicBezTo>
                      <a:pt x="1986" y="361"/>
                      <a:pt x="1986" y="361"/>
                      <a:pt x="1986" y="361"/>
                    </a:cubicBezTo>
                    <a:cubicBezTo>
                      <a:pt x="1985" y="361"/>
                      <a:pt x="1985" y="361"/>
                      <a:pt x="1985" y="361"/>
                    </a:cubicBezTo>
                    <a:cubicBezTo>
                      <a:pt x="1985" y="360"/>
                      <a:pt x="1985" y="360"/>
                      <a:pt x="1985" y="360"/>
                    </a:cubicBezTo>
                    <a:cubicBezTo>
                      <a:pt x="1984" y="361"/>
                      <a:pt x="1984" y="361"/>
                      <a:pt x="1984" y="361"/>
                    </a:cubicBezTo>
                    <a:cubicBezTo>
                      <a:pt x="1983" y="362"/>
                      <a:pt x="1983" y="362"/>
                      <a:pt x="1983" y="362"/>
                    </a:cubicBezTo>
                    <a:cubicBezTo>
                      <a:pt x="1984" y="364"/>
                      <a:pt x="1984" y="364"/>
                      <a:pt x="1984" y="364"/>
                    </a:cubicBezTo>
                    <a:cubicBezTo>
                      <a:pt x="1985" y="365"/>
                      <a:pt x="1985" y="365"/>
                      <a:pt x="1985" y="365"/>
                    </a:cubicBezTo>
                    <a:cubicBezTo>
                      <a:pt x="1986" y="367"/>
                      <a:pt x="1986" y="367"/>
                      <a:pt x="1986" y="367"/>
                    </a:cubicBezTo>
                    <a:cubicBezTo>
                      <a:pt x="1987" y="369"/>
                      <a:pt x="1987" y="369"/>
                      <a:pt x="1987" y="369"/>
                    </a:cubicBezTo>
                    <a:cubicBezTo>
                      <a:pt x="1987" y="371"/>
                      <a:pt x="1987" y="371"/>
                      <a:pt x="1987" y="371"/>
                    </a:cubicBezTo>
                    <a:cubicBezTo>
                      <a:pt x="1987" y="372"/>
                      <a:pt x="1987" y="372"/>
                      <a:pt x="1987" y="372"/>
                    </a:cubicBezTo>
                    <a:cubicBezTo>
                      <a:pt x="1988" y="374"/>
                      <a:pt x="1988" y="374"/>
                      <a:pt x="1988" y="374"/>
                    </a:cubicBezTo>
                    <a:cubicBezTo>
                      <a:pt x="1989" y="377"/>
                      <a:pt x="1989" y="377"/>
                      <a:pt x="1989" y="377"/>
                    </a:cubicBezTo>
                    <a:cubicBezTo>
                      <a:pt x="1990" y="379"/>
                      <a:pt x="1990" y="379"/>
                      <a:pt x="1990" y="379"/>
                    </a:cubicBezTo>
                    <a:cubicBezTo>
                      <a:pt x="1991" y="380"/>
                      <a:pt x="1991" y="380"/>
                      <a:pt x="1991" y="380"/>
                    </a:cubicBezTo>
                    <a:cubicBezTo>
                      <a:pt x="1990" y="381"/>
                      <a:pt x="1990" y="381"/>
                      <a:pt x="1990" y="381"/>
                    </a:cubicBezTo>
                    <a:cubicBezTo>
                      <a:pt x="1994" y="384"/>
                      <a:pt x="1994" y="384"/>
                      <a:pt x="1994" y="384"/>
                    </a:cubicBezTo>
                    <a:close/>
                    <a:moveTo>
                      <a:pt x="1414" y="262"/>
                    </a:moveTo>
                    <a:cubicBezTo>
                      <a:pt x="1415" y="261"/>
                      <a:pt x="1415" y="261"/>
                      <a:pt x="1415" y="261"/>
                    </a:cubicBezTo>
                    <a:cubicBezTo>
                      <a:pt x="1417" y="261"/>
                      <a:pt x="1417" y="261"/>
                      <a:pt x="1417" y="261"/>
                    </a:cubicBezTo>
                    <a:cubicBezTo>
                      <a:pt x="1418" y="260"/>
                      <a:pt x="1418" y="260"/>
                      <a:pt x="1418" y="260"/>
                    </a:cubicBezTo>
                    <a:cubicBezTo>
                      <a:pt x="1419" y="258"/>
                      <a:pt x="1419" y="258"/>
                      <a:pt x="1419" y="258"/>
                    </a:cubicBezTo>
                    <a:cubicBezTo>
                      <a:pt x="1419" y="256"/>
                      <a:pt x="1419" y="256"/>
                      <a:pt x="1419" y="256"/>
                    </a:cubicBezTo>
                    <a:cubicBezTo>
                      <a:pt x="1420" y="255"/>
                      <a:pt x="1420" y="255"/>
                      <a:pt x="1420" y="255"/>
                    </a:cubicBezTo>
                    <a:cubicBezTo>
                      <a:pt x="1421" y="256"/>
                      <a:pt x="1421" y="256"/>
                      <a:pt x="1421" y="256"/>
                    </a:cubicBezTo>
                    <a:cubicBezTo>
                      <a:pt x="1421" y="255"/>
                      <a:pt x="1421" y="255"/>
                      <a:pt x="1421" y="255"/>
                    </a:cubicBezTo>
                    <a:cubicBezTo>
                      <a:pt x="1420" y="254"/>
                      <a:pt x="1420" y="254"/>
                      <a:pt x="1420" y="254"/>
                    </a:cubicBezTo>
                    <a:cubicBezTo>
                      <a:pt x="1415" y="252"/>
                      <a:pt x="1415" y="252"/>
                      <a:pt x="1415" y="252"/>
                    </a:cubicBezTo>
                    <a:cubicBezTo>
                      <a:pt x="1413" y="251"/>
                      <a:pt x="1413" y="251"/>
                      <a:pt x="1413" y="251"/>
                    </a:cubicBezTo>
                    <a:cubicBezTo>
                      <a:pt x="1412" y="252"/>
                      <a:pt x="1412" y="252"/>
                      <a:pt x="1412" y="252"/>
                    </a:cubicBezTo>
                    <a:cubicBezTo>
                      <a:pt x="1411" y="255"/>
                      <a:pt x="1411" y="255"/>
                      <a:pt x="1411" y="255"/>
                    </a:cubicBezTo>
                    <a:cubicBezTo>
                      <a:pt x="1411" y="258"/>
                      <a:pt x="1411" y="258"/>
                      <a:pt x="1411" y="258"/>
                    </a:cubicBezTo>
                    <a:cubicBezTo>
                      <a:pt x="1412" y="259"/>
                      <a:pt x="1412" y="259"/>
                      <a:pt x="1412" y="259"/>
                    </a:cubicBezTo>
                    <a:cubicBezTo>
                      <a:pt x="1412" y="261"/>
                      <a:pt x="1412" y="261"/>
                      <a:pt x="1412" y="261"/>
                    </a:cubicBezTo>
                    <a:cubicBezTo>
                      <a:pt x="1413" y="261"/>
                      <a:pt x="1413" y="261"/>
                      <a:pt x="1413" y="261"/>
                    </a:cubicBezTo>
                    <a:cubicBezTo>
                      <a:pt x="1414" y="261"/>
                      <a:pt x="1414" y="261"/>
                      <a:pt x="1414" y="261"/>
                    </a:cubicBezTo>
                    <a:cubicBezTo>
                      <a:pt x="1413" y="262"/>
                      <a:pt x="1413" y="262"/>
                      <a:pt x="1413" y="262"/>
                    </a:cubicBezTo>
                    <a:cubicBezTo>
                      <a:pt x="1414" y="262"/>
                      <a:pt x="1414" y="262"/>
                      <a:pt x="1414" y="262"/>
                    </a:cubicBezTo>
                    <a:close/>
                    <a:moveTo>
                      <a:pt x="1983" y="351"/>
                    </a:moveTo>
                    <a:cubicBezTo>
                      <a:pt x="1984" y="351"/>
                      <a:pt x="1984" y="351"/>
                      <a:pt x="1984" y="351"/>
                    </a:cubicBezTo>
                    <a:cubicBezTo>
                      <a:pt x="1984" y="350"/>
                      <a:pt x="1984" y="350"/>
                      <a:pt x="1984" y="350"/>
                    </a:cubicBezTo>
                    <a:cubicBezTo>
                      <a:pt x="1983" y="351"/>
                      <a:pt x="1983" y="351"/>
                      <a:pt x="1983" y="351"/>
                    </a:cubicBezTo>
                    <a:close/>
                    <a:moveTo>
                      <a:pt x="1410" y="64"/>
                    </a:moveTo>
                    <a:cubicBezTo>
                      <a:pt x="1410" y="65"/>
                      <a:pt x="1410" y="65"/>
                      <a:pt x="1410" y="65"/>
                    </a:cubicBezTo>
                    <a:cubicBezTo>
                      <a:pt x="1409" y="66"/>
                      <a:pt x="1409" y="66"/>
                      <a:pt x="1409" y="66"/>
                    </a:cubicBezTo>
                    <a:cubicBezTo>
                      <a:pt x="1408" y="66"/>
                      <a:pt x="1408" y="66"/>
                      <a:pt x="1408" y="66"/>
                    </a:cubicBezTo>
                    <a:cubicBezTo>
                      <a:pt x="1406" y="67"/>
                      <a:pt x="1406" y="67"/>
                      <a:pt x="1406" y="67"/>
                    </a:cubicBezTo>
                    <a:cubicBezTo>
                      <a:pt x="1405" y="68"/>
                      <a:pt x="1405" y="68"/>
                      <a:pt x="1405" y="68"/>
                    </a:cubicBezTo>
                    <a:cubicBezTo>
                      <a:pt x="1404" y="67"/>
                      <a:pt x="1404" y="67"/>
                      <a:pt x="1404" y="67"/>
                    </a:cubicBezTo>
                    <a:cubicBezTo>
                      <a:pt x="1403" y="67"/>
                      <a:pt x="1403" y="67"/>
                      <a:pt x="1403" y="67"/>
                    </a:cubicBezTo>
                    <a:cubicBezTo>
                      <a:pt x="1403" y="68"/>
                      <a:pt x="1403" y="68"/>
                      <a:pt x="1403" y="68"/>
                    </a:cubicBezTo>
                    <a:cubicBezTo>
                      <a:pt x="1404" y="70"/>
                      <a:pt x="1404" y="70"/>
                      <a:pt x="1404" y="70"/>
                    </a:cubicBezTo>
                    <a:cubicBezTo>
                      <a:pt x="1404" y="73"/>
                      <a:pt x="1404" y="73"/>
                      <a:pt x="1404" y="73"/>
                    </a:cubicBezTo>
                    <a:cubicBezTo>
                      <a:pt x="1404" y="75"/>
                      <a:pt x="1404" y="75"/>
                      <a:pt x="1404" y="75"/>
                    </a:cubicBezTo>
                    <a:cubicBezTo>
                      <a:pt x="1406" y="77"/>
                      <a:pt x="1406" y="77"/>
                      <a:pt x="1406" y="77"/>
                    </a:cubicBezTo>
                    <a:cubicBezTo>
                      <a:pt x="1407" y="77"/>
                      <a:pt x="1407" y="77"/>
                      <a:pt x="1407" y="77"/>
                    </a:cubicBezTo>
                    <a:cubicBezTo>
                      <a:pt x="1409" y="76"/>
                      <a:pt x="1409" y="76"/>
                      <a:pt x="1409" y="76"/>
                    </a:cubicBezTo>
                    <a:cubicBezTo>
                      <a:pt x="1411" y="76"/>
                      <a:pt x="1411" y="76"/>
                      <a:pt x="1411" y="76"/>
                    </a:cubicBezTo>
                    <a:cubicBezTo>
                      <a:pt x="1412" y="75"/>
                      <a:pt x="1412" y="75"/>
                      <a:pt x="1412" y="75"/>
                    </a:cubicBezTo>
                    <a:cubicBezTo>
                      <a:pt x="1414" y="75"/>
                      <a:pt x="1414" y="75"/>
                      <a:pt x="1414" y="75"/>
                    </a:cubicBezTo>
                    <a:cubicBezTo>
                      <a:pt x="1414" y="74"/>
                      <a:pt x="1414" y="74"/>
                      <a:pt x="1414" y="74"/>
                    </a:cubicBezTo>
                    <a:cubicBezTo>
                      <a:pt x="1413" y="73"/>
                      <a:pt x="1413" y="73"/>
                      <a:pt x="1413" y="73"/>
                    </a:cubicBezTo>
                    <a:cubicBezTo>
                      <a:pt x="1412" y="72"/>
                      <a:pt x="1412" y="72"/>
                      <a:pt x="1412" y="72"/>
                    </a:cubicBezTo>
                    <a:cubicBezTo>
                      <a:pt x="1410" y="71"/>
                      <a:pt x="1410" y="71"/>
                      <a:pt x="1410" y="71"/>
                    </a:cubicBezTo>
                    <a:cubicBezTo>
                      <a:pt x="1410" y="70"/>
                      <a:pt x="1410" y="70"/>
                      <a:pt x="1410" y="70"/>
                    </a:cubicBezTo>
                    <a:cubicBezTo>
                      <a:pt x="1410" y="69"/>
                      <a:pt x="1410" y="69"/>
                      <a:pt x="1410" y="69"/>
                    </a:cubicBezTo>
                    <a:cubicBezTo>
                      <a:pt x="1411" y="68"/>
                      <a:pt x="1411" y="68"/>
                      <a:pt x="1411" y="68"/>
                    </a:cubicBezTo>
                    <a:cubicBezTo>
                      <a:pt x="1412" y="68"/>
                      <a:pt x="1412" y="68"/>
                      <a:pt x="1412" y="68"/>
                    </a:cubicBezTo>
                    <a:cubicBezTo>
                      <a:pt x="1413" y="68"/>
                      <a:pt x="1413" y="68"/>
                      <a:pt x="1413" y="68"/>
                    </a:cubicBezTo>
                    <a:cubicBezTo>
                      <a:pt x="1413" y="67"/>
                      <a:pt x="1413" y="67"/>
                      <a:pt x="1413" y="67"/>
                    </a:cubicBezTo>
                    <a:cubicBezTo>
                      <a:pt x="1412" y="65"/>
                      <a:pt x="1412" y="65"/>
                      <a:pt x="1412" y="65"/>
                    </a:cubicBezTo>
                    <a:cubicBezTo>
                      <a:pt x="1411" y="65"/>
                      <a:pt x="1411" y="65"/>
                      <a:pt x="1411" y="65"/>
                    </a:cubicBezTo>
                    <a:cubicBezTo>
                      <a:pt x="1410" y="63"/>
                      <a:pt x="1410" y="63"/>
                      <a:pt x="1410" y="63"/>
                    </a:cubicBezTo>
                    <a:cubicBezTo>
                      <a:pt x="1410" y="64"/>
                      <a:pt x="1410" y="64"/>
                      <a:pt x="1410" y="64"/>
                    </a:cubicBezTo>
                    <a:close/>
                    <a:moveTo>
                      <a:pt x="1447" y="255"/>
                    </a:moveTo>
                    <a:cubicBezTo>
                      <a:pt x="1446" y="255"/>
                      <a:pt x="1446" y="255"/>
                      <a:pt x="1446" y="255"/>
                    </a:cubicBezTo>
                    <a:cubicBezTo>
                      <a:pt x="1445" y="256"/>
                      <a:pt x="1445" y="256"/>
                      <a:pt x="1445" y="256"/>
                    </a:cubicBezTo>
                    <a:cubicBezTo>
                      <a:pt x="1446" y="256"/>
                      <a:pt x="1446" y="256"/>
                      <a:pt x="1446" y="256"/>
                    </a:cubicBezTo>
                    <a:cubicBezTo>
                      <a:pt x="1447" y="255"/>
                      <a:pt x="1447" y="255"/>
                      <a:pt x="1447" y="255"/>
                    </a:cubicBezTo>
                    <a:close/>
                    <a:moveTo>
                      <a:pt x="1445" y="263"/>
                    </a:moveTo>
                    <a:cubicBezTo>
                      <a:pt x="1445" y="264"/>
                      <a:pt x="1445" y="264"/>
                      <a:pt x="1445" y="264"/>
                    </a:cubicBezTo>
                    <a:cubicBezTo>
                      <a:pt x="1446" y="262"/>
                      <a:pt x="1446" y="262"/>
                      <a:pt x="1446" y="262"/>
                    </a:cubicBezTo>
                    <a:cubicBezTo>
                      <a:pt x="1445" y="262"/>
                      <a:pt x="1445" y="262"/>
                      <a:pt x="1445" y="262"/>
                    </a:cubicBezTo>
                    <a:cubicBezTo>
                      <a:pt x="1445" y="263"/>
                      <a:pt x="1445" y="263"/>
                      <a:pt x="1445" y="263"/>
                    </a:cubicBezTo>
                    <a:close/>
                    <a:moveTo>
                      <a:pt x="1427" y="263"/>
                    </a:moveTo>
                    <a:cubicBezTo>
                      <a:pt x="1429" y="263"/>
                      <a:pt x="1429" y="263"/>
                      <a:pt x="1429" y="263"/>
                    </a:cubicBezTo>
                    <a:cubicBezTo>
                      <a:pt x="1429" y="262"/>
                      <a:pt x="1429" y="262"/>
                      <a:pt x="1429" y="262"/>
                    </a:cubicBezTo>
                    <a:cubicBezTo>
                      <a:pt x="1428" y="262"/>
                      <a:pt x="1428" y="262"/>
                      <a:pt x="1428" y="262"/>
                    </a:cubicBezTo>
                    <a:cubicBezTo>
                      <a:pt x="1427" y="263"/>
                      <a:pt x="1427" y="263"/>
                      <a:pt x="1427" y="263"/>
                    </a:cubicBezTo>
                    <a:close/>
                    <a:moveTo>
                      <a:pt x="1449" y="256"/>
                    </a:moveTo>
                    <a:cubicBezTo>
                      <a:pt x="1450" y="257"/>
                      <a:pt x="1450" y="257"/>
                      <a:pt x="1450" y="257"/>
                    </a:cubicBezTo>
                    <a:cubicBezTo>
                      <a:pt x="1449" y="255"/>
                      <a:pt x="1449" y="255"/>
                      <a:pt x="1449" y="255"/>
                    </a:cubicBezTo>
                    <a:cubicBezTo>
                      <a:pt x="1448" y="255"/>
                      <a:pt x="1448" y="255"/>
                      <a:pt x="1448" y="255"/>
                    </a:cubicBezTo>
                    <a:cubicBezTo>
                      <a:pt x="1447" y="255"/>
                      <a:pt x="1447" y="255"/>
                      <a:pt x="1447" y="255"/>
                    </a:cubicBezTo>
                    <a:cubicBezTo>
                      <a:pt x="1448" y="256"/>
                      <a:pt x="1448" y="256"/>
                      <a:pt x="1448" y="256"/>
                    </a:cubicBezTo>
                    <a:cubicBezTo>
                      <a:pt x="1449" y="256"/>
                      <a:pt x="1449" y="256"/>
                      <a:pt x="1449" y="256"/>
                    </a:cubicBezTo>
                    <a:close/>
                    <a:moveTo>
                      <a:pt x="1968" y="121"/>
                    </a:moveTo>
                    <a:cubicBezTo>
                      <a:pt x="1968" y="120"/>
                      <a:pt x="1968" y="120"/>
                      <a:pt x="1968" y="120"/>
                    </a:cubicBezTo>
                    <a:cubicBezTo>
                      <a:pt x="1967" y="120"/>
                      <a:pt x="1967" y="120"/>
                      <a:pt x="1967" y="120"/>
                    </a:cubicBezTo>
                    <a:cubicBezTo>
                      <a:pt x="1968" y="122"/>
                      <a:pt x="1968" y="122"/>
                      <a:pt x="1968" y="122"/>
                    </a:cubicBezTo>
                    <a:cubicBezTo>
                      <a:pt x="1968" y="121"/>
                      <a:pt x="1968" y="121"/>
                      <a:pt x="1968" y="121"/>
                    </a:cubicBezTo>
                    <a:close/>
                    <a:moveTo>
                      <a:pt x="1430" y="227"/>
                    </a:moveTo>
                    <a:cubicBezTo>
                      <a:pt x="1428" y="227"/>
                      <a:pt x="1428" y="227"/>
                      <a:pt x="1428" y="227"/>
                    </a:cubicBezTo>
                    <a:cubicBezTo>
                      <a:pt x="1428" y="226"/>
                      <a:pt x="1428" y="226"/>
                      <a:pt x="1428" y="226"/>
                    </a:cubicBezTo>
                    <a:cubicBezTo>
                      <a:pt x="1427" y="226"/>
                      <a:pt x="1427" y="226"/>
                      <a:pt x="1427" y="226"/>
                    </a:cubicBezTo>
                    <a:cubicBezTo>
                      <a:pt x="1426" y="226"/>
                      <a:pt x="1426" y="226"/>
                      <a:pt x="1426" y="226"/>
                    </a:cubicBezTo>
                    <a:cubicBezTo>
                      <a:pt x="1425" y="227"/>
                      <a:pt x="1425" y="227"/>
                      <a:pt x="1425" y="227"/>
                    </a:cubicBezTo>
                    <a:cubicBezTo>
                      <a:pt x="1426" y="228"/>
                      <a:pt x="1426" y="228"/>
                      <a:pt x="1426" y="228"/>
                    </a:cubicBezTo>
                    <a:cubicBezTo>
                      <a:pt x="1427" y="228"/>
                      <a:pt x="1427" y="228"/>
                      <a:pt x="1427" y="228"/>
                    </a:cubicBezTo>
                    <a:cubicBezTo>
                      <a:pt x="1427" y="229"/>
                      <a:pt x="1427" y="229"/>
                      <a:pt x="1427" y="229"/>
                    </a:cubicBezTo>
                    <a:cubicBezTo>
                      <a:pt x="1428" y="229"/>
                      <a:pt x="1428" y="229"/>
                      <a:pt x="1428" y="229"/>
                    </a:cubicBezTo>
                    <a:cubicBezTo>
                      <a:pt x="1429" y="231"/>
                      <a:pt x="1429" y="231"/>
                      <a:pt x="1429" y="231"/>
                    </a:cubicBezTo>
                    <a:cubicBezTo>
                      <a:pt x="1430" y="231"/>
                      <a:pt x="1430" y="231"/>
                      <a:pt x="1430" y="231"/>
                    </a:cubicBezTo>
                    <a:cubicBezTo>
                      <a:pt x="1430" y="230"/>
                      <a:pt x="1430" y="230"/>
                      <a:pt x="1430" y="230"/>
                    </a:cubicBezTo>
                    <a:cubicBezTo>
                      <a:pt x="1429" y="229"/>
                      <a:pt x="1429" y="229"/>
                      <a:pt x="1429" y="229"/>
                    </a:cubicBezTo>
                    <a:cubicBezTo>
                      <a:pt x="1430" y="228"/>
                      <a:pt x="1430" y="228"/>
                      <a:pt x="1430" y="228"/>
                    </a:cubicBezTo>
                    <a:cubicBezTo>
                      <a:pt x="1430" y="227"/>
                      <a:pt x="1430" y="227"/>
                      <a:pt x="1430" y="227"/>
                    </a:cubicBezTo>
                    <a:close/>
                    <a:moveTo>
                      <a:pt x="1371" y="88"/>
                    </a:moveTo>
                    <a:cubicBezTo>
                      <a:pt x="1370" y="87"/>
                      <a:pt x="1370" y="87"/>
                      <a:pt x="1370" y="87"/>
                    </a:cubicBezTo>
                    <a:cubicBezTo>
                      <a:pt x="1369" y="87"/>
                      <a:pt x="1369" y="87"/>
                      <a:pt x="1369" y="87"/>
                    </a:cubicBezTo>
                    <a:cubicBezTo>
                      <a:pt x="1368" y="88"/>
                      <a:pt x="1368" y="88"/>
                      <a:pt x="1368" y="88"/>
                    </a:cubicBezTo>
                    <a:cubicBezTo>
                      <a:pt x="1368" y="89"/>
                      <a:pt x="1368" y="89"/>
                      <a:pt x="1368" y="89"/>
                    </a:cubicBezTo>
                    <a:cubicBezTo>
                      <a:pt x="1369" y="90"/>
                      <a:pt x="1369" y="90"/>
                      <a:pt x="1369" y="90"/>
                    </a:cubicBezTo>
                    <a:cubicBezTo>
                      <a:pt x="1370" y="91"/>
                      <a:pt x="1370" y="91"/>
                      <a:pt x="1370" y="91"/>
                    </a:cubicBezTo>
                    <a:cubicBezTo>
                      <a:pt x="1371" y="90"/>
                      <a:pt x="1371" y="90"/>
                      <a:pt x="1371" y="90"/>
                    </a:cubicBezTo>
                    <a:cubicBezTo>
                      <a:pt x="1371" y="89"/>
                      <a:pt x="1371" y="89"/>
                      <a:pt x="1371" y="89"/>
                    </a:cubicBezTo>
                    <a:cubicBezTo>
                      <a:pt x="1371" y="88"/>
                      <a:pt x="1371" y="88"/>
                      <a:pt x="1371" y="88"/>
                    </a:cubicBezTo>
                    <a:close/>
                    <a:moveTo>
                      <a:pt x="1412" y="60"/>
                    </a:moveTo>
                    <a:cubicBezTo>
                      <a:pt x="1412" y="60"/>
                      <a:pt x="1412" y="60"/>
                      <a:pt x="1412" y="61"/>
                    </a:cubicBezTo>
                    <a:cubicBezTo>
                      <a:pt x="1412" y="61"/>
                      <a:pt x="1412" y="61"/>
                      <a:pt x="1412" y="62"/>
                    </a:cubicBezTo>
                    <a:cubicBezTo>
                      <a:pt x="1412" y="62"/>
                      <a:pt x="1412" y="62"/>
                      <a:pt x="1413" y="63"/>
                    </a:cubicBezTo>
                    <a:cubicBezTo>
                      <a:pt x="1413" y="63"/>
                      <a:pt x="1413" y="63"/>
                      <a:pt x="1414" y="63"/>
                    </a:cubicBezTo>
                    <a:cubicBezTo>
                      <a:pt x="1414" y="63"/>
                      <a:pt x="1414" y="63"/>
                      <a:pt x="1415" y="64"/>
                    </a:cubicBezTo>
                    <a:cubicBezTo>
                      <a:pt x="1415" y="64"/>
                      <a:pt x="1415" y="64"/>
                      <a:pt x="1415" y="65"/>
                    </a:cubicBezTo>
                    <a:cubicBezTo>
                      <a:pt x="1415" y="65"/>
                      <a:pt x="1415" y="65"/>
                      <a:pt x="1416" y="66"/>
                    </a:cubicBezTo>
                    <a:cubicBezTo>
                      <a:pt x="1416" y="66"/>
                      <a:pt x="1416" y="66"/>
                      <a:pt x="1417" y="64"/>
                    </a:cubicBezTo>
                    <a:cubicBezTo>
                      <a:pt x="1417" y="64"/>
                      <a:pt x="1417" y="64"/>
                      <a:pt x="1417" y="63"/>
                    </a:cubicBezTo>
                    <a:cubicBezTo>
                      <a:pt x="1417" y="63"/>
                      <a:pt x="1417" y="63"/>
                      <a:pt x="1417" y="62"/>
                    </a:cubicBezTo>
                    <a:cubicBezTo>
                      <a:pt x="1417" y="62"/>
                      <a:pt x="1417" y="62"/>
                      <a:pt x="1417" y="61"/>
                    </a:cubicBezTo>
                    <a:cubicBezTo>
                      <a:pt x="1417" y="61"/>
                      <a:pt x="1417" y="61"/>
                      <a:pt x="1419" y="60"/>
                    </a:cubicBezTo>
                    <a:cubicBezTo>
                      <a:pt x="1419" y="60"/>
                      <a:pt x="1419" y="60"/>
                      <a:pt x="1421" y="59"/>
                    </a:cubicBezTo>
                    <a:cubicBezTo>
                      <a:pt x="1421" y="59"/>
                      <a:pt x="1421" y="59"/>
                      <a:pt x="1421" y="58"/>
                    </a:cubicBezTo>
                    <a:cubicBezTo>
                      <a:pt x="1421" y="58"/>
                      <a:pt x="1421" y="58"/>
                      <a:pt x="1419" y="57"/>
                    </a:cubicBezTo>
                    <a:cubicBezTo>
                      <a:pt x="1419" y="57"/>
                      <a:pt x="1419" y="57"/>
                      <a:pt x="1418" y="56"/>
                    </a:cubicBezTo>
                    <a:cubicBezTo>
                      <a:pt x="1418" y="56"/>
                      <a:pt x="1418" y="56"/>
                      <a:pt x="1418" y="54"/>
                    </a:cubicBezTo>
                    <a:cubicBezTo>
                      <a:pt x="1418" y="54"/>
                      <a:pt x="1418" y="54"/>
                      <a:pt x="1417" y="52"/>
                    </a:cubicBezTo>
                    <a:cubicBezTo>
                      <a:pt x="1417" y="52"/>
                      <a:pt x="1417" y="52"/>
                      <a:pt x="1416" y="52"/>
                    </a:cubicBezTo>
                    <a:cubicBezTo>
                      <a:pt x="1416" y="52"/>
                      <a:pt x="1416" y="52"/>
                      <a:pt x="1415" y="52"/>
                    </a:cubicBezTo>
                    <a:cubicBezTo>
                      <a:pt x="1415" y="52"/>
                      <a:pt x="1415" y="52"/>
                      <a:pt x="1414" y="52"/>
                    </a:cubicBezTo>
                    <a:cubicBezTo>
                      <a:pt x="1414" y="52"/>
                      <a:pt x="1414" y="52"/>
                      <a:pt x="1414" y="53"/>
                    </a:cubicBezTo>
                    <a:cubicBezTo>
                      <a:pt x="1414" y="53"/>
                      <a:pt x="1414" y="53"/>
                      <a:pt x="1413" y="55"/>
                    </a:cubicBezTo>
                    <a:cubicBezTo>
                      <a:pt x="1413" y="55"/>
                      <a:pt x="1413" y="55"/>
                      <a:pt x="1412" y="56"/>
                    </a:cubicBezTo>
                    <a:cubicBezTo>
                      <a:pt x="1412" y="56"/>
                      <a:pt x="1412" y="56"/>
                      <a:pt x="1411" y="57"/>
                    </a:cubicBezTo>
                    <a:cubicBezTo>
                      <a:pt x="1411" y="57"/>
                      <a:pt x="1411" y="57"/>
                      <a:pt x="1412" y="59"/>
                    </a:cubicBezTo>
                    <a:cubicBezTo>
                      <a:pt x="1412" y="59"/>
                      <a:pt x="1412" y="59"/>
                      <a:pt x="1412" y="60"/>
                    </a:cubicBezTo>
                    <a:close/>
                    <a:moveTo>
                      <a:pt x="1421" y="191"/>
                    </a:moveTo>
                    <a:cubicBezTo>
                      <a:pt x="1420" y="191"/>
                      <a:pt x="1420" y="191"/>
                      <a:pt x="1420" y="191"/>
                    </a:cubicBezTo>
                    <a:cubicBezTo>
                      <a:pt x="1421" y="193"/>
                      <a:pt x="1421" y="193"/>
                      <a:pt x="1421" y="193"/>
                    </a:cubicBezTo>
                    <a:cubicBezTo>
                      <a:pt x="1422" y="193"/>
                      <a:pt x="1422" y="193"/>
                      <a:pt x="1422" y="193"/>
                    </a:cubicBezTo>
                    <a:cubicBezTo>
                      <a:pt x="1423" y="193"/>
                      <a:pt x="1423" y="193"/>
                      <a:pt x="1423" y="193"/>
                    </a:cubicBezTo>
                    <a:cubicBezTo>
                      <a:pt x="1423" y="192"/>
                      <a:pt x="1423" y="192"/>
                      <a:pt x="1423" y="192"/>
                    </a:cubicBezTo>
                    <a:cubicBezTo>
                      <a:pt x="1424" y="192"/>
                      <a:pt x="1424" y="192"/>
                      <a:pt x="1424" y="192"/>
                    </a:cubicBezTo>
                    <a:cubicBezTo>
                      <a:pt x="1426" y="190"/>
                      <a:pt x="1426" y="190"/>
                      <a:pt x="1426" y="190"/>
                    </a:cubicBezTo>
                    <a:cubicBezTo>
                      <a:pt x="1427" y="190"/>
                      <a:pt x="1427" y="190"/>
                      <a:pt x="1427" y="190"/>
                    </a:cubicBezTo>
                    <a:cubicBezTo>
                      <a:pt x="1428" y="190"/>
                      <a:pt x="1428" y="190"/>
                      <a:pt x="1428" y="190"/>
                    </a:cubicBezTo>
                    <a:cubicBezTo>
                      <a:pt x="1429" y="191"/>
                      <a:pt x="1429" y="191"/>
                      <a:pt x="1429" y="191"/>
                    </a:cubicBezTo>
                    <a:cubicBezTo>
                      <a:pt x="1428" y="191"/>
                      <a:pt x="1428" y="191"/>
                      <a:pt x="1428" y="191"/>
                    </a:cubicBezTo>
                    <a:cubicBezTo>
                      <a:pt x="1427" y="191"/>
                      <a:pt x="1427" y="191"/>
                      <a:pt x="1427" y="191"/>
                    </a:cubicBezTo>
                    <a:cubicBezTo>
                      <a:pt x="1426" y="191"/>
                      <a:pt x="1426" y="191"/>
                      <a:pt x="1426" y="191"/>
                    </a:cubicBezTo>
                    <a:cubicBezTo>
                      <a:pt x="1425" y="192"/>
                      <a:pt x="1425" y="192"/>
                      <a:pt x="1425" y="192"/>
                    </a:cubicBezTo>
                    <a:cubicBezTo>
                      <a:pt x="1424" y="193"/>
                      <a:pt x="1424" y="193"/>
                      <a:pt x="1424" y="193"/>
                    </a:cubicBezTo>
                    <a:cubicBezTo>
                      <a:pt x="1424" y="195"/>
                      <a:pt x="1424" y="195"/>
                      <a:pt x="1424" y="195"/>
                    </a:cubicBezTo>
                    <a:cubicBezTo>
                      <a:pt x="1424" y="196"/>
                      <a:pt x="1424" y="196"/>
                      <a:pt x="1424" y="196"/>
                    </a:cubicBezTo>
                    <a:cubicBezTo>
                      <a:pt x="1424" y="197"/>
                      <a:pt x="1424" y="197"/>
                      <a:pt x="1424" y="197"/>
                    </a:cubicBezTo>
                    <a:cubicBezTo>
                      <a:pt x="1423" y="198"/>
                      <a:pt x="1423" y="198"/>
                      <a:pt x="1423" y="198"/>
                    </a:cubicBezTo>
                    <a:cubicBezTo>
                      <a:pt x="1421" y="199"/>
                      <a:pt x="1421" y="199"/>
                      <a:pt x="1421" y="199"/>
                    </a:cubicBezTo>
                    <a:cubicBezTo>
                      <a:pt x="1421" y="201"/>
                      <a:pt x="1421" y="201"/>
                      <a:pt x="1421" y="201"/>
                    </a:cubicBezTo>
                    <a:cubicBezTo>
                      <a:pt x="1421" y="203"/>
                      <a:pt x="1421" y="203"/>
                      <a:pt x="1421" y="203"/>
                    </a:cubicBezTo>
                    <a:cubicBezTo>
                      <a:pt x="1422" y="203"/>
                      <a:pt x="1422" y="203"/>
                      <a:pt x="1422" y="203"/>
                    </a:cubicBezTo>
                    <a:cubicBezTo>
                      <a:pt x="1423" y="203"/>
                      <a:pt x="1423" y="203"/>
                      <a:pt x="1423" y="203"/>
                    </a:cubicBezTo>
                    <a:cubicBezTo>
                      <a:pt x="1422" y="204"/>
                      <a:pt x="1422" y="204"/>
                      <a:pt x="1422" y="204"/>
                    </a:cubicBezTo>
                    <a:cubicBezTo>
                      <a:pt x="1421" y="204"/>
                      <a:pt x="1421" y="204"/>
                      <a:pt x="1421" y="204"/>
                    </a:cubicBezTo>
                    <a:cubicBezTo>
                      <a:pt x="1420" y="204"/>
                      <a:pt x="1420" y="204"/>
                      <a:pt x="1420" y="204"/>
                    </a:cubicBezTo>
                    <a:cubicBezTo>
                      <a:pt x="1419" y="206"/>
                      <a:pt x="1419" y="206"/>
                      <a:pt x="1419" y="206"/>
                    </a:cubicBezTo>
                    <a:cubicBezTo>
                      <a:pt x="1419" y="207"/>
                      <a:pt x="1419" y="207"/>
                      <a:pt x="1419" y="207"/>
                    </a:cubicBezTo>
                    <a:cubicBezTo>
                      <a:pt x="1419" y="208"/>
                      <a:pt x="1419" y="208"/>
                      <a:pt x="1419" y="208"/>
                    </a:cubicBezTo>
                    <a:cubicBezTo>
                      <a:pt x="1420" y="208"/>
                      <a:pt x="1420" y="208"/>
                      <a:pt x="1420" y="208"/>
                    </a:cubicBezTo>
                    <a:cubicBezTo>
                      <a:pt x="1422" y="207"/>
                      <a:pt x="1422" y="207"/>
                      <a:pt x="1422" y="207"/>
                    </a:cubicBezTo>
                    <a:cubicBezTo>
                      <a:pt x="1421" y="208"/>
                      <a:pt x="1421" y="208"/>
                      <a:pt x="1421" y="208"/>
                    </a:cubicBezTo>
                    <a:cubicBezTo>
                      <a:pt x="1421" y="210"/>
                      <a:pt x="1421" y="210"/>
                      <a:pt x="1421" y="210"/>
                    </a:cubicBezTo>
                    <a:cubicBezTo>
                      <a:pt x="1422" y="210"/>
                      <a:pt x="1422" y="210"/>
                      <a:pt x="1422" y="210"/>
                    </a:cubicBezTo>
                    <a:cubicBezTo>
                      <a:pt x="1422" y="209"/>
                      <a:pt x="1422" y="209"/>
                      <a:pt x="1422" y="209"/>
                    </a:cubicBezTo>
                    <a:cubicBezTo>
                      <a:pt x="1423" y="208"/>
                      <a:pt x="1423" y="208"/>
                      <a:pt x="1423" y="208"/>
                    </a:cubicBezTo>
                    <a:cubicBezTo>
                      <a:pt x="1424" y="209"/>
                      <a:pt x="1424" y="209"/>
                      <a:pt x="1424" y="209"/>
                    </a:cubicBezTo>
                    <a:cubicBezTo>
                      <a:pt x="1423" y="210"/>
                      <a:pt x="1423" y="210"/>
                      <a:pt x="1423" y="210"/>
                    </a:cubicBezTo>
                    <a:cubicBezTo>
                      <a:pt x="1422" y="211"/>
                      <a:pt x="1422" y="211"/>
                      <a:pt x="1422" y="211"/>
                    </a:cubicBezTo>
                    <a:cubicBezTo>
                      <a:pt x="1423" y="212"/>
                      <a:pt x="1423" y="212"/>
                      <a:pt x="1423" y="212"/>
                    </a:cubicBezTo>
                    <a:cubicBezTo>
                      <a:pt x="1422" y="213"/>
                      <a:pt x="1422" y="213"/>
                      <a:pt x="1422" y="213"/>
                    </a:cubicBezTo>
                    <a:cubicBezTo>
                      <a:pt x="1422" y="214"/>
                      <a:pt x="1422" y="214"/>
                      <a:pt x="1422" y="214"/>
                    </a:cubicBezTo>
                    <a:cubicBezTo>
                      <a:pt x="1423" y="215"/>
                      <a:pt x="1423" y="215"/>
                      <a:pt x="1423" y="215"/>
                    </a:cubicBezTo>
                    <a:cubicBezTo>
                      <a:pt x="1422" y="215"/>
                      <a:pt x="1422" y="215"/>
                      <a:pt x="1422" y="215"/>
                    </a:cubicBezTo>
                    <a:cubicBezTo>
                      <a:pt x="1421" y="215"/>
                      <a:pt x="1421" y="215"/>
                      <a:pt x="1421" y="215"/>
                    </a:cubicBezTo>
                    <a:cubicBezTo>
                      <a:pt x="1420" y="215"/>
                      <a:pt x="1420" y="215"/>
                      <a:pt x="1420" y="215"/>
                    </a:cubicBezTo>
                    <a:cubicBezTo>
                      <a:pt x="1419" y="215"/>
                      <a:pt x="1419" y="215"/>
                      <a:pt x="1419" y="215"/>
                    </a:cubicBezTo>
                    <a:cubicBezTo>
                      <a:pt x="1418" y="216"/>
                      <a:pt x="1418" y="216"/>
                      <a:pt x="1418" y="216"/>
                    </a:cubicBezTo>
                    <a:cubicBezTo>
                      <a:pt x="1418" y="218"/>
                      <a:pt x="1418" y="218"/>
                      <a:pt x="1418" y="218"/>
                    </a:cubicBezTo>
                    <a:cubicBezTo>
                      <a:pt x="1418" y="219"/>
                      <a:pt x="1418" y="219"/>
                      <a:pt x="1418" y="219"/>
                    </a:cubicBezTo>
                    <a:cubicBezTo>
                      <a:pt x="1418" y="221"/>
                      <a:pt x="1418" y="221"/>
                      <a:pt x="1418" y="221"/>
                    </a:cubicBezTo>
                    <a:cubicBezTo>
                      <a:pt x="1418" y="222"/>
                      <a:pt x="1418" y="222"/>
                      <a:pt x="1418" y="222"/>
                    </a:cubicBezTo>
                    <a:cubicBezTo>
                      <a:pt x="1420" y="223"/>
                      <a:pt x="1420" y="223"/>
                      <a:pt x="1420" y="223"/>
                    </a:cubicBezTo>
                    <a:cubicBezTo>
                      <a:pt x="1420" y="224"/>
                      <a:pt x="1420" y="224"/>
                      <a:pt x="1420" y="224"/>
                    </a:cubicBezTo>
                    <a:cubicBezTo>
                      <a:pt x="1422" y="225"/>
                      <a:pt x="1422" y="225"/>
                      <a:pt x="1422" y="225"/>
                    </a:cubicBezTo>
                    <a:cubicBezTo>
                      <a:pt x="1423" y="226"/>
                      <a:pt x="1423" y="226"/>
                      <a:pt x="1423" y="226"/>
                    </a:cubicBezTo>
                    <a:cubicBezTo>
                      <a:pt x="1423" y="225"/>
                      <a:pt x="1423" y="225"/>
                      <a:pt x="1423" y="225"/>
                    </a:cubicBezTo>
                    <a:cubicBezTo>
                      <a:pt x="1424" y="225"/>
                      <a:pt x="1424" y="225"/>
                      <a:pt x="1424" y="225"/>
                    </a:cubicBezTo>
                    <a:cubicBezTo>
                      <a:pt x="1425" y="224"/>
                      <a:pt x="1425" y="224"/>
                      <a:pt x="1425" y="224"/>
                    </a:cubicBezTo>
                    <a:cubicBezTo>
                      <a:pt x="1425" y="222"/>
                      <a:pt x="1425" y="222"/>
                      <a:pt x="1425" y="222"/>
                    </a:cubicBezTo>
                    <a:cubicBezTo>
                      <a:pt x="1426" y="223"/>
                      <a:pt x="1426" y="223"/>
                      <a:pt x="1426" y="223"/>
                    </a:cubicBezTo>
                    <a:cubicBezTo>
                      <a:pt x="1426" y="224"/>
                      <a:pt x="1426" y="224"/>
                      <a:pt x="1426" y="224"/>
                    </a:cubicBezTo>
                    <a:cubicBezTo>
                      <a:pt x="1427" y="225"/>
                      <a:pt x="1427" y="225"/>
                      <a:pt x="1427" y="225"/>
                    </a:cubicBezTo>
                    <a:cubicBezTo>
                      <a:pt x="1428" y="224"/>
                      <a:pt x="1428" y="224"/>
                      <a:pt x="1428" y="224"/>
                    </a:cubicBezTo>
                    <a:cubicBezTo>
                      <a:pt x="1428" y="223"/>
                      <a:pt x="1428" y="223"/>
                      <a:pt x="1428" y="223"/>
                    </a:cubicBezTo>
                    <a:cubicBezTo>
                      <a:pt x="1429" y="222"/>
                      <a:pt x="1429" y="222"/>
                      <a:pt x="1429" y="222"/>
                    </a:cubicBezTo>
                    <a:cubicBezTo>
                      <a:pt x="1429" y="223"/>
                      <a:pt x="1429" y="223"/>
                      <a:pt x="1429" y="223"/>
                    </a:cubicBezTo>
                    <a:cubicBezTo>
                      <a:pt x="1429" y="224"/>
                      <a:pt x="1429" y="224"/>
                      <a:pt x="1429" y="224"/>
                    </a:cubicBezTo>
                    <a:cubicBezTo>
                      <a:pt x="1430" y="226"/>
                      <a:pt x="1430" y="226"/>
                      <a:pt x="1430" y="226"/>
                    </a:cubicBezTo>
                    <a:cubicBezTo>
                      <a:pt x="1431" y="227"/>
                      <a:pt x="1431" y="227"/>
                      <a:pt x="1431" y="227"/>
                    </a:cubicBezTo>
                    <a:cubicBezTo>
                      <a:pt x="1432" y="227"/>
                      <a:pt x="1432" y="227"/>
                      <a:pt x="1432" y="227"/>
                    </a:cubicBezTo>
                    <a:cubicBezTo>
                      <a:pt x="1433" y="226"/>
                      <a:pt x="1433" y="226"/>
                      <a:pt x="1433" y="226"/>
                    </a:cubicBezTo>
                    <a:cubicBezTo>
                      <a:pt x="1434" y="227"/>
                      <a:pt x="1434" y="227"/>
                      <a:pt x="1434" y="227"/>
                    </a:cubicBezTo>
                    <a:cubicBezTo>
                      <a:pt x="1433" y="227"/>
                      <a:pt x="1433" y="227"/>
                      <a:pt x="1433" y="227"/>
                    </a:cubicBezTo>
                    <a:cubicBezTo>
                      <a:pt x="1433" y="228"/>
                      <a:pt x="1433" y="228"/>
                      <a:pt x="1433" y="228"/>
                    </a:cubicBezTo>
                    <a:cubicBezTo>
                      <a:pt x="1432" y="228"/>
                      <a:pt x="1432" y="228"/>
                      <a:pt x="1432" y="228"/>
                    </a:cubicBezTo>
                    <a:cubicBezTo>
                      <a:pt x="1431" y="229"/>
                      <a:pt x="1431" y="229"/>
                      <a:pt x="1431" y="229"/>
                    </a:cubicBezTo>
                    <a:cubicBezTo>
                      <a:pt x="1433" y="230"/>
                      <a:pt x="1433" y="230"/>
                      <a:pt x="1433" y="230"/>
                    </a:cubicBezTo>
                    <a:cubicBezTo>
                      <a:pt x="1433" y="231"/>
                      <a:pt x="1433" y="231"/>
                      <a:pt x="1433" y="231"/>
                    </a:cubicBezTo>
                    <a:cubicBezTo>
                      <a:pt x="1432" y="231"/>
                      <a:pt x="1432" y="231"/>
                      <a:pt x="1432" y="231"/>
                    </a:cubicBezTo>
                    <a:cubicBezTo>
                      <a:pt x="1431" y="231"/>
                      <a:pt x="1431" y="231"/>
                      <a:pt x="1431" y="231"/>
                    </a:cubicBezTo>
                    <a:cubicBezTo>
                      <a:pt x="1431" y="232"/>
                      <a:pt x="1431" y="232"/>
                      <a:pt x="1431" y="232"/>
                    </a:cubicBezTo>
                    <a:cubicBezTo>
                      <a:pt x="1432" y="232"/>
                      <a:pt x="1432" y="232"/>
                      <a:pt x="1432" y="232"/>
                    </a:cubicBezTo>
                    <a:cubicBezTo>
                      <a:pt x="1434" y="232"/>
                      <a:pt x="1434" y="232"/>
                      <a:pt x="1434" y="232"/>
                    </a:cubicBezTo>
                    <a:cubicBezTo>
                      <a:pt x="1435" y="233"/>
                      <a:pt x="1435" y="233"/>
                      <a:pt x="1435" y="233"/>
                    </a:cubicBezTo>
                    <a:cubicBezTo>
                      <a:pt x="1436" y="233"/>
                      <a:pt x="1436" y="233"/>
                      <a:pt x="1436" y="233"/>
                    </a:cubicBezTo>
                    <a:cubicBezTo>
                      <a:pt x="1438" y="233"/>
                      <a:pt x="1438" y="233"/>
                      <a:pt x="1438" y="233"/>
                    </a:cubicBezTo>
                    <a:cubicBezTo>
                      <a:pt x="1438" y="232"/>
                      <a:pt x="1438" y="232"/>
                      <a:pt x="1438" y="232"/>
                    </a:cubicBezTo>
                    <a:cubicBezTo>
                      <a:pt x="1439" y="232"/>
                      <a:pt x="1439" y="232"/>
                      <a:pt x="1439" y="232"/>
                    </a:cubicBezTo>
                    <a:cubicBezTo>
                      <a:pt x="1439" y="233"/>
                      <a:pt x="1439" y="233"/>
                      <a:pt x="1439" y="233"/>
                    </a:cubicBezTo>
                    <a:cubicBezTo>
                      <a:pt x="1439" y="235"/>
                      <a:pt x="1439" y="235"/>
                      <a:pt x="1439" y="235"/>
                    </a:cubicBezTo>
                    <a:cubicBezTo>
                      <a:pt x="1440" y="236"/>
                      <a:pt x="1440" y="236"/>
                      <a:pt x="1440" y="236"/>
                    </a:cubicBezTo>
                    <a:cubicBezTo>
                      <a:pt x="1441" y="236"/>
                      <a:pt x="1441" y="236"/>
                      <a:pt x="1441" y="236"/>
                    </a:cubicBezTo>
                    <a:cubicBezTo>
                      <a:pt x="1442" y="235"/>
                      <a:pt x="1442" y="235"/>
                      <a:pt x="1442" y="235"/>
                    </a:cubicBezTo>
                    <a:cubicBezTo>
                      <a:pt x="1442" y="233"/>
                      <a:pt x="1442" y="233"/>
                      <a:pt x="1442" y="233"/>
                    </a:cubicBezTo>
                    <a:cubicBezTo>
                      <a:pt x="1440" y="233"/>
                      <a:pt x="1440" y="233"/>
                      <a:pt x="1440" y="233"/>
                    </a:cubicBezTo>
                    <a:cubicBezTo>
                      <a:pt x="1440" y="232"/>
                      <a:pt x="1440" y="232"/>
                      <a:pt x="1440" y="232"/>
                    </a:cubicBezTo>
                    <a:cubicBezTo>
                      <a:pt x="1441" y="232"/>
                      <a:pt x="1441" y="232"/>
                      <a:pt x="1441" y="232"/>
                    </a:cubicBezTo>
                    <a:cubicBezTo>
                      <a:pt x="1442" y="233"/>
                      <a:pt x="1442" y="233"/>
                      <a:pt x="1442" y="233"/>
                    </a:cubicBezTo>
                    <a:cubicBezTo>
                      <a:pt x="1443" y="234"/>
                      <a:pt x="1443" y="234"/>
                      <a:pt x="1443" y="234"/>
                    </a:cubicBezTo>
                    <a:cubicBezTo>
                      <a:pt x="1443" y="235"/>
                      <a:pt x="1443" y="235"/>
                      <a:pt x="1443" y="235"/>
                    </a:cubicBezTo>
                    <a:cubicBezTo>
                      <a:pt x="1444" y="235"/>
                      <a:pt x="1444" y="235"/>
                      <a:pt x="1444" y="235"/>
                    </a:cubicBezTo>
                    <a:cubicBezTo>
                      <a:pt x="1444" y="234"/>
                      <a:pt x="1444" y="234"/>
                      <a:pt x="1444" y="234"/>
                    </a:cubicBezTo>
                    <a:cubicBezTo>
                      <a:pt x="1445" y="234"/>
                      <a:pt x="1445" y="234"/>
                      <a:pt x="1445" y="234"/>
                    </a:cubicBezTo>
                    <a:cubicBezTo>
                      <a:pt x="1445" y="235"/>
                      <a:pt x="1445" y="235"/>
                      <a:pt x="1445" y="235"/>
                    </a:cubicBezTo>
                    <a:cubicBezTo>
                      <a:pt x="1447" y="235"/>
                      <a:pt x="1447" y="235"/>
                      <a:pt x="1447" y="235"/>
                    </a:cubicBezTo>
                    <a:cubicBezTo>
                      <a:pt x="1448" y="235"/>
                      <a:pt x="1448" y="235"/>
                      <a:pt x="1448" y="235"/>
                    </a:cubicBezTo>
                    <a:cubicBezTo>
                      <a:pt x="1447" y="234"/>
                      <a:pt x="1447" y="234"/>
                      <a:pt x="1447" y="234"/>
                    </a:cubicBezTo>
                    <a:cubicBezTo>
                      <a:pt x="1447" y="233"/>
                      <a:pt x="1447" y="233"/>
                      <a:pt x="1447" y="233"/>
                    </a:cubicBezTo>
                    <a:cubicBezTo>
                      <a:pt x="1448" y="234"/>
                      <a:pt x="1448" y="234"/>
                      <a:pt x="1448" y="234"/>
                    </a:cubicBezTo>
                    <a:cubicBezTo>
                      <a:pt x="1449" y="234"/>
                      <a:pt x="1449" y="234"/>
                      <a:pt x="1449" y="234"/>
                    </a:cubicBezTo>
                    <a:cubicBezTo>
                      <a:pt x="1450" y="235"/>
                      <a:pt x="1450" y="235"/>
                      <a:pt x="1450" y="235"/>
                    </a:cubicBezTo>
                    <a:cubicBezTo>
                      <a:pt x="1450" y="236"/>
                      <a:pt x="1450" y="236"/>
                      <a:pt x="1450" y="236"/>
                    </a:cubicBezTo>
                    <a:cubicBezTo>
                      <a:pt x="1451" y="236"/>
                      <a:pt x="1451" y="236"/>
                      <a:pt x="1451" y="236"/>
                    </a:cubicBezTo>
                    <a:cubicBezTo>
                      <a:pt x="1451" y="235"/>
                      <a:pt x="1451" y="235"/>
                      <a:pt x="1451" y="235"/>
                    </a:cubicBezTo>
                    <a:cubicBezTo>
                      <a:pt x="1451" y="234"/>
                      <a:pt x="1451" y="234"/>
                      <a:pt x="1451" y="234"/>
                    </a:cubicBezTo>
                    <a:cubicBezTo>
                      <a:pt x="1450" y="234"/>
                      <a:pt x="1450" y="234"/>
                      <a:pt x="1450" y="234"/>
                    </a:cubicBezTo>
                    <a:cubicBezTo>
                      <a:pt x="1449" y="233"/>
                      <a:pt x="1449" y="233"/>
                      <a:pt x="1449" y="233"/>
                    </a:cubicBezTo>
                    <a:cubicBezTo>
                      <a:pt x="1450" y="233"/>
                      <a:pt x="1450" y="233"/>
                      <a:pt x="1450" y="233"/>
                    </a:cubicBezTo>
                    <a:cubicBezTo>
                      <a:pt x="1451" y="233"/>
                      <a:pt x="1451" y="233"/>
                      <a:pt x="1451" y="233"/>
                    </a:cubicBezTo>
                    <a:cubicBezTo>
                      <a:pt x="1452" y="232"/>
                      <a:pt x="1452" y="232"/>
                      <a:pt x="1452" y="232"/>
                    </a:cubicBezTo>
                    <a:cubicBezTo>
                      <a:pt x="1452" y="231"/>
                      <a:pt x="1452" y="231"/>
                      <a:pt x="1452" y="231"/>
                    </a:cubicBezTo>
                    <a:cubicBezTo>
                      <a:pt x="1451" y="230"/>
                      <a:pt x="1451" y="230"/>
                      <a:pt x="1451" y="230"/>
                    </a:cubicBezTo>
                    <a:cubicBezTo>
                      <a:pt x="1450" y="230"/>
                      <a:pt x="1450" y="230"/>
                      <a:pt x="1450" y="230"/>
                    </a:cubicBezTo>
                    <a:cubicBezTo>
                      <a:pt x="1449" y="230"/>
                      <a:pt x="1449" y="230"/>
                      <a:pt x="1449" y="230"/>
                    </a:cubicBezTo>
                    <a:cubicBezTo>
                      <a:pt x="1448" y="228"/>
                      <a:pt x="1448" y="228"/>
                      <a:pt x="1448" y="228"/>
                    </a:cubicBezTo>
                    <a:cubicBezTo>
                      <a:pt x="1447" y="228"/>
                      <a:pt x="1447" y="228"/>
                      <a:pt x="1447" y="228"/>
                    </a:cubicBezTo>
                    <a:cubicBezTo>
                      <a:pt x="1445" y="226"/>
                      <a:pt x="1445" y="226"/>
                      <a:pt x="1445" y="226"/>
                    </a:cubicBezTo>
                    <a:cubicBezTo>
                      <a:pt x="1444" y="225"/>
                      <a:pt x="1444" y="225"/>
                      <a:pt x="1444" y="225"/>
                    </a:cubicBezTo>
                    <a:cubicBezTo>
                      <a:pt x="1442" y="225"/>
                      <a:pt x="1442" y="225"/>
                      <a:pt x="1442" y="225"/>
                    </a:cubicBezTo>
                    <a:cubicBezTo>
                      <a:pt x="1441" y="222"/>
                      <a:pt x="1441" y="222"/>
                      <a:pt x="1441" y="222"/>
                    </a:cubicBezTo>
                    <a:cubicBezTo>
                      <a:pt x="1439" y="220"/>
                      <a:pt x="1439" y="220"/>
                      <a:pt x="1439" y="220"/>
                    </a:cubicBezTo>
                    <a:cubicBezTo>
                      <a:pt x="1438" y="217"/>
                      <a:pt x="1438" y="217"/>
                      <a:pt x="1438" y="217"/>
                    </a:cubicBezTo>
                    <a:cubicBezTo>
                      <a:pt x="1437" y="215"/>
                      <a:pt x="1437" y="215"/>
                      <a:pt x="1437" y="215"/>
                    </a:cubicBezTo>
                    <a:cubicBezTo>
                      <a:pt x="1437" y="212"/>
                      <a:pt x="1437" y="212"/>
                      <a:pt x="1437" y="212"/>
                    </a:cubicBezTo>
                    <a:cubicBezTo>
                      <a:pt x="1436" y="210"/>
                      <a:pt x="1436" y="210"/>
                      <a:pt x="1436" y="210"/>
                    </a:cubicBezTo>
                    <a:cubicBezTo>
                      <a:pt x="1435" y="207"/>
                      <a:pt x="1435" y="207"/>
                      <a:pt x="1435" y="207"/>
                    </a:cubicBezTo>
                    <a:cubicBezTo>
                      <a:pt x="1435" y="206"/>
                      <a:pt x="1435" y="206"/>
                      <a:pt x="1435" y="206"/>
                    </a:cubicBezTo>
                    <a:cubicBezTo>
                      <a:pt x="1436" y="205"/>
                      <a:pt x="1436" y="205"/>
                      <a:pt x="1436" y="205"/>
                    </a:cubicBezTo>
                    <a:cubicBezTo>
                      <a:pt x="1435" y="204"/>
                      <a:pt x="1435" y="204"/>
                      <a:pt x="1435" y="204"/>
                    </a:cubicBezTo>
                    <a:cubicBezTo>
                      <a:pt x="1434" y="204"/>
                      <a:pt x="1434" y="204"/>
                      <a:pt x="1434" y="204"/>
                    </a:cubicBezTo>
                    <a:cubicBezTo>
                      <a:pt x="1433" y="204"/>
                      <a:pt x="1433" y="204"/>
                      <a:pt x="1433" y="204"/>
                    </a:cubicBezTo>
                    <a:cubicBezTo>
                      <a:pt x="1433" y="203"/>
                      <a:pt x="1433" y="203"/>
                      <a:pt x="1433" y="203"/>
                    </a:cubicBezTo>
                    <a:cubicBezTo>
                      <a:pt x="1435" y="203"/>
                      <a:pt x="1435" y="203"/>
                      <a:pt x="1435" y="203"/>
                    </a:cubicBezTo>
                    <a:cubicBezTo>
                      <a:pt x="1436" y="203"/>
                      <a:pt x="1436" y="203"/>
                      <a:pt x="1436" y="203"/>
                    </a:cubicBezTo>
                    <a:cubicBezTo>
                      <a:pt x="1436" y="200"/>
                      <a:pt x="1436" y="200"/>
                      <a:pt x="1436" y="200"/>
                    </a:cubicBezTo>
                    <a:cubicBezTo>
                      <a:pt x="1436" y="199"/>
                      <a:pt x="1436" y="199"/>
                      <a:pt x="1436" y="199"/>
                    </a:cubicBezTo>
                    <a:cubicBezTo>
                      <a:pt x="1435" y="199"/>
                      <a:pt x="1435" y="199"/>
                      <a:pt x="1435" y="199"/>
                    </a:cubicBezTo>
                    <a:cubicBezTo>
                      <a:pt x="1434" y="200"/>
                      <a:pt x="1434" y="200"/>
                      <a:pt x="1434" y="200"/>
                    </a:cubicBezTo>
                    <a:cubicBezTo>
                      <a:pt x="1434" y="199"/>
                      <a:pt x="1434" y="199"/>
                      <a:pt x="1434" y="199"/>
                    </a:cubicBezTo>
                    <a:cubicBezTo>
                      <a:pt x="1436" y="198"/>
                      <a:pt x="1436" y="198"/>
                      <a:pt x="1436" y="198"/>
                    </a:cubicBezTo>
                    <a:cubicBezTo>
                      <a:pt x="1436" y="197"/>
                      <a:pt x="1436" y="197"/>
                      <a:pt x="1436" y="197"/>
                    </a:cubicBezTo>
                    <a:cubicBezTo>
                      <a:pt x="1433" y="197"/>
                      <a:pt x="1433" y="197"/>
                      <a:pt x="1433" y="197"/>
                    </a:cubicBezTo>
                    <a:cubicBezTo>
                      <a:pt x="1430" y="197"/>
                      <a:pt x="1430" y="197"/>
                      <a:pt x="1430" y="197"/>
                    </a:cubicBezTo>
                    <a:cubicBezTo>
                      <a:pt x="1429" y="196"/>
                      <a:pt x="1429" y="196"/>
                      <a:pt x="1429" y="196"/>
                    </a:cubicBezTo>
                    <a:cubicBezTo>
                      <a:pt x="1428" y="196"/>
                      <a:pt x="1428" y="196"/>
                      <a:pt x="1428" y="196"/>
                    </a:cubicBezTo>
                    <a:cubicBezTo>
                      <a:pt x="1426" y="197"/>
                      <a:pt x="1426" y="197"/>
                      <a:pt x="1426" y="197"/>
                    </a:cubicBezTo>
                    <a:cubicBezTo>
                      <a:pt x="1427" y="196"/>
                      <a:pt x="1427" y="196"/>
                      <a:pt x="1427" y="196"/>
                    </a:cubicBezTo>
                    <a:cubicBezTo>
                      <a:pt x="1429" y="195"/>
                      <a:pt x="1429" y="195"/>
                      <a:pt x="1429" y="195"/>
                    </a:cubicBezTo>
                    <a:cubicBezTo>
                      <a:pt x="1430" y="195"/>
                      <a:pt x="1430" y="195"/>
                      <a:pt x="1430" y="195"/>
                    </a:cubicBezTo>
                    <a:cubicBezTo>
                      <a:pt x="1431" y="196"/>
                      <a:pt x="1431" y="196"/>
                      <a:pt x="1431" y="196"/>
                    </a:cubicBezTo>
                    <a:cubicBezTo>
                      <a:pt x="1432" y="196"/>
                      <a:pt x="1432" y="196"/>
                      <a:pt x="1432" y="196"/>
                    </a:cubicBezTo>
                    <a:cubicBezTo>
                      <a:pt x="1433" y="196"/>
                      <a:pt x="1433" y="196"/>
                      <a:pt x="1433" y="196"/>
                    </a:cubicBezTo>
                    <a:cubicBezTo>
                      <a:pt x="1432" y="195"/>
                      <a:pt x="1432" y="195"/>
                      <a:pt x="1432" y="195"/>
                    </a:cubicBezTo>
                    <a:cubicBezTo>
                      <a:pt x="1433" y="194"/>
                      <a:pt x="1433" y="194"/>
                      <a:pt x="1433" y="194"/>
                    </a:cubicBezTo>
                    <a:cubicBezTo>
                      <a:pt x="1433" y="195"/>
                      <a:pt x="1433" y="195"/>
                      <a:pt x="1433" y="195"/>
                    </a:cubicBezTo>
                    <a:cubicBezTo>
                      <a:pt x="1434" y="196"/>
                      <a:pt x="1434" y="196"/>
                      <a:pt x="1434" y="196"/>
                    </a:cubicBezTo>
                    <a:cubicBezTo>
                      <a:pt x="1435" y="196"/>
                      <a:pt x="1435" y="196"/>
                      <a:pt x="1435" y="196"/>
                    </a:cubicBezTo>
                    <a:cubicBezTo>
                      <a:pt x="1437" y="196"/>
                      <a:pt x="1437" y="196"/>
                      <a:pt x="1437" y="196"/>
                    </a:cubicBezTo>
                    <a:cubicBezTo>
                      <a:pt x="1438" y="195"/>
                      <a:pt x="1438" y="195"/>
                      <a:pt x="1438" y="195"/>
                    </a:cubicBezTo>
                    <a:cubicBezTo>
                      <a:pt x="1438" y="194"/>
                      <a:pt x="1438" y="194"/>
                      <a:pt x="1438" y="194"/>
                    </a:cubicBezTo>
                    <a:cubicBezTo>
                      <a:pt x="1438" y="192"/>
                      <a:pt x="1438" y="192"/>
                      <a:pt x="1438" y="192"/>
                    </a:cubicBezTo>
                    <a:cubicBezTo>
                      <a:pt x="1439" y="191"/>
                      <a:pt x="1439" y="191"/>
                      <a:pt x="1439" y="191"/>
                    </a:cubicBezTo>
                    <a:cubicBezTo>
                      <a:pt x="1439" y="190"/>
                      <a:pt x="1439" y="190"/>
                      <a:pt x="1439" y="190"/>
                    </a:cubicBezTo>
                    <a:cubicBezTo>
                      <a:pt x="1438" y="189"/>
                      <a:pt x="1438" y="189"/>
                      <a:pt x="1438" y="189"/>
                    </a:cubicBezTo>
                    <a:cubicBezTo>
                      <a:pt x="1438" y="188"/>
                      <a:pt x="1438" y="188"/>
                      <a:pt x="1438" y="188"/>
                    </a:cubicBezTo>
                    <a:cubicBezTo>
                      <a:pt x="1437" y="187"/>
                      <a:pt x="1437" y="187"/>
                      <a:pt x="1437" y="187"/>
                    </a:cubicBezTo>
                    <a:cubicBezTo>
                      <a:pt x="1436" y="187"/>
                      <a:pt x="1436" y="187"/>
                      <a:pt x="1436" y="187"/>
                    </a:cubicBezTo>
                    <a:cubicBezTo>
                      <a:pt x="1435" y="187"/>
                      <a:pt x="1435" y="187"/>
                      <a:pt x="1435" y="187"/>
                    </a:cubicBezTo>
                    <a:cubicBezTo>
                      <a:pt x="1436" y="186"/>
                      <a:pt x="1436" y="186"/>
                      <a:pt x="1436" y="186"/>
                    </a:cubicBezTo>
                    <a:cubicBezTo>
                      <a:pt x="1437" y="187"/>
                      <a:pt x="1437" y="187"/>
                      <a:pt x="1437" y="187"/>
                    </a:cubicBezTo>
                    <a:cubicBezTo>
                      <a:pt x="1438" y="186"/>
                      <a:pt x="1438" y="186"/>
                      <a:pt x="1438" y="186"/>
                    </a:cubicBezTo>
                    <a:cubicBezTo>
                      <a:pt x="1439" y="187"/>
                      <a:pt x="1439" y="187"/>
                      <a:pt x="1439" y="187"/>
                    </a:cubicBezTo>
                    <a:cubicBezTo>
                      <a:pt x="1439" y="188"/>
                      <a:pt x="1439" y="188"/>
                      <a:pt x="1439" y="188"/>
                    </a:cubicBezTo>
                    <a:cubicBezTo>
                      <a:pt x="1439" y="189"/>
                      <a:pt x="1439" y="189"/>
                      <a:pt x="1439" y="189"/>
                    </a:cubicBezTo>
                    <a:cubicBezTo>
                      <a:pt x="1440" y="188"/>
                      <a:pt x="1440" y="188"/>
                      <a:pt x="1440" y="188"/>
                    </a:cubicBezTo>
                    <a:cubicBezTo>
                      <a:pt x="1439" y="186"/>
                      <a:pt x="1439" y="186"/>
                      <a:pt x="1439" y="186"/>
                    </a:cubicBezTo>
                    <a:cubicBezTo>
                      <a:pt x="1438" y="184"/>
                      <a:pt x="1438" y="184"/>
                      <a:pt x="1438" y="184"/>
                    </a:cubicBezTo>
                    <a:cubicBezTo>
                      <a:pt x="1437" y="182"/>
                      <a:pt x="1437" y="182"/>
                      <a:pt x="1437" y="182"/>
                    </a:cubicBezTo>
                    <a:cubicBezTo>
                      <a:pt x="1438" y="183"/>
                      <a:pt x="1438" y="183"/>
                      <a:pt x="1438" y="183"/>
                    </a:cubicBezTo>
                    <a:cubicBezTo>
                      <a:pt x="1438" y="184"/>
                      <a:pt x="1438" y="184"/>
                      <a:pt x="1438" y="184"/>
                    </a:cubicBezTo>
                    <a:cubicBezTo>
                      <a:pt x="1439" y="184"/>
                      <a:pt x="1439" y="184"/>
                      <a:pt x="1439" y="184"/>
                    </a:cubicBezTo>
                    <a:cubicBezTo>
                      <a:pt x="1440" y="185"/>
                      <a:pt x="1440" y="185"/>
                      <a:pt x="1440" y="185"/>
                    </a:cubicBezTo>
                    <a:cubicBezTo>
                      <a:pt x="1441" y="184"/>
                      <a:pt x="1441" y="184"/>
                      <a:pt x="1441" y="184"/>
                    </a:cubicBezTo>
                    <a:cubicBezTo>
                      <a:pt x="1441" y="183"/>
                      <a:pt x="1441" y="183"/>
                      <a:pt x="1441" y="183"/>
                    </a:cubicBezTo>
                    <a:cubicBezTo>
                      <a:pt x="1440" y="182"/>
                      <a:pt x="1440" y="182"/>
                      <a:pt x="1440" y="182"/>
                    </a:cubicBezTo>
                    <a:cubicBezTo>
                      <a:pt x="1441" y="180"/>
                      <a:pt x="1441" y="180"/>
                      <a:pt x="1441" y="180"/>
                    </a:cubicBezTo>
                    <a:cubicBezTo>
                      <a:pt x="1441" y="179"/>
                      <a:pt x="1441" y="179"/>
                      <a:pt x="1441" y="179"/>
                    </a:cubicBezTo>
                    <a:cubicBezTo>
                      <a:pt x="1440" y="178"/>
                      <a:pt x="1440" y="178"/>
                      <a:pt x="1440" y="178"/>
                    </a:cubicBezTo>
                    <a:cubicBezTo>
                      <a:pt x="1438" y="176"/>
                      <a:pt x="1438" y="176"/>
                      <a:pt x="1438" y="176"/>
                    </a:cubicBezTo>
                    <a:cubicBezTo>
                      <a:pt x="1439" y="176"/>
                      <a:pt x="1439" y="176"/>
                      <a:pt x="1439" y="176"/>
                    </a:cubicBezTo>
                    <a:cubicBezTo>
                      <a:pt x="1440" y="177"/>
                      <a:pt x="1440" y="177"/>
                      <a:pt x="1440" y="177"/>
                    </a:cubicBezTo>
                    <a:cubicBezTo>
                      <a:pt x="1441" y="177"/>
                      <a:pt x="1441" y="177"/>
                      <a:pt x="1441" y="177"/>
                    </a:cubicBezTo>
                    <a:cubicBezTo>
                      <a:pt x="1442" y="176"/>
                      <a:pt x="1442" y="176"/>
                      <a:pt x="1442" y="176"/>
                    </a:cubicBezTo>
                    <a:cubicBezTo>
                      <a:pt x="1441" y="175"/>
                      <a:pt x="1441" y="175"/>
                      <a:pt x="1441" y="175"/>
                    </a:cubicBezTo>
                    <a:cubicBezTo>
                      <a:pt x="1441" y="174"/>
                      <a:pt x="1441" y="174"/>
                      <a:pt x="1441" y="174"/>
                    </a:cubicBezTo>
                    <a:cubicBezTo>
                      <a:pt x="1441" y="173"/>
                      <a:pt x="1441" y="173"/>
                      <a:pt x="1441" y="173"/>
                    </a:cubicBezTo>
                    <a:cubicBezTo>
                      <a:pt x="1443" y="174"/>
                      <a:pt x="1443" y="174"/>
                      <a:pt x="1443" y="174"/>
                    </a:cubicBezTo>
                    <a:cubicBezTo>
                      <a:pt x="1444" y="175"/>
                      <a:pt x="1444" y="175"/>
                      <a:pt x="1444" y="175"/>
                    </a:cubicBezTo>
                    <a:cubicBezTo>
                      <a:pt x="1445" y="174"/>
                      <a:pt x="1445" y="174"/>
                      <a:pt x="1445" y="174"/>
                    </a:cubicBezTo>
                    <a:cubicBezTo>
                      <a:pt x="1444" y="174"/>
                      <a:pt x="1444" y="174"/>
                      <a:pt x="1444" y="174"/>
                    </a:cubicBezTo>
                    <a:cubicBezTo>
                      <a:pt x="1444" y="173"/>
                      <a:pt x="1444" y="173"/>
                      <a:pt x="1444" y="173"/>
                    </a:cubicBezTo>
                    <a:cubicBezTo>
                      <a:pt x="1445" y="173"/>
                      <a:pt x="1445" y="173"/>
                      <a:pt x="1445" y="173"/>
                    </a:cubicBezTo>
                    <a:cubicBezTo>
                      <a:pt x="1446" y="172"/>
                      <a:pt x="1446" y="172"/>
                      <a:pt x="1446" y="172"/>
                    </a:cubicBezTo>
                    <a:cubicBezTo>
                      <a:pt x="1446" y="171"/>
                      <a:pt x="1446" y="171"/>
                      <a:pt x="1446" y="171"/>
                    </a:cubicBezTo>
                    <a:cubicBezTo>
                      <a:pt x="1446" y="170"/>
                      <a:pt x="1446" y="170"/>
                      <a:pt x="1446" y="170"/>
                    </a:cubicBezTo>
                    <a:cubicBezTo>
                      <a:pt x="1448" y="169"/>
                      <a:pt x="1448" y="169"/>
                      <a:pt x="1448" y="169"/>
                    </a:cubicBezTo>
                    <a:cubicBezTo>
                      <a:pt x="1447" y="168"/>
                      <a:pt x="1447" y="168"/>
                      <a:pt x="1447" y="168"/>
                    </a:cubicBezTo>
                    <a:cubicBezTo>
                      <a:pt x="1447" y="167"/>
                      <a:pt x="1447" y="167"/>
                      <a:pt x="1447" y="167"/>
                    </a:cubicBezTo>
                    <a:cubicBezTo>
                      <a:pt x="1447" y="166"/>
                      <a:pt x="1447" y="166"/>
                      <a:pt x="1447" y="166"/>
                    </a:cubicBezTo>
                    <a:cubicBezTo>
                      <a:pt x="1448" y="167"/>
                      <a:pt x="1448" y="167"/>
                      <a:pt x="1448" y="167"/>
                    </a:cubicBezTo>
                    <a:cubicBezTo>
                      <a:pt x="1449" y="166"/>
                      <a:pt x="1449" y="166"/>
                      <a:pt x="1449" y="166"/>
                    </a:cubicBezTo>
                    <a:cubicBezTo>
                      <a:pt x="1450" y="164"/>
                      <a:pt x="1450" y="164"/>
                      <a:pt x="1450" y="164"/>
                    </a:cubicBezTo>
                    <a:cubicBezTo>
                      <a:pt x="1451" y="163"/>
                      <a:pt x="1451" y="163"/>
                      <a:pt x="1451" y="163"/>
                    </a:cubicBezTo>
                    <a:cubicBezTo>
                      <a:pt x="1452" y="162"/>
                      <a:pt x="1452" y="162"/>
                      <a:pt x="1452" y="162"/>
                    </a:cubicBezTo>
                    <a:cubicBezTo>
                      <a:pt x="1452" y="160"/>
                      <a:pt x="1452" y="160"/>
                      <a:pt x="1452" y="160"/>
                    </a:cubicBezTo>
                    <a:cubicBezTo>
                      <a:pt x="1453" y="159"/>
                      <a:pt x="1453" y="159"/>
                      <a:pt x="1453" y="159"/>
                    </a:cubicBezTo>
                    <a:cubicBezTo>
                      <a:pt x="1454" y="158"/>
                      <a:pt x="1454" y="158"/>
                      <a:pt x="1454" y="158"/>
                    </a:cubicBezTo>
                    <a:cubicBezTo>
                      <a:pt x="1455" y="155"/>
                      <a:pt x="1455" y="155"/>
                      <a:pt x="1455" y="155"/>
                    </a:cubicBezTo>
                    <a:cubicBezTo>
                      <a:pt x="1456" y="155"/>
                      <a:pt x="1456" y="155"/>
                      <a:pt x="1456" y="155"/>
                    </a:cubicBezTo>
                    <a:cubicBezTo>
                      <a:pt x="1459" y="153"/>
                      <a:pt x="1459" y="153"/>
                      <a:pt x="1459" y="153"/>
                    </a:cubicBezTo>
                    <a:cubicBezTo>
                      <a:pt x="1461" y="151"/>
                      <a:pt x="1461" y="151"/>
                      <a:pt x="1461" y="151"/>
                    </a:cubicBezTo>
                    <a:cubicBezTo>
                      <a:pt x="1463" y="149"/>
                      <a:pt x="1463" y="149"/>
                      <a:pt x="1463" y="149"/>
                    </a:cubicBezTo>
                    <a:cubicBezTo>
                      <a:pt x="1464" y="149"/>
                      <a:pt x="1464" y="149"/>
                      <a:pt x="1464" y="149"/>
                    </a:cubicBezTo>
                    <a:cubicBezTo>
                      <a:pt x="1465" y="147"/>
                      <a:pt x="1465" y="147"/>
                      <a:pt x="1465" y="147"/>
                    </a:cubicBezTo>
                    <a:cubicBezTo>
                      <a:pt x="1467" y="147"/>
                      <a:pt x="1467" y="147"/>
                      <a:pt x="1467" y="147"/>
                    </a:cubicBezTo>
                    <a:cubicBezTo>
                      <a:pt x="1469" y="146"/>
                      <a:pt x="1469" y="146"/>
                      <a:pt x="1469" y="146"/>
                    </a:cubicBezTo>
                    <a:cubicBezTo>
                      <a:pt x="1470" y="144"/>
                      <a:pt x="1470" y="144"/>
                      <a:pt x="1470" y="144"/>
                    </a:cubicBezTo>
                    <a:cubicBezTo>
                      <a:pt x="1471" y="143"/>
                      <a:pt x="1471" y="143"/>
                      <a:pt x="1471" y="143"/>
                    </a:cubicBezTo>
                    <a:cubicBezTo>
                      <a:pt x="1472" y="143"/>
                      <a:pt x="1472" y="143"/>
                      <a:pt x="1472" y="143"/>
                    </a:cubicBezTo>
                    <a:cubicBezTo>
                      <a:pt x="1473" y="143"/>
                      <a:pt x="1473" y="143"/>
                      <a:pt x="1473" y="143"/>
                    </a:cubicBezTo>
                    <a:cubicBezTo>
                      <a:pt x="1473" y="142"/>
                      <a:pt x="1473" y="142"/>
                      <a:pt x="1473" y="142"/>
                    </a:cubicBezTo>
                    <a:cubicBezTo>
                      <a:pt x="1473" y="141"/>
                      <a:pt x="1473" y="141"/>
                      <a:pt x="1473" y="141"/>
                    </a:cubicBezTo>
                    <a:cubicBezTo>
                      <a:pt x="1473" y="140"/>
                      <a:pt x="1473" y="140"/>
                      <a:pt x="1473" y="140"/>
                    </a:cubicBezTo>
                    <a:cubicBezTo>
                      <a:pt x="1473" y="139"/>
                      <a:pt x="1473" y="139"/>
                      <a:pt x="1473" y="139"/>
                    </a:cubicBezTo>
                    <a:cubicBezTo>
                      <a:pt x="1473" y="137"/>
                      <a:pt x="1473" y="137"/>
                      <a:pt x="1473" y="137"/>
                    </a:cubicBezTo>
                    <a:cubicBezTo>
                      <a:pt x="1472" y="137"/>
                      <a:pt x="1472" y="137"/>
                      <a:pt x="1472" y="137"/>
                    </a:cubicBezTo>
                    <a:cubicBezTo>
                      <a:pt x="1472" y="135"/>
                      <a:pt x="1472" y="135"/>
                      <a:pt x="1472" y="135"/>
                    </a:cubicBezTo>
                    <a:cubicBezTo>
                      <a:pt x="1472" y="134"/>
                      <a:pt x="1472" y="134"/>
                      <a:pt x="1472" y="134"/>
                    </a:cubicBezTo>
                    <a:cubicBezTo>
                      <a:pt x="1472" y="133"/>
                      <a:pt x="1472" y="133"/>
                      <a:pt x="1472" y="133"/>
                    </a:cubicBezTo>
                    <a:cubicBezTo>
                      <a:pt x="1471" y="133"/>
                      <a:pt x="1471" y="133"/>
                      <a:pt x="1471" y="133"/>
                    </a:cubicBezTo>
                    <a:cubicBezTo>
                      <a:pt x="1470" y="132"/>
                      <a:pt x="1470" y="132"/>
                      <a:pt x="1470" y="132"/>
                    </a:cubicBezTo>
                    <a:cubicBezTo>
                      <a:pt x="1469" y="132"/>
                      <a:pt x="1469" y="132"/>
                      <a:pt x="1469" y="132"/>
                    </a:cubicBezTo>
                    <a:cubicBezTo>
                      <a:pt x="1468" y="131"/>
                      <a:pt x="1468" y="131"/>
                      <a:pt x="1468" y="131"/>
                    </a:cubicBezTo>
                    <a:cubicBezTo>
                      <a:pt x="1468" y="130"/>
                      <a:pt x="1468" y="130"/>
                      <a:pt x="1468" y="130"/>
                    </a:cubicBezTo>
                    <a:cubicBezTo>
                      <a:pt x="1466" y="131"/>
                      <a:pt x="1466" y="131"/>
                      <a:pt x="1466" y="131"/>
                    </a:cubicBezTo>
                    <a:cubicBezTo>
                      <a:pt x="1465" y="131"/>
                      <a:pt x="1465" y="131"/>
                      <a:pt x="1465" y="131"/>
                    </a:cubicBezTo>
                    <a:cubicBezTo>
                      <a:pt x="1464" y="130"/>
                      <a:pt x="1464" y="130"/>
                      <a:pt x="1464" y="130"/>
                    </a:cubicBezTo>
                    <a:cubicBezTo>
                      <a:pt x="1463" y="131"/>
                      <a:pt x="1463" y="131"/>
                      <a:pt x="1463" y="131"/>
                    </a:cubicBezTo>
                    <a:cubicBezTo>
                      <a:pt x="1462" y="132"/>
                      <a:pt x="1462" y="132"/>
                      <a:pt x="1462" y="132"/>
                    </a:cubicBezTo>
                    <a:cubicBezTo>
                      <a:pt x="1461" y="133"/>
                      <a:pt x="1461" y="133"/>
                      <a:pt x="1461" y="133"/>
                    </a:cubicBezTo>
                    <a:cubicBezTo>
                      <a:pt x="1460" y="134"/>
                      <a:pt x="1460" y="134"/>
                      <a:pt x="1460" y="134"/>
                    </a:cubicBezTo>
                    <a:cubicBezTo>
                      <a:pt x="1459" y="134"/>
                      <a:pt x="1459" y="134"/>
                      <a:pt x="1459" y="134"/>
                    </a:cubicBezTo>
                    <a:cubicBezTo>
                      <a:pt x="1459" y="135"/>
                      <a:pt x="1459" y="135"/>
                      <a:pt x="1459" y="135"/>
                    </a:cubicBezTo>
                    <a:cubicBezTo>
                      <a:pt x="1458" y="136"/>
                      <a:pt x="1458" y="136"/>
                      <a:pt x="1458" y="136"/>
                    </a:cubicBezTo>
                    <a:cubicBezTo>
                      <a:pt x="1458" y="137"/>
                      <a:pt x="1458" y="137"/>
                      <a:pt x="1458" y="137"/>
                    </a:cubicBezTo>
                    <a:cubicBezTo>
                      <a:pt x="1459" y="138"/>
                      <a:pt x="1459" y="138"/>
                      <a:pt x="1459" y="138"/>
                    </a:cubicBezTo>
                    <a:cubicBezTo>
                      <a:pt x="1459" y="139"/>
                      <a:pt x="1459" y="139"/>
                      <a:pt x="1459" y="139"/>
                    </a:cubicBezTo>
                    <a:cubicBezTo>
                      <a:pt x="1458" y="139"/>
                      <a:pt x="1458" y="139"/>
                      <a:pt x="1458" y="139"/>
                    </a:cubicBezTo>
                    <a:cubicBezTo>
                      <a:pt x="1457" y="140"/>
                      <a:pt x="1457" y="140"/>
                      <a:pt x="1457" y="140"/>
                    </a:cubicBezTo>
                    <a:cubicBezTo>
                      <a:pt x="1457" y="141"/>
                      <a:pt x="1457" y="141"/>
                      <a:pt x="1457" y="141"/>
                    </a:cubicBezTo>
                    <a:cubicBezTo>
                      <a:pt x="1456" y="141"/>
                      <a:pt x="1456" y="141"/>
                      <a:pt x="1456" y="141"/>
                    </a:cubicBezTo>
                    <a:cubicBezTo>
                      <a:pt x="1456" y="142"/>
                      <a:pt x="1456" y="142"/>
                      <a:pt x="1456" y="142"/>
                    </a:cubicBezTo>
                    <a:cubicBezTo>
                      <a:pt x="1454" y="143"/>
                      <a:pt x="1454" y="143"/>
                      <a:pt x="1454" y="143"/>
                    </a:cubicBezTo>
                    <a:cubicBezTo>
                      <a:pt x="1453" y="144"/>
                      <a:pt x="1453" y="144"/>
                      <a:pt x="1453" y="144"/>
                    </a:cubicBezTo>
                    <a:cubicBezTo>
                      <a:pt x="1452" y="144"/>
                      <a:pt x="1452" y="144"/>
                      <a:pt x="1452" y="144"/>
                    </a:cubicBezTo>
                    <a:cubicBezTo>
                      <a:pt x="1451" y="144"/>
                      <a:pt x="1451" y="144"/>
                      <a:pt x="1451" y="144"/>
                    </a:cubicBezTo>
                    <a:cubicBezTo>
                      <a:pt x="1450" y="144"/>
                      <a:pt x="1450" y="144"/>
                      <a:pt x="1450" y="144"/>
                    </a:cubicBezTo>
                    <a:cubicBezTo>
                      <a:pt x="1449" y="146"/>
                      <a:pt x="1449" y="146"/>
                      <a:pt x="1449" y="146"/>
                    </a:cubicBezTo>
                    <a:cubicBezTo>
                      <a:pt x="1448" y="147"/>
                      <a:pt x="1448" y="147"/>
                      <a:pt x="1448" y="147"/>
                    </a:cubicBezTo>
                    <a:cubicBezTo>
                      <a:pt x="1448" y="146"/>
                      <a:pt x="1448" y="146"/>
                      <a:pt x="1448" y="146"/>
                    </a:cubicBezTo>
                    <a:cubicBezTo>
                      <a:pt x="1447" y="145"/>
                      <a:pt x="1447" y="145"/>
                      <a:pt x="1447" y="145"/>
                    </a:cubicBezTo>
                    <a:cubicBezTo>
                      <a:pt x="1447" y="146"/>
                      <a:pt x="1447" y="146"/>
                      <a:pt x="1447" y="146"/>
                    </a:cubicBezTo>
                    <a:cubicBezTo>
                      <a:pt x="1447" y="148"/>
                      <a:pt x="1447" y="148"/>
                      <a:pt x="1447" y="148"/>
                    </a:cubicBezTo>
                    <a:cubicBezTo>
                      <a:pt x="1446" y="147"/>
                      <a:pt x="1446" y="147"/>
                      <a:pt x="1446" y="147"/>
                    </a:cubicBezTo>
                    <a:cubicBezTo>
                      <a:pt x="1446" y="146"/>
                      <a:pt x="1446" y="146"/>
                      <a:pt x="1446" y="146"/>
                    </a:cubicBezTo>
                    <a:cubicBezTo>
                      <a:pt x="1444" y="146"/>
                      <a:pt x="1444" y="146"/>
                      <a:pt x="1444" y="146"/>
                    </a:cubicBezTo>
                    <a:cubicBezTo>
                      <a:pt x="1441" y="147"/>
                      <a:pt x="1441" y="147"/>
                      <a:pt x="1441" y="147"/>
                    </a:cubicBezTo>
                    <a:cubicBezTo>
                      <a:pt x="1440" y="147"/>
                      <a:pt x="1440" y="147"/>
                      <a:pt x="1440" y="147"/>
                    </a:cubicBezTo>
                    <a:cubicBezTo>
                      <a:pt x="1440" y="148"/>
                      <a:pt x="1440" y="148"/>
                      <a:pt x="1440" y="148"/>
                    </a:cubicBezTo>
                    <a:cubicBezTo>
                      <a:pt x="1440" y="150"/>
                      <a:pt x="1440" y="150"/>
                      <a:pt x="1440" y="150"/>
                    </a:cubicBezTo>
                    <a:cubicBezTo>
                      <a:pt x="1441" y="150"/>
                      <a:pt x="1441" y="150"/>
                      <a:pt x="1441" y="150"/>
                    </a:cubicBezTo>
                    <a:cubicBezTo>
                      <a:pt x="1441" y="151"/>
                      <a:pt x="1441" y="151"/>
                      <a:pt x="1441" y="151"/>
                    </a:cubicBezTo>
                    <a:cubicBezTo>
                      <a:pt x="1440" y="151"/>
                      <a:pt x="1440" y="151"/>
                      <a:pt x="1440" y="151"/>
                    </a:cubicBezTo>
                    <a:cubicBezTo>
                      <a:pt x="1439" y="152"/>
                      <a:pt x="1439" y="152"/>
                      <a:pt x="1439" y="152"/>
                    </a:cubicBezTo>
                    <a:cubicBezTo>
                      <a:pt x="1439" y="151"/>
                      <a:pt x="1439" y="151"/>
                      <a:pt x="1439" y="151"/>
                    </a:cubicBezTo>
                    <a:cubicBezTo>
                      <a:pt x="1439" y="150"/>
                      <a:pt x="1439" y="150"/>
                      <a:pt x="1439" y="150"/>
                    </a:cubicBezTo>
                    <a:cubicBezTo>
                      <a:pt x="1438" y="151"/>
                      <a:pt x="1438" y="151"/>
                      <a:pt x="1438" y="151"/>
                    </a:cubicBezTo>
                    <a:cubicBezTo>
                      <a:pt x="1437" y="152"/>
                      <a:pt x="1437" y="152"/>
                      <a:pt x="1437" y="152"/>
                    </a:cubicBezTo>
                    <a:cubicBezTo>
                      <a:pt x="1437" y="153"/>
                      <a:pt x="1437" y="153"/>
                      <a:pt x="1437" y="153"/>
                    </a:cubicBezTo>
                    <a:cubicBezTo>
                      <a:pt x="1437" y="154"/>
                      <a:pt x="1437" y="154"/>
                      <a:pt x="1437" y="154"/>
                    </a:cubicBezTo>
                    <a:cubicBezTo>
                      <a:pt x="1436" y="155"/>
                      <a:pt x="1436" y="155"/>
                      <a:pt x="1436" y="155"/>
                    </a:cubicBezTo>
                    <a:cubicBezTo>
                      <a:pt x="1435" y="155"/>
                      <a:pt x="1435" y="155"/>
                      <a:pt x="1435" y="155"/>
                    </a:cubicBezTo>
                    <a:cubicBezTo>
                      <a:pt x="1434" y="155"/>
                      <a:pt x="1434" y="155"/>
                      <a:pt x="1434" y="155"/>
                    </a:cubicBezTo>
                    <a:cubicBezTo>
                      <a:pt x="1434" y="156"/>
                      <a:pt x="1434" y="156"/>
                      <a:pt x="1434" y="156"/>
                    </a:cubicBezTo>
                    <a:cubicBezTo>
                      <a:pt x="1433" y="156"/>
                      <a:pt x="1433" y="156"/>
                      <a:pt x="1433" y="156"/>
                    </a:cubicBezTo>
                    <a:cubicBezTo>
                      <a:pt x="1432" y="157"/>
                      <a:pt x="1432" y="157"/>
                      <a:pt x="1432" y="157"/>
                    </a:cubicBezTo>
                    <a:cubicBezTo>
                      <a:pt x="1432" y="159"/>
                      <a:pt x="1432" y="159"/>
                      <a:pt x="1432" y="159"/>
                    </a:cubicBezTo>
                    <a:cubicBezTo>
                      <a:pt x="1433" y="159"/>
                      <a:pt x="1433" y="159"/>
                      <a:pt x="1433" y="159"/>
                    </a:cubicBezTo>
                    <a:cubicBezTo>
                      <a:pt x="1432" y="160"/>
                      <a:pt x="1432" y="160"/>
                      <a:pt x="1432" y="160"/>
                    </a:cubicBezTo>
                    <a:cubicBezTo>
                      <a:pt x="1430" y="160"/>
                      <a:pt x="1430" y="160"/>
                      <a:pt x="1430" y="160"/>
                    </a:cubicBezTo>
                    <a:cubicBezTo>
                      <a:pt x="1430" y="161"/>
                      <a:pt x="1430" y="161"/>
                      <a:pt x="1430" y="161"/>
                    </a:cubicBezTo>
                    <a:cubicBezTo>
                      <a:pt x="1429" y="162"/>
                      <a:pt x="1429" y="162"/>
                      <a:pt x="1429" y="162"/>
                    </a:cubicBezTo>
                    <a:cubicBezTo>
                      <a:pt x="1429" y="163"/>
                      <a:pt x="1429" y="163"/>
                      <a:pt x="1429" y="163"/>
                    </a:cubicBezTo>
                    <a:cubicBezTo>
                      <a:pt x="1430" y="163"/>
                      <a:pt x="1430" y="163"/>
                      <a:pt x="1430" y="163"/>
                    </a:cubicBezTo>
                    <a:cubicBezTo>
                      <a:pt x="1431" y="163"/>
                      <a:pt x="1431" y="163"/>
                      <a:pt x="1431" y="163"/>
                    </a:cubicBezTo>
                    <a:cubicBezTo>
                      <a:pt x="1431" y="164"/>
                      <a:pt x="1431" y="164"/>
                      <a:pt x="1431" y="164"/>
                    </a:cubicBezTo>
                    <a:cubicBezTo>
                      <a:pt x="1431" y="165"/>
                      <a:pt x="1431" y="165"/>
                      <a:pt x="1431" y="165"/>
                    </a:cubicBezTo>
                    <a:cubicBezTo>
                      <a:pt x="1430" y="166"/>
                      <a:pt x="1430" y="166"/>
                      <a:pt x="1430" y="166"/>
                    </a:cubicBezTo>
                    <a:cubicBezTo>
                      <a:pt x="1428" y="166"/>
                      <a:pt x="1428" y="166"/>
                      <a:pt x="1428" y="166"/>
                    </a:cubicBezTo>
                    <a:cubicBezTo>
                      <a:pt x="1427" y="166"/>
                      <a:pt x="1427" y="166"/>
                      <a:pt x="1427" y="166"/>
                    </a:cubicBezTo>
                    <a:cubicBezTo>
                      <a:pt x="1426" y="167"/>
                      <a:pt x="1426" y="167"/>
                      <a:pt x="1426" y="167"/>
                    </a:cubicBezTo>
                    <a:cubicBezTo>
                      <a:pt x="1427" y="168"/>
                      <a:pt x="1427" y="168"/>
                      <a:pt x="1427" y="168"/>
                    </a:cubicBezTo>
                    <a:cubicBezTo>
                      <a:pt x="1426" y="169"/>
                      <a:pt x="1426" y="169"/>
                      <a:pt x="1426" y="169"/>
                    </a:cubicBezTo>
                    <a:cubicBezTo>
                      <a:pt x="1425" y="170"/>
                      <a:pt x="1425" y="170"/>
                      <a:pt x="1425" y="170"/>
                    </a:cubicBezTo>
                    <a:cubicBezTo>
                      <a:pt x="1424" y="170"/>
                      <a:pt x="1424" y="170"/>
                      <a:pt x="1424" y="170"/>
                    </a:cubicBezTo>
                    <a:cubicBezTo>
                      <a:pt x="1423" y="169"/>
                      <a:pt x="1423" y="169"/>
                      <a:pt x="1423" y="169"/>
                    </a:cubicBezTo>
                    <a:cubicBezTo>
                      <a:pt x="1423" y="168"/>
                      <a:pt x="1423" y="168"/>
                      <a:pt x="1423" y="168"/>
                    </a:cubicBezTo>
                    <a:cubicBezTo>
                      <a:pt x="1422" y="170"/>
                      <a:pt x="1422" y="170"/>
                      <a:pt x="1422" y="170"/>
                    </a:cubicBezTo>
                    <a:cubicBezTo>
                      <a:pt x="1422" y="171"/>
                      <a:pt x="1422" y="171"/>
                      <a:pt x="1422" y="171"/>
                    </a:cubicBezTo>
                    <a:cubicBezTo>
                      <a:pt x="1424" y="172"/>
                      <a:pt x="1424" y="172"/>
                      <a:pt x="1424" y="172"/>
                    </a:cubicBezTo>
                    <a:cubicBezTo>
                      <a:pt x="1425" y="172"/>
                      <a:pt x="1425" y="172"/>
                      <a:pt x="1425" y="172"/>
                    </a:cubicBezTo>
                    <a:cubicBezTo>
                      <a:pt x="1425" y="173"/>
                      <a:pt x="1425" y="173"/>
                      <a:pt x="1425" y="173"/>
                    </a:cubicBezTo>
                    <a:cubicBezTo>
                      <a:pt x="1424" y="174"/>
                      <a:pt x="1424" y="174"/>
                      <a:pt x="1424" y="174"/>
                    </a:cubicBezTo>
                    <a:cubicBezTo>
                      <a:pt x="1424" y="175"/>
                      <a:pt x="1424" y="175"/>
                      <a:pt x="1424" y="175"/>
                    </a:cubicBezTo>
                    <a:cubicBezTo>
                      <a:pt x="1425" y="175"/>
                      <a:pt x="1425" y="175"/>
                      <a:pt x="1425" y="175"/>
                    </a:cubicBezTo>
                    <a:cubicBezTo>
                      <a:pt x="1426" y="174"/>
                      <a:pt x="1426" y="174"/>
                      <a:pt x="1426" y="174"/>
                    </a:cubicBezTo>
                    <a:cubicBezTo>
                      <a:pt x="1427" y="175"/>
                      <a:pt x="1427" y="175"/>
                      <a:pt x="1427" y="175"/>
                    </a:cubicBezTo>
                    <a:cubicBezTo>
                      <a:pt x="1428" y="175"/>
                      <a:pt x="1428" y="175"/>
                      <a:pt x="1428" y="175"/>
                    </a:cubicBezTo>
                    <a:cubicBezTo>
                      <a:pt x="1429" y="174"/>
                      <a:pt x="1429" y="174"/>
                      <a:pt x="1429" y="174"/>
                    </a:cubicBezTo>
                    <a:cubicBezTo>
                      <a:pt x="1429" y="175"/>
                      <a:pt x="1429" y="175"/>
                      <a:pt x="1429" y="175"/>
                    </a:cubicBezTo>
                    <a:cubicBezTo>
                      <a:pt x="1428" y="176"/>
                      <a:pt x="1428" y="176"/>
                      <a:pt x="1428" y="176"/>
                    </a:cubicBezTo>
                    <a:cubicBezTo>
                      <a:pt x="1426" y="175"/>
                      <a:pt x="1426" y="175"/>
                      <a:pt x="1426" y="175"/>
                    </a:cubicBezTo>
                    <a:cubicBezTo>
                      <a:pt x="1426" y="176"/>
                      <a:pt x="1426" y="176"/>
                      <a:pt x="1426" y="176"/>
                    </a:cubicBezTo>
                    <a:cubicBezTo>
                      <a:pt x="1425" y="176"/>
                      <a:pt x="1425" y="176"/>
                      <a:pt x="1425" y="176"/>
                    </a:cubicBezTo>
                    <a:cubicBezTo>
                      <a:pt x="1425" y="177"/>
                      <a:pt x="1425" y="177"/>
                      <a:pt x="1425" y="177"/>
                    </a:cubicBezTo>
                    <a:cubicBezTo>
                      <a:pt x="1425" y="178"/>
                      <a:pt x="1425" y="178"/>
                      <a:pt x="1425" y="178"/>
                    </a:cubicBezTo>
                    <a:cubicBezTo>
                      <a:pt x="1426" y="179"/>
                      <a:pt x="1426" y="179"/>
                      <a:pt x="1426" y="179"/>
                    </a:cubicBezTo>
                    <a:cubicBezTo>
                      <a:pt x="1427" y="179"/>
                      <a:pt x="1427" y="179"/>
                      <a:pt x="1427" y="179"/>
                    </a:cubicBezTo>
                    <a:cubicBezTo>
                      <a:pt x="1428" y="178"/>
                      <a:pt x="1428" y="178"/>
                      <a:pt x="1428" y="178"/>
                    </a:cubicBezTo>
                    <a:cubicBezTo>
                      <a:pt x="1428" y="179"/>
                      <a:pt x="1428" y="179"/>
                      <a:pt x="1428" y="179"/>
                    </a:cubicBezTo>
                    <a:cubicBezTo>
                      <a:pt x="1426" y="180"/>
                      <a:pt x="1426" y="180"/>
                      <a:pt x="1426" y="180"/>
                    </a:cubicBezTo>
                    <a:cubicBezTo>
                      <a:pt x="1425" y="180"/>
                      <a:pt x="1425" y="180"/>
                      <a:pt x="1425" y="180"/>
                    </a:cubicBezTo>
                    <a:cubicBezTo>
                      <a:pt x="1424" y="180"/>
                      <a:pt x="1424" y="180"/>
                      <a:pt x="1424" y="180"/>
                    </a:cubicBezTo>
                    <a:cubicBezTo>
                      <a:pt x="1424" y="181"/>
                      <a:pt x="1424" y="181"/>
                      <a:pt x="1424" y="181"/>
                    </a:cubicBezTo>
                    <a:cubicBezTo>
                      <a:pt x="1425" y="181"/>
                      <a:pt x="1425" y="181"/>
                      <a:pt x="1425" y="181"/>
                    </a:cubicBezTo>
                    <a:cubicBezTo>
                      <a:pt x="1426" y="181"/>
                      <a:pt x="1426" y="181"/>
                      <a:pt x="1426" y="181"/>
                    </a:cubicBezTo>
                    <a:cubicBezTo>
                      <a:pt x="1427" y="181"/>
                      <a:pt x="1427" y="181"/>
                      <a:pt x="1427" y="181"/>
                    </a:cubicBezTo>
                    <a:cubicBezTo>
                      <a:pt x="1427" y="182"/>
                      <a:pt x="1427" y="182"/>
                      <a:pt x="1427" y="182"/>
                    </a:cubicBezTo>
                    <a:cubicBezTo>
                      <a:pt x="1426" y="182"/>
                      <a:pt x="1426" y="182"/>
                      <a:pt x="1426" y="182"/>
                    </a:cubicBezTo>
                    <a:cubicBezTo>
                      <a:pt x="1425" y="182"/>
                      <a:pt x="1425" y="182"/>
                      <a:pt x="1425" y="182"/>
                    </a:cubicBezTo>
                    <a:cubicBezTo>
                      <a:pt x="1425" y="183"/>
                      <a:pt x="1425" y="183"/>
                      <a:pt x="1425" y="183"/>
                    </a:cubicBezTo>
                    <a:cubicBezTo>
                      <a:pt x="1427" y="183"/>
                      <a:pt x="1427" y="183"/>
                      <a:pt x="1427" y="183"/>
                    </a:cubicBezTo>
                    <a:cubicBezTo>
                      <a:pt x="1429" y="185"/>
                      <a:pt x="1429" y="185"/>
                      <a:pt x="1429" y="185"/>
                    </a:cubicBezTo>
                    <a:cubicBezTo>
                      <a:pt x="1430" y="185"/>
                      <a:pt x="1430" y="185"/>
                      <a:pt x="1430" y="185"/>
                    </a:cubicBezTo>
                    <a:cubicBezTo>
                      <a:pt x="1430" y="186"/>
                      <a:pt x="1430" y="186"/>
                      <a:pt x="1430" y="186"/>
                    </a:cubicBezTo>
                    <a:cubicBezTo>
                      <a:pt x="1429" y="185"/>
                      <a:pt x="1429" y="185"/>
                      <a:pt x="1429" y="185"/>
                    </a:cubicBezTo>
                    <a:cubicBezTo>
                      <a:pt x="1428" y="185"/>
                      <a:pt x="1428" y="185"/>
                      <a:pt x="1428" y="185"/>
                    </a:cubicBezTo>
                    <a:cubicBezTo>
                      <a:pt x="1427" y="185"/>
                      <a:pt x="1427" y="185"/>
                      <a:pt x="1427" y="185"/>
                    </a:cubicBezTo>
                    <a:cubicBezTo>
                      <a:pt x="1426" y="184"/>
                      <a:pt x="1426" y="184"/>
                      <a:pt x="1426" y="184"/>
                    </a:cubicBezTo>
                    <a:cubicBezTo>
                      <a:pt x="1425" y="184"/>
                      <a:pt x="1425" y="184"/>
                      <a:pt x="1425" y="184"/>
                    </a:cubicBezTo>
                    <a:cubicBezTo>
                      <a:pt x="1424" y="185"/>
                      <a:pt x="1424" y="185"/>
                      <a:pt x="1424" y="185"/>
                    </a:cubicBezTo>
                    <a:cubicBezTo>
                      <a:pt x="1423" y="186"/>
                      <a:pt x="1423" y="186"/>
                      <a:pt x="1423" y="186"/>
                    </a:cubicBezTo>
                    <a:cubicBezTo>
                      <a:pt x="1423" y="187"/>
                      <a:pt x="1423" y="187"/>
                      <a:pt x="1423" y="187"/>
                    </a:cubicBezTo>
                    <a:cubicBezTo>
                      <a:pt x="1424" y="187"/>
                      <a:pt x="1424" y="187"/>
                      <a:pt x="1424" y="187"/>
                    </a:cubicBezTo>
                    <a:cubicBezTo>
                      <a:pt x="1423" y="188"/>
                      <a:pt x="1423" y="188"/>
                      <a:pt x="1423" y="188"/>
                    </a:cubicBezTo>
                    <a:cubicBezTo>
                      <a:pt x="1422" y="188"/>
                      <a:pt x="1422" y="188"/>
                      <a:pt x="1422" y="188"/>
                    </a:cubicBezTo>
                    <a:cubicBezTo>
                      <a:pt x="1422" y="189"/>
                      <a:pt x="1422" y="189"/>
                      <a:pt x="1422" y="189"/>
                    </a:cubicBezTo>
                    <a:cubicBezTo>
                      <a:pt x="1421" y="190"/>
                      <a:pt x="1421" y="190"/>
                      <a:pt x="1421" y="190"/>
                    </a:cubicBezTo>
                    <a:cubicBezTo>
                      <a:pt x="1421" y="191"/>
                      <a:pt x="1421" y="191"/>
                      <a:pt x="1421" y="191"/>
                    </a:cubicBezTo>
                    <a:close/>
                    <a:moveTo>
                      <a:pt x="1451" y="256"/>
                    </a:moveTo>
                    <a:cubicBezTo>
                      <a:pt x="1452" y="256"/>
                      <a:pt x="1452" y="256"/>
                      <a:pt x="1452" y="256"/>
                    </a:cubicBezTo>
                    <a:cubicBezTo>
                      <a:pt x="1453" y="256"/>
                      <a:pt x="1453" y="256"/>
                      <a:pt x="1453" y="256"/>
                    </a:cubicBezTo>
                    <a:cubicBezTo>
                      <a:pt x="1452" y="255"/>
                      <a:pt x="1452" y="255"/>
                      <a:pt x="1452" y="255"/>
                    </a:cubicBezTo>
                    <a:cubicBezTo>
                      <a:pt x="1451" y="256"/>
                      <a:pt x="1451" y="256"/>
                      <a:pt x="1451" y="256"/>
                    </a:cubicBezTo>
                    <a:close/>
                    <a:moveTo>
                      <a:pt x="1407" y="89"/>
                    </a:moveTo>
                    <a:cubicBezTo>
                      <a:pt x="1406" y="88"/>
                      <a:pt x="1406" y="88"/>
                      <a:pt x="1406" y="88"/>
                    </a:cubicBezTo>
                    <a:cubicBezTo>
                      <a:pt x="1405" y="88"/>
                      <a:pt x="1405" y="88"/>
                      <a:pt x="1405" y="88"/>
                    </a:cubicBezTo>
                    <a:cubicBezTo>
                      <a:pt x="1405" y="89"/>
                      <a:pt x="1405" y="89"/>
                      <a:pt x="1405" y="89"/>
                    </a:cubicBezTo>
                    <a:cubicBezTo>
                      <a:pt x="1406" y="89"/>
                      <a:pt x="1406" y="89"/>
                      <a:pt x="1406" y="89"/>
                    </a:cubicBezTo>
                    <a:cubicBezTo>
                      <a:pt x="1406" y="90"/>
                      <a:pt x="1406" y="90"/>
                      <a:pt x="1406" y="90"/>
                    </a:cubicBezTo>
                    <a:cubicBezTo>
                      <a:pt x="1407" y="89"/>
                      <a:pt x="1407" y="89"/>
                      <a:pt x="1407" y="89"/>
                    </a:cubicBezTo>
                    <a:close/>
                    <a:moveTo>
                      <a:pt x="1397" y="77"/>
                    </a:moveTo>
                    <a:cubicBezTo>
                      <a:pt x="1397" y="78"/>
                      <a:pt x="1397" y="78"/>
                      <a:pt x="1397" y="78"/>
                    </a:cubicBezTo>
                    <a:cubicBezTo>
                      <a:pt x="1398" y="81"/>
                      <a:pt x="1398" y="81"/>
                      <a:pt x="1398" y="81"/>
                    </a:cubicBezTo>
                    <a:cubicBezTo>
                      <a:pt x="1398" y="83"/>
                      <a:pt x="1398" y="83"/>
                      <a:pt x="1398" y="83"/>
                    </a:cubicBezTo>
                    <a:cubicBezTo>
                      <a:pt x="1399" y="85"/>
                      <a:pt x="1399" y="85"/>
                      <a:pt x="1399" y="85"/>
                    </a:cubicBezTo>
                    <a:cubicBezTo>
                      <a:pt x="1400" y="85"/>
                      <a:pt x="1400" y="85"/>
                      <a:pt x="1400" y="85"/>
                    </a:cubicBezTo>
                    <a:cubicBezTo>
                      <a:pt x="1401" y="85"/>
                      <a:pt x="1401" y="85"/>
                      <a:pt x="1401" y="85"/>
                    </a:cubicBezTo>
                    <a:cubicBezTo>
                      <a:pt x="1400" y="84"/>
                      <a:pt x="1400" y="84"/>
                      <a:pt x="1400" y="84"/>
                    </a:cubicBezTo>
                    <a:cubicBezTo>
                      <a:pt x="1400" y="83"/>
                      <a:pt x="1400" y="83"/>
                      <a:pt x="1400" y="83"/>
                    </a:cubicBezTo>
                    <a:cubicBezTo>
                      <a:pt x="1401" y="83"/>
                      <a:pt x="1401" y="83"/>
                      <a:pt x="1401" y="83"/>
                    </a:cubicBezTo>
                    <a:cubicBezTo>
                      <a:pt x="1402" y="81"/>
                      <a:pt x="1402" y="81"/>
                      <a:pt x="1402" y="81"/>
                    </a:cubicBezTo>
                    <a:cubicBezTo>
                      <a:pt x="1404" y="80"/>
                      <a:pt x="1404" y="80"/>
                      <a:pt x="1404" y="80"/>
                    </a:cubicBezTo>
                    <a:cubicBezTo>
                      <a:pt x="1405" y="79"/>
                      <a:pt x="1405" y="79"/>
                      <a:pt x="1405" y="79"/>
                    </a:cubicBezTo>
                    <a:cubicBezTo>
                      <a:pt x="1404" y="79"/>
                      <a:pt x="1404" y="79"/>
                      <a:pt x="1404" y="79"/>
                    </a:cubicBezTo>
                    <a:cubicBezTo>
                      <a:pt x="1403" y="79"/>
                      <a:pt x="1403" y="79"/>
                      <a:pt x="1403" y="79"/>
                    </a:cubicBezTo>
                    <a:cubicBezTo>
                      <a:pt x="1400" y="78"/>
                      <a:pt x="1400" y="78"/>
                      <a:pt x="1400" y="78"/>
                    </a:cubicBezTo>
                    <a:cubicBezTo>
                      <a:pt x="1399" y="76"/>
                      <a:pt x="1399" y="76"/>
                      <a:pt x="1399" y="76"/>
                    </a:cubicBezTo>
                    <a:cubicBezTo>
                      <a:pt x="1398" y="77"/>
                      <a:pt x="1398" y="77"/>
                      <a:pt x="1398" y="77"/>
                    </a:cubicBezTo>
                    <a:cubicBezTo>
                      <a:pt x="1397" y="77"/>
                      <a:pt x="1397" y="77"/>
                      <a:pt x="1397" y="77"/>
                    </a:cubicBezTo>
                    <a:close/>
                    <a:moveTo>
                      <a:pt x="1470" y="240"/>
                    </a:moveTo>
                    <a:cubicBezTo>
                      <a:pt x="1468" y="239"/>
                      <a:pt x="1468" y="239"/>
                      <a:pt x="1468" y="239"/>
                    </a:cubicBezTo>
                    <a:cubicBezTo>
                      <a:pt x="1466" y="237"/>
                      <a:pt x="1466" y="237"/>
                      <a:pt x="1466" y="237"/>
                    </a:cubicBezTo>
                    <a:cubicBezTo>
                      <a:pt x="1465" y="237"/>
                      <a:pt x="1465" y="237"/>
                      <a:pt x="1465" y="237"/>
                    </a:cubicBezTo>
                    <a:cubicBezTo>
                      <a:pt x="1463" y="236"/>
                      <a:pt x="1463" y="236"/>
                      <a:pt x="1463" y="236"/>
                    </a:cubicBezTo>
                    <a:cubicBezTo>
                      <a:pt x="1462" y="235"/>
                      <a:pt x="1462" y="235"/>
                      <a:pt x="1462" y="235"/>
                    </a:cubicBezTo>
                    <a:cubicBezTo>
                      <a:pt x="1462" y="234"/>
                      <a:pt x="1462" y="234"/>
                      <a:pt x="1462" y="234"/>
                    </a:cubicBezTo>
                    <a:cubicBezTo>
                      <a:pt x="1460" y="233"/>
                      <a:pt x="1460" y="233"/>
                      <a:pt x="1460" y="233"/>
                    </a:cubicBezTo>
                    <a:cubicBezTo>
                      <a:pt x="1459" y="233"/>
                      <a:pt x="1459" y="233"/>
                      <a:pt x="1459" y="233"/>
                    </a:cubicBezTo>
                    <a:cubicBezTo>
                      <a:pt x="1459" y="234"/>
                      <a:pt x="1459" y="234"/>
                      <a:pt x="1459" y="234"/>
                    </a:cubicBezTo>
                    <a:cubicBezTo>
                      <a:pt x="1458" y="235"/>
                      <a:pt x="1458" y="235"/>
                      <a:pt x="1458" y="235"/>
                    </a:cubicBezTo>
                    <a:cubicBezTo>
                      <a:pt x="1459" y="236"/>
                      <a:pt x="1459" y="236"/>
                      <a:pt x="1459" y="236"/>
                    </a:cubicBezTo>
                    <a:cubicBezTo>
                      <a:pt x="1460" y="236"/>
                      <a:pt x="1460" y="236"/>
                      <a:pt x="1460" y="236"/>
                    </a:cubicBezTo>
                    <a:cubicBezTo>
                      <a:pt x="1459" y="237"/>
                      <a:pt x="1459" y="237"/>
                      <a:pt x="1459" y="237"/>
                    </a:cubicBezTo>
                    <a:cubicBezTo>
                      <a:pt x="1458" y="236"/>
                      <a:pt x="1458" y="236"/>
                      <a:pt x="1458" y="236"/>
                    </a:cubicBezTo>
                    <a:cubicBezTo>
                      <a:pt x="1457" y="236"/>
                      <a:pt x="1457" y="236"/>
                      <a:pt x="1457" y="236"/>
                    </a:cubicBezTo>
                    <a:cubicBezTo>
                      <a:pt x="1458" y="237"/>
                      <a:pt x="1458" y="237"/>
                      <a:pt x="1458" y="237"/>
                    </a:cubicBezTo>
                    <a:cubicBezTo>
                      <a:pt x="1460" y="240"/>
                      <a:pt x="1460" y="240"/>
                      <a:pt x="1460" y="240"/>
                    </a:cubicBezTo>
                    <a:cubicBezTo>
                      <a:pt x="1461" y="240"/>
                      <a:pt x="1461" y="240"/>
                      <a:pt x="1461" y="240"/>
                    </a:cubicBezTo>
                    <a:cubicBezTo>
                      <a:pt x="1462" y="242"/>
                      <a:pt x="1462" y="242"/>
                      <a:pt x="1462" y="242"/>
                    </a:cubicBezTo>
                    <a:cubicBezTo>
                      <a:pt x="1463" y="242"/>
                      <a:pt x="1463" y="242"/>
                      <a:pt x="1463" y="242"/>
                    </a:cubicBezTo>
                    <a:cubicBezTo>
                      <a:pt x="1463" y="240"/>
                      <a:pt x="1463" y="240"/>
                      <a:pt x="1463" y="240"/>
                    </a:cubicBezTo>
                    <a:cubicBezTo>
                      <a:pt x="1464" y="241"/>
                      <a:pt x="1464" y="241"/>
                      <a:pt x="1464" y="241"/>
                    </a:cubicBezTo>
                    <a:cubicBezTo>
                      <a:pt x="1465" y="240"/>
                      <a:pt x="1465" y="240"/>
                      <a:pt x="1465" y="240"/>
                    </a:cubicBezTo>
                    <a:cubicBezTo>
                      <a:pt x="1465" y="241"/>
                      <a:pt x="1465" y="241"/>
                      <a:pt x="1465" y="241"/>
                    </a:cubicBezTo>
                    <a:cubicBezTo>
                      <a:pt x="1465" y="243"/>
                      <a:pt x="1465" y="243"/>
                      <a:pt x="1465" y="243"/>
                    </a:cubicBezTo>
                    <a:cubicBezTo>
                      <a:pt x="1466" y="244"/>
                      <a:pt x="1466" y="244"/>
                      <a:pt x="1466" y="244"/>
                    </a:cubicBezTo>
                    <a:cubicBezTo>
                      <a:pt x="1468" y="244"/>
                      <a:pt x="1468" y="244"/>
                      <a:pt x="1468" y="244"/>
                    </a:cubicBezTo>
                    <a:cubicBezTo>
                      <a:pt x="1468" y="243"/>
                      <a:pt x="1468" y="243"/>
                      <a:pt x="1468" y="243"/>
                    </a:cubicBezTo>
                    <a:cubicBezTo>
                      <a:pt x="1470" y="244"/>
                      <a:pt x="1470" y="244"/>
                      <a:pt x="1470" y="244"/>
                    </a:cubicBezTo>
                    <a:cubicBezTo>
                      <a:pt x="1470" y="242"/>
                      <a:pt x="1470" y="242"/>
                      <a:pt x="1470" y="242"/>
                    </a:cubicBezTo>
                    <a:cubicBezTo>
                      <a:pt x="1470" y="240"/>
                      <a:pt x="1470" y="240"/>
                      <a:pt x="1470" y="240"/>
                    </a:cubicBezTo>
                    <a:close/>
                    <a:moveTo>
                      <a:pt x="1371" y="270"/>
                    </a:moveTo>
                    <a:cubicBezTo>
                      <a:pt x="1371" y="270"/>
                      <a:pt x="1371" y="270"/>
                      <a:pt x="1370" y="270"/>
                    </a:cubicBezTo>
                    <a:cubicBezTo>
                      <a:pt x="1370" y="270"/>
                      <a:pt x="1370" y="270"/>
                      <a:pt x="1371" y="271"/>
                    </a:cubicBezTo>
                    <a:cubicBezTo>
                      <a:pt x="1371" y="271"/>
                      <a:pt x="1371" y="271"/>
                      <a:pt x="1372" y="273"/>
                    </a:cubicBezTo>
                    <a:cubicBezTo>
                      <a:pt x="1372" y="273"/>
                      <a:pt x="1372" y="273"/>
                      <a:pt x="1372" y="272"/>
                    </a:cubicBezTo>
                    <a:cubicBezTo>
                      <a:pt x="1372" y="272"/>
                      <a:pt x="1372" y="272"/>
                      <a:pt x="1371" y="270"/>
                    </a:cubicBezTo>
                    <a:close/>
                    <a:moveTo>
                      <a:pt x="1405" y="65"/>
                    </a:moveTo>
                    <a:cubicBezTo>
                      <a:pt x="1406" y="66"/>
                      <a:pt x="1406" y="66"/>
                      <a:pt x="1406" y="66"/>
                    </a:cubicBezTo>
                    <a:cubicBezTo>
                      <a:pt x="1407" y="65"/>
                      <a:pt x="1407" y="65"/>
                      <a:pt x="1407" y="65"/>
                    </a:cubicBezTo>
                    <a:cubicBezTo>
                      <a:pt x="1408" y="64"/>
                      <a:pt x="1408" y="64"/>
                      <a:pt x="1408" y="64"/>
                    </a:cubicBezTo>
                    <a:cubicBezTo>
                      <a:pt x="1409" y="63"/>
                      <a:pt x="1409" y="63"/>
                      <a:pt x="1409" y="63"/>
                    </a:cubicBezTo>
                    <a:cubicBezTo>
                      <a:pt x="1408" y="62"/>
                      <a:pt x="1408" y="62"/>
                      <a:pt x="1408" y="62"/>
                    </a:cubicBezTo>
                    <a:cubicBezTo>
                      <a:pt x="1407" y="61"/>
                      <a:pt x="1407" y="61"/>
                      <a:pt x="1407" y="61"/>
                    </a:cubicBezTo>
                    <a:cubicBezTo>
                      <a:pt x="1406" y="61"/>
                      <a:pt x="1406" y="61"/>
                      <a:pt x="1406" y="61"/>
                    </a:cubicBezTo>
                    <a:cubicBezTo>
                      <a:pt x="1404" y="61"/>
                      <a:pt x="1404" y="61"/>
                      <a:pt x="1404" y="61"/>
                    </a:cubicBezTo>
                    <a:cubicBezTo>
                      <a:pt x="1403" y="62"/>
                      <a:pt x="1403" y="62"/>
                      <a:pt x="1403" y="62"/>
                    </a:cubicBezTo>
                    <a:cubicBezTo>
                      <a:pt x="1402" y="63"/>
                      <a:pt x="1402" y="63"/>
                      <a:pt x="1402" y="63"/>
                    </a:cubicBezTo>
                    <a:cubicBezTo>
                      <a:pt x="1403" y="64"/>
                      <a:pt x="1403" y="64"/>
                      <a:pt x="1403" y="64"/>
                    </a:cubicBezTo>
                    <a:cubicBezTo>
                      <a:pt x="1405" y="65"/>
                      <a:pt x="1405" y="65"/>
                      <a:pt x="1405" y="65"/>
                    </a:cubicBezTo>
                    <a:close/>
                    <a:moveTo>
                      <a:pt x="1746" y="117"/>
                    </a:moveTo>
                    <a:cubicBezTo>
                      <a:pt x="1747" y="117"/>
                      <a:pt x="1747" y="117"/>
                      <a:pt x="1747" y="117"/>
                    </a:cubicBezTo>
                    <a:cubicBezTo>
                      <a:pt x="1747" y="115"/>
                      <a:pt x="1747" y="115"/>
                      <a:pt x="1747" y="115"/>
                    </a:cubicBezTo>
                    <a:cubicBezTo>
                      <a:pt x="1747" y="114"/>
                      <a:pt x="1747" y="114"/>
                      <a:pt x="1747" y="114"/>
                    </a:cubicBezTo>
                    <a:cubicBezTo>
                      <a:pt x="1745" y="115"/>
                      <a:pt x="1745" y="115"/>
                      <a:pt x="1745" y="115"/>
                    </a:cubicBezTo>
                    <a:cubicBezTo>
                      <a:pt x="1745" y="116"/>
                      <a:pt x="1745" y="116"/>
                      <a:pt x="1745" y="116"/>
                    </a:cubicBezTo>
                    <a:cubicBezTo>
                      <a:pt x="1746" y="116"/>
                      <a:pt x="1746" y="116"/>
                      <a:pt x="1746" y="116"/>
                    </a:cubicBezTo>
                    <a:cubicBezTo>
                      <a:pt x="1746" y="117"/>
                      <a:pt x="1746" y="117"/>
                      <a:pt x="1746" y="117"/>
                    </a:cubicBezTo>
                    <a:close/>
                    <a:moveTo>
                      <a:pt x="1770" y="66"/>
                    </a:moveTo>
                    <a:cubicBezTo>
                      <a:pt x="1772" y="69"/>
                      <a:pt x="1772" y="69"/>
                      <a:pt x="1772" y="69"/>
                    </a:cubicBezTo>
                    <a:cubicBezTo>
                      <a:pt x="1772" y="71"/>
                      <a:pt x="1772" y="71"/>
                      <a:pt x="1772" y="71"/>
                    </a:cubicBezTo>
                    <a:cubicBezTo>
                      <a:pt x="1774" y="72"/>
                      <a:pt x="1774" y="72"/>
                      <a:pt x="1774" y="72"/>
                    </a:cubicBezTo>
                    <a:cubicBezTo>
                      <a:pt x="1774" y="71"/>
                      <a:pt x="1774" y="71"/>
                      <a:pt x="1774" y="71"/>
                    </a:cubicBezTo>
                    <a:cubicBezTo>
                      <a:pt x="1774" y="70"/>
                      <a:pt x="1774" y="70"/>
                      <a:pt x="1774" y="70"/>
                    </a:cubicBezTo>
                    <a:cubicBezTo>
                      <a:pt x="1773" y="67"/>
                      <a:pt x="1773" y="67"/>
                      <a:pt x="1773" y="67"/>
                    </a:cubicBezTo>
                    <a:cubicBezTo>
                      <a:pt x="1773" y="65"/>
                      <a:pt x="1773" y="65"/>
                      <a:pt x="1773" y="65"/>
                    </a:cubicBezTo>
                    <a:cubicBezTo>
                      <a:pt x="1772" y="65"/>
                      <a:pt x="1772" y="65"/>
                      <a:pt x="1772" y="65"/>
                    </a:cubicBezTo>
                    <a:cubicBezTo>
                      <a:pt x="1769" y="64"/>
                      <a:pt x="1769" y="64"/>
                      <a:pt x="1769" y="64"/>
                    </a:cubicBezTo>
                    <a:cubicBezTo>
                      <a:pt x="1768" y="63"/>
                      <a:pt x="1768" y="63"/>
                      <a:pt x="1768" y="63"/>
                    </a:cubicBezTo>
                    <a:cubicBezTo>
                      <a:pt x="1767" y="62"/>
                      <a:pt x="1767" y="62"/>
                      <a:pt x="1767" y="62"/>
                    </a:cubicBezTo>
                    <a:cubicBezTo>
                      <a:pt x="1767" y="63"/>
                      <a:pt x="1767" y="63"/>
                      <a:pt x="1767" y="63"/>
                    </a:cubicBezTo>
                    <a:cubicBezTo>
                      <a:pt x="1768" y="65"/>
                      <a:pt x="1768" y="65"/>
                      <a:pt x="1768" y="65"/>
                    </a:cubicBezTo>
                    <a:cubicBezTo>
                      <a:pt x="1770" y="66"/>
                      <a:pt x="1770" y="66"/>
                      <a:pt x="1770" y="66"/>
                    </a:cubicBezTo>
                    <a:close/>
                    <a:moveTo>
                      <a:pt x="1966" y="122"/>
                    </a:moveTo>
                    <a:cubicBezTo>
                      <a:pt x="1965" y="121"/>
                      <a:pt x="1965" y="121"/>
                      <a:pt x="1965" y="121"/>
                    </a:cubicBezTo>
                    <a:cubicBezTo>
                      <a:pt x="1964" y="121"/>
                      <a:pt x="1964" y="121"/>
                      <a:pt x="1964" y="121"/>
                    </a:cubicBezTo>
                    <a:cubicBezTo>
                      <a:pt x="1964" y="123"/>
                      <a:pt x="1964" y="123"/>
                      <a:pt x="1964" y="123"/>
                    </a:cubicBezTo>
                    <a:cubicBezTo>
                      <a:pt x="1965" y="123"/>
                      <a:pt x="1965" y="123"/>
                      <a:pt x="1965" y="123"/>
                    </a:cubicBezTo>
                    <a:cubicBezTo>
                      <a:pt x="1966" y="122"/>
                      <a:pt x="1966" y="122"/>
                      <a:pt x="1966" y="122"/>
                    </a:cubicBezTo>
                    <a:close/>
                    <a:moveTo>
                      <a:pt x="1832" y="129"/>
                    </a:moveTo>
                    <a:cubicBezTo>
                      <a:pt x="1831" y="130"/>
                      <a:pt x="1831" y="130"/>
                      <a:pt x="1831" y="130"/>
                    </a:cubicBezTo>
                    <a:cubicBezTo>
                      <a:pt x="1831" y="131"/>
                      <a:pt x="1831" y="131"/>
                      <a:pt x="1831" y="131"/>
                    </a:cubicBezTo>
                    <a:cubicBezTo>
                      <a:pt x="1830" y="131"/>
                      <a:pt x="1830" y="131"/>
                      <a:pt x="1830" y="131"/>
                    </a:cubicBezTo>
                    <a:cubicBezTo>
                      <a:pt x="1830" y="131"/>
                      <a:pt x="1829" y="132"/>
                      <a:pt x="1828" y="131"/>
                    </a:cubicBezTo>
                    <a:cubicBezTo>
                      <a:pt x="1830" y="133"/>
                      <a:pt x="1830" y="133"/>
                      <a:pt x="1830" y="133"/>
                    </a:cubicBezTo>
                    <a:cubicBezTo>
                      <a:pt x="1831" y="133"/>
                      <a:pt x="1831" y="133"/>
                      <a:pt x="1831" y="133"/>
                    </a:cubicBezTo>
                    <a:cubicBezTo>
                      <a:pt x="1832" y="132"/>
                      <a:pt x="1832" y="132"/>
                      <a:pt x="1832" y="132"/>
                    </a:cubicBezTo>
                    <a:cubicBezTo>
                      <a:pt x="1833" y="132"/>
                      <a:pt x="1833" y="132"/>
                      <a:pt x="1833" y="132"/>
                    </a:cubicBezTo>
                    <a:cubicBezTo>
                      <a:pt x="1832" y="131"/>
                      <a:pt x="1832" y="131"/>
                      <a:pt x="1832" y="131"/>
                    </a:cubicBezTo>
                    <a:cubicBezTo>
                      <a:pt x="1832" y="129"/>
                      <a:pt x="1832" y="129"/>
                      <a:pt x="1832" y="129"/>
                    </a:cubicBezTo>
                    <a:close/>
                    <a:moveTo>
                      <a:pt x="1564" y="152"/>
                    </a:moveTo>
                    <a:cubicBezTo>
                      <a:pt x="1563" y="152"/>
                      <a:pt x="1563" y="152"/>
                      <a:pt x="1563" y="152"/>
                    </a:cubicBezTo>
                    <a:cubicBezTo>
                      <a:pt x="1563" y="153"/>
                      <a:pt x="1563" y="153"/>
                      <a:pt x="1563" y="153"/>
                    </a:cubicBezTo>
                    <a:cubicBezTo>
                      <a:pt x="1563" y="154"/>
                      <a:pt x="1563" y="154"/>
                      <a:pt x="1563" y="154"/>
                    </a:cubicBezTo>
                    <a:cubicBezTo>
                      <a:pt x="1563" y="155"/>
                      <a:pt x="1563" y="155"/>
                      <a:pt x="1563" y="155"/>
                    </a:cubicBezTo>
                    <a:cubicBezTo>
                      <a:pt x="1564" y="155"/>
                      <a:pt x="1564" y="155"/>
                      <a:pt x="1564" y="155"/>
                    </a:cubicBezTo>
                    <a:cubicBezTo>
                      <a:pt x="1565" y="154"/>
                      <a:pt x="1565" y="154"/>
                      <a:pt x="1565" y="154"/>
                    </a:cubicBezTo>
                    <a:cubicBezTo>
                      <a:pt x="1565" y="153"/>
                      <a:pt x="1565" y="153"/>
                      <a:pt x="1565" y="153"/>
                    </a:cubicBezTo>
                    <a:cubicBezTo>
                      <a:pt x="1564" y="152"/>
                      <a:pt x="1564" y="152"/>
                      <a:pt x="1564" y="152"/>
                    </a:cubicBezTo>
                    <a:close/>
                    <a:moveTo>
                      <a:pt x="1503" y="243"/>
                    </a:moveTo>
                    <a:cubicBezTo>
                      <a:pt x="1503" y="244"/>
                      <a:pt x="1503" y="244"/>
                      <a:pt x="1503" y="244"/>
                    </a:cubicBezTo>
                    <a:cubicBezTo>
                      <a:pt x="1504" y="244"/>
                      <a:pt x="1504" y="244"/>
                      <a:pt x="1504" y="244"/>
                    </a:cubicBezTo>
                    <a:cubicBezTo>
                      <a:pt x="1505" y="243"/>
                      <a:pt x="1505" y="243"/>
                      <a:pt x="1505" y="243"/>
                    </a:cubicBezTo>
                    <a:cubicBezTo>
                      <a:pt x="1505" y="242"/>
                      <a:pt x="1505" y="242"/>
                      <a:pt x="1505" y="242"/>
                    </a:cubicBezTo>
                    <a:cubicBezTo>
                      <a:pt x="1504" y="241"/>
                      <a:pt x="1504" y="241"/>
                      <a:pt x="1504" y="241"/>
                    </a:cubicBezTo>
                    <a:cubicBezTo>
                      <a:pt x="1503" y="242"/>
                      <a:pt x="1503" y="242"/>
                      <a:pt x="1503" y="242"/>
                    </a:cubicBezTo>
                    <a:cubicBezTo>
                      <a:pt x="1503" y="243"/>
                      <a:pt x="1503" y="243"/>
                      <a:pt x="1503" y="243"/>
                    </a:cubicBezTo>
                    <a:close/>
                    <a:moveTo>
                      <a:pt x="1789" y="140"/>
                    </a:moveTo>
                    <a:cubicBezTo>
                      <a:pt x="1789" y="140"/>
                      <a:pt x="1789" y="140"/>
                      <a:pt x="1789" y="142"/>
                    </a:cubicBezTo>
                    <a:cubicBezTo>
                      <a:pt x="1789" y="142"/>
                      <a:pt x="1789" y="142"/>
                      <a:pt x="1788" y="143"/>
                    </a:cubicBezTo>
                    <a:cubicBezTo>
                      <a:pt x="1788" y="143"/>
                      <a:pt x="1788" y="143"/>
                      <a:pt x="1791" y="141"/>
                    </a:cubicBezTo>
                    <a:cubicBezTo>
                      <a:pt x="1791" y="141"/>
                      <a:pt x="1791" y="141"/>
                      <a:pt x="1789" y="140"/>
                    </a:cubicBezTo>
                    <a:close/>
                    <a:moveTo>
                      <a:pt x="1776" y="60"/>
                    </a:moveTo>
                    <a:cubicBezTo>
                      <a:pt x="1777" y="61"/>
                      <a:pt x="1777" y="61"/>
                      <a:pt x="1777" y="61"/>
                    </a:cubicBezTo>
                    <a:cubicBezTo>
                      <a:pt x="1776" y="61"/>
                      <a:pt x="1776" y="61"/>
                      <a:pt x="1776" y="61"/>
                    </a:cubicBezTo>
                    <a:cubicBezTo>
                      <a:pt x="1775" y="61"/>
                      <a:pt x="1775" y="61"/>
                      <a:pt x="1775" y="61"/>
                    </a:cubicBezTo>
                    <a:cubicBezTo>
                      <a:pt x="1776" y="63"/>
                      <a:pt x="1776" y="63"/>
                      <a:pt x="1776" y="63"/>
                    </a:cubicBezTo>
                    <a:cubicBezTo>
                      <a:pt x="1777" y="63"/>
                      <a:pt x="1777" y="63"/>
                      <a:pt x="1777" y="63"/>
                    </a:cubicBezTo>
                    <a:cubicBezTo>
                      <a:pt x="1777" y="64"/>
                      <a:pt x="1777" y="64"/>
                      <a:pt x="1777" y="64"/>
                    </a:cubicBezTo>
                    <a:cubicBezTo>
                      <a:pt x="1777" y="65"/>
                      <a:pt x="1777" y="65"/>
                      <a:pt x="1777" y="65"/>
                    </a:cubicBezTo>
                    <a:cubicBezTo>
                      <a:pt x="1778" y="66"/>
                      <a:pt x="1778" y="66"/>
                      <a:pt x="1778" y="66"/>
                    </a:cubicBezTo>
                    <a:cubicBezTo>
                      <a:pt x="1779" y="66"/>
                      <a:pt x="1779" y="66"/>
                      <a:pt x="1779" y="66"/>
                    </a:cubicBezTo>
                    <a:cubicBezTo>
                      <a:pt x="1780" y="67"/>
                      <a:pt x="1780" y="67"/>
                      <a:pt x="1780" y="67"/>
                    </a:cubicBezTo>
                    <a:cubicBezTo>
                      <a:pt x="1780" y="68"/>
                      <a:pt x="1780" y="68"/>
                      <a:pt x="1780" y="68"/>
                    </a:cubicBezTo>
                    <a:cubicBezTo>
                      <a:pt x="1781" y="68"/>
                      <a:pt x="1781" y="68"/>
                      <a:pt x="1781" y="68"/>
                    </a:cubicBezTo>
                    <a:cubicBezTo>
                      <a:pt x="1782" y="68"/>
                      <a:pt x="1782" y="68"/>
                      <a:pt x="1782" y="68"/>
                    </a:cubicBezTo>
                    <a:cubicBezTo>
                      <a:pt x="1781" y="69"/>
                      <a:pt x="1781" y="69"/>
                      <a:pt x="1781" y="69"/>
                    </a:cubicBezTo>
                    <a:cubicBezTo>
                      <a:pt x="1780" y="69"/>
                      <a:pt x="1780" y="69"/>
                      <a:pt x="1780" y="69"/>
                    </a:cubicBezTo>
                    <a:cubicBezTo>
                      <a:pt x="1780" y="71"/>
                      <a:pt x="1780" y="71"/>
                      <a:pt x="1780" y="71"/>
                    </a:cubicBezTo>
                    <a:cubicBezTo>
                      <a:pt x="1784" y="73"/>
                      <a:pt x="1784" y="73"/>
                      <a:pt x="1784" y="73"/>
                    </a:cubicBezTo>
                    <a:cubicBezTo>
                      <a:pt x="1786" y="74"/>
                      <a:pt x="1786" y="74"/>
                      <a:pt x="1786" y="74"/>
                    </a:cubicBezTo>
                    <a:cubicBezTo>
                      <a:pt x="1788" y="74"/>
                      <a:pt x="1788" y="74"/>
                      <a:pt x="1788" y="74"/>
                    </a:cubicBezTo>
                    <a:cubicBezTo>
                      <a:pt x="1789" y="75"/>
                      <a:pt x="1789" y="75"/>
                      <a:pt x="1789" y="75"/>
                    </a:cubicBezTo>
                    <a:cubicBezTo>
                      <a:pt x="1790" y="75"/>
                      <a:pt x="1790" y="75"/>
                      <a:pt x="1790" y="75"/>
                    </a:cubicBezTo>
                    <a:cubicBezTo>
                      <a:pt x="1790" y="77"/>
                      <a:pt x="1790" y="77"/>
                      <a:pt x="1790" y="77"/>
                    </a:cubicBezTo>
                    <a:cubicBezTo>
                      <a:pt x="1791" y="78"/>
                      <a:pt x="1791" y="78"/>
                      <a:pt x="1791" y="78"/>
                    </a:cubicBezTo>
                    <a:cubicBezTo>
                      <a:pt x="1793" y="78"/>
                      <a:pt x="1793" y="78"/>
                      <a:pt x="1793" y="78"/>
                    </a:cubicBezTo>
                    <a:cubicBezTo>
                      <a:pt x="1795" y="77"/>
                      <a:pt x="1795" y="77"/>
                      <a:pt x="1795" y="77"/>
                    </a:cubicBezTo>
                    <a:cubicBezTo>
                      <a:pt x="1797" y="77"/>
                      <a:pt x="1797" y="77"/>
                      <a:pt x="1797" y="77"/>
                    </a:cubicBezTo>
                    <a:cubicBezTo>
                      <a:pt x="1798" y="78"/>
                      <a:pt x="1798" y="78"/>
                      <a:pt x="1798" y="78"/>
                    </a:cubicBezTo>
                    <a:cubicBezTo>
                      <a:pt x="1799" y="78"/>
                      <a:pt x="1799" y="78"/>
                      <a:pt x="1799" y="78"/>
                    </a:cubicBezTo>
                    <a:cubicBezTo>
                      <a:pt x="1800" y="76"/>
                      <a:pt x="1800" y="76"/>
                      <a:pt x="1800" y="76"/>
                    </a:cubicBezTo>
                    <a:cubicBezTo>
                      <a:pt x="1800" y="75"/>
                      <a:pt x="1800" y="75"/>
                      <a:pt x="1800" y="75"/>
                    </a:cubicBezTo>
                    <a:cubicBezTo>
                      <a:pt x="1799" y="74"/>
                      <a:pt x="1799" y="74"/>
                      <a:pt x="1799" y="74"/>
                    </a:cubicBezTo>
                    <a:cubicBezTo>
                      <a:pt x="1799" y="73"/>
                      <a:pt x="1799" y="73"/>
                      <a:pt x="1799" y="73"/>
                    </a:cubicBezTo>
                    <a:cubicBezTo>
                      <a:pt x="1798" y="73"/>
                      <a:pt x="1798" y="73"/>
                      <a:pt x="1798" y="73"/>
                    </a:cubicBezTo>
                    <a:cubicBezTo>
                      <a:pt x="1797" y="72"/>
                      <a:pt x="1797" y="72"/>
                      <a:pt x="1797" y="72"/>
                    </a:cubicBezTo>
                    <a:cubicBezTo>
                      <a:pt x="1797" y="71"/>
                      <a:pt x="1797" y="71"/>
                      <a:pt x="1797" y="71"/>
                    </a:cubicBezTo>
                    <a:cubicBezTo>
                      <a:pt x="1798" y="71"/>
                      <a:pt x="1798" y="71"/>
                      <a:pt x="1798" y="71"/>
                    </a:cubicBezTo>
                    <a:cubicBezTo>
                      <a:pt x="1799" y="72"/>
                      <a:pt x="1799" y="72"/>
                      <a:pt x="1799" y="72"/>
                    </a:cubicBezTo>
                    <a:cubicBezTo>
                      <a:pt x="1800" y="72"/>
                      <a:pt x="1800" y="72"/>
                      <a:pt x="1800" y="72"/>
                    </a:cubicBezTo>
                    <a:cubicBezTo>
                      <a:pt x="1800" y="73"/>
                      <a:pt x="1800" y="73"/>
                      <a:pt x="1800" y="73"/>
                    </a:cubicBezTo>
                    <a:cubicBezTo>
                      <a:pt x="1800" y="74"/>
                      <a:pt x="1800" y="74"/>
                      <a:pt x="1800" y="74"/>
                    </a:cubicBezTo>
                    <a:cubicBezTo>
                      <a:pt x="1801" y="74"/>
                      <a:pt x="1801" y="74"/>
                      <a:pt x="1801" y="74"/>
                    </a:cubicBezTo>
                    <a:cubicBezTo>
                      <a:pt x="1802" y="72"/>
                      <a:pt x="1802" y="72"/>
                      <a:pt x="1802" y="72"/>
                    </a:cubicBezTo>
                    <a:cubicBezTo>
                      <a:pt x="1804" y="70"/>
                      <a:pt x="1804" y="70"/>
                      <a:pt x="1804" y="70"/>
                    </a:cubicBezTo>
                    <a:cubicBezTo>
                      <a:pt x="1806" y="68"/>
                      <a:pt x="1806" y="68"/>
                      <a:pt x="1806" y="68"/>
                    </a:cubicBezTo>
                    <a:cubicBezTo>
                      <a:pt x="1807" y="67"/>
                      <a:pt x="1807" y="67"/>
                      <a:pt x="1807" y="67"/>
                    </a:cubicBezTo>
                    <a:cubicBezTo>
                      <a:pt x="1808" y="66"/>
                      <a:pt x="1808" y="66"/>
                      <a:pt x="1808" y="66"/>
                    </a:cubicBezTo>
                    <a:cubicBezTo>
                      <a:pt x="1809" y="67"/>
                      <a:pt x="1809" y="67"/>
                      <a:pt x="1809" y="67"/>
                    </a:cubicBezTo>
                    <a:cubicBezTo>
                      <a:pt x="1808" y="68"/>
                      <a:pt x="1808" y="68"/>
                      <a:pt x="1808" y="68"/>
                    </a:cubicBezTo>
                    <a:cubicBezTo>
                      <a:pt x="1810" y="68"/>
                      <a:pt x="1810" y="68"/>
                      <a:pt x="1810" y="68"/>
                    </a:cubicBezTo>
                    <a:cubicBezTo>
                      <a:pt x="1811" y="68"/>
                      <a:pt x="1811" y="68"/>
                      <a:pt x="1811" y="68"/>
                    </a:cubicBezTo>
                    <a:cubicBezTo>
                      <a:pt x="1812" y="68"/>
                      <a:pt x="1812" y="68"/>
                      <a:pt x="1812" y="68"/>
                    </a:cubicBezTo>
                    <a:cubicBezTo>
                      <a:pt x="1812" y="67"/>
                      <a:pt x="1812" y="67"/>
                      <a:pt x="1812" y="67"/>
                    </a:cubicBezTo>
                    <a:cubicBezTo>
                      <a:pt x="1813" y="66"/>
                      <a:pt x="1813" y="66"/>
                      <a:pt x="1813" y="66"/>
                    </a:cubicBezTo>
                    <a:cubicBezTo>
                      <a:pt x="1814" y="65"/>
                      <a:pt x="1814" y="65"/>
                      <a:pt x="1814" y="65"/>
                    </a:cubicBezTo>
                    <a:cubicBezTo>
                      <a:pt x="1814" y="64"/>
                      <a:pt x="1814" y="64"/>
                      <a:pt x="1814" y="64"/>
                    </a:cubicBezTo>
                    <a:cubicBezTo>
                      <a:pt x="1812" y="64"/>
                      <a:pt x="1812" y="64"/>
                      <a:pt x="1812" y="64"/>
                    </a:cubicBezTo>
                    <a:cubicBezTo>
                      <a:pt x="1810" y="65"/>
                      <a:pt x="1810" y="65"/>
                      <a:pt x="1810" y="65"/>
                    </a:cubicBezTo>
                    <a:cubicBezTo>
                      <a:pt x="1809" y="64"/>
                      <a:pt x="1809" y="64"/>
                      <a:pt x="1809" y="64"/>
                    </a:cubicBezTo>
                    <a:cubicBezTo>
                      <a:pt x="1807" y="64"/>
                      <a:pt x="1807" y="64"/>
                      <a:pt x="1807" y="64"/>
                    </a:cubicBezTo>
                    <a:cubicBezTo>
                      <a:pt x="1806" y="63"/>
                      <a:pt x="1806" y="63"/>
                      <a:pt x="1806" y="63"/>
                    </a:cubicBezTo>
                    <a:cubicBezTo>
                      <a:pt x="1804" y="63"/>
                      <a:pt x="1804" y="63"/>
                      <a:pt x="1804" y="63"/>
                    </a:cubicBezTo>
                    <a:cubicBezTo>
                      <a:pt x="1804" y="62"/>
                      <a:pt x="1804" y="62"/>
                      <a:pt x="1804" y="62"/>
                    </a:cubicBezTo>
                    <a:cubicBezTo>
                      <a:pt x="1802" y="60"/>
                      <a:pt x="1802" y="60"/>
                      <a:pt x="1802" y="60"/>
                    </a:cubicBezTo>
                    <a:cubicBezTo>
                      <a:pt x="1801" y="59"/>
                      <a:pt x="1801" y="59"/>
                      <a:pt x="1801" y="59"/>
                    </a:cubicBezTo>
                    <a:cubicBezTo>
                      <a:pt x="1801" y="57"/>
                      <a:pt x="1801" y="57"/>
                      <a:pt x="1801" y="57"/>
                    </a:cubicBezTo>
                    <a:cubicBezTo>
                      <a:pt x="1800" y="56"/>
                      <a:pt x="1800" y="56"/>
                      <a:pt x="1800" y="56"/>
                    </a:cubicBezTo>
                    <a:cubicBezTo>
                      <a:pt x="1799" y="55"/>
                      <a:pt x="1799" y="55"/>
                      <a:pt x="1799" y="55"/>
                    </a:cubicBezTo>
                    <a:cubicBezTo>
                      <a:pt x="1799" y="54"/>
                      <a:pt x="1799" y="54"/>
                      <a:pt x="1799" y="54"/>
                    </a:cubicBezTo>
                    <a:cubicBezTo>
                      <a:pt x="1798" y="53"/>
                      <a:pt x="1798" y="53"/>
                      <a:pt x="1798" y="53"/>
                    </a:cubicBezTo>
                    <a:cubicBezTo>
                      <a:pt x="1799" y="52"/>
                      <a:pt x="1799" y="52"/>
                      <a:pt x="1799" y="52"/>
                    </a:cubicBezTo>
                    <a:cubicBezTo>
                      <a:pt x="1798" y="51"/>
                      <a:pt x="1798" y="51"/>
                      <a:pt x="1798" y="51"/>
                    </a:cubicBezTo>
                    <a:cubicBezTo>
                      <a:pt x="1799" y="51"/>
                      <a:pt x="1799" y="51"/>
                      <a:pt x="1799" y="51"/>
                    </a:cubicBezTo>
                    <a:cubicBezTo>
                      <a:pt x="1799" y="50"/>
                      <a:pt x="1799" y="50"/>
                      <a:pt x="1799" y="50"/>
                    </a:cubicBezTo>
                    <a:cubicBezTo>
                      <a:pt x="1798" y="49"/>
                      <a:pt x="1798" y="49"/>
                      <a:pt x="1798" y="49"/>
                    </a:cubicBezTo>
                    <a:cubicBezTo>
                      <a:pt x="1797" y="49"/>
                      <a:pt x="1797" y="49"/>
                      <a:pt x="1797" y="49"/>
                    </a:cubicBezTo>
                    <a:cubicBezTo>
                      <a:pt x="1795" y="49"/>
                      <a:pt x="1795" y="49"/>
                      <a:pt x="1795" y="49"/>
                    </a:cubicBezTo>
                    <a:cubicBezTo>
                      <a:pt x="1793" y="48"/>
                      <a:pt x="1793" y="48"/>
                      <a:pt x="1793" y="48"/>
                    </a:cubicBezTo>
                    <a:cubicBezTo>
                      <a:pt x="1792" y="47"/>
                      <a:pt x="1792" y="47"/>
                      <a:pt x="1792" y="47"/>
                    </a:cubicBezTo>
                    <a:cubicBezTo>
                      <a:pt x="1791" y="47"/>
                      <a:pt x="1791" y="47"/>
                      <a:pt x="1791" y="47"/>
                    </a:cubicBezTo>
                    <a:cubicBezTo>
                      <a:pt x="1790" y="47"/>
                      <a:pt x="1790" y="47"/>
                      <a:pt x="1790" y="47"/>
                    </a:cubicBezTo>
                    <a:cubicBezTo>
                      <a:pt x="1789" y="47"/>
                      <a:pt x="1789" y="47"/>
                      <a:pt x="1789" y="47"/>
                    </a:cubicBezTo>
                    <a:cubicBezTo>
                      <a:pt x="1791" y="49"/>
                      <a:pt x="1791" y="49"/>
                      <a:pt x="1791" y="49"/>
                    </a:cubicBezTo>
                    <a:cubicBezTo>
                      <a:pt x="1792" y="49"/>
                      <a:pt x="1792" y="49"/>
                      <a:pt x="1792" y="49"/>
                    </a:cubicBezTo>
                    <a:cubicBezTo>
                      <a:pt x="1793" y="50"/>
                      <a:pt x="1793" y="50"/>
                      <a:pt x="1793" y="50"/>
                    </a:cubicBezTo>
                    <a:cubicBezTo>
                      <a:pt x="1791" y="50"/>
                      <a:pt x="1791" y="50"/>
                      <a:pt x="1791" y="50"/>
                    </a:cubicBezTo>
                    <a:cubicBezTo>
                      <a:pt x="1790" y="50"/>
                      <a:pt x="1790" y="50"/>
                      <a:pt x="1790" y="50"/>
                    </a:cubicBezTo>
                    <a:cubicBezTo>
                      <a:pt x="1789" y="50"/>
                      <a:pt x="1789" y="50"/>
                      <a:pt x="1789" y="50"/>
                    </a:cubicBezTo>
                    <a:cubicBezTo>
                      <a:pt x="1789" y="52"/>
                      <a:pt x="1789" y="52"/>
                      <a:pt x="1789" y="52"/>
                    </a:cubicBezTo>
                    <a:cubicBezTo>
                      <a:pt x="1790" y="53"/>
                      <a:pt x="1790" y="53"/>
                      <a:pt x="1790" y="53"/>
                    </a:cubicBezTo>
                    <a:cubicBezTo>
                      <a:pt x="1791" y="55"/>
                      <a:pt x="1791" y="55"/>
                      <a:pt x="1791" y="55"/>
                    </a:cubicBezTo>
                    <a:cubicBezTo>
                      <a:pt x="1792" y="57"/>
                      <a:pt x="1792" y="57"/>
                      <a:pt x="1792" y="57"/>
                    </a:cubicBezTo>
                    <a:cubicBezTo>
                      <a:pt x="1793" y="58"/>
                      <a:pt x="1793" y="58"/>
                      <a:pt x="1793" y="58"/>
                    </a:cubicBezTo>
                    <a:cubicBezTo>
                      <a:pt x="1792" y="58"/>
                      <a:pt x="1792" y="58"/>
                      <a:pt x="1792" y="58"/>
                    </a:cubicBezTo>
                    <a:cubicBezTo>
                      <a:pt x="1791" y="58"/>
                      <a:pt x="1791" y="58"/>
                      <a:pt x="1791" y="58"/>
                    </a:cubicBezTo>
                    <a:cubicBezTo>
                      <a:pt x="1789" y="57"/>
                      <a:pt x="1789" y="57"/>
                      <a:pt x="1789" y="57"/>
                    </a:cubicBezTo>
                    <a:cubicBezTo>
                      <a:pt x="1789" y="55"/>
                      <a:pt x="1789" y="55"/>
                      <a:pt x="1789" y="55"/>
                    </a:cubicBezTo>
                    <a:cubicBezTo>
                      <a:pt x="1788" y="55"/>
                      <a:pt x="1788" y="55"/>
                      <a:pt x="1788" y="55"/>
                    </a:cubicBezTo>
                    <a:cubicBezTo>
                      <a:pt x="1787" y="55"/>
                      <a:pt x="1787" y="55"/>
                      <a:pt x="1787" y="55"/>
                    </a:cubicBezTo>
                    <a:cubicBezTo>
                      <a:pt x="1786" y="55"/>
                      <a:pt x="1786" y="55"/>
                      <a:pt x="1786" y="55"/>
                    </a:cubicBezTo>
                    <a:cubicBezTo>
                      <a:pt x="1785" y="55"/>
                      <a:pt x="1785" y="55"/>
                      <a:pt x="1785" y="55"/>
                    </a:cubicBezTo>
                    <a:cubicBezTo>
                      <a:pt x="1784" y="55"/>
                      <a:pt x="1784" y="55"/>
                      <a:pt x="1784" y="55"/>
                    </a:cubicBezTo>
                    <a:cubicBezTo>
                      <a:pt x="1784" y="53"/>
                      <a:pt x="1784" y="53"/>
                      <a:pt x="1784" y="53"/>
                    </a:cubicBezTo>
                    <a:cubicBezTo>
                      <a:pt x="1784" y="52"/>
                      <a:pt x="1784" y="52"/>
                      <a:pt x="1784" y="52"/>
                    </a:cubicBezTo>
                    <a:cubicBezTo>
                      <a:pt x="1783" y="52"/>
                      <a:pt x="1783" y="52"/>
                      <a:pt x="1783" y="52"/>
                    </a:cubicBezTo>
                    <a:cubicBezTo>
                      <a:pt x="1781" y="51"/>
                      <a:pt x="1781" y="51"/>
                      <a:pt x="1781" y="51"/>
                    </a:cubicBezTo>
                    <a:cubicBezTo>
                      <a:pt x="1779" y="51"/>
                      <a:pt x="1779" y="51"/>
                      <a:pt x="1779" y="51"/>
                    </a:cubicBezTo>
                    <a:cubicBezTo>
                      <a:pt x="1779" y="50"/>
                      <a:pt x="1779" y="50"/>
                      <a:pt x="1779" y="50"/>
                    </a:cubicBezTo>
                    <a:cubicBezTo>
                      <a:pt x="1778" y="49"/>
                      <a:pt x="1778" y="49"/>
                      <a:pt x="1778" y="49"/>
                    </a:cubicBezTo>
                    <a:cubicBezTo>
                      <a:pt x="1777" y="50"/>
                      <a:pt x="1777" y="50"/>
                      <a:pt x="1777" y="50"/>
                    </a:cubicBezTo>
                    <a:cubicBezTo>
                      <a:pt x="1776" y="51"/>
                      <a:pt x="1776" y="51"/>
                      <a:pt x="1776" y="51"/>
                    </a:cubicBezTo>
                    <a:cubicBezTo>
                      <a:pt x="1776" y="52"/>
                      <a:pt x="1776" y="52"/>
                      <a:pt x="1776" y="52"/>
                    </a:cubicBezTo>
                    <a:cubicBezTo>
                      <a:pt x="1775" y="53"/>
                      <a:pt x="1775" y="53"/>
                      <a:pt x="1775" y="53"/>
                    </a:cubicBezTo>
                    <a:cubicBezTo>
                      <a:pt x="1776" y="54"/>
                      <a:pt x="1776" y="54"/>
                      <a:pt x="1776" y="54"/>
                    </a:cubicBezTo>
                    <a:cubicBezTo>
                      <a:pt x="1775" y="56"/>
                      <a:pt x="1775" y="56"/>
                      <a:pt x="1775" y="56"/>
                    </a:cubicBezTo>
                    <a:cubicBezTo>
                      <a:pt x="1774" y="57"/>
                      <a:pt x="1774" y="57"/>
                      <a:pt x="1774" y="57"/>
                    </a:cubicBezTo>
                    <a:cubicBezTo>
                      <a:pt x="1774" y="58"/>
                      <a:pt x="1774" y="58"/>
                      <a:pt x="1774" y="58"/>
                    </a:cubicBezTo>
                    <a:cubicBezTo>
                      <a:pt x="1775" y="60"/>
                      <a:pt x="1775" y="60"/>
                      <a:pt x="1775" y="60"/>
                    </a:cubicBezTo>
                    <a:cubicBezTo>
                      <a:pt x="1776" y="60"/>
                      <a:pt x="1776" y="60"/>
                      <a:pt x="1776" y="60"/>
                    </a:cubicBezTo>
                    <a:close/>
                    <a:moveTo>
                      <a:pt x="1826" y="55"/>
                    </a:moveTo>
                    <a:cubicBezTo>
                      <a:pt x="1830" y="56"/>
                      <a:pt x="1830" y="56"/>
                      <a:pt x="1830" y="56"/>
                    </a:cubicBezTo>
                    <a:cubicBezTo>
                      <a:pt x="1834" y="57"/>
                      <a:pt x="1834" y="57"/>
                      <a:pt x="1834" y="57"/>
                    </a:cubicBezTo>
                    <a:cubicBezTo>
                      <a:pt x="1836" y="58"/>
                      <a:pt x="1836" y="58"/>
                      <a:pt x="1836" y="58"/>
                    </a:cubicBezTo>
                    <a:cubicBezTo>
                      <a:pt x="1838" y="58"/>
                      <a:pt x="1838" y="58"/>
                      <a:pt x="1838" y="58"/>
                    </a:cubicBezTo>
                    <a:cubicBezTo>
                      <a:pt x="1840" y="57"/>
                      <a:pt x="1840" y="57"/>
                      <a:pt x="1840" y="57"/>
                    </a:cubicBezTo>
                    <a:cubicBezTo>
                      <a:pt x="1841" y="58"/>
                      <a:pt x="1841" y="58"/>
                      <a:pt x="1841" y="58"/>
                    </a:cubicBezTo>
                    <a:cubicBezTo>
                      <a:pt x="1843" y="57"/>
                      <a:pt x="1843" y="57"/>
                      <a:pt x="1843" y="57"/>
                    </a:cubicBezTo>
                    <a:cubicBezTo>
                      <a:pt x="1845" y="56"/>
                      <a:pt x="1845" y="56"/>
                      <a:pt x="1845" y="56"/>
                    </a:cubicBezTo>
                    <a:cubicBezTo>
                      <a:pt x="1846" y="54"/>
                      <a:pt x="1846" y="54"/>
                      <a:pt x="1846" y="54"/>
                    </a:cubicBezTo>
                    <a:cubicBezTo>
                      <a:pt x="1846" y="53"/>
                      <a:pt x="1846" y="53"/>
                      <a:pt x="1846" y="53"/>
                    </a:cubicBezTo>
                    <a:cubicBezTo>
                      <a:pt x="1846" y="51"/>
                      <a:pt x="1846" y="51"/>
                      <a:pt x="1846" y="51"/>
                    </a:cubicBezTo>
                    <a:cubicBezTo>
                      <a:pt x="1845" y="51"/>
                      <a:pt x="1845" y="51"/>
                      <a:pt x="1845" y="51"/>
                    </a:cubicBezTo>
                    <a:cubicBezTo>
                      <a:pt x="1844" y="51"/>
                      <a:pt x="1844" y="51"/>
                      <a:pt x="1844" y="51"/>
                    </a:cubicBezTo>
                    <a:cubicBezTo>
                      <a:pt x="1844" y="50"/>
                      <a:pt x="1844" y="50"/>
                      <a:pt x="1844" y="50"/>
                    </a:cubicBezTo>
                    <a:cubicBezTo>
                      <a:pt x="1844" y="49"/>
                      <a:pt x="1844" y="49"/>
                      <a:pt x="1844" y="49"/>
                    </a:cubicBezTo>
                    <a:cubicBezTo>
                      <a:pt x="1843" y="48"/>
                      <a:pt x="1843" y="48"/>
                      <a:pt x="1843" y="48"/>
                    </a:cubicBezTo>
                    <a:cubicBezTo>
                      <a:pt x="1842" y="49"/>
                      <a:pt x="1842" y="49"/>
                      <a:pt x="1842" y="49"/>
                    </a:cubicBezTo>
                    <a:cubicBezTo>
                      <a:pt x="1840" y="48"/>
                      <a:pt x="1840" y="48"/>
                      <a:pt x="1840" y="48"/>
                    </a:cubicBezTo>
                    <a:cubicBezTo>
                      <a:pt x="1837" y="49"/>
                      <a:pt x="1837" y="49"/>
                      <a:pt x="1837" y="49"/>
                    </a:cubicBezTo>
                    <a:cubicBezTo>
                      <a:pt x="1835" y="50"/>
                      <a:pt x="1835" y="50"/>
                      <a:pt x="1835" y="50"/>
                    </a:cubicBezTo>
                    <a:cubicBezTo>
                      <a:pt x="1834" y="51"/>
                      <a:pt x="1834" y="51"/>
                      <a:pt x="1834" y="51"/>
                    </a:cubicBezTo>
                    <a:cubicBezTo>
                      <a:pt x="1834" y="50"/>
                      <a:pt x="1834" y="50"/>
                      <a:pt x="1834" y="50"/>
                    </a:cubicBezTo>
                    <a:cubicBezTo>
                      <a:pt x="1833" y="49"/>
                      <a:pt x="1833" y="49"/>
                      <a:pt x="1833" y="49"/>
                    </a:cubicBezTo>
                    <a:cubicBezTo>
                      <a:pt x="1832" y="49"/>
                      <a:pt x="1832" y="49"/>
                      <a:pt x="1832" y="49"/>
                    </a:cubicBezTo>
                    <a:cubicBezTo>
                      <a:pt x="1831" y="49"/>
                      <a:pt x="1831" y="49"/>
                      <a:pt x="1831" y="49"/>
                    </a:cubicBezTo>
                    <a:cubicBezTo>
                      <a:pt x="1829" y="49"/>
                      <a:pt x="1829" y="49"/>
                      <a:pt x="1829" y="49"/>
                    </a:cubicBezTo>
                    <a:cubicBezTo>
                      <a:pt x="1828" y="49"/>
                      <a:pt x="1828" y="49"/>
                      <a:pt x="1828" y="49"/>
                    </a:cubicBezTo>
                    <a:cubicBezTo>
                      <a:pt x="1828" y="50"/>
                      <a:pt x="1828" y="50"/>
                      <a:pt x="1828" y="50"/>
                    </a:cubicBezTo>
                    <a:cubicBezTo>
                      <a:pt x="1827" y="51"/>
                      <a:pt x="1827" y="51"/>
                      <a:pt x="1827" y="51"/>
                    </a:cubicBezTo>
                    <a:cubicBezTo>
                      <a:pt x="1825" y="50"/>
                      <a:pt x="1825" y="50"/>
                      <a:pt x="1825" y="50"/>
                    </a:cubicBezTo>
                    <a:cubicBezTo>
                      <a:pt x="1824" y="50"/>
                      <a:pt x="1824" y="50"/>
                      <a:pt x="1824" y="50"/>
                    </a:cubicBezTo>
                    <a:cubicBezTo>
                      <a:pt x="1824" y="49"/>
                      <a:pt x="1824" y="49"/>
                      <a:pt x="1824" y="49"/>
                    </a:cubicBezTo>
                    <a:cubicBezTo>
                      <a:pt x="1823" y="48"/>
                      <a:pt x="1823" y="48"/>
                      <a:pt x="1823" y="48"/>
                    </a:cubicBezTo>
                    <a:cubicBezTo>
                      <a:pt x="1823" y="51"/>
                      <a:pt x="1823" y="51"/>
                      <a:pt x="1823" y="51"/>
                    </a:cubicBezTo>
                    <a:cubicBezTo>
                      <a:pt x="1825" y="54"/>
                      <a:pt x="1825" y="54"/>
                      <a:pt x="1825" y="54"/>
                    </a:cubicBezTo>
                    <a:cubicBezTo>
                      <a:pt x="1826" y="55"/>
                      <a:pt x="1826" y="55"/>
                      <a:pt x="1826" y="55"/>
                    </a:cubicBezTo>
                    <a:close/>
                    <a:moveTo>
                      <a:pt x="1947" y="101"/>
                    </a:moveTo>
                    <a:cubicBezTo>
                      <a:pt x="1946" y="100"/>
                      <a:pt x="1946" y="100"/>
                      <a:pt x="1946" y="100"/>
                    </a:cubicBezTo>
                    <a:cubicBezTo>
                      <a:pt x="1945" y="100"/>
                      <a:pt x="1945" y="100"/>
                      <a:pt x="1945" y="100"/>
                    </a:cubicBezTo>
                    <a:cubicBezTo>
                      <a:pt x="1945" y="101"/>
                      <a:pt x="1945" y="101"/>
                      <a:pt x="1945" y="101"/>
                    </a:cubicBezTo>
                    <a:cubicBezTo>
                      <a:pt x="1946" y="102"/>
                      <a:pt x="1946" y="102"/>
                      <a:pt x="1946" y="102"/>
                    </a:cubicBezTo>
                    <a:cubicBezTo>
                      <a:pt x="1947" y="101"/>
                      <a:pt x="1947" y="101"/>
                      <a:pt x="1947" y="101"/>
                    </a:cubicBezTo>
                    <a:close/>
                    <a:moveTo>
                      <a:pt x="1956" y="100"/>
                    </a:moveTo>
                    <a:cubicBezTo>
                      <a:pt x="1955" y="100"/>
                      <a:pt x="1955" y="100"/>
                      <a:pt x="1955" y="100"/>
                    </a:cubicBezTo>
                    <a:cubicBezTo>
                      <a:pt x="1955" y="101"/>
                      <a:pt x="1955" y="101"/>
                      <a:pt x="1955" y="101"/>
                    </a:cubicBezTo>
                    <a:cubicBezTo>
                      <a:pt x="1956" y="101"/>
                      <a:pt x="1956" y="101"/>
                      <a:pt x="1956" y="101"/>
                    </a:cubicBezTo>
                    <a:cubicBezTo>
                      <a:pt x="1956" y="100"/>
                      <a:pt x="1956" y="100"/>
                      <a:pt x="1956" y="100"/>
                    </a:cubicBezTo>
                    <a:close/>
                    <a:moveTo>
                      <a:pt x="1820" y="96"/>
                    </a:moveTo>
                    <a:cubicBezTo>
                      <a:pt x="1822" y="95"/>
                      <a:pt x="1822" y="95"/>
                      <a:pt x="1822" y="95"/>
                    </a:cubicBezTo>
                    <a:cubicBezTo>
                      <a:pt x="1824" y="95"/>
                      <a:pt x="1824" y="95"/>
                      <a:pt x="1824" y="95"/>
                    </a:cubicBezTo>
                    <a:cubicBezTo>
                      <a:pt x="1827" y="95"/>
                      <a:pt x="1827" y="95"/>
                      <a:pt x="1827" y="95"/>
                    </a:cubicBezTo>
                    <a:cubicBezTo>
                      <a:pt x="1828" y="95"/>
                      <a:pt x="1828" y="95"/>
                      <a:pt x="1828" y="95"/>
                    </a:cubicBezTo>
                    <a:cubicBezTo>
                      <a:pt x="1831" y="95"/>
                      <a:pt x="1831" y="95"/>
                      <a:pt x="1831" y="95"/>
                    </a:cubicBezTo>
                    <a:cubicBezTo>
                      <a:pt x="1832" y="94"/>
                      <a:pt x="1832" y="94"/>
                      <a:pt x="1832" y="94"/>
                    </a:cubicBezTo>
                    <a:cubicBezTo>
                      <a:pt x="1834" y="94"/>
                      <a:pt x="1834" y="94"/>
                      <a:pt x="1834" y="94"/>
                    </a:cubicBezTo>
                    <a:cubicBezTo>
                      <a:pt x="1836" y="94"/>
                      <a:pt x="1836" y="94"/>
                      <a:pt x="1836" y="94"/>
                    </a:cubicBezTo>
                    <a:cubicBezTo>
                      <a:pt x="1837" y="93"/>
                      <a:pt x="1837" y="93"/>
                      <a:pt x="1837" y="93"/>
                    </a:cubicBezTo>
                    <a:cubicBezTo>
                      <a:pt x="1836" y="92"/>
                      <a:pt x="1836" y="92"/>
                      <a:pt x="1836" y="92"/>
                    </a:cubicBezTo>
                    <a:cubicBezTo>
                      <a:pt x="1835" y="91"/>
                      <a:pt x="1835" y="91"/>
                      <a:pt x="1835" y="91"/>
                    </a:cubicBezTo>
                    <a:cubicBezTo>
                      <a:pt x="1834" y="89"/>
                      <a:pt x="1834" y="89"/>
                      <a:pt x="1834" y="89"/>
                    </a:cubicBezTo>
                    <a:cubicBezTo>
                      <a:pt x="1831" y="87"/>
                      <a:pt x="1831" y="87"/>
                      <a:pt x="1831" y="87"/>
                    </a:cubicBezTo>
                    <a:cubicBezTo>
                      <a:pt x="1829" y="87"/>
                      <a:pt x="1829" y="87"/>
                      <a:pt x="1829" y="87"/>
                    </a:cubicBezTo>
                    <a:cubicBezTo>
                      <a:pt x="1828" y="87"/>
                      <a:pt x="1828" y="87"/>
                      <a:pt x="1828" y="87"/>
                    </a:cubicBezTo>
                    <a:cubicBezTo>
                      <a:pt x="1826" y="85"/>
                      <a:pt x="1826" y="85"/>
                      <a:pt x="1826" y="85"/>
                    </a:cubicBezTo>
                    <a:cubicBezTo>
                      <a:pt x="1825" y="85"/>
                      <a:pt x="1825" y="85"/>
                      <a:pt x="1825" y="85"/>
                    </a:cubicBezTo>
                    <a:cubicBezTo>
                      <a:pt x="1824" y="86"/>
                      <a:pt x="1824" y="86"/>
                      <a:pt x="1824" y="86"/>
                    </a:cubicBezTo>
                    <a:cubicBezTo>
                      <a:pt x="1823" y="85"/>
                      <a:pt x="1823" y="85"/>
                      <a:pt x="1823" y="85"/>
                    </a:cubicBezTo>
                    <a:cubicBezTo>
                      <a:pt x="1822" y="85"/>
                      <a:pt x="1822" y="85"/>
                      <a:pt x="1822" y="85"/>
                    </a:cubicBezTo>
                    <a:cubicBezTo>
                      <a:pt x="1821" y="87"/>
                      <a:pt x="1821" y="87"/>
                      <a:pt x="1821" y="87"/>
                    </a:cubicBezTo>
                    <a:cubicBezTo>
                      <a:pt x="1819" y="89"/>
                      <a:pt x="1819" y="89"/>
                      <a:pt x="1819" y="89"/>
                    </a:cubicBezTo>
                    <a:cubicBezTo>
                      <a:pt x="1820" y="90"/>
                      <a:pt x="1820" y="90"/>
                      <a:pt x="1820" y="90"/>
                    </a:cubicBezTo>
                    <a:cubicBezTo>
                      <a:pt x="1820" y="93"/>
                      <a:pt x="1820" y="93"/>
                      <a:pt x="1820" y="93"/>
                    </a:cubicBezTo>
                    <a:cubicBezTo>
                      <a:pt x="1819" y="96"/>
                      <a:pt x="1819" y="96"/>
                      <a:pt x="1819" y="96"/>
                    </a:cubicBezTo>
                    <a:cubicBezTo>
                      <a:pt x="1818" y="97"/>
                      <a:pt x="1818" y="97"/>
                      <a:pt x="1818" y="97"/>
                    </a:cubicBezTo>
                    <a:cubicBezTo>
                      <a:pt x="1818" y="98"/>
                      <a:pt x="1818" y="98"/>
                      <a:pt x="1818" y="98"/>
                    </a:cubicBezTo>
                    <a:cubicBezTo>
                      <a:pt x="1819" y="97"/>
                      <a:pt x="1819" y="97"/>
                      <a:pt x="1819" y="97"/>
                    </a:cubicBezTo>
                    <a:cubicBezTo>
                      <a:pt x="1820" y="96"/>
                      <a:pt x="1820" y="96"/>
                      <a:pt x="1820" y="96"/>
                    </a:cubicBezTo>
                    <a:close/>
                    <a:moveTo>
                      <a:pt x="1951" y="99"/>
                    </a:moveTo>
                    <a:cubicBezTo>
                      <a:pt x="1950" y="99"/>
                      <a:pt x="1950" y="99"/>
                      <a:pt x="1950" y="99"/>
                    </a:cubicBezTo>
                    <a:cubicBezTo>
                      <a:pt x="1950" y="100"/>
                      <a:pt x="1950" y="100"/>
                      <a:pt x="1950" y="100"/>
                    </a:cubicBezTo>
                    <a:cubicBezTo>
                      <a:pt x="1951" y="100"/>
                      <a:pt x="1951" y="100"/>
                      <a:pt x="1951" y="100"/>
                    </a:cubicBezTo>
                    <a:cubicBezTo>
                      <a:pt x="1951" y="99"/>
                      <a:pt x="1951" y="99"/>
                      <a:pt x="1951" y="99"/>
                    </a:cubicBezTo>
                    <a:close/>
                    <a:moveTo>
                      <a:pt x="1814" y="62"/>
                    </a:moveTo>
                    <a:cubicBezTo>
                      <a:pt x="1814" y="62"/>
                      <a:pt x="1814" y="62"/>
                      <a:pt x="1815" y="63"/>
                    </a:cubicBezTo>
                    <a:cubicBezTo>
                      <a:pt x="1815" y="63"/>
                      <a:pt x="1815" y="63"/>
                      <a:pt x="1816" y="62"/>
                    </a:cubicBezTo>
                    <a:cubicBezTo>
                      <a:pt x="1816" y="62"/>
                      <a:pt x="1816" y="62"/>
                      <a:pt x="1817" y="60"/>
                    </a:cubicBezTo>
                    <a:cubicBezTo>
                      <a:pt x="1817" y="60"/>
                      <a:pt x="1817" y="60"/>
                      <a:pt x="1817" y="59"/>
                    </a:cubicBezTo>
                    <a:cubicBezTo>
                      <a:pt x="1817" y="59"/>
                      <a:pt x="1817" y="59"/>
                      <a:pt x="1817" y="58"/>
                    </a:cubicBezTo>
                    <a:cubicBezTo>
                      <a:pt x="1817" y="58"/>
                      <a:pt x="1817" y="58"/>
                      <a:pt x="1817" y="56"/>
                    </a:cubicBezTo>
                    <a:cubicBezTo>
                      <a:pt x="1817" y="56"/>
                      <a:pt x="1817" y="56"/>
                      <a:pt x="1815" y="56"/>
                    </a:cubicBezTo>
                    <a:cubicBezTo>
                      <a:pt x="1815" y="56"/>
                      <a:pt x="1815" y="56"/>
                      <a:pt x="1814" y="54"/>
                    </a:cubicBezTo>
                    <a:cubicBezTo>
                      <a:pt x="1814" y="54"/>
                      <a:pt x="1814" y="54"/>
                      <a:pt x="1814" y="53"/>
                    </a:cubicBezTo>
                    <a:cubicBezTo>
                      <a:pt x="1814" y="53"/>
                      <a:pt x="1814" y="53"/>
                      <a:pt x="1815" y="52"/>
                    </a:cubicBezTo>
                    <a:cubicBezTo>
                      <a:pt x="1815" y="52"/>
                      <a:pt x="1815" y="52"/>
                      <a:pt x="1816" y="52"/>
                    </a:cubicBezTo>
                    <a:cubicBezTo>
                      <a:pt x="1816" y="52"/>
                      <a:pt x="1816" y="52"/>
                      <a:pt x="1816" y="51"/>
                    </a:cubicBezTo>
                    <a:cubicBezTo>
                      <a:pt x="1816" y="51"/>
                      <a:pt x="1816" y="51"/>
                      <a:pt x="1813" y="50"/>
                    </a:cubicBezTo>
                    <a:cubicBezTo>
                      <a:pt x="1813" y="50"/>
                      <a:pt x="1813" y="50"/>
                      <a:pt x="1810" y="50"/>
                    </a:cubicBezTo>
                    <a:cubicBezTo>
                      <a:pt x="1810" y="50"/>
                      <a:pt x="1810" y="50"/>
                      <a:pt x="1809" y="50"/>
                    </a:cubicBezTo>
                    <a:cubicBezTo>
                      <a:pt x="1809" y="50"/>
                      <a:pt x="1809" y="50"/>
                      <a:pt x="1808" y="50"/>
                    </a:cubicBezTo>
                    <a:cubicBezTo>
                      <a:pt x="1808" y="50"/>
                      <a:pt x="1808" y="50"/>
                      <a:pt x="1805" y="48"/>
                    </a:cubicBezTo>
                    <a:cubicBezTo>
                      <a:pt x="1805" y="48"/>
                      <a:pt x="1805" y="48"/>
                      <a:pt x="1803" y="48"/>
                    </a:cubicBezTo>
                    <a:cubicBezTo>
                      <a:pt x="1803" y="48"/>
                      <a:pt x="1803" y="48"/>
                      <a:pt x="1801" y="48"/>
                    </a:cubicBezTo>
                    <a:cubicBezTo>
                      <a:pt x="1801" y="48"/>
                      <a:pt x="1801" y="48"/>
                      <a:pt x="1799" y="48"/>
                    </a:cubicBezTo>
                    <a:cubicBezTo>
                      <a:pt x="1799" y="48"/>
                      <a:pt x="1799" y="48"/>
                      <a:pt x="1800" y="50"/>
                    </a:cubicBezTo>
                    <a:cubicBezTo>
                      <a:pt x="1800" y="50"/>
                      <a:pt x="1800" y="50"/>
                      <a:pt x="1801" y="51"/>
                    </a:cubicBezTo>
                    <a:cubicBezTo>
                      <a:pt x="1801" y="51"/>
                      <a:pt x="1801" y="51"/>
                      <a:pt x="1802" y="51"/>
                    </a:cubicBezTo>
                    <a:cubicBezTo>
                      <a:pt x="1802" y="51"/>
                      <a:pt x="1802" y="51"/>
                      <a:pt x="1802" y="52"/>
                    </a:cubicBezTo>
                    <a:cubicBezTo>
                      <a:pt x="1802" y="52"/>
                      <a:pt x="1802" y="52"/>
                      <a:pt x="1803" y="53"/>
                    </a:cubicBezTo>
                    <a:cubicBezTo>
                      <a:pt x="1803" y="53"/>
                      <a:pt x="1803" y="53"/>
                      <a:pt x="1804" y="54"/>
                    </a:cubicBezTo>
                    <a:cubicBezTo>
                      <a:pt x="1804" y="54"/>
                      <a:pt x="1804" y="54"/>
                      <a:pt x="1803" y="55"/>
                    </a:cubicBezTo>
                    <a:cubicBezTo>
                      <a:pt x="1803" y="55"/>
                      <a:pt x="1803" y="55"/>
                      <a:pt x="1803" y="56"/>
                    </a:cubicBezTo>
                    <a:cubicBezTo>
                      <a:pt x="1803" y="56"/>
                      <a:pt x="1803" y="56"/>
                      <a:pt x="1803" y="57"/>
                    </a:cubicBezTo>
                    <a:cubicBezTo>
                      <a:pt x="1803" y="57"/>
                      <a:pt x="1803" y="57"/>
                      <a:pt x="1803" y="59"/>
                    </a:cubicBezTo>
                    <a:cubicBezTo>
                      <a:pt x="1803" y="59"/>
                      <a:pt x="1803" y="59"/>
                      <a:pt x="1806" y="61"/>
                    </a:cubicBezTo>
                    <a:cubicBezTo>
                      <a:pt x="1806" y="61"/>
                      <a:pt x="1806" y="61"/>
                      <a:pt x="1807" y="62"/>
                    </a:cubicBezTo>
                    <a:cubicBezTo>
                      <a:pt x="1807" y="62"/>
                      <a:pt x="1807" y="62"/>
                      <a:pt x="1810" y="64"/>
                    </a:cubicBezTo>
                    <a:cubicBezTo>
                      <a:pt x="1810" y="64"/>
                      <a:pt x="1810" y="64"/>
                      <a:pt x="1812" y="64"/>
                    </a:cubicBezTo>
                    <a:cubicBezTo>
                      <a:pt x="1812" y="64"/>
                      <a:pt x="1812" y="64"/>
                      <a:pt x="1813" y="63"/>
                    </a:cubicBezTo>
                    <a:cubicBezTo>
                      <a:pt x="1813" y="63"/>
                      <a:pt x="1813" y="63"/>
                      <a:pt x="1814" y="62"/>
                    </a:cubicBezTo>
                    <a:close/>
                    <a:moveTo>
                      <a:pt x="1968" y="125"/>
                    </a:moveTo>
                    <a:cubicBezTo>
                      <a:pt x="1969" y="124"/>
                      <a:pt x="1969" y="124"/>
                      <a:pt x="1969" y="124"/>
                    </a:cubicBezTo>
                    <a:cubicBezTo>
                      <a:pt x="1968" y="123"/>
                      <a:pt x="1968" y="123"/>
                      <a:pt x="1968" y="123"/>
                    </a:cubicBezTo>
                    <a:cubicBezTo>
                      <a:pt x="1967" y="122"/>
                      <a:pt x="1967" y="122"/>
                      <a:pt x="1967" y="122"/>
                    </a:cubicBezTo>
                    <a:cubicBezTo>
                      <a:pt x="1968" y="124"/>
                      <a:pt x="1968" y="124"/>
                      <a:pt x="1968" y="124"/>
                    </a:cubicBezTo>
                    <a:cubicBezTo>
                      <a:pt x="1968" y="125"/>
                      <a:pt x="1968" y="125"/>
                      <a:pt x="1968" y="125"/>
                    </a:cubicBezTo>
                    <a:close/>
                    <a:moveTo>
                      <a:pt x="1811" y="25"/>
                    </a:moveTo>
                    <a:cubicBezTo>
                      <a:pt x="1811" y="25"/>
                      <a:pt x="1811" y="25"/>
                      <a:pt x="1812" y="25"/>
                    </a:cubicBezTo>
                    <a:cubicBezTo>
                      <a:pt x="1812" y="25"/>
                      <a:pt x="1812" y="25"/>
                      <a:pt x="1812" y="24"/>
                    </a:cubicBezTo>
                    <a:cubicBezTo>
                      <a:pt x="1812" y="24"/>
                      <a:pt x="1812" y="24"/>
                      <a:pt x="1812" y="23"/>
                    </a:cubicBezTo>
                    <a:cubicBezTo>
                      <a:pt x="1812" y="23"/>
                      <a:pt x="1812" y="23"/>
                      <a:pt x="1810" y="25"/>
                    </a:cubicBezTo>
                    <a:cubicBezTo>
                      <a:pt x="1810" y="25"/>
                      <a:pt x="1810" y="25"/>
                      <a:pt x="1809" y="27"/>
                    </a:cubicBezTo>
                    <a:cubicBezTo>
                      <a:pt x="1809" y="27"/>
                      <a:pt x="1809" y="27"/>
                      <a:pt x="1811" y="26"/>
                    </a:cubicBezTo>
                    <a:cubicBezTo>
                      <a:pt x="1811" y="26"/>
                      <a:pt x="1811" y="26"/>
                      <a:pt x="1811" y="25"/>
                    </a:cubicBezTo>
                    <a:close/>
                    <a:moveTo>
                      <a:pt x="1812" y="86"/>
                    </a:moveTo>
                    <a:cubicBezTo>
                      <a:pt x="1814" y="88"/>
                      <a:pt x="1814" y="88"/>
                      <a:pt x="1814" y="88"/>
                    </a:cubicBezTo>
                    <a:cubicBezTo>
                      <a:pt x="1815" y="89"/>
                      <a:pt x="1815" y="89"/>
                      <a:pt x="1815" y="89"/>
                    </a:cubicBezTo>
                    <a:cubicBezTo>
                      <a:pt x="1815" y="88"/>
                      <a:pt x="1815" y="88"/>
                      <a:pt x="1815" y="88"/>
                    </a:cubicBezTo>
                    <a:cubicBezTo>
                      <a:pt x="1816" y="86"/>
                      <a:pt x="1816" y="86"/>
                      <a:pt x="1816" y="86"/>
                    </a:cubicBezTo>
                    <a:cubicBezTo>
                      <a:pt x="1816" y="85"/>
                      <a:pt x="1816" y="85"/>
                      <a:pt x="1816" y="85"/>
                    </a:cubicBezTo>
                    <a:cubicBezTo>
                      <a:pt x="1816" y="84"/>
                      <a:pt x="1816" y="84"/>
                      <a:pt x="1816" y="84"/>
                    </a:cubicBezTo>
                    <a:cubicBezTo>
                      <a:pt x="1814" y="82"/>
                      <a:pt x="1814" y="82"/>
                      <a:pt x="1814" y="82"/>
                    </a:cubicBezTo>
                    <a:cubicBezTo>
                      <a:pt x="1814" y="81"/>
                      <a:pt x="1814" y="81"/>
                      <a:pt x="1814" y="81"/>
                    </a:cubicBezTo>
                    <a:cubicBezTo>
                      <a:pt x="1813" y="81"/>
                      <a:pt x="1813" y="81"/>
                      <a:pt x="1813" y="81"/>
                    </a:cubicBezTo>
                    <a:cubicBezTo>
                      <a:pt x="1811" y="81"/>
                      <a:pt x="1811" y="81"/>
                      <a:pt x="1811" y="81"/>
                    </a:cubicBezTo>
                    <a:cubicBezTo>
                      <a:pt x="1810" y="82"/>
                      <a:pt x="1810" y="82"/>
                      <a:pt x="1810" y="82"/>
                    </a:cubicBezTo>
                    <a:cubicBezTo>
                      <a:pt x="1810" y="83"/>
                      <a:pt x="1810" y="83"/>
                      <a:pt x="1810" y="83"/>
                    </a:cubicBezTo>
                    <a:cubicBezTo>
                      <a:pt x="1811" y="85"/>
                      <a:pt x="1811" y="85"/>
                      <a:pt x="1811" y="85"/>
                    </a:cubicBezTo>
                    <a:cubicBezTo>
                      <a:pt x="1811" y="86"/>
                      <a:pt x="1811" y="86"/>
                      <a:pt x="1811" y="86"/>
                    </a:cubicBezTo>
                    <a:cubicBezTo>
                      <a:pt x="1812" y="86"/>
                      <a:pt x="1812" y="86"/>
                      <a:pt x="1812" y="86"/>
                    </a:cubicBezTo>
                    <a:close/>
                    <a:moveTo>
                      <a:pt x="1793" y="93"/>
                    </a:moveTo>
                    <a:cubicBezTo>
                      <a:pt x="1791" y="93"/>
                      <a:pt x="1791" y="93"/>
                      <a:pt x="1791" y="93"/>
                    </a:cubicBezTo>
                    <a:cubicBezTo>
                      <a:pt x="1790" y="92"/>
                      <a:pt x="1790" y="92"/>
                      <a:pt x="1790" y="92"/>
                    </a:cubicBezTo>
                    <a:cubicBezTo>
                      <a:pt x="1789" y="91"/>
                      <a:pt x="1789" y="91"/>
                      <a:pt x="1789" y="91"/>
                    </a:cubicBezTo>
                    <a:cubicBezTo>
                      <a:pt x="1788" y="92"/>
                      <a:pt x="1788" y="92"/>
                      <a:pt x="1788" y="92"/>
                    </a:cubicBezTo>
                    <a:cubicBezTo>
                      <a:pt x="1789" y="93"/>
                      <a:pt x="1789" y="93"/>
                      <a:pt x="1789" y="93"/>
                    </a:cubicBezTo>
                    <a:cubicBezTo>
                      <a:pt x="1790" y="94"/>
                      <a:pt x="1790" y="94"/>
                      <a:pt x="1790" y="94"/>
                    </a:cubicBezTo>
                    <a:cubicBezTo>
                      <a:pt x="1791" y="94"/>
                      <a:pt x="1791" y="94"/>
                      <a:pt x="1791" y="94"/>
                    </a:cubicBezTo>
                    <a:cubicBezTo>
                      <a:pt x="1792" y="95"/>
                      <a:pt x="1792" y="95"/>
                      <a:pt x="1792" y="95"/>
                    </a:cubicBezTo>
                    <a:cubicBezTo>
                      <a:pt x="1794" y="95"/>
                      <a:pt x="1794" y="95"/>
                      <a:pt x="1794" y="95"/>
                    </a:cubicBezTo>
                    <a:cubicBezTo>
                      <a:pt x="1795" y="96"/>
                      <a:pt x="1795" y="96"/>
                      <a:pt x="1795" y="96"/>
                    </a:cubicBezTo>
                    <a:cubicBezTo>
                      <a:pt x="1796" y="96"/>
                      <a:pt x="1796" y="96"/>
                      <a:pt x="1796" y="96"/>
                    </a:cubicBezTo>
                    <a:cubicBezTo>
                      <a:pt x="1796" y="95"/>
                      <a:pt x="1796" y="95"/>
                      <a:pt x="1796" y="95"/>
                    </a:cubicBezTo>
                    <a:cubicBezTo>
                      <a:pt x="1794" y="93"/>
                      <a:pt x="1794" y="93"/>
                      <a:pt x="1794" y="93"/>
                    </a:cubicBezTo>
                    <a:cubicBezTo>
                      <a:pt x="1793" y="93"/>
                      <a:pt x="1793" y="93"/>
                      <a:pt x="1793" y="93"/>
                    </a:cubicBezTo>
                    <a:close/>
                    <a:moveTo>
                      <a:pt x="2004" y="285"/>
                    </a:moveTo>
                    <a:cubicBezTo>
                      <a:pt x="2004" y="284"/>
                      <a:pt x="2004" y="284"/>
                      <a:pt x="2004" y="284"/>
                    </a:cubicBezTo>
                    <a:cubicBezTo>
                      <a:pt x="2003" y="284"/>
                      <a:pt x="2003" y="284"/>
                      <a:pt x="2003" y="284"/>
                    </a:cubicBezTo>
                    <a:cubicBezTo>
                      <a:pt x="2002" y="285"/>
                      <a:pt x="2002" y="285"/>
                      <a:pt x="2002" y="285"/>
                    </a:cubicBezTo>
                    <a:cubicBezTo>
                      <a:pt x="2002" y="286"/>
                      <a:pt x="2002" y="286"/>
                      <a:pt x="2002" y="286"/>
                    </a:cubicBezTo>
                    <a:cubicBezTo>
                      <a:pt x="2003" y="286"/>
                      <a:pt x="2003" y="286"/>
                      <a:pt x="2003" y="286"/>
                    </a:cubicBezTo>
                    <a:cubicBezTo>
                      <a:pt x="2004" y="285"/>
                      <a:pt x="2004" y="285"/>
                      <a:pt x="2004" y="285"/>
                    </a:cubicBezTo>
                    <a:close/>
                    <a:moveTo>
                      <a:pt x="1549" y="162"/>
                    </a:moveTo>
                    <a:cubicBezTo>
                      <a:pt x="1549" y="163"/>
                      <a:pt x="1549" y="163"/>
                      <a:pt x="1549" y="163"/>
                    </a:cubicBezTo>
                    <a:cubicBezTo>
                      <a:pt x="1549" y="164"/>
                      <a:pt x="1549" y="164"/>
                      <a:pt x="1549" y="164"/>
                    </a:cubicBezTo>
                    <a:cubicBezTo>
                      <a:pt x="1550" y="164"/>
                      <a:pt x="1550" y="164"/>
                      <a:pt x="1550" y="164"/>
                    </a:cubicBezTo>
                    <a:cubicBezTo>
                      <a:pt x="1551" y="163"/>
                      <a:pt x="1551" y="163"/>
                      <a:pt x="1551" y="163"/>
                    </a:cubicBezTo>
                    <a:cubicBezTo>
                      <a:pt x="1550" y="162"/>
                      <a:pt x="1550" y="162"/>
                      <a:pt x="1550" y="162"/>
                    </a:cubicBezTo>
                    <a:cubicBezTo>
                      <a:pt x="1549" y="162"/>
                      <a:pt x="1549" y="162"/>
                      <a:pt x="1549" y="162"/>
                    </a:cubicBezTo>
                    <a:close/>
                    <a:moveTo>
                      <a:pt x="1541" y="59"/>
                    </a:moveTo>
                    <a:cubicBezTo>
                      <a:pt x="1542" y="57"/>
                      <a:pt x="1542" y="57"/>
                      <a:pt x="1542" y="57"/>
                    </a:cubicBezTo>
                    <a:cubicBezTo>
                      <a:pt x="1543" y="57"/>
                      <a:pt x="1543" y="57"/>
                      <a:pt x="1543" y="57"/>
                    </a:cubicBezTo>
                    <a:cubicBezTo>
                      <a:pt x="1544" y="55"/>
                      <a:pt x="1544" y="55"/>
                      <a:pt x="1544" y="55"/>
                    </a:cubicBezTo>
                    <a:cubicBezTo>
                      <a:pt x="1544" y="53"/>
                      <a:pt x="1544" y="53"/>
                      <a:pt x="1544" y="53"/>
                    </a:cubicBezTo>
                    <a:cubicBezTo>
                      <a:pt x="1544" y="52"/>
                      <a:pt x="1544" y="52"/>
                      <a:pt x="1544" y="52"/>
                    </a:cubicBezTo>
                    <a:cubicBezTo>
                      <a:pt x="1541" y="51"/>
                      <a:pt x="1541" y="51"/>
                      <a:pt x="1541" y="51"/>
                    </a:cubicBezTo>
                    <a:cubicBezTo>
                      <a:pt x="1539" y="51"/>
                      <a:pt x="1539" y="51"/>
                      <a:pt x="1539" y="51"/>
                    </a:cubicBezTo>
                    <a:cubicBezTo>
                      <a:pt x="1537" y="51"/>
                      <a:pt x="1537" y="51"/>
                      <a:pt x="1537" y="51"/>
                    </a:cubicBezTo>
                    <a:cubicBezTo>
                      <a:pt x="1536" y="52"/>
                      <a:pt x="1536" y="52"/>
                      <a:pt x="1536" y="52"/>
                    </a:cubicBezTo>
                    <a:cubicBezTo>
                      <a:pt x="1535" y="51"/>
                      <a:pt x="1535" y="51"/>
                      <a:pt x="1535" y="51"/>
                    </a:cubicBezTo>
                    <a:cubicBezTo>
                      <a:pt x="1534" y="51"/>
                      <a:pt x="1534" y="51"/>
                      <a:pt x="1534" y="51"/>
                    </a:cubicBezTo>
                    <a:cubicBezTo>
                      <a:pt x="1533" y="52"/>
                      <a:pt x="1533" y="52"/>
                      <a:pt x="1533" y="52"/>
                    </a:cubicBezTo>
                    <a:cubicBezTo>
                      <a:pt x="1532" y="52"/>
                      <a:pt x="1532" y="52"/>
                      <a:pt x="1532" y="52"/>
                    </a:cubicBezTo>
                    <a:cubicBezTo>
                      <a:pt x="1531" y="52"/>
                      <a:pt x="1531" y="52"/>
                      <a:pt x="1531" y="52"/>
                    </a:cubicBezTo>
                    <a:cubicBezTo>
                      <a:pt x="1532" y="53"/>
                      <a:pt x="1532" y="53"/>
                      <a:pt x="1532" y="53"/>
                    </a:cubicBezTo>
                    <a:cubicBezTo>
                      <a:pt x="1533" y="54"/>
                      <a:pt x="1533" y="54"/>
                      <a:pt x="1533" y="54"/>
                    </a:cubicBezTo>
                    <a:cubicBezTo>
                      <a:pt x="1534" y="55"/>
                      <a:pt x="1534" y="55"/>
                      <a:pt x="1534" y="55"/>
                    </a:cubicBezTo>
                    <a:cubicBezTo>
                      <a:pt x="1535" y="55"/>
                      <a:pt x="1535" y="55"/>
                      <a:pt x="1535" y="55"/>
                    </a:cubicBezTo>
                    <a:cubicBezTo>
                      <a:pt x="1536" y="57"/>
                      <a:pt x="1536" y="57"/>
                      <a:pt x="1536" y="57"/>
                    </a:cubicBezTo>
                    <a:cubicBezTo>
                      <a:pt x="1538" y="57"/>
                      <a:pt x="1538" y="57"/>
                      <a:pt x="1538" y="57"/>
                    </a:cubicBezTo>
                    <a:cubicBezTo>
                      <a:pt x="1540" y="57"/>
                      <a:pt x="1540" y="57"/>
                      <a:pt x="1540" y="57"/>
                    </a:cubicBezTo>
                    <a:cubicBezTo>
                      <a:pt x="1541" y="57"/>
                      <a:pt x="1541" y="57"/>
                      <a:pt x="1541" y="57"/>
                    </a:cubicBezTo>
                    <a:cubicBezTo>
                      <a:pt x="1540" y="58"/>
                      <a:pt x="1540" y="58"/>
                      <a:pt x="1540" y="58"/>
                    </a:cubicBezTo>
                    <a:cubicBezTo>
                      <a:pt x="1539" y="58"/>
                      <a:pt x="1539" y="58"/>
                      <a:pt x="1539" y="58"/>
                    </a:cubicBezTo>
                    <a:cubicBezTo>
                      <a:pt x="1537" y="58"/>
                      <a:pt x="1537" y="58"/>
                      <a:pt x="1537" y="58"/>
                    </a:cubicBezTo>
                    <a:cubicBezTo>
                      <a:pt x="1537" y="59"/>
                      <a:pt x="1537" y="59"/>
                      <a:pt x="1537" y="59"/>
                    </a:cubicBezTo>
                    <a:cubicBezTo>
                      <a:pt x="1538" y="59"/>
                      <a:pt x="1538" y="59"/>
                      <a:pt x="1538" y="59"/>
                    </a:cubicBezTo>
                    <a:cubicBezTo>
                      <a:pt x="1540" y="60"/>
                      <a:pt x="1540" y="60"/>
                      <a:pt x="1540" y="60"/>
                    </a:cubicBezTo>
                    <a:cubicBezTo>
                      <a:pt x="1541" y="59"/>
                      <a:pt x="1541" y="59"/>
                      <a:pt x="1541" y="59"/>
                    </a:cubicBezTo>
                    <a:close/>
                    <a:moveTo>
                      <a:pt x="1535" y="136"/>
                    </a:moveTo>
                    <a:cubicBezTo>
                      <a:pt x="1536" y="135"/>
                      <a:pt x="1536" y="135"/>
                      <a:pt x="1536" y="135"/>
                    </a:cubicBezTo>
                    <a:cubicBezTo>
                      <a:pt x="1534" y="135"/>
                      <a:pt x="1534" y="135"/>
                      <a:pt x="1534" y="135"/>
                    </a:cubicBezTo>
                    <a:cubicBezTo>
                      <a:pt x="1534" y="134"/>
                      <a:pt x="1534" y="134"/>
                      <a:pt x="1534" y="134"/>
                    </a:cubicBezTo>
                    <a:cubicBezTo>
                      <a:pt x="1533" y="134"/>
                      <a:pt x="1533" y="134"/>
                      <a:pt x="1533" y="134"/>
                    </a:cubicBezTo>
                    <a:cubicBezTo>
                      <a:pt x="1532" y="134"/>
                      <a:pt x="1532" y="134"/>
                      <a:pt x="1532" y="134"/>
                    </a:cubicBezTo>
                    <a:cubicBezTo>
                      <a:pt x="1532" y="135"/>
                      <a:pt x="1532" y="135"/>
                      <a:pt x="1532" y="135"/>
                    </a:cubicBezTo>
                    <a:cubicBezTo>
                      <a:pt x="1534" y="136"/>
                      <a:pt x="1534" y="136"/>
                      <a:pt x="1534" y="136"/>
                    </a:cubicBezTo>
                    <a:cubicBezTo>
                      <a:pt x="1535" y="136"/>
                      <a:pt x="1535" y="136"/>
                      <a:pt x="1535" y="136"/>
                    </a:cubicBezTo>
                    <a:close/>
                    <a:moveTo>
                      <a:pt x="1520" y="180"/>
                    </a:moveTo>
                    <a:cubicBezTo>
                      <a:pt x="1521" y="179"/>
                      <a:pt x="1521" y="179"/>
                      <a:pt x="1521" y="179"/>
                    </a:cubicBezTo>
                    <a:cubicBezTo>
                      <a:pt x="1522" y="180"/>
                      <a:pt x="1522" y="180"/>
                      <a:pt x="1522" y="180"/>
                    </a:cubicBezTo>
                    <a:cubicBezTo>
                      <a:pt x="1523" y="179"/>
                      <a:pt x="1523" y="179"/>
                      <a:pt x="1523" y="179"/>
                    </a:cubicBezTo>
                    <a:cubicBezTo>
                      <a:pt x="1523" y="178"/>
                      <a:pt x="1523" y="178"/>
                      <a:pt x="1523" y="178"/>
                    </a:cubicBezTo>
                    <a:cubicBezTo>
                      <a:pt x="1523" y="177"/>
                      <a:pt x="1523" y="177"/>
                      <a:pt x="1523" y="177"/>
                    </a:cubicBezTo>
                    <a:cubicBezTo>
                      <a:pt x="1521" y="178"/>
                      <a:pt x="1521" y="178"/>
                      <a:pt x="1521" y="178"/>
                    </a:cubicBezTo>
                    <a:cubicBezTo>
                      <a:pt x="1520" y="179"/>
                      <a:pt x="1520" y="179"/>
                      <a:pt x="1520" y="179"/>
                    </a:cubicBezTo>
                    <a:cubicBezTo>
                      <a:pt x="1520" y="180"/>
                      <a:pt x="1520" y="180"/>
                      <a:pt x="1520" y="180"/>
                    </a:cubicBezTo>
                    <a:close/>
                    <a:moveTo>
                      <a:pt x="1583" y="109"/>
                    </a:moveTo>
                    <a:cubicBezTo>
                      <a:pt x="1584" y="109"/>
                      <a:pt x="1584" y="109"/>
                      <a:pt x="1584" y="109"/>
                    </a:cubicBezTo>
                    <a:cubicBezTo>
                      <a:pt x="1585" y="109"/>
                      <a:pt x="1585" y="109"/>
                      <a:pt x="1585" y="109"/>
                    </a:cubicBezTo>
                    <a:cubicBezTo>
                      <a:pt x="1586" y="109"/>
                      <a:pt x="1586" y="109"/>
                      <a:pt x="1586" y="109"/>
                    </a:cubicBezTo>
                    <a:cubicBezTo>
                      <a:pt x="1586" y="108"/>
                      <a:pt x="1586" y="108"/>
                      <a:pt x="1586" y="108"/>
                    </a:cubicBezTo>
                    <a:cubicBezTo>
                      <a:pt x="1585" y="108"/>
                      <a:pt x="1585" y="108"/>
                      <a:pt x="1585" y="108"/>
                    </a:cubicBezTo>
                    <a:cubicBezTo>
                      <a:pt x="1583" y="109"/>
                      <a:pt x="1583" y="109"/>
                      <a:pt x="1583" y="109"/>
                    </a:cubicBezTo>
                    <a:close/>
                    <a:moveTo>
                      <a:pt x="1540" y="133"/>
                    </a:moveTo>
                    <a:cubicBezTo>
                      <a:pt x="1538" y="133"/>
                      <a:pt x="1538" y="133"/>
                      <a:pt x="1538" y="133"/>
                    </a:cubicBezTo>
                    <a:cubicBezTo>
                      <a:pt x="1537" y="132"/>
                      <a:pt x="1537" y="132"/>
                      <a:pt x="1537" y="132"/>
                    </a:cubicBezTo>
                    <a:cubicBezTo>
                      <a:pt x="1536" y="133"/>
                      <a:pt x="1536" y="133"/>
                      <a:pt x="1536" y="133"/>
                    </a:cubicBezTo>
                    <a:cubicBezTo>
                      <a:pt x="1536" y="134"/>
                      <a:pt x="1536" y="134"/>
                      <a:pt x="1536" y="134"/>
                    </a:cubicBezTo>
                    <a:cubicBezTo>
                      <a:pt x="1538" y="134"/>
                      <a:pt x="1538" y="134"/>
                      <a:pt x="1538" y="134"/>
                    </a:cubicBezTo>
                    <a:cubicBezTo>
                      <a:pt x="1539" y="134"/>
                      <a:pt x="1539" y="134"/>
                      <a:pt x="1539" y="134"/>
                    </a:cubicBezTo>
                    <a:cubicBezTo>
                      <a:pt x="1540" y="134"/>
                      <a:pt x="1540" y="134"/>
                      <a:pt x="1540" y="134"/>
                    </a:cubicBezTo>
                    <a:cubicBezTo>
                      <a:pt x="1540" y="133"/>
                      <a:pt x="1540" y="133"/>
                      <a:pt x="1540" y="133"/>
                    </a:cubicBezTo>
                    <a:close/>
                    <a:moveTo>
                      <a:pt x="1529" y="183"/>
                    </a:moveTo>
                    <a:cubicBezTo>
                      <a:pt x="1530" y="183"/>
                      <a:pt x="1530" y="183"/>
                      <a:pt x="1530" y="183"/>
                    </a:cubicBezTo>
                    <a:cubicBezTo>
                      <a:pt x="1529" y="182"/>
                      <a:pt x="1529" y="182"/>
                      <a:pt x="1529" y="182"/>
                    </a:cubicBezTo>
                    <a:cubicBezTo>
                      <a:pt x="1528" y="182"/>
                      <a:pt x="1528" y="182"/>
                      <a:pt x="1528" y="182"/>
                    </a:cubicBezTo>
                    <a:cubicBezTo>
                      <a:pt x="1526" y="182"/>
                      <a:pt x="1526" y="182"/>
                      <a:pt x="1526" y="182"/>
                    </a:cubicBezTo>
                    <a:cubicBezTo>
                      <a:pt x="1527" y="183"/>
                      <a:pt x="1527" y="183"/>
                      <a:pt x="1527" y="183"/>
                    </a:cubicBezTo>
                    <a:cubicBezTo>
                      <a:pt x="1529" y="183"/>
                      <a:pt x="1529" y="183"/>
                      <a:pt x="1529" y="183"/>
                    </a:cubicBezTo>
                    <a:close/>
                    <a:moveTo>
                      <a:pt x="1530" y="45"/>
                    </a:moveTo>
                    <a:cubicBezTo>
                      <a:pt x="1530" y="46"/>
                      <a:pt x="1530" y="46"/>
                      <a:pt x="1530" y="46"/>
                    </a:cubicBezTo>
                    <a:cubicBezTo>
                      <a:pt x="1529" y="47"/>
                      <a:pt x="1529" y="47"/>
                      <a:pt x="1529" y="47"/>
                    </a:cubicBezTo>
                    <a:cubicBezTo>
                      <a:pt x="1530" y="48"/>
                      <a:pt x="1530" y="48"/>
                      <a:pt x="1530" y="48"/>
                    </a:cubicBezTo>
                    <a:cubicBezTo>
                      <a:pt x="1531" y="47"/>
                      <a:pt x="1531" y="47"/>
                      <a:pt x="1531" y="47"/>
                    </a:cubicBezTo>
                    <a:cubicBezTo>
                      <a:pt x="1533" y="46"/>
                      <a:pt x="1533" y="46"/>
                      <a:pt x="1533" y="46"/>
                    </a:cubicBezTo>
                    <a:cubicBezTo>
                      <a:pt x="1534" y="48"/>
                      <a:pt x="1534" y="48"/>
                      <a:pt x="1534" y="48"/>
                    </a:cubicBezTo>
                    <a:cubicBezTo>
                      <a:pt x="1536" y="49"/>
                      <a:pt x="1536" y="49"/>
                      <a:pt x="1536" y="49"/>
                    </a:cubicBezTo>
                    <a:cubicBezTo>
                      <a:pt x="1537" y="49"/>
                      <a:pt x="1537" y="49"/>
                      <a:pt x="1537" y="49"/>
                    </a:cubicBezTo>
                    <a:cubicBezTo>
                      <a:pt x="1537" y="48"/>
                      <a:pt x="1537" y="48"/>
                      <a:pt x="1537" y="48"/>
                    </a:cubicBezTo>
                    <a:cubicBezTo>
                      <a:pt x="1538" y="48"/>
                      <a:pt x="1538" y="48"/>
                      <a:pt x="1538" y="48"/>
                    </a:cubicBezTo>
                    <a:cubicBezTo>
                      <a:pt x="1540" y="49"/>
                      <a:pt x="1540" y="49"/>
                      <a:pt x="1540" y="49"/>
                    </a:cubicBezTo>
                    <a:cubicBezTo>
                      <a:pt x="1541" y="50"/>
                      <a:pt x="1541" y="50"/>
                      <a:pt x="1541" y="50"/>
                    </a:cubicBezTo>
                    <a:cubicBezTo>
                      <a:pt x="1543" y="50"/>
                      <a:pt x="1543" y="50"/>
                      <a:pt x="1543" y="50"/>
                    </a:cubicBezTo>
                    <a:cubicBezTo>
                      <a:pt x="1545" y="48"/>
                      <a:pt x="1545" y="48"/>
                      <a:pt x="1545" y="48"/>
                    </a:cubicBezTo>
                    <a:cubicBezTo>
                      <a:pt x="1546" y="47"/>
                      <a:pt x="1546" y="47"/>
                      <a:pt x="1546" y="47"/>
                    </a:cubicBezTo>
                    <a:cubicBezTo>
                      <a:pt x="1546" y="46"/>
                      <a:pt x="1546" y="46"/>
                      <a:pt x="1546" y="46"/>
                    </a:cubicBezTo>
                    <a:cubicBezTo>
                      <a:pt x="1548" y="44"/>
                      <a:pt x="1548" y="44"/>
                      <a:pt x="1548" y="44"/>
                    </a:cubicBezTo>
                    <a:cubicBezTo>
                      <a:pt x="1550" y="43"/>
                      <a:pt x="1550" y="43"/>
                      <a:pt x="1550" y="43"/>
                    </a:cubicBezTo>
                    <a:cubicBezTo>
                      <a:pt x="1552" y="42"/>
                      <a:pt x="1552" y="42"/>
                      <a:pt x="1552" y="42"/>
                    </a:cubicBezTo>
                    <a:cubicBezTo>
                      <a:pt x="1552" y="41"/>
                      <a:pt x="1552" y="41"/>
                      <a:pt x="1552" y="41"/>
                    </a:cubicBezTo>
                    <a:cubicBezTo>
                      <a:pt x="1552" y="39"/>
                      <a:pt x="1552" y="39"/>
                      <a:pt x="1552" y="39"/>
                    </a:cubicBezTo>
                    <a:cubicBezTo>
                      <a:pt x="1550" y="38"/>
                      <a:pt x="1550" y="38"/>
                      <a:pt x="1550" y="38"/>
                    </a:cubicBezTo>
                    <a:cubicBezTo>
                      <a:pt x="1548" y="36"/>
                      <a:pt x="1548" y="36"/>
                      <a:pt x="1548" y="36"/>
                    </a:cubicBezTo>
                    <a:cubicBezTo>
                      <a:pt x="1547" y="34"/>
                      <a:pt x="1547" y="34"/>
                      <a:pt x="1547" y="34"/>
                    </a:cubicBezTo>
                    <a:cubicBezTo>
                      <a:pt x="1547" y="33"/>
                      <a:pt x="1547" y="33"/>
                      <a:pt x="1547" y="33"/>
                    </a:cubicBezTo>
                    <a:cubicBezTo>
                      <a:pt x="1548" y="32"/>
                      <a:pt x="1548" y="32"/>
                      <a:pt x="1548" y="32"/>
                    </a:cubicBezTo>
                    <a:cubicBezTo>
                      <a:pt x="1548" y="30"/>
                      <a:pt x="1548" y="30"/>
                      <a:pt x="1548" y="30"/>
                    </a:cubicBezTo>
                    <a:cubicBezTo>
                      <a:pt x="1547" y="30"/>
                      <a:pt x="1547" y="30"/>
                      <a:pt x="1547" y="30"/>
                    </a:cubicBezTo>
                    <a:cubicBezTo>
                      <a:pt x="1544" y="30"/>
                      <a:pt x="1544" y="30"/>
                      <a:pt x="1544" y="30"/>
                    </a:cubicBezTo>
                    <a:cubicBezTo>
                      <a:pt x="1542" y="29"/>
                      <a:pt x="1542" y="29"/>
                      <a:pt x="1542" y="29"/>
                    </a:cubicBezTo>
                    <a:cubicBezTo>
                      <a:pt x="1540" y="28"/>
                      <a:pt x="1540" y="28"/>
                      <a:pt x="1540" y="28"/>
                    </a:cubicBezTo>
                    <a:cubicBezTo>
                      <a:pt x="1538" y="25"/>
                      <a:pt x="1538" y="25"/>
                      <a:pt x="1538" y="25"/>
                    </a:cubicBezTo>
                    <a:cubicBezTo>
                      <a:pt x="1536" y="24"/>
                      <a:pt x="1536" y="24"/>
                      <a:pt x="1536" y="24"/>
                    </a:cubicBezTo>
                    <a:cubicBezTo>
                      <a:pt x="1534" y="23"/>
                      <a:pt x="1534" y="23"/>
                      <a:pt x="1534" y="23"/>
                    </a:cubicBezTo>
                    <a:cubicBezTo>
                      <a:pt x="1533" y="23"/>
                      <a:pt x="1533" y="23"/>
                      <a:pt x="1533" y="23"/>
                    </a:cubicBezTo>
                    <a:cubicBezTo>
                      <a:pt x="1532" y="23"/>
                      <a:pt x="1532" y="23"/>
                      <a:pt x="1532" y="23"/>
                    </a:cubicBezTo>
                    <a:cubicBezTo>
                      <a:pt x="1532" y="24"/>
                      <a:pt x="1532" y="24"/>
                      <a:pt x="1532" y="24"/>
                    </a:cubicBezTo>
                    <a:cubicBezTo>
                      <a:pt x="1532" y="25"/>
                      <a:pt x="1532" y="25"/>
                      <a:pt x="1532" y="25"/>
                    </a:cubicBezTo>
                    <a:cubicBezTo>
                      <a:pt x="1532" y="27"/>
                      <a:pt x="1532" y="27"/>
                      <a:pt x="1532" y="27"/>
                    </a:cubicBezTo>
                    <a:cubicBezTo>
                      <a:pt x="1531" y="28"/>
                      <a:pt x="1531" y="28"/>
                      <a:pt x="1531" y="28"/>
                    </a:cubicBezTo>
                    <a:cubicBezTo>
                      <a:pt x="1530" y="30"/>
                      <a:pt x="1530" y="30"/>
                      <a:pt x="1530" y="30"/>
                    </a:cubicBezTo>
                    <a:cubicBezTo>
                      <a:pt x="1529" y="32"/>
                      <a:pt x="1529" y="32"/>
                      <a:pt x="1529" y="32"/>
                    </a:cubicBezTo>
                    <a:cubicBezTo>
                      <a:pt x="1529" y="33"/>
                      <a:pt x="1529" y="33"/>
                      <a:pt x="1529" y="33"/>
                    </a:cubicBezTo>
                    <a:cubicBezTo>
                      <a:pt x="1529" y="38"/>
                      <a:pt x="1529" y="38"/>
                      <a:pt x="1529" y="38"/>
                    </a:cubicBezTo>
                    <a:cubicBezTo>
                      <a:pt x="1530" y="39"/>
                      <a:pt x="1530" y="39"/>
                      <a:pt x="1530" y="39"/>
                    </a:cubicBezTo>
                    <a:cubicBezTo>
                      <a:pt x="1531" y="40"/>
                      <a:pt x="1531" y="40"/>
                      <a:pt x="1531" y="40"/>
                    </a:cubicBezTo>
                    <a:cubicBezTo>
                      <a:pt x="1531" y="41"/>
                      <a:pt x="1531" y="41"/>
                      <a:pt x="1531" y="41"/>
                    </a:cubicBezTo>
                    <a:cubicBezTo>
                      <a:pt x="1530" y="45"/>
                      <a:pt x="1530" y="45"/>
                      <a:pt x="1530" y="45"/>
                    </a:cubicBezTo>
                    <a:close/>
                    <a:moveTo>
                      <a:pt x="1545" y="187"/>
                    </a:moveTo>
                    <a:cubicBezTo>
                      <a:pt x="1546" y="186"/>
                      <a:pt x="1546" y="186"/>
                      <a:pt x="1546" y="186"/>
                    </a:cubicBezTo>
                    <a:cubicBezTo>
                      <a:pt x="1545" y="184"/>
                      <a:pt x="1545" y="184"/>
                      <a:pt x="1545" y="184"/>
                    </a:cubicBezTo>
                    <a:cubicBezTo>
                      <a:pt x="1544" y="182"/>
                      <a:pt x="1544" y="182"/>
                      <a:pt x="1544" y="182"/>
                    </a:cubicBezTo>
                    <a:cubicBezTo>
                      <a:pt x="1543" y="181"/>
                      <a:pt x="1543" y="181"/>
                      <a:pt x="1543" y="181"/>
                    </a:cubicBezTo>
                    <a:cubicBezTo>
                      <a:pt x="1542" y="179"/>
                      <a:pt x="1542" y="179"/>
                      <a:pt x="1542" y="179"/>
                    </a:cubicBezTo>
                    <a:cubicBezTo>
                      <a:pt x="1541" y="181"/>
                      <a:pt x="1541" y="181"/>
                      <a:pt x="1541" y="181"/>
                    </a:cubicBezTo>
                    <a:cubicBezTo>
                      <a:pt x="1541" y="183"/>
                      <a:pt x="1541" y="183"/>
                      <a:pt x="1541" y="183"/>
                    </a:cubicBezTo>
                    <a:cubicBezTo>
                      <a:pt x="1540" y="184"/>
                      <a:pt x="1540" y="184"/>
                      <a:pt x="1540" y="184"/>
                    </a:cubicBezTo>
                    <a:cubicBezTo>
                      <a:pt x="1540" y="185"/>
                      <a:pt x="1540" y="185"/>
                      <a:pt x="1540" y="185"/>
                    </a:cubicBezTo>
                    <a:cubicBezTo>
                      <a:pt x="1542" y="185"/>
                      <a:pt x="1542" y="185"/>
                      <a:pt x="1542" y="185"/>
                    </a:cubicBezTo>
                    <a:cubicBezTo>
                      <a:pt x="1542" y="186"/>
                      <a:pt x="1542" y="186"/>
                      <a:pt x="1542" y="186"/>
                    </a:cubicBezTo>
                    <a:cubicBezTo>
                      <a:pt x="1544" y="186"/>
                      <a:pt x="1544" y="186"/>
                      <a:pt x="1544" y="186"/>
                    </a:cubicBezTo>
                    <a:cubicBezTo>
                      <a:pt x="1545" y="187"/>
                      <a:pt x="1545" y="187"/>
                      <a:pt x="1545" y="187"/>
                    </a:cubicBezTo>
                    <a:close/>
                    <a:moveTo>
                      <a:pt x="1538" y="196"/>
                    </a:moveTo>
                    <a:cubicBezTo>
                      <a:pt x="1539" y="194"/>
                      <a:pt x="1539" y="194"/>
                      <a:pt x="1539" y="194"/>
                    </a:cubicBezTo>
                    <a:cubicBezTo>
                      <a:pt x="1540" y="194"/>
                      <a:pt x="1540" y="194"/>
                      <a:pt x="1540" y="194"/>
                    </a:cubicBezTo>
                    <a:cubicBezTo>
                      <a:pt x="1540" y="193"/>
                      <a:pt x="1540" y="193"/>
                      <a:pt x="1540" y="193"/>
                    </a:cubicBezTo>
                    <a:cubicBezTo>
                      <a:pt x="1541" y="192"/>
                      <a:pt x="1541" y="192"/>
                      <a:pt x="1541" y="192"/>
                    </a:cubicBezTo>
                    <a:cubicBezTo>
                      <a:pt x="1543" y="191"/>
                      <a:pt x="1543" y="191"/>
                      <a:pt x="1543" y="191"/>
                    </a:cubicBezTo>
                    <a:cubicBezTo>
                      <a:pt x="1542" y="190"/>
                      <a:pt x="1542" y="190"/>
                      <a:pt x="1542" y="190"/>
                    </a:cubicBezTo>
                    <a:cubicBezTo>
                      <a:pt x="1542" y="189"/>
                      <a:pt x="1542" y="189"/>
                      <a:pt x="1542" y="189"/>
                    </a:cubicBezTo>
                    <a:cubicBezTo>
                      <a:pt x="1541" y="189"/>
                      <a:pt x="1541" y="189"/>
                      <a:pt x="1541" y="189"/>
                    </a:cubicBezTo>
                    <a:cubicBezTo>
                      <a:pt x="1539" y="190"/>
                      <a:pt x="1539" y="190"/>
                      <a:pt x="1539" y="190"/>
                    </a:cubicBezTo>
                    <a:cubicBezTo>
                      <a:pt x="1538" y="191"/>
                      <a:pt x="1538" y="191"/>
                      <a:pt x="1538" y="191"/>
                    </a:cubicBezTo>
                    <a:cubicBezTo>
                      <a:pt x="1538" y="192"/>
                      <a:pt x="1538" y="192"/>
                      <a:pt x="1538" y="192"/>
                    </a:cubicBezTo>
                    <a:cubicBezTo>
                      <a:pt x="1537" y="193"/>
                      <a:pt x="1537" y="193"/>
                      <a:pt x="1537" y="193"/>
                    </a:cubicBezTo>
                    <a:cubicBezTo>
                      <a:pt x="1536" y="194"/>
                      <a:pt x="1536" y="194"/>
                      <a:pt x="1536" y="194"/>
                    </a:cubicBezTo>
                    <a:cubicBezTo>
                      <a:pt x="1536" y="195"/>
                      <a:pt x="1536" y="195"/>
                      <a:pt x="1536" y="195"/>
                    </a:cubicBezTo>
                    <a:cubicBezTo>
                      <a:pt x="1537" y="196"/>
                      <a:pt x="1537" y="196"/>
                      <a:pt x="1537" y="196"/>
                    </a:cubicBezTo>
                    <a:cubicBezTo>
                      <a:pt x="1538" y="196"/>
                      <a:pt x="1538" y="196"/>
                      <a:pt x="1538" y="196"/>
                    </a:cubicBezTo>
                    <a:close/>
                    <a:moveTo>
                      <a:pt x="1533" y="156"/>
                    </a:moveTo>
                    <a:cubicBezTo>
                      <a:pt x="1531" y="156"/>
                      <a:pt x="1531" y="156"/>
                      <a:pt x="1531" y="156"/>
                    </a:cubicBezTo>
                    <a:cubicBezTo>
                      <a:pt x="1531" y="157"/>
                      <a:pt x="1531" y="157"/>
                      <a:pt x="1531" y="157"/>
                    </a:cubicBezTo>
                    <a:cubicBezTo>
                      <a:pt x="1532" y="157"/>
                      <a:pt x="1532" y="157"/>
                      <a:pt x="1532" y="157"/>
                    </a:cubicBezTo>
                    <a:cubicBezTo>
                      <a:pt x="1532" y="158"/>
                      <a:pt x="1532" y="158"/>
                      <a:pt x="1532" y="158"/>
                    </a:cubicBezTo>
                    <a:cubicBezTo>
                      <a:pt x="1533" y="159"/>
                      <a:pt x="1533" y="159"/>
                      <a:pt x="1533" y="159"/>
                    </a:cubicBezTo>
                    <a:cubicBezTo>
                      <a:pt x="1534" y="158"/>
                      <a:pt x="1534" y="158"/>
                      <a:pt x="1534" y="158"/>
                    </a:cubicBezTo>
                    <a:cubicBezTo>
                      <a:pt x="1533" y="157"/>
                      <a:pt x="1533" y="157"/>
                      <a:pt x="1533" y="157"/>
                    </a:cubicBezTo>
                    <a:cubicBezTo>
                      <a:pt x="1534" y="157"/>
                      <a:pt x="1534" y="157"/>
                      <a:pt x="1534" y="157"/>
                    </a:cubicBezTo>
                    <a:cubicBezTo>
                      <a:pt x="1533" y="156"/>
                      <a:pt x="1533" y="156"/>
                      <a:pt x="1533" y="156"/>
                    </a:cubicBezTo>
                    <a:close/>
                    <a:moveTo>
                      <a:pt x="1565" y="145"/>
                    </a:moveTo>
                    <a:cubicBezTo>
                      <a:pt x="1564" y="145"/>
                      <a:pt x="1564" y="145"/>
                      <a:pt x="1564" y="145"/>
                    </a:cubicBezTo>
                    <a:cubicBezTo>
                      <a:pt x="1563" y="145"/>
                      <a:pt x="1563" y="145"/>
                      <a:pt x="1563" y="145"/>
                    </a:cubicBezTo>
                    <a:cubicBezTo>
                      <a:pt x="1563" y="146"/>
                      <a:pt x="1563" y="146"/>
                      <a:pt x="1563" y="146"/>
                    </a:cubicBezTo>
                    <a:cubicBezTo>
                      <a:pt x="1562" y="145"/>
                      <a:pt x="1562" y="145"/>
                      <a:pt x="1562" y="145"/>
                    </a:cubicBezTo>
                    <a:cubicBezTo>
                      <a:pt x="1562" y="146"/>
                      <a:pt x="1562" y="146"/>
                      <a:pt x="1562" y="146"/>
                    </a:cubicBezTo>
                    <a:cubicBezTo>
                      <a:pt x="1562" y="147"/>
                      <a:pt x="1562" y="147"/>
                      <a:pt x="1562" y="147"/>
                    </a:cubicBezTo>
                    <a:cubicBezTo>
                      <a:pt x="1563" y="147"/>
                      <a:pt x="1563" y="147"/>
                      <a:pt x="1563" y="147"/>
                    </a:cubicBezTo>
                    <a:cubicBezTo>
                      <a:pt x="1564" y="147"/>
                      <a:pt x="1564" y="147"/>
                      <a:pt x="1564" y="147"/>
                    </a:cubicBezTo>
                    <a:cubicBezTo>
                      <a:pt x="1565" y="148"/>
                      <a:pt x="1565" y="148"/>
                      <a:pt x="1565" y="148"/>
                    </a:cubicBezTo>
                    <a:cubicBezTo>
                      <a:pt x="1566" y="148"/>
                      <a:pt x="1566" y="148"/>
                      <a:pt x="1566" y="148"/>
                    </a:cubicBezTo>
                    <a:cubicBezTo>
                      <a:pt x="1565" y="147"/>
                      <a:pt x="1565" y="147"/>
                      <a:pt x="1565" y="147"/>
                    </a:cubicBezTo>
                    <a:cubicBezTo>
                      <a:pt x="1566" y="146"/>
                      <a:pt x="1566" y="146"/>
                      <a:pt x="1566" y="146"/>
                    </a:cubicBezTo>
                    <a:cubicBezTo>
                      <a:pt x="1565" y="145"/>
                      <a:pt x="1565" y="145"/>
                      <a:pt x="1565" y="145"/>
                    </a:cubicBezTo>
                    <a:close/>
                    <a:moveTo>
                      <a:pt x="1560" y="94"/>
                    </a:moveTo>
                    <a:cubicBezTo>
                      <a:pt x="1561" y="94"/>
                      <a:pt x="1561" y="94"/>
                      <a:pt x="1561" y="94"/>
                    </a:cubicBezTo>
                    <a:cubicBezTo>
                      <a:pt x="1561" y="93"/>
                      <a:pt x="1561" y="93"/>
                      <a:pt x="1561" y="93"/>
                    </a:cubicBezTo>
                    <a:cubicBezTo>
                      <a:pt x="1560" y="93"/>
                      <a:pt x="1560" y="93"/>
                      <a:pt x="1560" y="93"/>
                    </a:cubicBezTo>
                    <a:cubicBezTo>
                      <a:pt x="1560" y="94"/>
                      <a:pt x="1560" y="94"/>
                      <a:pt x="1560" y="94"/>
                    </a:cubicBezTo>
                    <a:close/>
                    <a:moveTo>
                      <a:pt x="1558" y="149"/>
                    </a:moveTo>
                    <a:cubicBezTo>
                      <a:pt x="1557" y="150"/>
                      <a:pt x="1557" y="150"/>
                      <a:pt x="1557" y="150"/>
                    </a:cubicBezTo>
                    <a:cubicBezTo>
                      <a:pt x="1559" y="150"/>
                      <a:pt x="1559" y="150"/>
                      <a:pt x="1559" y="150"/>
                    </a:cubicBezTo>
                    <a:cubicBezTo>
                      <a:pt x="1559" y="151"/>
                      <a:pt x="1559" y="151"/>
                      <a:pt x="1559" y="151"/>
                    </a:cubicBezTo>
                    <a:cubicBezTo>
                      <a:pt x="1560" y="150"/>
                      <a:pt x="1560" y="150"/>
                      <a:pt x="1560" y="150"/>
                    </a:cubicBezTo>
                    <a:cubicBezTo>
                      <a:pt x="1560" y="149"/>
                      <a:pt x="1560" y="149"/>
                      <a:pt x="1560" y="149"/>
                    </a:cubicBezTo>
                    <a:cubicBezTo>
                      <a:pt x="1559" y="149"/>
                      <a:pt x="1559" y="149"/>
                      <a:pt x="1559" y="149"/>
                    </a:cubicBezTo>
                    <a:cubicBezTo>
                      <a:pt x="1558" y="149"/>
                      <a:pt x="1558" y="149"/>
                      <a:pt x="1558" y="149"/>
                    </a:cubicBezTo>
                    <a:close/>
                    <a:moveTo>
                      <a:pt x="1550" y="45"/>
                    </a:moveTo>
                    <a:cubicBezTo>
                      <a:pt x="1550" y="45"/>
                      <a:pt x="1550" y="45"/>
                      <a:pt x="1549" y="46"/>
                    </a:cubicBezTo>
                    <a:cubicBezTo>
                      <a:pt x="1549" y="46"/>
                      <a:pt x="1549" y="46"/>
                      <a:pt x="1549" y="47"/>
                    </a:cubicBezTo>
                    <a:cubicBezTo>
                      <a:pt x="1549" y="47"/>
                      <a:pt x="1549" y="47"/>
                      <a:pt x="1548" y="47"/>
                    </a:cubicBezTo>
                    <a:cubicBezTo>
                      <a:pt x="1548" y="47"/>
                      <a:pt x="1548" y="47"/>
                      <a:pt x="1546" y="48"/>
                    </a:cubicBezTo>
                    <a:cubicBezTo>
                      <a:pt x="1546" y="48"/>
                      <a:pt x="1546" y="48"/>
                      <a:pt x="1546" y="50"/>
                    </a:cubicBezTo>
                    <a:cubicBezTo>
                      <a:pt x="1546" y="50"/>
                      <a:pt x="1546" y="50"/>
                      <a:pt x="1546" y="51"/>
                    </a:cubicBezTo>
                    <a:cubicBezTo>
                      <a:pt x="1546" y="51"/>
                      <a:pt x="1546" y="51"/>
                      <a:pt x="1547" y="52"/>
                    </a:cubicBezTo>
                    <a:cubicBezTo>
                      <a:pt x="1547" y="52"/>
                      <a:pt x="1547" y="52"/>
                      <a:pt x="1548" y="52"/>
                    </a:cubicBezTo>
                    <a:cubicBezTo>
                      <a:pt x="1548" y="52"/>
                      <a:pt x="1548" y="52"/>
                      <a:pt x="1549" y="53"/>
                    </a:cubicBezTo>
                    <a:cubicBezTo>
                      <a:pt x="1549" y="53"/>
                      <a:pt x="1549" y="53"/>
                      <a:pt x="1547" y="54"/>
                    </a:cubicBezTo>
                    <a:cubicBezTo>
                      <a:pt x="1547" y="54"/>
                      <a:pt x="1547" y="54"/>
                      <a:pt x="1547" y="55"/>
                    </a:cubicBezTo>
                    <a:cubicBezTo>
                      <a:pt x="1547" y="55"/>
                      <a:pt x="1547" y="55"/>
                      <a:pt x="1547" y="57"/>
                    </a:cubicBezTo>
                    <a:cubicBezTo>
                      <a:pt x="1547" y="57"/>
                      <a:pt x="1547" y="57"/>
                      <a:pt x="1547" y="58"/>
                    </a:cubicBezTo>
                    <a:cubicBezTo>
                      <a:pt x="1547" y="58"/>
                      <a:pt x="1547" y="58"/>
                      <a:pt x="1546" y="59"/>
                    </a:cubicBezTo>
                    <a:cubicBezTo>
                      <a:pt x="1546" y="59"/>
                      <a:pt x="1546" y="59"/>
                      <a:pt x="1545" y="60"/>
                    </a:cubicBezTo>
                    <a:cubicBezTo>
                      <a:pt x="1545" y="60"/>
                      <a:pt x="1545" y="60"/>
                      <a:pt x="1547" y="61"/>
                    </a:cubicBezTo>
                    <a:cubicBezTo>
                      <a:pt x="1547" y="61"/>
                      <a:pt x="1547" y="61"/>
                      <a:pt x="1548" y="61"/>
                    </a:cubicBezTo>
                    <a:cubicBezTo>
                      <a:pt x="1548" y="61"/>
                      <a:pt x="1548" y="61"/>
                      <a:pt x="1547" y="60"/>
                    </a:cubicBezTo>
                    <a:cubicBezTo>
                      <a:pt x="1547" y="60"/>
                      <a:pt x="1547" y="60"/>
                      <a:pt x="1548" y="59"/>
                    </a:cubicBezTo>
                    <a:cubicBezTo>
                      <a:pt x="1548" y="59"/>
                      <a:pt x="1548" y="59"/>
                      <a:pt x="1549" y="60"/>
                    </a:cubicBezTo>
                    <a:cubicBezTo>
                      <a:pt x="1549" y="60"/>
                      <a:pt x="1549" y="60"/>
                      <a:pt x="1550" y="61"/>
                    </a:cubicBezTo>
                    <a:cubicBezTo>
                      <a:pt x="1550" y="61"/>
                      <a:pt x="1550" y="61"/>
                      <a:pt x="1551" y="60"/>
                    </a:cubicBezTo>
                    <a:cubicBezTo>
                      <a:pt x="1551" y="60"/>
                      <a:pt x="1551" y="60"/>
                      <a:pt x="1552" y="60"/>
                    </a:cubicBezTo>
                    <a:cubicBezTo>
                      <a:pt x="1552" y="60"/>
                      <a:pt x="1552" y="60"/>
                      <a:pt x="1553" y="61"/>
                    </a:cubicBezTo>
                    <a:cubicBezTo>
                      <a:pt x="1553" y="61"/>
                      <a:pt x="1553" y="61"/>
                      <a:pt x="1554" y="64"/>
                    </a:cubicBezTo>
                    <a:cubicBezTo>
                      <a:pt x="1554" y="64"/>
                      <a:pt x="1554" y="64"/>
                      <a:pt x="1554" y="65"/>
                    </a:cubicBezTo>
                    <a:cubicBezTo>
                      <a:pt x="1554" y="65"/>
                      <a:pt x="1554" y="65"/>
                      <a:pt x="1556" y="65"/>
                    </a:cubicBezTo>
                    <a:cubicBezTo>
                      <a:pt x="1556" y="65"/>
                      <a:pt x="1556" y="65"/>
                      <a:pt x="1557" y="66"/>
                    </a:cubicBezTo>
                    <a:cubicBezTo>
                      <a:pt x="1557" y="66"/>
                      <a:pt x="1557" y="66"/>
                      <a:pt x="1558" y="66"/>
                    </a:cubicBezTo>
                    <a:cubicBezTo>
                      <a:pt x="1558" y="66"/>
                      <a:pt x="1558" y="66"/>
                      <a:pt x="1560" y="65"/>
                    </a:cubicBezTo>
                    <a:cubicBezTo>
                      <a:pt x="1560" y="65"/>
                      <a:pt x="1560" y="65"/>
                      <a:pt x="1562" y="65"/>
                    </a:cubicBezTo>
                    <a:cubicBezTo>
                      <a:pt x="1562" y="65"/>
                      <a:pt x="1562" y="65"/>
                      <a:pt x="1564" y="66"/>
                    </a:cubicBezTo>
                    <a:cubicBezTo>
                      <a:pt x="1564" y="66"/>
                      <a:pt x="1564" y="66"/>
                      <a:pt x="1567" y="66"/>
                    </a:cubicBezTo>
                    <a:cubicBezTo>
                      <a:pt x="1567" y="66"/>
                      <a:pt x="1567" y="66"/>
                      <a:pt x="1568" y="66"/>
                    </a:cubicBezTo>
                    <a:cubicBezTo>
                      <a:pt x="1568" y="66"/>
                      <a:pt x="1568" y="66"/>
                      <a:pt x="1569" y="66"/>
                    </a:cubicBezTo>
                    <a:cubicBezTo>
                      <a:pt x="1569" y="66"/>
                      <a:pt x="1569" y="66"/>
                      <a:pt x="1570" y="66"/>
                    </a:cubicBezTo>
                    <a:cubicBezTo>
                      <a:pt x="1570" y="66"/>
                      <a:pt x="1570" y="66"/>
                      <a:pt x="1571" y="67"/>
                    </a:cubicBezTo>
                    <a:cubicBezTo>
                      <a:pt x="1571" y="67"/>
                      <a:pt x="1571" y="67"/>
                      <a:pt x="1572" y="68"/>
                    </a:cubicBezTo>
                    <a:cubicBezTo>
                      <a:pt x="1572" y="68"/>
                      <a:pt x="1572" y="68"/>
                      <a:pt x="1574" y="68"/>
                    </a:cubicBezTo>
                    <a:cubicBezTo>
                      <a:pt x="1574" y="68"/>
                      <a:pt x="1574" y="68"/>
                      <a:pt x="1575" y="67"/>
                    </a:cubicBezTo>
                    <a:cubicBezTo>
                      <a:pt x="1575" y="67"/>
                      <a:pt x="1575" y="67"/>
                      <a:pt x="1576" y="66"/>
                    </a:cubicBezTo>
                    <a:cubicBezTo>
                      <a:pt x="1576" y="66"/>
                      <a:pt x="1576" y="66"/>
                      <a:pt x="1578" y="65"/>
                    </a:cubicBezTo>
                    <a:cubicBezTo>
                      <a:pt x="1578" y="65"/>
                      <a:pt x="1578" y="65"/>
                      <a:pt x="1580" y="63"/>
                    </a:cubicBezTo>
                    <a:cubicBezTo>
                      <a:pt x="1580" y="63"/>
                      <a:pt x="1580" y="63"/>
                      <a:pt x="1580" y="62"/>
                    </a:cubicBezTo>
                    <a:cubicBezTo>
                      <a:pt x="1580" y="62"/>
                      <a:pt x="1580" y="62"/>
                      <a:pt x="1578" y="60"/>
                    </a:cubicBezTo>
                    <a:cubicBezTo>
                      <a:pt x="1578" y="60"/>
                      <a:pt x="1578" y="60"/>
                      <a:pt x="1577" y="60"/>
                    </a:cubicBezTo>
                    <a:cubicBezTo>
                      <a:pt x="1577" y="60"/>
                      <a:pt x="1577" y="60"/>
                      <a:pt x="1576" y="58"/>
                    </a:cubicBezTo>
                    <a:cubicBezTo>
                      <a:pt x="1576" y="58"/>
                      <a:pt x="1576" y="58"/>
                      <a:pt x="1574" y="58"/>
                    </a:cubicBezTo>
                    <a:cubicBezTo>
                      <a:pt x="1574" y="58"/>
                      <a:pt x="1574" y="58"/>
                      <a:pt x="1573" y="57"/>
                    </a:cubicBezTo>
                    <a:cubicBezTo>
                      <a:pt x="1573" y="57"/>
                      <a:pt x="1573" y="57"/>
                      <a:pt x="1572" y="56"/>
                    </a:cubicBezTo>
                    <a:cubicBezTo>
                      <a:pt x="1572" y="56"/>
                      <a:pt x="1572" y="56"/>
                      <a:pt x="1573" y="56"/>
                    </a:cubicBezTo>
                    <a:cubicBezTo>
                      <a:pt x="1573" y="56"/>
                      <a:pt x="1573" y="56"/>
                      <a:pt x="1574" y="56"/>
                    </a:cubicBezTo>
                    <a:cubicBezTo>
                      <a:pt x="1574" y="56"/>
                      <a:pt x="1574" y="56"/>
                      <a:pt x="1575" y="56"/>
                    </a:cubicBezTo>
                    <a:cubicBezTo>
                      <a:pt x="1575" y="56"/>
                      <a:pt x="1575" y="56"/>
                      <a:pt x="1575" y="55"/>
                    </a:cubicBezTo>
                    <a:cubicBezTo>
                      <a:pt x="1575" y="55"/>
                      <a:pt x="1575" y="55"/>
                      <a:pt x="1574" y="54"/>
                    </a:cubicBezTo>
                    <a:cubicBezTo>
                      <a:pt x="1574" y="54"/>
                      <a:pt x="1574" y="54"/>
                      <a:pt x="1572" y="52"/>
                    </a:cubicBezTo>
                    <a:cubicBezTo>
                      <a:pt x="1572" y="52"/>
                      <a:pt x="1572" y="52"/>
                      <a:pt x="1572" y="50"/>
                    </a:cubicBezTo>
                    <a:cubicBezTo>
                      <a:pt x="1572" y="50"/>
                      <a:pt x="1572" y="50"/>
                      <a:pt x="1572" y="48"/>
                    </a:cubicBezTo>
                    <a:cubicBezTo>
                      <a:pt x="1572" y="48"/>
                      <a:pt x="1572" y="48"/>
                      <a:pt x="1571" y="48"/>
                    </a:cubicBezTo>
                    <a:cubicBezTo>
                      <a:pt x="1571" y="48"/>
                      <a:pt x="1571" y="48"/>
                      <a:pt x="1571" y="46"/>
                    </a:cubicBezTo>
                    <a:cubicBezTo>
                      <a:pt x="1571" y="46"/>
                      <a:pt x="1571" y="46"/>
                      <a:pt x="1570" y="46"/>
                    </a:cubicBezTo>
                    <a:cubicBezTo>
                      <a:pt x="1570" y="46"/>
                      <a:pt x="1570" y="46"/>
                      <a:pt x="1569" y="46"/>
                    </a:cubicBezTo>
                    <a:cubicBezTo>
                      <a:pt x="1569" y="46"/>
                      <a:pt x="1569" y="46"/>
                      <a:pt x="1565" y="42"/>
                    </a:cubicBezTo>
                    <a:cubicBezTo>
                      <a:pt x="1565" y="42"/>
                      <a:pt x="1565" y="42"/>
                      <a:pt x="1563" y="42"/>
                    </a:cubicBezTo>
                    <a:cubicBezTo>
                      <a:pt x="1563" y="42"/>
                      <a:pt x="1563" y="42"/>
                      <a:pt x="1561" y="42"/>
                    </a:cubicBezTo>
                    <a:cubicBezTo>
                      <a:pt x="1561" y="42"/>
                      <a:pt x="1561" y="42"/>
                      <a:pt x="1561" y="43"/>
                    </a:cubicBezTo>
                    <a:cubicBezTo>
                      <a:pt x="1561" y="43"/>
                      <a:pt x="1561" y="43"/>
                      <a:pt x="1561" y="44"/>
                    </a:cubicBezTo>
                    <a:cubicBezTo>
                      <a:pt x="1561" y="44"/>
                      <a:pt x="1561" y="44"/>
                      <a:pt x="1562" y="46"/>
                    </a:cubicBezTo>
                    <a:cubicBezTo>
                      <a:pt x="1562" y="46"/>
                      <a:pt x="1562" y="46"/>
                      <a:pt x="1563" y="47"/>
                    </a:cubicBezTo>
                    <a:cubicBezTo>
                      <a:pt x="1563" y="47"/>
                      <a:pt x="1563" y="47"/>
                      <a:pt x="1562" y="48"/>
                    </a:cubicBezTo>
                    <a:cubicBezTo>
                      <a:pt x="1562" y="48"/>
                      <a:pt x="1562" y="48"/>
                      <a:pt x="1562" y="49"/>
                    </a:cubicBezTo>
                    <a:cubicBezTo>
                      <a:pt x="1562" y="49"/>
                      <a:pt x="1562" y="49"/>
                      <a:pt x="1562" y="50"/>
                    </a:cubicBezTo>
                    <a:cubicBezTo>
                      <a:pt x="1562" y="50"/>
                      <a:pt x="1562" y="50"/>
                      <a:pt x="1561" y="52"/>
                    </a:cubicBezTo>
                    <a:cubicBezTo>
                      <a:pt x="1561" y="52"/>
                      <a:pt x="1561" y="52"/>
                      <a:pt x="1560" y="52"/>
                    </a:cubicBezTo>
                    <a:cubicBezTo>
                      <a:pt x="1560" y="52"/>
                      <a:pt x="1560" y="52"/>
                      <a:pt x="1561" y="51"/>
                    </a:cubicBezTo>
                    <a:cubicBezTo>
                      <a:pt x="1561" y="51"/>
                      <a:pt x="1561" y="51"/>
                      <a:pt x="1561" y="49"/>
                    </a:cubicBezTo>
                    <a:cubicBezTo>
                      <a:pt x="1561" y="49"/>
                      <a:pt x="1561" y="49"/>
                      <a:pt x="1561" y="47"/>
                    </a:cubicBezTo>
                    <a:cubicBezTo>
                      <a:pt x="1561" y="47"/>
                      <a:pt x="1561" y="47"/>
                      <a:pt x="1561" y="46"/>
                    </a:cubicBezTo>
                    <a:cubicBezTo>
                      <a:pt x="1561" y="46"/>
                      <a:pt x="1561" y="46"/>
                      <a:pt x="1559" y="43"/>
                    </a:cubicBezTo>
                    <a:cubicBezTo>
                      <a:pt x="1559" y="43"/>
                      <a:pt x="1559" y="43"/>
                      <a:pt x="1557" y="42"/>
                    </a:cubicBezTo>
                    <a:cubicBezTo>
                      <a:pt x="1557" y="42"/>
                      <a:pt x="1557" y="42"/>
                      <a:pt x="1555" y="41"/>
                    </a:cubicBezTo>
                    <a:cubicBezTo>
                      <a:pt x="1555" y="41"/>
                      <a:pt x="1555" y="41"/>
                      <a:pt x="1554" y="42"/>
                    </a:cubicBezTo>
                    <a:cubicBezTo>
                      <a:pt x="1554" y="42"/>
                      <a:pt x="1554" y="42"/>
                      <a:pt x="1554" y="43"/>
                    </a:cubicBezTo>
                    <a:cubicBezTo>
                      <a:pt x="1554" y="43"/>
                      <a:pt x="1554" y="43"/>
                      <a:pt x="1551" y="45"/>
                    </a:cubicBezTo>
                    <a:cubicBezTo>
                      <a:pt x="1551" y="45"/>
                      <a:pt x="1551" y="45"/>
                      <a:pt x="1550" y="45"/>
                    </a:cubicBezTo>
                    <a:close/>
                    <a:moveTo>
                      <a:pt x="1553" y="162"/>
                    </a:moveTo>
                    <a:cubicBezTo>
                      <a:pt x="1552" y="162"/>
                      <a:pt x="1552" y="162"/>
                      <a:pt x="1552" y="162"/>
                    </a:cubicBezTo>
                    <a:cubicBezTo>
                      <a:pt x="1552" y="163"/>
                      <a:pt x="1552" y="163"/>
                      <a:pt x="1552" y="163"/>
                    </a:cubicBezTo>
                    <a:cubicBezTo>
                      <a:pt x="1554" y="163"/>
                      <a:pt x="1554" y="163"/>
                      <a:pt x="1554" y="163"/>
                    </a:cubicBezTo>
                    <a:cubicBezTo>
                      <a:pt x="1555" y="162"/>
                      <a:pt x="1555" y="162"/>
                      <a:pt x="1555" y="162"/>
                    </a:cubicBezTo>
                    <a:cubicBezTo>
                      <a:pt x="1553" y="161"/>
                      <a:pt x="1553" y="161"/>
                      <a:pt x="1553" y="161"/>
                    </a:cubicBezTo>
                    <a:cubicBezTo>
                      <a:pt x="1553" y="162"/>
                      <a:pt x="1553" y="162"/>
                      <a:pt x="1553" y="162"/>
                    </a:cubicBezTo>
                    <a:close/>
                    <a:moveTo>
                      <a:pt x="1558" y="155"/>
                    </a:moveTo>
                    <a:cubicBezTo>
                      <a:pt x="1559" y="155"/>
                      <a:pt x="1559" y="155"/>
                      <a:pt x="1559" y="155"/>
                    </a:cubicBezTo>
                    <a:cubicBezTo>
                      <a:pt x="1559" y="154"/>
                      <a:pt x="1559" y="154"/>
                      <a:pt x="1559" y="154"/>
                    </a:cubicBezTo>
                    <a:cubicBezTo>
                      <a:pt x="1558" y="154"/>
                      <a:pt x="1558" y="154"/>
                      <a:pt x="1558" y="154"/>
                    </a:cubicBezTo>
                    <a:cubicBezTo>
                      <a:pt x="1557" y="155"/>
                      <a:pt x="1557" y="155"/>
                      <a:pt x="1557" y="155"/>
                    </a:cubicBezTo>
                    <a:cubicBezTo>
                      <a:pt x="1557" y="156"/>
                      <a:pt x="1557" y="156"/>
                      <a:pt x="1557" y="156"/>
                    </a:cubicBezTo>
                    <a:cubicBezTo>
                      <a:pt x="1558" y="157"/>
                      <a:pt x="1558" y="157"/>
                      <a:pt x="1558" y="157"/>
                    </a:cubicBezTo>
                    <a:cubicBezTo>
                      <a:pt x="1558" y="156"/>
                      <a:pt x="1558" y="156"/>
                      <a:pt x="1558" y="156"/>
                    </a:cubicBezTo>
                    <a:cubicBezTo>
                      <a:pt x="1558" y="155"/>
                      <a:pt x="1558" y="155"/>
                      <a:pt x="1558" y="155"/>
                    </a:cubicBezTo>
                    <a:close/>
                    <a:moveTo>
                      <a:pt x="1561" y="155"/>
                    </a:moveTo>
                    <a:cubicBezTo>
                      <a:pt x="1562" y="155"/>
                      <a:pt x="1562" y="155"/>
                      <a:pt x="1562" y="155"/>
                    </a:cubicBezTo>
                    <a:cubicBezTo>
                      <a:pt x="1562" y="154"/>
                      <a:pt x="1562" y="154"/>
                      <a:pt x="1562" y="154"/>
                    </a:cubicBezTo>
                    <a:cubicBezTo>
                      <a:pt x="1562" y="153"/>
                      <a:pt x="1562" y="153"/>
                      <a:pt x="1562" y="153"/>
                    </a:cubicBezTo>
                    <a:cubicBezTo>
                      <a:pt x="1561" y="153"/>
                      <a:pt x="1561" y="153"/>
                      <a:pt x="1561" y="153"/>
                    </a:cubicBezTo>
                    <a:cubicBezTo>
                      <a:pt x="1560" y="154"/>
                      <a:pt x="1560" y="154"/>
                      <a:pt x="1560" y="154"/>
                    </a:cubicBezTo>
                    <a:cubicBezTo>
                      <a:pt x="1561" y="155"/>
                      <a:pt x="1561" y="155"/>
                      <a:pt x="1561" y="155"/>
                    </a:cubicBezTo>
                    <a:close/>
                    <a:moveTo>
                      <a:pt x="1556" y="104"/>
                    </a:moveTo>
                    <a:cubicBezTo>
                      <a:pt x="1556" y="103"/>
                      <a:pt x="1556" y="103"/>
                      <a:pt x="1556" y="103"/>
                    </a:cubicBezTo>
                    <a:cubicBezTo>
                      <a:pt x="1555" y="102"/>
                      <a:pt x="1555" y="102"/>
                      <a:pt x="1555" y="102"/>
                    </a:cubicBezTo>
                    <a:cubicBezTo>
                      <a:pt x="1554" y="102"/>
                      <a:pt x="1554" y="102"/>
                      <a:pt x="1554" y="102"/>
                    </a:cubicBezTo>
                    <a:cubicBezTo>
                      <a:pt x="1553" y="103"/>
                      <a:pt x="1553" y="103"/>
                      <a:pt x="1553" y="103"/>
                    </a:cubicBezTo>
                    <a:cubicBezTo>
                      <a:pt x="1554" y="104"/>
                      <a:pt x="1554" y="104"/>
                      <a:pt x="1554" y="104"/>
                    </a:cubicBezTo>
                    <a:cubicBezTo>
                      <a:pt x="1553" y="105"/>
                      <a:pt x="1553" y="105"/>
                      <a:pt x="1553" y="105"/>
                    </a:cubicBezTo>
                    <a:cubicBezTo>
                      <a:pt x="1554" y="106"/>
                      <a:pt x="1554" y="106"/>
                      <a:pt x="1554" y="106"/>
                    </a:cubicBezTo>
                    <a:cubicBezTo>
                      <a:pt x="1555" y="105"/>
                      <a:pt x="1555" y="105"/>
                      <a:pt x="1555" y="105"/>
                    </a:cubicBezTo>
                    <a:cubicBezTo>
                      <a:pt x="1556" y="104"/>
                      <a:pt x="1556" y="104"/>
                      <a:pt x="1556" y="104"/>
                    </a:cubicBezTo>
                    <a:close/>
                    <a:moveTo>
                      <a:pt x="1558" y="164"/>
                    </a:moveTo>
                    <a:cubicBezTo>
                      <a:pt x="1559" y="164"/>
                      <a:pt x="1559" y="164"/>
                      <a:pt x="1559" y="164"/>
                    </a:cubicBezTo>
                    <a:cubicBezTo>
                      <a:pt x="1560" y="164"/>
                      <a:pt x="1560" y="164"/>
                      <a:pt x="1560" y="164"/>
                    </a:cubicBezTo>
                    <a:cubicBezTo>
                      <a:pt x="1559" y="163"/>
                      <a:pt x="1559" y="163"/>
                      <a:pt x="1559" y="163"/>
                    </a:cubicBezTo>
                    <a:cubicBezTo>
                      <a:pt x="1557" y="164"/>
                      <a:pt x="1557" y="164"/>
                      <a:pt x="1557" y="164"/>
                    </a:cubicBezTo>
                    <a:cubicBezTo>
                      <a:pt x="1558" y="164"/>
                      <a:pt x="1558" y="164"/>
                      <a:pt x="1558" y="164"/>
                    </a:cubicBezTo>
                    <a:close/>
                    <a:moveTo>
                      <a:pt x="1537" y="142"/>
                    </a:moveTo>
                    <a:cubicBezTo>
                      <a:pt x="1536" y="142"/>
                      <a:pt x="1536" y="142"/>
                      <a:pt x="1536" y="142"/>
                    </a:cubicBezTo>
                    <a:cubicBezTo>
                      <a:pt x="1537" y="144"/>
                      <a:pt x="1537" y="144"/>
                      <a:pt x="1537" y="144"/>
                    </a:cubicBezTo>
                    <a:cubicBezTo>
                      <a:pt x="1538" y="144"/>
                      <a:pt x="1538" y="144"/>
                      <a:pt x="1538" y="144"/>
                    </a:cubicBezTo>
                    <a:cubicBezTo>
                      <a:pt x="1539" y="144"/>
                      <a:pt x="1539" y="144"/>
                      <a:pt x="1539" y="144"/>
                    </a:cubicBezTo>
                    <a:cubicBezTo>
                      <a:pt x="1540" y="143"/>
                      <a:pt x="1540" y="143"/>
                      <a:pt x="1540" y="143"/>
                    </a:cubicBezTo>
                    <a:cubicBezTo>
                      <a:pt x="1540" y="142"/>
                      <a:pt x="1540" y="142"/>
                      <a:pt x="1540" y="142"/>
                    </a:cubicBezTo>
                    <a:cubicBezTo>
                      <a:pt x="1539" y="142"/>
                      <a:pt x="1539" y="142"/>
                      <a:pt x="1539" y="142"/>
                    </a:cubicBezTo>
                    <a:cubicBezTo>
                      <a:pt x="1539" y="141"/>
                      <a:pt x="1539" y="141"/>
                      <a:pt x="1539" y="141"/>
                    </a:cubicBezTo>
                    <a:cubicBezTo>
                      <a:pt x="1539" y="140"/>
                      <a:pt x="1539" y="140"/>
                      <a:pt x="1539" y="140"/>
                    </a:cubicBezTo>
                    <a:cubicBezTo>
                      <a:pt x="1538" y="140"/>
                      <a:pt x="1538" y="140"/>
                      <a:pt x="1538" y="140"/>
                    </a:cubicBezTo>
                    <a:cubicBezTo>
                      <a:pt x="1537" y="140"/>
                      <a:pt x="1537" y="140"/>
                      <a:pt x="1537" y="140"/>
                    </a:cubicBezTo>
                    <a:cubicBezTo>
                      <a:pt x="1537" y="141"/>
                      <a:pt x="1537" y="141"/>
                      <a:pt x="1537" y="141"/>
                    </a:cubicBezTo>
                    <a:cubicBezTo>
                      <a:pt x="1538" y="142"/>
                      <a:pt x="1538" y="142"/>
                      <a:pt x="1538" y="142"/>
                    </a:cubicBezTo>
                    <a:cubicBezTo>
                      <a:pt x="1538" y="143"/>
                      <a:pt x="1538" y="143"/>
                      <a:pt x="1538" y="143"/>
                    </a:cubicBezTo>
                    <a:cubicBezTo>
                      <a:pt x="1537" y="142"/>
                      <a:pt x="1537" y="142"/>
                      <a:pt x="1537" y="142"/>
                    </a:cubicBezTo>
                    <a:close/>
                    <a:moveTo>
                      <a:pt x="1462" y="245"/>
                    </a:moveTo>
                    <a:cubicBezTo>
                      <a:pt x="1461" y="245"/>
                      <a:pt x="1461" y="245"/>
                      <a:pt x="1461" y="245"/>
                    </a:cubicBezTo>
                    <a:cubicBezTo>
                      <a:pt x="1461" y="246"/>
                      <a:pt x="1461" y="246"/>
                      <a:pt x="1461" y="246"/>
                    </a:cubicBezTo>
                    <a:cubicBezTo>
                      <a:pt x="1462" y="246"/>
                      <a:pt x="1462" y="246"/>
                      <a:pt x="1462" y="246"/>
                    </a:cubicBezTo>
                    <a:cubicBezTo>
                      <a:pt x="1462" y="245"/>
                      <a:pt x="1462" y="245"/>
                      <a:pt x="1462" y="245"/>
                    </a:cubicBezTo>
                    <a:close/>
                    <a:moveTo>
                      <a:pt x="1565" y="159"/>
                    </a:moveTo>
                    <a:cubicBezTo>
                      <a:pt x="1564" y="159"/>
                      <a:pt x="1564" y="159"/>
                      <a:pt x="1564" y="159"/>
                    </a:cubicBezTo>
                    <a:cubicBezTo>
                      <a:pt x="1563" y="159"/>
                      <a:pt x="1563" y="159"/>
                      <a:pt x="1563" y="159"/>
                    </a:cubicBezTo>
                    <a:cubicBezTo>
                      <a:pt x="1563" y="160"/>
                      <a:pt x="1563" y="160"/>
                      <a:pt x="1563" y="160"/>
                    </a:cubicBezTo>
                    <a:cubicBezTo>
                      <a:pt x="1564" y="160"/>
                      <a:pt x="1564" y="160"/>
                      <a:pt x="1564" y="160"/>
                    </a:cubicBezTo>
                    <a:cubicBezTo>
                      <a:pt x="1565" y="159"/>
                      <a:pt x="1565" y="159"/>
                      <a:pt x="1565" y="159"/>
                    </a:cubicBezTo>
                    <a:close/>
                    <a:moveTo>
                      <a:pt x="1528" y="273"/>
                    </a:moveTo>
                    <a:cubicBezTo>
                      <a:pt x="1527" y="273"/>
                      <a:pt x="1527" y="273"/>
                      <a:pt x="1527" y="273"/>
                    </a:cubicBezTo>
                    <a:cubicBezTo>
                      <a:pt x="1528" y="274"/>
                      <a:pt x="1528" y="274"/>
                      <a:pt x="1528" y="274"/>
                    </a:cubicBezTo>
                    <a:cubicBezTo>
                      <a:pt x="1529" y="275"/>
                      <a:pt x="1529" y="275"/>
                      <a:pt x="1529" y="275"/>
                    </a:cubicBezTo>
                    <a:cubicBezTo>
                      <a:pt x="1530" y="275"/>
                      <a:pt x="1530" y="275"/>
                      <a:pt x="1530" y="275"/>
                    </a:cubicBezTo>
                    <a:cubicBezTo>
                      <a:pt x="1531" y="274"/>
                      <a:pt x="1531" y="274"/>
                      <a:pt x="1531" y="274"/>
                    </a:cubicBezTo>
                    <a:cubicBezTo>
                      <a:pt x="1530" y="273"/>
                      <a:pt x="1530" y="273"/>
                      <a:pt x="1530" y="273"/>
                    </a:cubicBezTo>
                    <a:cubicBezTo>
                      <a:pt x="1529" y="273"/>
                      <a:pt x="1529" y="273"/>
                      <a:pt x="1529" y="273"/>
                    </a:cubicBezTo>
                    <a:cubicBezTo>
                      <a:pt x="1528" y="273"/>
                      <a:pt x="1528" y="273"/>
                      <a:pt x="1528" y="273"/>
                    </a:cubicBezTo>
                    <a:close/>
                    <a:moveTo>
                      <a:pt x="1520" y="185"/>
                    </a:moveTo>
                    <a:cubicBezTo>
                      <a:pt x="1519" y="188"/>
                      <a:pt x="1519" y="188"/>
                      <a:pt x="1519" y="188"/>
                    </a:cubicBezTo>
                    <a:cubicBezTo>
                      <a:pt x="1520" y="189"/>
                      <a:pt x="1520" y="189"/>
                      <a:pt x="1520" y="189"/>
                    </a:cubicBezTo>
                    <a:cubicBezTo>
                      <a:pt x="1521" y="189"/>
                      <a:pt x="1521" y="189"/>
                      <a:pt x="1521" y="189"/>
                    </a:cubicBezTo>
                    <a:cubicBezTo>
                      <a:pt x="1522" y="189"/>
                      <a:pt x="1522" y="189"/>
                      <a:pt x="1522" y="189"/>
                    </a:cubicBezTo>
                    <a:cubicBezTo>
                      <a:pt x="1522" y="188"/>
                      <a:pt x="1522" y="188"/>
                      <a:pt x="1522" y="188"/>
                    </a:cubicBezTo>
                    <a:cubicBezTo>
                      <a:pt x="1522" y="187"/>
                      <a:pt x="1522" y="187"/>
                      <a:pt x="1522" y="187"/>
                    </a:cubicBezTo>
                    <a:cubicBezTo>
                      <a:pt x="1522" y="186"/>
                      <a:pt x="1522" y="186"/>
                      <a:pt x="1522" y="186"/>
                    </a:cubicBezTo>
                    <a:cubicBezTo>
                      <a:pt x="1522" y="185"/>
                      <a:pt x="1522" y="185"/>
                      <a:pt x="1522" y="185"/>
                    </a:cubicBezTo>
                    <a:cubicBezTo>
                      <a:pt x="1521" y="185"/>
                      <a:pt x="1521" y="185"/>
                      <a:pt x="1521" y="185"/>
                    </a:cubicBezTo>
                    <a:cubicBezTo>
                      <a:pt x="1520" y="185"/>
                      <a:pt x="1520" y="185"/>
                      <a:pt x="1520" y="185"/>
                    </a:cubicBezTo>
                    <a:close/>
                    <a:moveTo>
                      <a:pt x="1466" y="250"/>
                    </a:moveTo>
                    <a:cubicBezTo>
                      <a:pt x="1466" y="248"/>
                      <a:pt x="1466" y="248"/>
                      <a:pt x="1466" y="248"/>
                    </a:cubicBezTo>
                    <a:cubicBezTo>
                      <a:pt x="1464" y="247"/>
                      <a:pt x="1464" y="247"/>
                      <a:pt x="1464" y="247"/>
                    </a:cubicBezTo>
                    <a:cubicBezTo>
                      <a:pt x="1463" y="246"/>
                      <a:pt x="1463" y="246"/>
                      <a:pt x="1463" y="246"/>
                    </a:cubicBezTo>
                    <a:cubicBezTo>
                      <a:pt x="1463" y="247"/>
                      <a:pt x="1463" y="247"/>
                      <a:pt x="1463" y="247"/>
                    </a:cubicBezTo>
                    <a:cubicBezTo>
                      <a:pt x="1464" y="248"/>
                      <a:pt x="1464" y="248"/>
                      <a:pt x="1464" y="248"/>
                    </a:cubicBezTo>
                    <a:cubicBezTo>
                      <a:pt x="1466" y="250"/>
                      <a:pt x="1466" y="250"/>
                      <a:pt x="1466" y="250"/>
                    </a:cubicBezTo>
                    <a:close/>
                    <a:moveTo>
                      <a:pt x="1577" y="209"/>
                    </a:moveTo>
                    <a:cubicBezTo>
                      <a:pt x="1576" y="208"/>
                      <a:pt x="1576" y="208"/>
                      <a:pt x="1576" y="208"/>
                    </a:cubicBezTo>
                    <a:cubicBezTo>
                      <a:pt x="1576" y="209"/>
                      <a:pt x="1576" y="209"/>
                      <a:pt x="1576" y="209"/>
                    </a:cubicBezTo>
                    <a:cubicBezTo>
                      <a:pt x="1576" y="210"/>
                      <a:pt x="1576" y="210"/>
                      <a:pt x="1576" y="210"/>
                    </a:cubicBezTo>
                    <a:cubicBezTo>
                      <a:pt x="1577" y="210"/>
                      <a:pt x="1577" y="210"/>
                      <a:pt x="1577" y="210"/>
                    </a:cubicBezTo>
                    <a:cubicBezTo>
                      <a:pt x="1577" y="209"/>
                      <a:pt x="1577" y="209"/>
                      <a:pt x="1577" y="209"/>
                    </a:cubicBezTo>
                    <a:close/>
                    <a:moveTo>
                      <a:pt x="2128" y="320"/>
                    </a:moveTo>
                    <a:cubicBezTo>
                      <a:pt x="2129" y="321"/>
                      <a:pt x="2129" y="321"/>
                      <a:pt x="2129" y="321"/>
                    </a:cubicBezTo>
                    <a:cubicBezTo>
                      <a:pt x="2130" y="321"/>
                      <a:pt x="2130" y="321"/>
                      <a:pt x="2130" y="321"/>
                    </a:cubicBezTo>
                    <a:cubicBezTo>
                      <a:pt x="2132" y="321"/>
                      <a:pt x="2132" y="321"/>
                      <a:pt x="2132" y="321"/>
                    </a:cubicBezTo>
                    <a:cubicBezTo>
                      <a:pt x="2131" y="320"/>
                      <a:pt x="2131" y="320"/>
                      <a:pt x="2131" y="320"/>
                    </a:cubicBezTo>
                    <a:cubicBezTo>
                      <a:pt x="2129" y="320"/>
                      <a:pt x="2129" y="320"/>
                      <a:pt x="2129" y="320"/>
                    </a:cubicBezTo>
                    <a:cubicBezTo>
                      <a:pt x="2129" y="319"/>
                      <a:pt x="2129" y="319"/>
                      <a:pt x="2129" y="319"/>
                    </a:cubicBezTo>
                    <a:cubicBezTo>
                      <a:pt x="2127" y="319"/>
                      <a:pt x="2127" y="319"/>
                      <a:pt x="2127" y="319"/>
                    </a:cubicBezTo>
                    <a:cubicBezTo>
                      <a:pt x="2126" y="318"/>
                      <a:pt x="2126" y="318"/>
                      <a:pt x="2126" y="318"/>
                    </a:cubicBezTo>
                    <a:cubicBezTo>
                      <a:pt x="2125" y="317"/>
                      <a:pt x="2125" y="317"/>
                      <a:pt x="2125" y="317"/>
                    </a:cubicBezTo>
                    <a:cubicBezTo>
                      <a:pt x="2124" y="318"/>
                      <a:pt x="2124" y="318"/>
                      <a:pt x="2124" y="318"/>
                    </a:cubicBezTo>
                    <a:cubicBezTo>
                      <a:pt x="2125" y="319"/>
                      <a:pt x="2125" y="319"/>
                      <a:pt x="2125" y="319"/>
                    </a:cubicBezTo>
                    <a:cubicBezTo>
                      <a:pt x="2126" y="319"/>
                      <a:pt x="2126" y="319"/>
                      <a:pt x="2126" y="319"/>
                    </a:cubicBezTo>
                    <a:cubicBezTo>
                      <a:pt x="2128" y="320"/>
                      <a:pt x="2128" y="320"/>
                      <a:pt x="2128" y="320"/>
                    </a:cubicBezTo>
                    <a:close/>
                    <a:moveTo>
                      <a:pt x="2006" y="104"/>
                    </a:moveTo>
                    <a:cubicBezTo>
                      <a:pt x="2007" y="103"/>
                      <a:pt x="2007" y="103"/>
                      <a:pt x="2007" y="103"/>
                    </a:cubicBezTo>
                    <a:cubicBezTo>
                      <a:pt x="2006" y="103"/>
                      <a:pt x="2006" y="103"/>
                      <a:pt x="2006" y="103"/>
                    </a:cubicBezTo>
                    <a:cubicBezTo>
                      <a:pt x="2006" y="104"/>
                      <a:pt x="2006" y="104"/>
                      <a:pt x="2006" y="104"/>
                    </a:cubicBezTo>
                    <a:close/>
                    <a:moveTo>
                      <a:pt x="2120" y="318"/>
                    </a:moveTo>
                    <a:cubicBezTo>
                      <a:pt x="2119" y="318"/>
                      <a:pt x="2119" y="318"/>
                      <a:pt x="2119" y="318"/>
                    </a:cubicBezTo>
                    <a:cubicBezTo>
                      <a:pt x="2117" y="317"/>
                      <a:pt x="2117" y="317"/>
                      <a:pt x="2117" y="317"/>
                    </a:cubicBezTo>
                    <a:cubicBezTo>
                      <a:pt x="2117" y="316"/>
                      <a:pt x="2117" y="316"/>
                      <a:pt x="2117" y="316"/>
                    </a:cubicBezTo>
                    <a:cubicBezTo>
                      <a:pt x="2116" y="315"/>
                      <a:pt x="2116" y="315"/>
                      <a:pt x="2116" y="315"/>
                    </a:cubicBezTo>
                    <a:cubicBezTo>
                      <a:pt x="2115" y="314"/>
                      <a:pt x="2115" y="314"/>
                      <a:pt x="2115" y="314"/>
                    </a:cubicBezTo>
                    <a:cubicBezTo>
                      <a:pt x="2115" y="313"/>
                      <a:pt x="2115" y="313"/>
                      <a:pt x="2115" y="313"/>
                    </a:cubicBezTo>
                    <a:cubicBezTo>
                      <a:pt x="2114" y="313"/>
                      <a:pt x="2114" y="313"/>
                      <a:pt x="2114" y="313"/>
                    </a:cubicBezTo>
                    <a:cubicBezTo>
                      <a:pt x="2113" y="313"/>
                      <a:pt x="2113" y="313"/>
                      <a:pt x="2113" y="313"/>
                    </a:cubicBezTo>
                    <a:cubicBezTo>
                      <a:pt x="2112" y="313"/>
                      <a:pt x="2112" y="313"/>
                      <a:pt x="2112" y="313"/>
                    </a:cubicBezTo>
                    <a:cubicBezTo>
                      <a:pt x="2111" y="314"/>
                      <a:pt x="2111" y="314"/>
                      <a:pt x="2111" y="314"/>
                    </a:cubicBezTo>
                    <a:cubicBezTo>
                      <a:pt x="2111" y="315"/>
                      <a:pt x="2111" y="315"/>
                      <a:pt x="2111" y="315"/>
                    </a:cubicBezTo>
                    <a:cubicBezTo>
                      <a:pt x="2112" y="315"/>
                      <a:pt x="2112" y="315"/>
                      <a:pt x="2112" y="315"/>
                    </a:cubicBezTo>
                    <a:cubicBezTo>
                      <a:pt x="2113" y="315"/>
                      <a:pt x="2113" y="315"/>
                      <a:pt x="2113" y="315"/>
                    </a:cubicBezTo>
                    <a:cubicBezTo>
                      <a:pt x="2114" y="316"/>
                      <a:pt x="2114" y="316"/>
                      <a:pt x="2114" y="316"/>
                    </a:cubicBezTo>
                    <a:cubicBezTo>
                      <a:pt x="2115" y="318"/>
                      <a:pt x="2115" y="318"/>
                      <a:pt x="2115" y="318"/>
                    </a:cubicBezTo>
                    <a:cubicBezTo>
                      <a:pt x="2116" y="318"/>
                      <a:pt x="2116" y="318"/>
                      <a:pt x="2116" y="318"/>
                    </a:cubicBezTo>
                    <a:cubicBezTo>
                      <a:pt x="2117" y="319"/>
                      <a:pt x="2117" y="319"/>
                      <a:pt x="2117" y="319"/>
                    </a:cubicBezTo>
                    <a:cubicBezTo>
                      <a:pt x="2118" y="319"/>
                      <a:pt x="2118" y="319"/>
                      <a:pt x="2118" y="319"/>
                    </a:cubicBezTo>
                    <a:cubicBezTo>
                      <a:pt x="2119" y="320"/>
                      <a:pt x="2119" y="320"/>
                      <a:pt x="2119" y="320"/>
                    </a:cubicBezTo>
                    <a:cubicBezTo>
                      <a:pt x="2121" y="320"/>
                      <a:pt x="2121" y="320"/>
                      <a:pt x="2121" y="320"/>
                    </a:cubicBezTo>
                    <a:cubicBezTo>
                      <a:pt x="2120" y="318"/>
                      <a:pt x="2120" y="318"/>
                      <a:pt x="2120" y="318"/>
                    </a:cubicBezTo>
                    <a:close/>
                    <a:moveTo>
                      <a:pt x="1434" y="154"/>
                    </a:moveTo>
                    <a:cubicBezTo>
                      <a:pt x="1432" y="155"/>
                      <a:pt x="1432" y="155"/>
                      <a:pt x="1432" y="155"/>
                    </a:cubicBezTo>
                    <a:cubicBezTo>
                      <a:pt x="1431" y="156"/>
                      <a:pt x="1431" y="156"/>
                      <a:pt x="1431" y="156"/>
                    </a:cubicBezTo>
                    <a:cubicBezTo>
                      <a:pt x="1432" y="156"/>
                      <a:pt x="1432" y="156"/>
                      <a:pt x="1432" y="156"/>
                    </a:cubicBezTo>
                    <a:cubicBezTo>
                      <a:pt x="1434" y="154"/>
                      <a:pt x="1434" y="154"/>
                      <a:pt x="1434" y="154"/>
                    </a:cubicBezTo>
                    <a:close/>
                    <a:moveTo>
                      <a:pt x="1570" y="162"/>
                    </a:moveTo>
                    <a:cubicBezTo>
                      <a:pt x="1569" y="162"/>
                      <a:pt x="1569" y="162"/>
                      <a:pt x="1569" y="162"/>
                    </a:cubicBezTo>
                    <a:cubicBezTo>
                      <a:pt x="1568" y="161"/>
                      <a:pt x="1568" y="161"/>
                      <a:pt x="1568" y="161"/>
                    </a:cubicBezTo>
                    <a:cubicBezTo>
                      <a:pt x="1569" y="163"/>
                      <a:pt x="1569" y="163"/>
                      <a:pt x="1569" y="163"/>
                    </a:cubicBezTo>
                    <a:cubicBezTo>
                      <a:pt x="1570" y="162"/>
                      <a:pt x="1570" y="162"/>
                      <a:pt x="1570" y="162"/>
                    </a:cubicBezTo>
                    <a:close/>
                    <a:moveTo>
                      <a:pt x="1477" y="52"/>
                    </a:moveTo>
                    <a:cubicBezTo>
                      <a:pt x="1477" y="52"/>
                      <a:pt x="1477" y="52"/>
                      <a:pt x="1479" y="52"/>
                    </a:cubicBezTo>
                    <a:cubicBezTo>
                      <a:pt x="1479" y="52"/>
                      <a:pt x="1479" y="52"/>
                      <a:pt x="1481" y="52"/>
                    </a:cubicBezTo>
                    <a:cubicBezTo>
                      <a:pt x="1481" y="52"/>
                      <a:pt x="1481" y="52"/>
                      <a:pt x="1481" y="51"/>
                    </a:cubicBezTo>
                    <a:cubicBezTo>
                      <a:pt x="1481" y="51"/>
                      <a:pt x="1481" y="51"/>
                      <a:pt x="1481" y="49"/>
                    </a:cubicBezTo>
                    <a:cubicBezTo>
                      <a:pt x="1481" y="49"/>
                      <a:pt x="1481" y="49"/>
                      <a:pt x="1479" y="49"/>
                    </a:cubicBezTo>
                    <a:cubicBezTo>
                      <a:pt x="1479" y="49"/>
                      <a:pt x="1479" y="49"/>
                      <a:pt x="1477" y="49"/>
                    </a:cubicBezTo>
                    <a:cubicBezTo>
                      <a:pt x="1477" y="49"/>
                      <a:pt x="1477" y="49"/>
                      <a:pt x="1475" y="50"/>
                    </a:cubicBezTo>
                    <a:cubicBezTo>
                      <a:pt x="1475" y="50"/>
                      <a:pt x="1475" y="50"/>
                      <a:pt x="1475" y="51"/>
                    </a:cubicBezTo>
                    <a:cubicBezTo>
                      <a:pt x="1475" y="51"/>
                      <a:pt x="1475" y="51"/>
                      <a:pt x="1476" y="52"/>
                    </a:cubicBezTo>
                    <a:lnTo>
                      <a:pt x="1477" y="52"/>
                    </a:lnTo>
                    <a:close/>
                    <a:moveTo>
                      <a:pt x="1480" y="78"/>
                    </a:moveTo>
                    <a:cubicBezTo>
                      <a:pt x="1479" y="77"/>
                      <a:pt x="1479" y="77"/>
                      <a:pt x="1479" y="77"/>
                    </a:cubicBezTo>
                    <a:cubicBezTo>
                      <a:pt x="1479" y="78"/>
                      <a:pt x="1479" y="78"/>
                      <a:pt x="1479" y="78"/>
                    </a:cubicBezTo>
                    <a:cubicBezTo>
                      <a:pt x="1478" y="78"/>
                      <a:pt x="1478" y="78"/>
                      <a:pt x="1478" y="78"/>
                    </a:cubicBezTo>
                    <a:cubicBezTo>
                      <a:pt x="1479" y="79"/>
                      <a:pt x="1479" y="79"/>
                      <a:pt x="1479" y="79"/>
                    </a:cubicBezTo>
                    <a:cubicBezTo>
                      <a:pt x="1480" y="79"/>
                      <a:pt x="1480" y="79"/>
                      <a:pt x="1480" y="79"/>
                    </a:cubicBezTo>
                    <a:cubicBezTo>
                      <a:pt x="1481" y="80"/>
                      <a:pt x="1481" y="80"/>
                      <a:pt x="1481" y="80"/>
                    </a:cubicBezTo>
                    <a:cubicBezTo>
                      <a:pt x="1482" y="80"/>
                      <a:pt x="1482" y="80"/>
                      <a:pt x="1482" y="80"/>
                    </a:cubicBezTo>
                    <a:cubicBezTo>
                      <a:pt x="1483" y="79"/>
                      <a:pt x="1483" y="79"/>
                      <a:pt x="1483" y="79"/>
                    </a:cubicBezTo>
                    <a:cubicBezTo>
                      <a:pt x="1483" y="78"/>
                      <a:pt x="1483" y="78"/>
                      <a:pt x="1483" y="78"/>
                    </a:cubicBezTo>
                    <a:cubicBezTo>
                      <a:pt x="1481" y="78"/>
                      <a:pt x="1481" y="78"/>
                      <a:pt x="1481" y="78"/>
                    </a:cubicBezTo>
                    <a:cubicBezTo>
                      <a:pt x="1480" y="78"/>
                      <a:pt x="1480" y="78"/>
                      <a:pt x="1480" y="78"/>
                    </a:cubicBezTo>
                    <a:close/>
                    <a:moveTo>
                      <a:pt x="1498" y="188"/>
                    </a:moveTo>
                    <a:cubicBezTo>
                      <a:pt x="1498" y="189"/>
                      <a:pt x="1498" y="189"/>
                      <a:pt x="1498" y="189"/>
                    </a:cubicBezTo>
                    <a:cubicBezTo>
                      <a:pt x="1499" y="190"/>
                      <a:pt x="1499" y="190"/>
                      <a:pt x="1499" y="190"/>
                    </a:cubicBezTo>
                    <a:cubicBezTo>
                      <a:pt x="1500" y="190"/>
                      <a:pt x="1500" y="190"/>
                      <a:pt x="1500" y="190"/>
                    </a:cubicBezTo>
                    <a:cubicBezTo>
                      <a:pt x="1500" y="189"/>
                      <a:pt x="1500" y="189"/>
                      <a:pt x="1500" y="189"/>
                    </a:cubicBezTo>
                    <a:cubicBezTo>
                      <a:pt x="1501" y="190"/>
                      <a:pt x="1501" y="190"/>
                      <a:pt x="1501" y="190"/>
                    </a:cubicBezTo>
                    <a:cubicBezTo>
                      <a:pt x="1502" y="190"/>
                      <a:pt x="1502" y="190"/>
                      <a:pt x="1502" y="190"/>
                    </a:cubicBezTo>
                    <a:cubicBezTo>
                      <a:pt x="1503" y="190"/>
                      <a:pt x="1503" y="190"/>
                      <a:pt x="1503" y="190"/>
                    </a:cubicBezTo>
                    <a:cubicBezTo>
                      <a:pt x="1503" y="189"/>
                      <a:pt x="1503" y="189"/>
                      <a:pt x="1503" y="189"/>
                    </a:cubicBezTo>
                    <a:cubicBezTo>
                      <a:pt x="1505" y="188"/>
                      <a:pt x="1505" y="188"/>
                      <a:pt x="1505" y="188"/>
                    </a:cubicBezTo>
                    <a:cubicBezTo>
                      <a:pt x="1506" y="187"/>
                      <a:pt x="1506" y="187"/>
                      <a:pt x="1506" y="187"/>
                    </a:cubicBezTo>
                    <a:cubicBezTo>
                      <a:pt x="1505" y="185"/>
                      <a:pt x="1505" y="185"/>
                      <a:pt x="1505" y="185"/>
                    </a:cubicBezTo>
                    <a:cubicBezTo>
                      <a:pt x="1504" y="184"/>
                      <a:pt x="1504" y="184"/>
                      <a:pt x="1504" y="184"/>
                    </a:cubicBezTo>
                    <a:cubicBezTo>
                      <a:pt x="1504" y="183"/>
                      <a:pt x="1504" y="183"/>
                      <a:pt x="1504" y="183"/>
                    </a:cubicBezTo>
                    <a:cubicBezTo>
                      <a:pt x="1502" y="182"/>
                      <a:pt x="1502" y="182"/>
                      <a:pt x="1502" y="182"/>
                    </a:cubicBezTo>
                    <a:cubicBezTo>
                      <a:pt x="1501" y="182"/>
                      <a:pt x="1501" y="182"/>
                      <a:pt x="1501" y="182"/>
                    </a:cubicBezTo>
                    <a:cubicBezTo>
                      <a:pt x="1500" y="183"/>
                      <a:pt x="1500" y="183"/>
                      <a:pt x="1500" y="183"/>
                    </a:cubicBezTo>
                    <a:cubicBezTo>
                      <a:pt x="1499" y="183"/>
                      <a:pt x="1499" y="183"/>
                      <a:pt x="1499" y="183"/>
                    </a:cubicBezTo>
                    <a:cubicBezTo>
                      <a:pt x="1497" y="184"/>
                      <a:pt x="1497" y="184"/>
                      <a:pt x="1497" y="184"/>
                    </a:cubicBezTo>
                    <a:cubicBezTo>
                      <a:pt x="1497" y="185"/>
                      <a:pt x="1497" y="185"/>
                      <a:pt x="1497" y="185"/>
                    </a:cubicBezTo>
                    <a:cubicBezTo>
                      <a:pt x="1498" y="186"/>
                      <a:pt x="1498" y="186"/>
                      <a:pt x="1498" y="186"/>
                    </a:cubicBezTo>
                    <a:cubicBezTo>
                      <a:pt x="1498" y="188"/>
                      <a:pt x="1498" y="188"/>
                      <a:pt x="1498" y="188"/>
                    </a:cubicBezTo>
                    <a:close/>
                    <a:moveTo>
                      <a:pt x="1385" y="85"/>
                    </a:moveTo>
                    <a:cubicBezTo>
                      <a:pt x="1386" y="86"/>
                      <a:pt x="1386" y="86"/>
                      <a:pt x="1386" y="86"/>
                    </a:cubicBezTo>
                    <a:cubicBezTo>
                      <a:pt x="1386" y="85"/>
                      <a:pt x="1386" y="85"/>
                      <a:pt x="1386" y="85"/>
                    </a:cubicBezTo>
                    <a:cubicBezTo>
                      <a:pt x="1386" y="84"/>
                      <a:pt x="1386" y="84"/>
                      <a:pt x="1386" y="84"/>
                    </a:cubicBezTo>
                    <a:cubicBezTo>
                      <a:pt x="1385" y="84"/>
                      <a:pt x="1385" y="84"/>
                      <a:pt x="1385" y="84"/>
                    </a:cubicBezTo>
                    <a:cubicBezTo>
                      <a:pt x="1385" y="85"/>
                      <a:pt x="1385" y="85"/>
                      <a:pt x="1385" y="85"/>
                    </a:cubicBezTo>
                    <a:close/>
                    <a:moveTo>
                      <a:pt x="1328" y="361"/>
                    </a:moveTo>
                    <a:cubicBezTo>
                      <a:pt x="1326" y="359"/>
                      <a:pt x="1326" y="359"/>
                      <a:pt x="1326" y="359"/>
                    </a:cubicBezTo>
                    <a:cubicBezTo>
                      <a:pt x="1326" y="361"/>
                      <a:pt x="1326" y="361"/>
                      <a:pt x="1326" y="361"/>
                    </a:cubicBezTo>
                    <a:cubicBezTo>
                      <a:pt x="1327" y="361"/>
                      <a:pt x="1327" y="361"/>
                      <a:pt x="1327" y="361"/>
                    </a:cubicBezTo>
                    <a:cubicBezTo>
                      <a:pt x="1328" y="361"/>
                      <a:pt x="1328" y="361"/>
                      <a:pt x="1328" y="361"/>
                    </a:cubicBezTo>
                    <a:close/>
                    <a:moveTo>
                      <a:pt x="1442" y="263"/>
                    </a:moveTo>
                    <a:cubicBezTo>
                      <a:pt x="1443" y="263"/>
                      <a:pt x="1443" y="263"/>
                      <a:pt x="1443" y="263"/>
                    </a:cubicBezTo>
                    <a:cubicBezTo>
                      <a:pt x="1444" y="263"/>
                      <a:pt x="1444" y="263"/>
                      <a:pt x="1444" y="263"/>
                    </a:cubicBezTo>
                    <a:cubicBezTo>
                      <a:pt x="1443" y="262"/>
                      <a:pt x="1443" y="262"/>
                      <a:pt x="1443" y="262"/>
                    </a:cubicBezTo>
                    <a:cubicBezTo>
                      <a:pt x="1442" y="263"/>
                      <a:pt x="1442" y="263"/>
                      <a:pt x="1442" y="263"/>
                    </a:cubicBezTo>
                    <a:close/>
                    <a:moveTo>
                      <a:pt x="1358" y="309"/>
                    </a:moveTo>
                    <a:cubicBezTo>
                      <a:pt x="1357" y="308"/>
                      <a:pt x="1357" y="308"/>
                      <a:pt x="1357" y="308"/>
                    </a:cubicBezTo>
                    <a:cubicBezTo>
                      <a:pt x="1357" y="307"/>
                      <a:pt x="1357" y="307"/>
                      <a:pt x="1357" y="307"/>
                    </a:cubicBezTo>
                    <a:cubicBezTo>
                      <a:pt x="1356" y="307"/>
                      <a:pt x="1356" y="307"/>
                      <a:pt x="1356" y="307"/>
                    </a:cubicBezTo>
                    <a:cubicBezTo>
                      <a:pt x="1356" y="308"/>
                      <a:pt x="1356" y="308"/>
                      <a:pt x="1356" y="308"/>
                    </a:cubicBezTo>
                    <a:cubicBezTo>
                      <a:pt x="1357" y="309"/>
                      <a:pt x="1357" y="309"/>
                      <a:pt x="1357" y="309"/>
                    </a:cubicBezTo>
                    <a:cubicBezTo>
                      <a:pt x="1357" y="310"/>
                      <a:pt x="1357" y="310"/>
                      <a:pt x="1357" y="310"/>
                    </a:cubicBezTo>
                    <a:cubicBezTo>
                      <a:pt x="1358" y="309"/>
                      <a:pt x="1358" y="309"/>
                      <a:pt x="1358" y="309"/>
                    </a:cubicBezTo>
                    <a:close/>
                    <a:moveTo>
                      <a:pt x="1460" y="256"/>
                    </a:moveTo>
                    <a:cubicBezTo>
                      <a:pt x="1461" y="256"/>
                      <a:pt x="1461" y="256"/>
                      <a:pt x="1461" y="256"/>
                    </a:cubicBezTo>
                    <a:cubicBezTo>
                      <a:pt x="1460" y="255"/>
                      <a:pt x="1460" y="255"/>
                      <a:pt x="1460" y="255"/>
                    </a:cubicBezTo>
                    <a:cubicBezTo>
                      <a:pt x="1458" y="256"/>
                      <a:pt x="1458" y="256"/>
                      <a:pt x="1458" y="256"/>
                    </a:cubicBezTo>
                    <a:cubicBezTo>
                      <a:pt x="1457" y="257"/>
                      <a:pt x="1457" y="257"/>
                      <a:pt x="1457" y="257"/>
                    </a:cubicBezTo>
                    <a:cubicBezTo>
                      <a:pt x="1458" y="257"/>
                      <a:pt x="1458" y="257"/>
                      <a:pt x="1458" y="257"/>
                    </a:cubicBezTo>
                    <a:cubicBezTo>
                      <a:pt x="1460" y="256"/>
                      <a:pt x="1460" y="256"/>
                      <a:pt x="1460" y="256"/>
                    </a:cubicBezTo>
                    <a:close/>
                    <a:moveTo>
                      <a:pt x="1384" y="87"/>
                    </a:moveTo>
                    <a:cubicBezTo>
                      <a:pt x="1384" y="86"/>
                      <a:pt x="1384" y="86"/>
                      <a:pt x="1384" y="86"/>
                    </a:cubicBezTo>
                    <a:cubicBezTo>
                      <a:pt x="1384" y="85"/>
                      <a:pt x="1384" y="85"/>
                      <a:pt x="1384" y="85"/>
                    </a:cubicBezTo>
                    <a:cubicBezTo>
                      <a:pt x="1383" y="85"/>
                      <a:pt x="1383" y="85"/>
                      <a:pt x="1383" y="85"/>
                    </a:cubicBezTo>
                    <a:cubicBezTo>
                      <a:pt x="1382" y="84"/>
                      <a:pt x="1382" y="84"/>
                      <a:pt x="1382" y="84"/>
                    </a:cubicBezTo>
                    <a:cubicBezTo>
                      <a:pt x="1381" y="84"/>
                      <a:pt x="1381" y="84"/>
                      <a:pt x="1381" y="84"/>
                    </a:cubicBezTo>
                    <a:cubicBezTo>
                      <a:pt x="1380" y="84"/>
                      <a:pt x="1380" y="84"/>
                      <a:pt x="1380" y="84"/>
                    </a:cubicBezTo>
                    <a:cubicBezTo>
                      <a:pt x="1381" y="85"/>
                      <a:pt x="1381" y="85"/>
                      <a:pt x="1381" y="85"/>
                    </a:cubicBezTo>
                    <a:cubicBezTo>
                      <a:pt x="1381" y="86"/>
                      <a:pt x="1381" y="86"/>
                      <a:pt x="1381" y="86"/>
                    </a:cubicBezTo>
                    <a:cubicBezTo>
                      <a:pt x="1380" y="87"/>
                      <a:pt x="1380" y="87"/>
                      <a:pt x="1380" y="87"/>
                    </a:cubicBezTo>
                    <a:cubicBezTo>
                      <a:pt x="1380" y="88"/>
                      <a:pt x="1380" y="88"/>
                      <a:pt x="1380" y="88"/>
                    </a:cubicBezTo>
                    <a:cubicBezTo>
                      <a:pt x="1382" y="88"/>
                      <a:pt x="1382" y="88"/>
                      <a:pt x="1382" y="88"/>
                    </a:cubicBezTo>
                    <a:cubicBezTo>
                      <a:pt x="1384" y="87"/>
                      <a:pt x="1384" y="87"/>
                      <a:pt x="1384" y="87"/>
                    </a:cubicBezTo>
                    <a:close/>
                    <a:moveTo>
                      <a:pt x="1518" y="32"/>
                    </a:moveTo>
                    <a:cubicBezTo>
                      <a:pt x="1518" y="32"/>
                      <a:pt x="1518" y="32"/>
                      <a:pt x="1519" y="31"/>
                    </a:cubicBezTo>
                    <a:cubicBezTo>
                      <a:pt x="1519" y="31"/>
                      <a:pt x="1519" y="31"/>
                      <a:pt x="1520" y="30"/>
                    </a:cubicBezTo>
                    <a:cubicBezTo>
                      <a:pt x="1520" y="30"/>
                      <a:pt x="1520" y="30"/>
                      <a:pt x="1518" y="29"/>
                    </a:cubicBezTo>
                    <a:cubicBezTo>
                      <a:pt x="1518" y="29"/>
                      <a:pt x="1518" y="29"/>
                      <a:pt x="1517" y="29"/>
                    </a:cubicBezTo>
                    <a:cubicBezTo>
                      <a:pt x="1517" y="29"/>
                      <a:pt x="1517" y="29"/>
                      <a:pt x="1516" y="31"/>
                    </a:cubicBezTo>
                    <a:cubicBezTo>
                      <a:pt x="1516" y="31"/>
                      <a:pt x="1516" y="31"/>
                      <a:pt x="1515" y="32"/>
                    </a:cubicBezTo>
                    <a:cubicBezTo>
                      <a:pt x="1515" y="32"/>
                      <a:pt x="1515" y="32"/>
                      <a:pt x="1517" y="33"/>
                    </a:cubicBezTo>
                    <a:cubicBezTo>
                      <a:pt x="1517" y="33"/>
                      <a:pt x="1517" y="33"/>
                      <a:pt x="1518" y="32"/>
                    </a:cubicBezTo>
                    <a:close/>
                    <a:moveTo>
                      <a:pt x="1583" y="55"/>
                    </a:moveTo>
                    <a:cubicBezTo>
                      <a:pt x="1583" y="57"/>
                      <a:pt x="1583" y="57"/>
                      <a:pt x="1583" y="57"/>
                    </a:cubicBezTo>
                    <a:cubicBezTo>
                      <a:pt x="1584" y="57"/>
                      <a:pt x="1584" y="57"/>
                      <a:pt x="1584" y="57"/>
                    </a:cubicBezTo>
                    <a:cubicBezTo>
                      <a:pt x="1585" y="58"/>
                      <a:pt x="1585" y="58"/>
                      <a:pt x="1585" y="58"/>
                    </a:cubicBezTo>
                    <a:cubicBezTo>
                      <a:pt x="1585" y="59"/>
                      <a:pt x="1585" y="59"/>
                      <a:pt x="1585" y="59"/>
                    </a:cubicBezTo>
                    <a:cubicBezTo>
                      <a:pt x="1586" y="62"/>
                      <a:pt x="1586" y="62"/>
                      <a:pt x="1586" y="62"/>
                    </a:cubicBezTo>
                    <a:cubicBezTo>
                      <a:pt x="1587" y="63"/>
                      <a:pt x="1587" y="63"/>
                      <a:pt x="1587" y="63"/>
                    </a:cubicBezTo>
                    <a:cubicBezTo>
                      <a:pt x="1588" y="63"/>
                      <a:pt x="1588" y="63"/>
                      <a:pt x="1588" y="63"/>
                    </a:cubicBezTo>
                    <a:cubicBezTo>
                      <a:pt x="1587" y="64"/>
                      <a:pt x="1587" y="64"/>
                      <a:pt x="1587" y="64"/>
                    </a:cubicBezTo>
                    <a:cubicBezTo>
                      <a:pt x="1586" y="64"/>
                      <a:pt x="1586" y="64"/>
                      <a:pt x="1586" y="64"/>
                    </a:cubicBezTo>
                    <a:cubicBezTo>
                      <a:pt x="1585" y="66"/>
                      <a:pt x="1585" y="66"/>
                      <a:pt x="1585" y="66"/>
                    </a:cubicBezTo>
                    <a:cubicBezTo>
                      <a:pt x="1587" y="69"/>
                      <a:pt x="1587" y="69"/>
                      <a:pt x="1587" y="69"/>
                    </a:cubicBezTo>
                    <a:cubicBezTo>
                      <a:pt x="1587" y="70"/>
                      <a:pt x="1587" y="70"/>
                      <a:pt x="1587" y="70"/>
                    </a:cubicBezTo>
                    <a:cubicBezTo>
                      <a:pt x="1587" y="72"/>
                      <a:pt x="1587" y="72"/>
                      <a:pt x="1587" y="72"/>
                    </a:cubicBezTo>
                    <a:cubicBezTo>
                      <a:pt x="1588" y="72"/>
                      <a:pt x="1588" y="72"/>
                      <a:pt x="1588" y="72"/>
                    </a:cubicBezTo>
                    <a:cubicBezTo>
                      <a:pt x="1588" y="73"/>
                      <a:pt x="1588" y="73"/>
                      <a:pt x="1588" y="73"/>
                    </a:cubicBezTo>
                    <a:cubicBezTo>
                      <a:pt x="1587" y="74"/>
                      <a:pt x="1587" y="74"/>
                      <a:pt x="1587" y="74"/>
                    </a:cubicBezTo>
                    <a:cubicBezTo>
                      <a:pt x="1588" y="76"/>
                      <a:pt x="1588" y="76"/>
                      <a:pt x="1588" y="76"/>
                    </a:cubicBezTo>
                    <a:cubicBezTo>
                      <a:pt x="1589" y="78"/>
                      <a:pt x="1589" y="78"/>
                      <a:pt x="1589" y="78"/>
                    </a:cubicBezTo>
                    <a:cubicBezTo>
                      <a:pt x="1590" y="79"/>
                      <a:pt x="1590" y="79"/>
                      <a:pt x="1590" y="79"/>
                    </a:cubicBezTo>
                    <a:cubicBezTo>
                      <a:pt x="1590" y="80"/>
                      <a:pt x="1590" y="80"/>
                      <a:pt x="1590" y="80"/>
                    </a:cubicBezTo>
                    <a:cubicBezTo>
                      <a:pt x="1591" y="81"/>
                      <a:pt x="1591" y="81"/>
                      <a:pt x="1591" y="81"/>
                    </a:cubicBezTo>
                    <a:cubicBezTo>
                      <a:pt x="1591" y="80"/>
                      <a:pt x="1592" y="80"/>
                      <a:pt x="1592" y="80"/>
                    </a:cubicBezTo>
                    <a:cubicBezTo>
                      <a:pt x="1593" y="79"/>
                      <a:pt x="1593" y="79"/>
                      <a:pt x="1593" y="79"/>
                    </a:cubicBezTo>
                    <a:cubicBezTo>
                      <a:pt x="1594" y="77"/>
                      <a:pt x="1594" y="77"/>
                      <a:pt x="1594" y="77"/>
                    </a:cubicBezTo>
                    <a:cubicBezTo>
                      <a:pt x="1595" y="76"/>
                      <a:pt x="1595" y="76"/>
                      <a:pt x="1595" y="76"/>
                    </a:cubicBezTo>
                    <a:cubicBezTo>
                      <a:pt x="1595" y="75"/>
                      <a:pt x="1595" y="75"/>
                      <a:pt x="1595" y="75"/>
                    </a:cubicBezTo>
                    <a:cubicBezTo>
                      <a:pt x="1595" y="74"/>
                      <a:pt x="1595" y="74"/>
                      <a:pt x="1595" y="74"/>
                    </a:cubicBezTo>
                    <a:cubicBezTo>
                      <a:pt x="1598" y="73"/>
                      <a:pt x="1598" y="73"/>
                      <a:pt x="1598" y="73"/>
                    </a:cubicBezTo>
                    <a:cubicBezTo>
                      <a:pt x="1599" y="72"/>
                      <a:pt x="1599" y="72"/>
                      <a:pt x="1599" y="72"/>
                    </a:cubicBezTo>
                    <a:cubicBezTo>
                      <a:pt x="1600" y="73"/>
                      <a:pt x="1600" y="73"/>
                      <a:pt x="1600" y="73"/>
                    </a:cubicBezTo>
                    <a:cubicBezTo>
                      <a:pt x="1601" y="73"/>
                      <a:pt x="1601" y="73"/>
                      <a:pt x="1601" y="73"/>
                    </a:cubicBezTo>
                    <a:cubicBezTo>
                      <a:pt x="1601" y="72"/>
                      <a:pt x="1601" y="72"/>
                      <a:pt x="1601" y="72"/>
                    </a:cubicBezTo>
                    <a:cubicBezTo>
                      <a:pt x="1602" y="71"/>
                      <a:pt x="1602" y="71"/>
                      <a:pt x="1602" y="71"/>
                    </a:cubicBezTo>
                    <a:cubicBezTo>
                      <a:pt x="1603" y="70"/>
                      <a:pt x="1603" y="70"/>
                      <a:pt x="1603" y="70"/>
                    </a:cubicBezTo>
                    <a:cubicBezTo>
                      <a:pt x="1605" y="69"/>
                      <a:pt x="1605" y="69"/>
                      <a:pt x="1605" y="69"/>
                    </a:cubicBezTo>
                    <a:cubicBezTo>
                      <a:pt x="1606" y="68"/>
                      <a:pt x="1606" y="68"/>
                      <a:pt x="1606" y="68"/>
                    </a:cubicBezTo>
                    <a:cubicBezTo>
                      <a:pt x="1607" y="67"/>
                      <a:pt x="1607" y="67"/>
                      <a:pt x="1607" y="67"/>
                    </a:cubicBezTo>
                    <a:cubicBezTo>
                      <a:pt x="1608" y="65"/>
                      <a:pt x="1608" y="65"/>
                      <a:pt x="1608" y="65"/>
                    </a:cubicBezTo>
                    <a:cubicBezTo>
                      <a:pt x="1607" y="63"/>
                      <a:pt x="1607" y="63"/>
                      <a:pt x="1607" y="63"/>
                    </a:cubicBezTo>
                    <a:cubicBezTo>
                      <a:pt x="1606" y="61"/>
                      <a:pt x="1606" y="61"/>
                      <a:pt x="1606" y="61"/>
                    </a:cubicBezTo>
                    <a:cubicBezTo>
                      <a:pt x="1605" y="60"/>
                      <a:pt x="1605" y="60"/>
                      <a:pt x="1605" y="60"/>
                    </a:cubicBezTo>
                    <a:cubicBezTo>
                      <a:pt x="1605" y="59"/>
                      <a:pt x="1605" y="59"/>
                      <a:pt x="1605" y="59"/>
                    </a:cubicBezTo>
                    <a:cubicBezTo>
                      <a:pt x="1603" y="57"/>
                      <a:pt x="1603" y="57"/>
                      <a:pt x="1603" y="57"/>
                    </a:cubicBezTo>
                    <a:cubicBezTo>
                      <a:pt x="1602" y="57"/>
                      <a:pt x="1602" y="57"/>
                      <a:pt x="1602" y="57"/>
                    </a:cubicBezTo>
                    <a:cubicBezTo>
                      <a:pt x="1601" y="58"/>
                      <a:pt x="1601" y="58"/>
                      <a:pt x="1601" y="58"/>
                    </a:cubicBezTo>
                    <a:cubicBezTo>
                      <a:pt x="1600" y="57"/>
                      <a:pt x="1600" y="57"/>
                      <a:pt x="1600" y="57"/>
                    </a:cubicBezTo>
                    <a:cubicBezTo>
                      <a:pt x="1599" y="56"/>
                      <a:pt x="1599" y="56"/>
                      <a:pt x="1599" y="56"/>
                    </a:cubicBezTo>
                    <a:cubicBezTo>
                      <a:pt x="1597" y="55"/>
                      <a:pt x="1597" y="55"/>
                      <a:pt x="1597" y="55"/>
                    </a:cubicBezTo>
                    <a:cubicBezTo>
                      <a:pt x="1596" y="55"/>
                      <a:pt x="1596" y="55"/>
                      <a:pt x="1596" y="55"/>
                    </a:cubicBezTo>
                    <a:cubicBezTo>
                      <a:pt x="1595" y="55"/>
                      <a:pt x="1595" y="55"/>
                      <a:pt x="1595" y="55"/>
                    </a:cubicBezTo>
                    <a:cubicBezTo>
                      <a:pt x="1595" y="54"/>
                      <a:pt x="1595" y="54"/>
                      <a:pt x="1595" y="54"/>
                    </a:cubicBezTo>
                    <a:cubicBezTo>
                      <a:pt x="1594" y="53"/>
                      <a:pt x="1594" y="53"/>
                      <a:pt x="1594" y="53"/>
                    </a:cubicBezTo>
                    <a:cubicBezTo>
                      <a:pt x="1593" y="53"/>
                      <a:pt x="1593" y="53"/>
                      <a:pt x="1593" y="53"/>
                    </a:cubicBezTo>
                    <a:cubicBezTo>
                      <a:pt x="1593" y="54"/>
                      <a:pt x="1593" y="54"/>
                      <a:pt x="1593" y="54"/>
                    </a:cubicBezTo>
                    <a:cubicBezTo>
                      <a:pt x="1592" y="54"/>
                      <a:pt x="1592" y="54"/>
                      <a:pt x="1592" y="54"/>
                    </a:cubicBezTo>
                    <a:cubicBezTo>
                      <a:pt x="1591" y="52"/>
                      <a:pt x="1591" y="52"/>
                      <a:pt x="1591" y="52"/>
                    </a:cubicBezTo>
                    <a:cubicBezTo>
                      <a:pt x="1590" y="52"/>
                      <a:pt x="1590" y="52"/>
                      <a:pt x="1590" y="52"/>
                    </a:cubicBezTo>
                    <a:cubicBezTo>
                      <a:pt x="1590" y="53"/>
                      <a:pt x="1590" y="53"/>
                      <a:pt x="1590" y="53"/>
                    </a:cubicBezTo>
                    <a:cubicBezTo>
                      <a:pt x="1591" y="54"/>
                      <a:pt x="1591" y="54"/>
                      <a:pt x="1591" y="54"/>
                    </a:cubicBezTo>
                    <a:cubicBezTo>
                      <a:pt x="1590" y="55"/>
                      <a:pt x="1590" y="55"/>
                      <a:pt x="1590" y="55"/>
                    </a:cubicBezTo>
                    <a:cubicBezTo>
                      <a:pt x="1590" y="56"/>
                      <a:pt x="1590" y="56"/>
                      <a:pt x="1590" y="56"/>
                    </a:cubicBezTo>
                    <a:cubicBezTo>
                      <a:pt x="1589" y="55"/>
                      <a:pt x="1589" y="55"/>
                      <a:pt x="1589" y="55"/>
                    </a:cubicBezTo>
                    <a:cubicBezTo>
                      <a:pt x="1589" y="51"/>
                      <a:pt x="1589" y="51"/>
                      <a:pt x="1589" y="51"/>
                    </a:cubicBezTo>
                    <a:cubicBezTo>
                      <a:pt x="1588" y="51"/>
                      <a:pt x="1588" y="51"/>
                      <a:pt x="1588" y="51"/>
                    </a:cubicBezTo>
                    <a:cubicBezTo>
                      <a:pt x="1587" y="50"/>
                      <a:pt x="1587" y="50"/>
                      <a:pt x="1587" y="50"/>
                    </a:cubicBezTo>
                    <a:cubicBezTo>
                      <a:pt x="1585" y="50"/>
                      <a:pt x="1585" y="50"/>
                      <a:pt x="1585" y="50"/>
                    </a:cubicBezTo>
                    <a:cubicBezTo>
                      <a:pt x="1584" y="50"/>
                      <a:pt x="1584" y="50"/>
                      <a:pt x="1584" y="50"/>
                    </a:cubicBezTo>
                    <a:cubicBezTo>
                      <a:pt x="1583" y="51"/>
                      <a:pt x="1583" y="51"/>
                      <a:pt x="1583" y="51"/>
                    </a:cubicBezTo>
                    <a:cubicBezTo>
                      <a:pt x="1584" y="52"/>
                      <a:pt x="1584" y="52"/>
                      <a:pt x="1584" y="52"/>
                    </a:cubicBezTo>
                    <a:cubicBezTo>
                      <a:pt x="1585" y="53"/>
                      <a:pt x="1585" y="53"/>
                      <a:pt x="1585" y="53"/>
                    </a:cubicBezTo>
                    <a:cubicBezTo>
                      <a:pt x="1586" y="54"/>
                      <a:pt x="1586" y="54"/>
                      <a:pt x="1586" y="54"/>
                    </a:cubicBezTo>
                    <a:cubicBezTo>
                      <a:pt x="1585" y="54"/>
                      <a:pt x="1585" y="54"/>
                      <a:pt x="1585" y="54"/>
                    </a:cubicBezTo>
                    <a:cubicBezTo>
                      <a:pt x="1584" y="54"/>
                      <a:pt x="1584" y="54"/>
                      <a:pt x="1584" y="54"/>
                    </a:cubicBezTo>
                    <a:cubicBezTo>
                      <a:pt x="1584" y="53"/>
                      <a:pt x="1584" y="53"/>
                      <a:pt x="1584" y="53"/>
                    </a:cubicBezTo>
                    <a:cubicBezTo>
                      <a:pt x="1583" y="53"/>
                      <a:pt x="1583" y="53"/>
                      <a:pt x="1583" y="53"/>
                    </a:cubicBezTo>
                    <a:cubicBezTo>
                      <a:pt x="1582" y="53"/>
                      <a:pt x="1582" y="53"/>
                      <a:pt x="1582" y="53"/>
                    </a:cubicBezTo>
                    <a:cubicBezTo>
                      <a:pt x="1583" y="54"/>
                      <a:pt x="1583" y="54"/>
                      <a:pt x="1583" y="54"/>
                    </a:cubicBezTo>
                    <a:cubicBezTo>
                      <a:pt x="1583" y="55"/>
                      <a:pt x="1583" y="55"/>
                      <a:pt x="1583" y="55"/>
                    </a:cubicBezTo>
                    <a:close/>
                    <a:moveTo>
                      <a:pt x="1382" y="82"/>
                    </a:moveTo>
                    <a:cubicBezTo>
                      <a:pt x="1382" y="81"/>
                      <a:pt x="1382" y="81"/>
                      <a:pt x="1382" y="81"/>
                    </a:cubicBezTo>
                    <a:cubicBezTo>
                      <a:pt x="1382" y="80"/>
                      <a:pt x="1382" y="80"/>
                      <a:pt x="1382" y="80"/>
                    </a:cubicBezTo>
                    <a:cubicBezTo>
                      <a:pt x="1382" y="79"/>
                      <a:pt x="1382" y="79"/>
                      <a:pt x="1382" y="79"/>
                    </a:cubicBezTo>
                    <a:cubicBezTo>
                      <a:pt x="1384" y="81"/>
                      <a:pt x="1384" y="81"/>
                      <a:pt x="1384" y="81"/>
                    </a:cubicBezTo>
                    <a:cubicBezTo>
                      <a:pt x="1385" y="80"/>
                      <a:pt x="1385" y="80"/>
                      <a:pt x="1385" y="80"/>
                    </a:cubicBezTo>
                    <a:cubicBezTo>
                      <a:pt x="1384" y="79"/>
                      <a:pt x="1384" y="79"/>
                      <a:pt x="1384" y="79"/>
                    </a:cubicBezTo>
                    <a:cubicBezTo>
                      <a:pt x="1383" y="78"/>
                      <a:pt x="1383" y="78"/>
                      <a:pt x="1383" y="78"/>
                    </a:cubicBezTo>
                    <a:cubicBezTo>
                      <a:pt x="1382" y="78"/>
                      <a:pt x="1382" y="78"/>
                      <a:pt x="1382" y="78"/>
                    </a:cubicBezTo>
                    <a:cubicBezTo>
                      <a:pt x="1381" y="78"/>
                      <a:pt x="1381" y="78"/>
                      <a:pt x="1381" y="78"/>
                    </a:cubicBezTo>
                    <a:cubicBezTo>
                      <a:pt x="1381" y="80"/>
                      <a:pt x="1381" y="80"/>
                      <a:pt x="1381" y="80"/>
                    </a:cubicBezTo>
                    <a:cubicBezTo>
                      <a:pt x="1380" y="80"/>
                      <a:pt x="1380" y="80"/>
                      <a:pt x="1380" y="80"/>
                    </a:cubicBezTo>
                    <a:cubicBezTo>
                      <a:pt x="1381" y="81"/>
                      <a:pt x="1381" y="81"/>
                      <a:pt x="1381" y="81"/>
                    </a:cubicBezTo>
                    <a:cubicBezTo>
                      <a:pt x="1382" y="82"/>
                      <a:pt x="1382" y="82"/>
                      <a:pt x="1382" y="82"/>
                    </a:cubicBezTo>
                    <a:close/>
                    <a:moveTo>
                      <a:pt x="1591" y="81"/>
                    </a:moveTo>
                    <a:cubicBezTo>
                      <a:pt x="1591" y="81"/>
                      <a:pt x="1591" y="81"/>
                      <a:pt x="1591" y="81"/>
                    </a:cubicBezTo>
                    <a:cubicBezTo>
                      <a:pt x="1591" y="81"/>
                      <a:pt x="1591" y="81"/>
                      <a:pt x="1591" y="81"/>
                    </a:cubicBezTo>
                    <a:close/>
                    <a:moveTo>
                      <a:pt x="1597" y="113"/>
                    </a:moveTo>
                    <a:cubicBezTo>
                      <a:pt x="1596" y="113"/>
                      <a:pt x="1596" y="113"/>
                      <a:pt x="1596" y="113"/>
                    </a:cubicBezTo>
                    <a:cubicBezTo>
                      <a:pt x="1596" y="114"/>
                      <a:pt x="1596" y="114"/>
                      <a:pt x="1596" y="114"/>
                    </a:cubicBezTo>
                    <a:cubicBezTo>
                      <a:pt x="1595" y="114"/>
                      <a:pt x="1595" y="114"/>
                      <a:pt x="1595" y="114"/>
                    </a:cubicBezTo>
                    <a:cubicBezTo>
                      <a:pt x="1594" y="114"/>
                      <a:pt x="1594" y="114"/>
                      <a:pt x="1594" y="114"/>
                    </a:cubicBezTo>
                    <a:cubicBezTo>
                      <a:pt x="1593" y="114"/>
                      <a:pt x="1593" y="114"/>
                      <a:pt x="1593" y="114"/>
                    </a:cubicBezTo>
                    <a:cubicBezTo>
                      <a:pt x="1593" y="115"/>
                      <a:pt x="1593" y="115"/>
                      <a:pt x="1593" y="115"/>
                    </a:cubicBezTo>
                    <a:cubicBezTo>
                      <a:pt x="1592" y="114"/>
                      <a:pt x="1592" y="114"/>
                      <a:pt x="1592" y="114"/>
                    </a:cubicBezTo>
                    <a:cubicBezTo>
                      <a:pt x="1591" y="115"/>
                      <a:pt x="1591" y="115"/>
                      <a:pt x="1591" y="115"/>
                    </a:cubicBezTo>
                    <a:cubicBezTo>
                      <a:pt x="1591" y="116"/>
                      <a:pt x="1591" y="116"/>
                      <a:pt x="1591" y="116"/>
                    </a:cubicBezTo>
                    <a:cubicBezTo>
                      <a:pt x="1592" y="116"/>
                      <a:pt x="1592" y="116"/>
                      <a:pt x="1592" y="116"/>
                    </a:cubicBezTo>
                    <a:cubicBezTo>
                      <a:pt x="1593" y="116"/>
                      <a:pt x="1593" y="116"/>
                      <a:pt x="1593" y="116"/>
                    </a:cubicBezTo>
                    <a:cubicBezTo>
                      <a:pt x="1594" y="116"/>
                      <a:pt x="1594" y="116"/>
                      <a:pt x="1594" y="116"/>
                    </a:cubicBezTo>
                    <a:cubicBezTo>
                      <a:pt x="1595" y="116"/>
                      <a:pt x="1595" y="116"/>
                      <a:pt x="1595" y="116"/>
                    </a:cubicBezTo>
                    <a:cubicBezTo>
                      <a:pt x="1596" y="116"/>
                      <a:pt x="1596" y="116"/>
                      <a:pt x="1596" y="116"/>
                    </a:cubicBezTo>
                    <a:cubicBezTo>
                      <a:pt x="1597" y="116"/>
                      <a:pt x="1597" y="116"/>
                      <a:pt x="1597" y="116"/>
                    </a:cubicBezTo>
                    <a:cubicBezTo>
                      <a:pt x="1598" y="115"/>
                      <a:pt x="1598" y="115"/>
                      <a:pt x="1598" y="115"/>
                    </a:cubicBezTo>
                    <a:cubicBezTo>
                      <a:pt x="1597" y="114"/>
                      <a:pt x="1597" y="114"/>
                      <a:pt x="1597" y="114"/>
                    </a:cubicBezTo>
                    <a:cubicBezTo>
                      <a:pt x="1598" y="114"/>
                      <a:pt x="1598" y="114"/>
                      <a:pt x="1598" y="114"/>
                    </a:cubicBezTo>
                    <a:cubicBezTo>
                      <a:pt x="1597" y="113"/>
                      <a:pt x="1597" y="113"/>
                      <a:pt x="1597" y="113"/>
                    </a:cubicBezTo>
                    <a:close/>
                    <a:moveTo>
                      <a:pt x="1592" y="108"/>
                    </a:moveTo>
                    <a:cubicBezTo>
                      <a:pt x="1591" y="108"/>
                      <a:pt x="1591" y="108"/>
                      <a:pt x="1591" y="108"/>
                    </a:cubicBezTo>
                    <a:cubicBezTo>
                      <a:pt x="1591" y="109"/>
                      <a:pt x="1591" y="109"/>
                      <a:pt x="1591" y="109"/>
                    </a:cubicBezTo>
                    <a:cubicBezTo>
                      <a:pt x="1592" y="108"/>
                      <a:pt x="1592" y="108"/>
                      <a:pt x="1592" y="108"/>
                    </a:cubicBezTo>
                    <a:close/>
                    <a:moveTo>
                      <a:pt x="2055" y="237"/>
                    </a:moveTo>
                    <a:cubicBezTo>
                      <a:pt x="2055" y="236"/>
                      <a:pt x="2055" y="236"/>
                      <a:pt x="2055" y="236"/>
                    </a:cubicBezTo>
                    <a:cubicBezTo>
                      <a:pt x="2055" y="235"/>
                      <a:pt x="2055" y="235"/>
                      <a:pt x="2055" y="235"/>
                    </a:cubicBezTo>
                    <a:cubicBezTo>
                      <a:pt x="2054" y="235"/>
                      <a:pt x="2054" y="235"/>
                      <a:pt x="2054" y="235"/>
                    </a:cubicBezTo>
                    <a:cubicBezTo>
                      <a:pt x="2055" y="237"/>
                      <a:pt x="2055" y="237"/>
                      <a:pt x="2055" y="237"/>
                    </a:cubicBezTo>
                    <a:close/>
                    <a:moveTo>
                      <a:pt x="1589" y="109"/>
                    </a:moveTo>
                    <a:cubicBezTo>
                      <a:pt x="1590" y="108"/>
                      <a:pt x="1590" y="108"/>
                      <a:pt x="1590" y="108"/>
                    </a:cubicBezTo>
                    <a:cubicBezTo>
                      <a:pt x="1588" y="108"/>
                      <a:pt x="1588" y="108"/>
                      <a:pt x="1588" y="108"/>
                    </a:cubicBezTo>
                    <a:cubicBezTo>
                      <a:pt x="1589" y="109"/>
                      <a:pt x="1589" y="109"/>
                      <a:pt x="1589" y="109"/>
                    </a:cubicBezTo>
                    <a:close/>
                    <a:moveTo>
                      <a:pt x="1954" y="353"/>
                    </a:moveTo>
                    <a:cubicBezTo>
                      <a:pt x="1954" y="354"/>
                      <a:pt x="1954" y="354"/>
                      <a:pt x="1954" y="354"/>
                    </a:cubicBezTo>
                    <a:cubicBezTo>
                      <a:pt x="1954" y="355"/>
                      <a:pt x="1954" y="355"/>
                      <a:pt x="1954" y="355"/>
                    </a:cubicBezTo>
                    <a:cubicBezTo>
                      <a:pt x="1955" y="355"/>
                      <a:pt x="1955" y="355"/>
                      <a:pt x="1955" y="355"/>
                    </a:cubicBezTo>
                    <a:cubicBezTo>
                      <a:pt x="1955" y="354"/>
                      <a:pt x="1955" y="354"/>
                      <a:pt x="1955" y="354"/>
                    </a:cubicBezTo>
                    <a:cubicBezTo>
                      <a:pt x="1954" y="353"/>
                      <a:pt x="1954" y="353"/>
                      <a:pt x="1954" y="353"/>
                    </a:cubicBezTo>
                    <a:close/>
                    <a:moveTo>
                      <a:pt x="1949" y="348"/>
                    </a:moveTo>
                    <a:cubicBezTo>
                      <a:pt x="1948" y="348"/>
                      <a:pt x="1948" y="348"/>
                      <a:pt x="1948" y="348"/>
                    </a:cubicBezTo>
                    <a:cubicBezTo>
                      <a:pt x="1947" y="349"/>
                      <a:pt x="1947" y="349"/>
                      <a:pt x="1947" y="349"/>
                    </a:cubicBezTo>
                    <a:cubicBezTo>
                      <a:pt x="1946" y="349"/>
                      <a:pt x="1946" y="349"/>
                      <a:pt x="1946" y="349"/>
                    </a:cubicBezTo>
                    <a:cubicBezTo>
                      <a:pt x="1946" y="350"/>
                      <a:pt x="1946" y="350"/>
                      <a:pt x="1946" y="350"/>
                    </a:cubicBezTo>
                    <a:cubicBezTo>
                      <a:pt x="1947" y="351"/>
                      <a:pt x="1947" y="351"/>
                      <a:pt x="1947" y="351"/>
                    </a:cubicBezTo>
                    <a:cubicBezTo>
                      <a:pt x="1948" y="350"/>
                      <a:pt x="1948" y="350"/>
                      <a:pt x="1948" y="350"/>
                    </a:cubicBezTo>
                    <a:cubicBezTo>
                      <a:pt x="1948" y="351"/>
                      <a:pt x="1948" y="351"/>
                      <a:pt x="1948" y="351"/>
                    </a:cubicBezTo>
                    <a:cubicBezTo>
                      <a:pt x="1949" y="350"/>
                      <a:pt x="1949" y="350"/>
                      <a:pt x="1949" y="350"/>
                    </a:cubicBezTo>
                    <a:cubicBezTo>
                      <a:pt x="1948" y="349"/>
                      <a:pt x="1948" y="349"/>
                      <a:pt x="1948" y="349"/>
                    </a:cubicBezTo>
                    <a:cubicBezTo>
                      <a:pt x="1949" y="349"/>
                      <a:pt x="1949" y="349"/>
                      <a:pt x="1949" y="349"/>
                    </a:cubicBezTo>
                    <a:cubicBezTo>
                      <a:pt x="1949" y="348"/>
                      <a:pt x="1949" y="348"/>
                      <a:pt x="1949" y="348"/>
                    </a:cubicBezTo>
                    <a:close/>
                    <a:moveTo>
                      <a:pt x="1956" y="354"/>
                    </a:moveTo>
                    <a:cubicBezTo>
                      <a:pt x="1955" y="355"/>
                      <a:pt x="1955" y="355"/>
                      <a:pt x="1955" y="355"/>
                    </a:cubicBezTo>
                    <a:cubicBezTo>
                      <a:pt x="1955" y="356"/>
                      <a:pt x="1955" y="356"/>
                      <a:pt x="1955" y="356"/>
                    </a:cubicBezTo>
                    <a:cubicBezTo>
                      <a:pt x="1956" y="355"/>
                      <a:pt x="1956" y="355"/>
                      <a:pt x="1956" y="355"/>
                    </a:cubicBezTo>
                    <a:cubicBezTo>
                      <a:pt x="1956" y="354"/>
                      <a:pt x="1956" y="354"/>
                      <a:pt x="1956" y="354"/>
                    </a:cubicBezTo>
                    <a:close/>
                    <a:moveTo>
                      <a:pt x="1953" y="358"/>
                    </a:moveTo>
                    <a:cubicBezTo>
                      <a:pt x="1953" y="359"/>
                      <a:pt x="1953" y="359"/>
                      <a:pt x="1953" y="359"/>
                    </a:cubicBezTo>
                    <a:cubicBezTo>
                      <a:pt x="1954" y="360"/>
                      <a:pt x="1954" y="360"/>
                      <a:pt x="1954" y="360"/>
                    </a:cubicBezTo>
                    <a:cubicBezTo>
                      <a:pt x="1955" y="358"/>
                      <a:pt x="1955" y="358"/>
                      <a:pt x="1955" y="358"/>
                    </a:cubicBezTo>
                    <a:cubicBezTo>
                      <a:pt x="1956" y="358"/>
                      <a:pt x="1956" y="358"/>
                      <a:pt x="1956" y="358"/>
                    </a:cubicBezTo>
                    <a:cubicBezTo>
                      <a:pt x="1956" y="357"/>
                      <a:pt x="1956" y="357"/>
                      <a:pt x="1956" y="357"/>
                    </a:cubicBezTo>
                    <a:cubicBezTo>
                      <a:pt x="1956" y="356"/>
                      <a:pt x="1956" y="356"/>
                      <a:pt x="1956" y="356"/>
                    </a:cubicBezTo>
                    <a:cubicBezTo>
                      <a:pt x="1954" y="357"/>
                      <a:pt x="1954" y="357"/>
                      <a:pt x="1954" y="357"/>
                    </a:cubicBezTo>
                    <a:cubicBezTo>
                      <a:pt x="1953" y="358"/>
                      <a:pt x="1953" y="358"/>
                      <a:pt x="1953" y="358"/>
                    </a:cubicBezTo>
                    <a:close/>
                    <a:moveTo>
                      <a:pt x="1956" y="348"/>
                    </a:moveTo>
                    <a:cubicBezTo>
                      <a:pt x="1955" y="348"/>
                      <a:pt x="1955" y="348"/>
                      <a:pt x="1955" y="348"/>
                    </a:cubicBezTo>
                    <a:cubicBezTo>
                      <a:pt x="1954" y="349"/>
                      <a:pt x="1954" y="349"/>
                      <a:pt x="1954" y="349"/>
                    </a:cubicBezTo>
                    <a:cubicBezTo>
                      <a:pt x="1954" y="348"/>
                      <a:pt x="1954" y="348"/>
                      <a:pt x="1954" y="348"/>
                    </a:cubicBezTo>
                    <a:cubicBezTo>
                      <a:pt x="1954" y="347"/>
                      <a:pt x="1954" y="347"/>
                      <a:pt x="1954" y="347"/>
                    </a:cubicBezTo>
                    <a:cubicBezTo>
                      <a:pt x="1952" y="347"/>
                      <a:pt x="1952" y="347"/>
                      <a:pt x="1952" y="347"/>
                    </a:cubicBezTo>
                    <a:cubicBezTo>
                      <a:pt x="1951" y="348"/>
                      <a:pt x="1951" y="348"/>
                      <a:pt x="1951" y="348"/>
                    </a:cubicBezTo>
                    <a:cubicBezTo>
                      <a:pt x="1951" y="349"/>
                      <a:pt x="1951" y="349"/>
                      <a:pt x="1951" y="349"/>
                    </a:cubicBezTo>
                    <a:cubicBezTo>
                      <a:pt x="1950" y="349"/>
                      <a:pt x="1950" y="349"/>
                      <a:pt x="1950" y="349"/>
                    </a:cubicBezTo>
                    <a:cubicBezTo>
                      <a:pt x="1950" y="350"/>
                      <a:pt x="1950" y="350"/>
                      <a:pt x="1950" y="350"/>
                    </a:cubicBezTo>
                    <a:cubicBezTo>
                      <a:pt x="1951" y="352"/>
                      <a:pt x="1951" y="352"/>
                      <a:pt x="1951" y="352"/>
                    </a:cubicBezTo>
                    <a:cubicBezTo>
                      <a:pt x="1951" y="351"/>
                      <a:pt x="1951" y="351"/>
                      <a:pt x="1951" y="351"/>
                    </a:cubicBezTo>
                    <a:cubicBezTo>
                      <a:pt x="1952" y="351"/>
                      <a:pt x="1952" y="351"/>
                      <a:pt x="1952" y="351"/>
                    </a:cubicBezTo>
                    <a:cubicBezTo>
                      <a:pt x="1953" y="352"/>
                      <a:pt x="1953" y="352"/>
                      <a:pt x="1953" y="352"/>
                    </a:cubicBezTo>
                    <a:cubicBezTo>
                      <a:pt x="1954" y="352"/>
                      <a:pt x="1954" y="352"/>
                      <a:pt x="1954" y="352"/>
                    </a:cubicBezTo>
                    <a:cubicBezTo>
                      <a:pt x="1955" y="352"/>
                      <a:pt x="1955" y="352"/>
                      <a:pt x="1955" y="352"/>
                    </a:cubicBezTo>
                    <a:cubicBezTo>
                      <a:pt x="1955" y="351"/>
                      <a:pt x="1955" y="351"/>
                      <a:pt x="1955" y="351"/>
                    </a:cubicBezTo>
                    <a:cubicBezTo>
                      <a:pt x="1955" y="350"/>
                      <a:pt x="1955" y="350"/>
                      <a:pt x="1955" y="350"/>
                    </a:cubicBezTo>
                    <a:cubicBezTo>
                      <a:pt x="1955" y="349"/>
                      <a:pt x="1955" y="349"/>
                      <a:pt x="1955" y="349"/>
                    </a:cubicBezTo>
                    <a:cubicBezTo>
                      <a:pt x="1956" y="349"/>
                      <a:pt x="1956" y="349"/>
                      <a:pt x="1956" y="349"/>
                    </a:cubicBezTo>
                    <a:cubicBezTo>
                      <a:pt x="1956" y="348"/>
                      <a:pt x="1956" y="348"/>
                      <a:pt x="1956" y="348"/>
                    </a:cubicBezTo>
                    <a:close/>
                    <a:moveTo>
                      <a:pt x="1616" y="66"/>
                    </a:moveTo>
                    <a:cubicBezTo>
                      <a:pt x="1616" y="65"/>
                      <a:pt x="1616" y="65"/>
                      <a:pt x="1616" y="65"/>
                    </a:cubicBezTo>
                    <a:cubicBezTo>
                      <a:pt x="1615" y="65"/>
                      <a:pt x="1615" y="65"/>
                      <a:pt x="1615" y="65"/>
                    </a:cubicBezTo>
                    <a:cubicBezTo>
                      <a:pt x="1616" y="64"/>
                      <a:pt x="1616" y="64"/>
                      <a:pt x="1616" y="64"/>
                    </a:cubicBezTo>
                    <a:cubicBezTo>
                      <a:pt x="1615" y="64"/>
                      <a:pt x="1615" y="64"/>
                      <a:pt x="1615" y="64"/>
                    </a:cubicBezTo>
                    <a:cubicBezTo>
                      <a:pt x="1614" y="65"/>
                      <a:pt x="1614" y="65"/>
                      <a:pt x="1614" y="65"/>
                    </a:cubicBezTo>
                    <a:cubicBezTo>
                      <a:pt x="1615" y="66"/>
                      <a:pt x="1615" y="66"/>
                      <a:pt x="1615" y="66"/>
                    </a:cubicBezTo>
                    <a:cubicBezTo>
                      <a:pt x="1614" y="66"/>
                      <a:pt x="1614" y="66"/>
                      <a:pt x="1614" y="66"/>
                    </a:cubicBezTo>
                    <a:cubicBezTo>
                      <a:pt x="1614" y="67"/>
                      <a:pt x="1614" y="67"/>
                      <a:pt x="1614" y="67"/>
                    </a:cubicBezTo>
                    <a:cubicBezTo>
                      <a:pt x="1615" y="67"/>
                      <a:pt x="1615" y="67"/>
                      <a:pt x="1615" y="67"/>
                    </a:cubicBezTo>
                    <a:cubicBezTo>
                      <a:pt x="1616" y="66"/>
                      <a:pt x="1616" y="66"/>
                      <a:pt x="1616" y="66"/>
                    </a:cubicBezTo>
                    <a:close/>
                    <a:moveTo>
                      <a:pt x="1594" y="103"/>
                    </a:moveTo>
                    <a:cubicBezTo>
                      <a:pt x="1593" y="103"/>
                      <a:pt x="1593" y="103"/>
                      <a:pt x="1593" y="103"/>
                    </a:cubicBezTo>
                    <a:cubicBezTo>
                      <a:pt x="1594" y="104"/>
                      <a:pt x="1594" y="104"/>
                      <a:pt x="1594" y="104"/>
                    </a:cubicBezTo>
                    <a:cubicBezTo>
                      <a:pt x="1595" y="103"/>
                      <a:pt x="1595" y="103"/>
                      <a:pt x="1595" y="103"/>
                    </a:cubicBezTo>
                    <a:cubicBezTo>
                      <a:pt x="1596" y="102"/>
                      <a:pt x="1596" y="102"/>
                      <a:pt x="1596" y="102"/>
                    </a:cubicBezTo>
                    <a:cubicBezTo>
                      <a:pt x="1595" y="102"/>
                      <a:pt x="1595" y="102"/>
                      <a:pt x="1595" y="102"/>
                    </a:cubicBezTo>
                    <a:cubicBezTo>
                      <a:pt x="1594" y="103"/>
                      <a:pt x="1594" y="103"/>
                      <a:pt x="1594" y="103"/>
                    </a:cubicBezTo>
                    <a:close/>
                    <a:moveTo>
                      <a:pt x="1583" y="102"/>
                    </a:moveTo>
                    <a:cubicBezTo>
                      <a:pt x="1584" y="101"/>
                      <a:pt x="1584" y="101"/>
                      <a:pt x="1584" y="101"/>
                    </a:cubicBezTo>
                    <a:cubicBezTo>
                      <a:pt x="1585" y="102"/>
                      <a:pt x="1585" y="102"/>
                      <a:pt x="1585" y="102"/>
                    </a:cubicBezTo>
                    <a:cubicBezTo>
                      <a:pt x="1587" y="100"/>
                      <a:pt x="1587" y="100"/>
                      <a:pt x="1587" y="100"/>
                    </a:cubicBezTo>
                    <a:cubicBezTo>
                      <a:pt x="1587" y="99"/>
                      <a:pt x="1587" y="99"/>
                      <a:pt x="1587" y="99"/>
                    </a:cubicBezTo>
                    <a:cubicBezTo>
                      <a:pt x="1587" y="97"/>
                      <a:pt x="1587" y="97"/>
                      <a:pt x="1587" y="97"/>
                    </a:cubicBezTo>
                    <a:cubicBezTo>
                      <a:pt x="1586" y="97"/>
                      <a:pt x="1586" y="97"/>
                      <a:pt x="1586" y="97"/>
                    </a:cubicBezTo>
                    <a:cubicBezTo>
                      <a:pt x="1586" y="98"/>
                      <a:pt x="1586" y="98"/>
                      <a:pt x="1586" y="98"/>
                    </a:cubicBezTo>
                    <a:cubicBezTo>
                      <a:pt x="1585" y="99"/>
                      <a:pt x="1585" y="99"/>
                      <a:pt x="1585" y="99"/>
                    </a:cubicBezTo>
                    <a:cubicBezTo>
                      <a:pt x="1583" y="100"/>
                      <a:pt x="1583" y="100"/>
                      <a:pt x="1583" y="100"/>
                    </a:cubicBezTo>
                    <a:cubicBezTo>
                      <a:pt x="1582" y="101"/>
                      <a:pt x="1582" y="101"/>
                      <a:pt x="1582" y="101"/>
                    </a:cubicBezTo>
                    <a:cubicBezTo>
                      <a:pt x="1581" y="103"/>
                      <a:pt x="1581" y="103"/>
                      <a:pt x="1581" y="103"/>
                    </a:cubicBezTo>
                    <a:cubicBezTo>
                      <a:pt x="1582" y="103"/>
                      <a:pt x="1582" y="103"/>
                      <a:pt x="1582" y="103"/>
                    </a:cubicBezTo>
                    <a:cubicBezTo>
                      <a:pt x="1583" y="102"/>
                      <a:pt x="1583" y="102"/>
                      <a:pt x="1583" y="102"/>
                    </a:cubicBezTo>
                    <a:close/>
                    <a:moveTo>
                      <a:pt x="1590" y="106"/>
                    </a:moveTo>
                    <a:cubicBezTo>
                      <a:pt x="1590" y="107"/>
                      <a:pt x="1590" y="107"/>
                      <a:pt x="1590" y="107"/>
                    </a:cubicBezTo>
                    <a:cubicBezTo>
                      <a:pt x="1590" y="108"/>
                      <a:pt x="1590" y="108"/>
                      <a:pt x="1590" y="108"/>
                    </a:cubicBezTo>
                    <a:cubicBezTo>
                      <a:pt x="1591" y="108"/>
                      <a:pt x="1591" y="108"/>
                      <a:pt x="1591" y="108"/>
                    </a:cubicBezTo>
                    <a:cubicBezTo>
                      <a:pt x="1591" y="106"/>
                      <a:pt x="1591" y="106"/>
                      <a:pt x="1591" y="106"/>
                    </a:cubicBezTo>
                    <a:cubicBezTo>
                      <a:pt x="1590" y="106"/>
                      <a:pt x="1590" y="106"/>
                      <a:pt x="1590" y="106"/>
                    </a:cubicBezTo>
                    <a:close/>
                    <a:moveTo>
                      <a:pt x="1595" y="105"/>
                    </a:moveTo>
                    <a:cubicBezTo>
                      <a:pt x="1596" y="106"/>
                      <a:pt x="1596" y="106"/>
                      <a:pt x="1596" y="106"/>
                    </a:cubicBezTo>
                    <a:cubicBezTo>
                      <a:pt x="1597" y="106"/>
                      <a:pt x="1597" y="106"/>
                      <a:pt x="1597" y="106"/>
                    </a:cubicBezTo>
                    <a:cubicBezTo>
                      <a:pt x="1597" y="105"/>
                      <a:pt x="1597" y="105"/>
                      <a:pt x="1597" y="105"/>
                    </a:cubicBezTo>
                    <a:cubicBezTo>
                      <a:pt x="1596" y="105"/>
                      <a:pt x="1596" y="105"/>
                      <a:pt x="1596" y="105"/>
                    </a:cubicBezTo>
                    <a:cubicBezTo>
                      <a:pt x="1595" y="104"/>
                      <a:pt x="1595" y="104"/>
                      <a:pt x="1595" y="104"/>
                    </a:cubicBezTo>
                    <a:cubicBezTo>
                      <a:pt x="1595" y="105"/>
                      <a:pt x="1595" y="105"/>
                      <a:pt x="1595" y="105"/>
                    </a:cubicBezTo>
                    <a:close/>
                    <a:moveTo>
                      <a:pt x="1917" y="628"/>
                    </a:moveTo>
                    <a:cubicBezTo>
                      <a:pt x="1917" y="627"/>
                      <a:pt x="1917" y="627"/>
                      <a:pt x="1917" y="627"/>
                    </a:cubicBezTo>
                    <a:cubicBezTo>
                      <a:pt x="1917" y="627"/>
                      <a:pt x="1917" y="627"/>
                      <a:pt x="1916" y="627"/>
                    </a:cubicBezTo>
                    <a:cubicBezTo>
                      <a:pt x="1916" y="627"/>
                      <a:pt x="1916" y="627"/>
                      <a:pt x="1916" y="628"/>
                    </a:cubicBezTo>
                    <a:cubicBezTo>
                      <a:pt x="1916" y="628"/>
                      <a:pt x="1916" y="628"/>
                      <a:pt x="1917" y="628"/>
                    </a:cubicBezTo>
                    <a:close/>
                    <a:moveTo>
                      <a:pt x="1906" y="642"/>
                    </a:moveTo>
                    <a:cubicBezTo>
                      <a:pt x="1905" y="641"/>
                      <a:pt x="1905" y="641"/>
                      <a:pt x="1905" y="641"/>
                    </a:cubicBezTo>
                    <a:cubicBezTo>
                      <a:pt x="1904" y="642"/>
                      <a:pt x="1904" y="642"/>
                      <a:pt x="1904" y="642"/>
                    </a:cubicBezTo>
                    <a:cubicBezTo>
                      <a:pt x="1905" y="642"/>
                      <a:pt x="1905" y="642"/>
                      <a:pt x="1905" y="642"/>
                    </a:cubicBezTo>
                    <a:cubicBezTo>
                      <a:pt x="1906" y="642"/>
                      <a:pt x="1906" y="642"/>
                      <a:pt x="1906" y="642"/>
                    </a:cubicBezTo>
                    <a:close/>
                    <a:moveTo>
                      <a:pt x="1919" y="626"/>
                    </a:moveTo>
                    <a:cubicBezTo>
                      <a:pt x="1918" y="625"/>
                      <a:pt x="1918" y="625"/>
                      <a:pt x="1918" y="625"/>
                    </a:cubicBezTo>
                    <a:cubicBezTo>
                      <a:pt x="1918" y="626"/>
                      <a:pt x="1918" y="626"/>
                      <a:pt x="1918" y="626"/>
                    </a:cubicBezTo>
                    <a:cubicBezTo>
                      <a:pt x="1918" y="627"/>
                      <a:pt x="1918" y="627"/>
                      <a:pt x="1918" y="627"/>
                    </a:cubicBezTo>
                    <a:cubicBezTo>
                      <a:pt x="1919" y="627"/>
                      <a:pt x="1919" y="627"/>
                      <a:pt x="1919" y="627"/>
                    </a:cubicBezTo>
                    <a:cubicBezTo>
                      <a:pt x="1919" y="626"/>
                      <a:pt x="1919" y="626"/>
                      <a:pt x="1919" y="626"/>
                    </a:cubicBezTo>
                    <a:close/>
                    <a:moveTo>
                      <a:pt x="1921" y="577"/>
                    </a:moveTo>
                    <a:cubicBezTo>
                      <a:pt x="1921" y="578"/>
                      <a:pt x="1921" y="578"/>
                      <a:pt x="1921" y="578"/>
                    </a:cubicBezTo>
                    <a:cubicBezTo>
                      <a:pt x="1923" y="578"/>
                      <a:pt x="1923" y="578"/>
                      <a:pt x="1923" y="578"/>
                    </a:cubicBezTo>
                    <a:cubicBezTo>
                      <a:pt x="1922" y="577"/>
                      <a:pt x="1922" y="577"/>
                      <a:pt x="1922" y="577"/>
                    </a:cubicBezTo>
                    <a:cubicBezTo>
                      <a:pt x="1921" y="577"/>
                      <a:pt x="1921" y="577"/>
                      <a:pt x="1921" y="577"/>
                    </a:cubicBezTo>
                    <a:close/>
                    <a:moveTo>
                      <a:pt x="1924" y="578"/>
                    </a:moveTo>
                    <a:cubicBezTo>
                      <a:pt x="1923" y="578"/>
                      <a:pt x="1923" y="578"/>
                      <a:pt x="1923" y="578"/>
                    </a:cubicBezTo>
                    <a:cubicBezTo>
                      <a:pt x="1924" y="579"/>
                      <a:pt x="1924" y="579"/>
                      <a:pt x="1924" y="579"/>
                    </a:cubicBezTo>
                    <a:cubicBezTo>
                      <a:pt x="1924" y="578"/>
                      <a:pt x="1924" y="578"/>
                      <a:pt x="1924" y="578"/>
                    </a:cubicBezTo>
                    <a:close/>
                    <a:moveTo>
                      <a:pt x="1856" y="676"/>
                    </a:moveTo>
                    <a:cubicBezTo>
                      <a:pt x="1856" y="677"/>
                      <a:pt x="1856" y="677"/>
                      <a:pt x="1856" y="677"/>
                    </a:cubicBezTo>
                    <a:cubicBezTo>
                      <a:pt x="1857" y="678"/>
                      <a:pt x="1857" y="678"/>
                      <a:pt x="1857" y="678"/>
                    </a:cubicBezTo>
                    <a:cubicBezTo>
                      <a:pt x="1859" y="678"/>
                      <a:pt x="1859" y="678"/>
                      <a:pt x="1859" y="678"/>
                    </a:cubicBezTo>
                    <a:cubicBezTo>
                      <a:pt x="1860" y="679"/>
                      <a:pt x="1860" y="679"/>
                      <a:pt x="1860" y="679"/>
                    </a:cubicBezTo>
                    <a:cubicBezTo>
                      <a:pt x="1861" y="679"/>
                      <a:pt x="1861" y="679"/>
                      <a:pt x="1861" y="679"/>
                    </a:cubicBezTo>
                    <a:cubicBezTo>
                      <a:pt x="1862" y="679"/>
                      <a:pt x="1862" y="679"/>
                      <a:pt x="1862" y="679"/>
                    </a:cubicBezTo>
                    <a:cubicBezTo>
                      <a:pt x="1863" y="678"/>
                      <a:pt x="1863" y="678"/>
                      <a:pt x="1863" y="678"/>
                    </a:cubicBezTo>
                    <a:cubicBezTo>
                      <a:pt x="1864" y="678"/>
                      <a:pt x="1864" y="678"/>
                      <a:pt x="1864" y="678"/>
                    </a:cubicBezTo>
                    <a:cubicBezTo>
                      <a:pt x="1865" y="678"/>
                      <a:pt x="1865" y="678"/>
                      <a:pt x="1865" y="678"/>
                    </a:cubicBezTo>
                    <a:cubicBezTo>
                      <a:pt x="1866" y="677"/>
                      <a:pt x="1866" y="677"/>
                      <a:pt x="1866" y="677"/>
                    </a:cubicBezTo>
                    <a:cubicBezTo>
                      <a:pt x="1866" y="676"/>
                      <a:pt x="1866" y="676"/>
                      <a:pt x="1866" y="676"/>
                    </a:cubicBezTo>
                    <a:cubicBezTo>
                      <a:pt x="1867" y="676"/>
                      <a:pt x="1867" y="676"/>
                      <a:pt x="1867" y="676"/>
                    </a:cubicBezTo>
                    <a:cubicBezTo>
                      <a:pt x="1868" y="675"/>
                      <a:pt x="1868" y="675"/>
                      <a:pt x="1868" y="675"/>
                    </a:cubicBezTo>
                    <a:cubicBezTo>
                      <a:pt x="1868" y="674"/>
                      <a:pt x="1868" y="674"/>
                      <a:pt x="1868" y="674"/>
                    </a:cubicBezTo>
                    <a:cubicBezTo>
                      <a:pt x="1868" y="672"/>
                      <a:pt x="1868" y="672"/>
                      <a:pt x="1868" y="672"/>
                    </a:cubicBezTo>
                    <a:cubicBezTo>
                      <a:pt x="1869" y="672"/>
                      <a:pt x="1869" y="672"/>
                      <a:pt x="1869" y="672"/>
                    </a:cubicBezTo>
                    <a:cubicBezTo>
                      <a:pt x="1869" y="671"/>
                      <a:pt x="1869" y="671"/>
                      <a:pt x="1869" y="671"/>
                    </a:cubicBezTo>
                    <a:cubicBezTo>
                      <a:pt x="1870" y="669"/>
                      <a:pt x="1870" y="669"/>
                      <a:pt x="1870" y="669"/>
                    </a:cubicBezTo>
                    <a:cubicBezTo>
                      <a:pt x="1869" y="667"/>
                      <a:pt x="1869" y="667"/>
                      <a:pt x="1869" y="667"/>
                    </a:cubicBezTo>
                    <a:cubicBezTo>
                      <a:pt x="1868" y="667"/>
                      <a:pt x="1868" y="667"/>
                      <a:pt x="1868" y="667"/>
                    </a:cubicBezTo>
                    <a:cubicBezTo>
                      <a:pt x="1867" y="666"/>
                      <a:pt x="1867" y="666"/>
                      <a:pt x="1867" y="666"/>
                    </a:cubicBezTo>
                    <a:cubicBezTo>
                      <a:pt x="1866" y="667"/>
                      <a:pt x="1866" y="667"/>
                      <a:pt x="1866" y="667"/>
                    </a:cubicBezTo>
                    <a:cubicBezTo>
                      <a:pt x="1865" y="666"/>
                      <a:pt x="1865" y="666"/>
                      <a:pt x="1865" y="666"/>
                    </a:cubicBezTo>
                    <a:cubicBezTo>
                      <a:pt x="1864" y="666"/>
                      <a:pt x="1864" y="666"/>
                      <a:pt x="1864" y="666"/>
                    </a:cubicBezTo>
                    <a:cubicBezTo>
                      <a:pt x="1863" y="666"/>
                      <a:pt x="1863" y="666"/>
                      <a:pt x="1863" y="666"/>
                    </a:cubicBezTo>
                    <a:cubicBezTo>
                      <a:pt x="1862" y="667"/>
                      <a:pt x="1862" y="667"/>
                      <a:pt x="1862" y="667"/>
                    </a:cubicBezTo>
                    <a:cubicBezTo>
                      <a:pt x="1861" y="667"/>
                      <a:pt x="1861" y="667"/>
                      <a:pt x="1861" y="667"/>
                    </a:cubicBezTo>
                    <a:cubicBezTo>
                      <a:pt x="1860" y="667"/>
                      <a:pt x="1860" y="667"/>
                      <a:pt x="1860" y="667"/>
                    </a:cubicBezTo>
                    <a:cubicBezTo>
                      <a:pt x="1859" y="668"/>
                      <a:pt x="1859" y="668"/>
                      <a:pt x="1859" y="668"/>
                    </a:cubicBezTo>
                    <a:cubicBezTo>
                      <a:pt x="1859" y="669"/>
                      <a:pt x="1859" y="669"/>
                      <a:pt x="1859" y="669"/>
                    </a:cubicBezTo>
                    <a:cubicBezTo>
                      <a:pt x="1857" y="670"/>
                      <a:pt x="1857" y="670"/>
                      <a:pt x="1857" y="670"/>
                    </a:cubicBezTo>
                    <a:cubicBezTo>
                      <a:pt x="1855" y="672"/>
                      <a:pt x="1855" y="672"/>
                      <a:pt x="1855" y="672"/>
                    </a:cubicBezTo>
                    <a:cubicBezTo>
                      <a:pt x="1856" y="673"/>
                      <a:pt x="1856" y="673"/>
                      <a:pt x="1856" y="673"/>
                    </a:cubicBezTo>
                    <a:cubicBezTo>
                      <a:pt x="1856" y="675"/>
                      <a:pt x="1856" y="675"/>
                      <a:pt x="1856" y="675"/>
                    </a:cubicBezTo>
                    <a:cubicBezTo>
                      <a:pt x="1856" y="676"/>
                      <a:pt x="1856" y="676"/>
                      <a:pt x="1856" y="676"/>
                    </a:cubicBezTo>
                    <a:close/>
                    <a:moveTo>
                      <a:pt x="1930" y="590"/>
                    </a:moveTo>
                    <a:cubicBezTo>
                      <a:pt x="1929" y="589"/>
                      <a:pt x="1929" y="589"/>
                      <a:pt x="1929" y="589"/>
                    </a:cubicBezTo>
                    <a:cubicBezTo>
                      <a:pt x="1928" y="590"/>
                      <a:pt x="1928" y="590"/>
                      <a:pt x="1928" y="590"/>
                    </a:cubicBezTo>
                    <a:cubicBezTo>
                      <a:pt x="1929" y="591"/>
                      <a:pt x="1929" y="591"/>
                      <a:pt x="1929" y="591"/>
                    </a:cubicBezTo>
                    <a:cubicBezTo>
                      <a:pt x="1930" y="591"/>
                      <a:pt x="1930" y="591"/>
                      <a:pt x="1930" y="591"/>
                    </a:cubicBezTo>
                    <a:cubicBezTo>
                      <a:pt x="1930" y="590"/>
                      <a:pt x="1930" y="590"/>
                      <a:pt x="1930" y="590"/>
                    </a:cubicBezTo>
                    <a:close/>
                    <a:moveTo>
                      <a:pt x="1868" y="660"/>
                    </a:moveTo>
                    <a:cubicBezTo>
                      <a:pt x="1867" y="660"/>
                      <a:pt x="1867" y="660"/>
                      <a:pt x="1867" y="660"/>
                    </a:cubicBezTo>
                    <a:cubicBezTo>
                      <a:pt x="1866" y="660"/>
                      <a:pt x="1866" y="660"/>
                      <a:pt x="1866" y="660"/>
                    </a:cubicBezTo>
                    <a:cubicBezTo>
                      <a:pt x="1868" y="661"/>
                      <a:pt x="1868" y="661"/>
                      <a:pt x="1868" y="661"/>
                    </a:cubicBezTo>
                    <a:cubicBezTo>
                      <a:pt x="1868" y="660"/>
                      <a:pt x="1868" y="660"/>
                      <a:pt x="1868" y="660"/>
                    </a:cubicBezTo>
                    <a:close/>
                    <a:moveTo>
                      <a:pt x="1927" y="630"/>
                    </a:moveTo>
                    <a:cubicBezTo>
                      <a:pt x="1926" y="632"/>
                      <a:pt x="1926" y="632"/>
                      <a:pt x="1926" y="632"/>
                    </a:cubicBezTo>
                    <a:cubicBezTo>
                      <a:pt x="1926" y="633"/>
                      <a:pt x="1926" y="633"/>
                      <a:pt x="1926" y="633"/>
                    </a:cubicBezTo>
                    <a:cubicBezTo>
                      <a:pt x="1925" y="634"/>
                      <a:pt x="1925" y="634"/>
                      <a:pt x="1925" y="634"/>
                    </a:cubicBezTo>
                    <a:cubicBezTo>
                      <a:pt x="1924" y="636"/>
                      <a:pt x="1924" y="636"/>
                      <a:pt x="1924" y="636"/>
                    </a:cubicBezTo>
                    <a:cubicBezTo>
                      <a:pt x="1923" y="639"/>
                      <a:pt x="1923" y="639"/>
                      <a:pt x="1923" y="639"/>
                    </a:cubicBezTo>
                    <a:cubicBezTo>
                      <a:pt x="1923" y="640"/>
                      <a:pt x="1923" y="640"/>
                      <a:pt x="1923" y="640"/>
                    </a:cubicBezTo>
                    <a:cubicBezTo>
                      <a:pt x="1923" y="642"/>
                      <a:pt x="1923" y="642"/>
                      <a:pt x="1923" y="642"/>
                    </a:cubicBezTo>
                    <a:cubicBezTo>
                      <a:pt x="1924" y="644"/>
                      <a:pt x="1924" y="644"/>
                      <a:pt x="1924" y="644"/>
                    </a:cubicBezTo>
                    <a:cubicBezTo>
                      <a:pt x="1924" y="645"/>
                      <a:pt x="1924" y="645"/>
                      <a:pt x="1924" y="645"/>
                    </a:cubicBezTo>
                    <a:cubicBezTo>
                      <a:pt x="1924" y="646"/>
                      <a:pt x="1924" y="646"/>
                      <a:pt x="1924" y="646"/>
                    </a:cubicBezTo>
                    <a:cubicBezTo>
                      <a:pt x="1925" y="648"/>
                      <a:pt x="1925" y="648"/>
                      <a:pt x="1925" y="648"/>
                    </a:cubicBezTo>
                    <a:cubicBezTo>
                      <a:pt x="1926" y="649"/>
                      <a:pt x="1926" y="649"/>
                      <a:pt x="1926" y="649"/>
                    </a:cubicBezTo>
                    <a:cubicBezTo>
                      <a:pt x="1927" y="649"/>
                      <a:pt x="1927" y="649"/>
                      <a:pt x="1927" y="649"/>
                    </a:cubicBezTo>
                    <a:cubicBezTo>
                      <a:pt x="1928" y="650"/>
                      <a:pt x="1928" y="650"/>
                      <a:pt x="1928" y="650"/>
                    </a:cubicBezTo>
                    <a:cubicBezTo>
                      <a:pt x="1928" y="652"/>
                      <a:pt x="1928" y="652"/>
                      <a:pt x="1928" y="652"/>
                    </a:cubicBezTo>
                    <a:cubicBezTo>
                      <a:pt x="1928" y="653"/>
                      <a:pt x="1928" y="653"/>
                      <a:pt x="1928" y="653"/>
                    </a:cubicBezTo>
                    <a:cubicBezTo>
                      <a:pt x="1929" y="653"/>
                      <a:pt x="1929" y="653"/>
                      <a:pt x="1929" y="653"/>
                    </a:cubicBezTo>
                    <a:cubicBezTo>
                      <a:pt x="1930" y="653"/>
                      <a:pt x="1930" y="653"/>
                      <a:pt x="1930" y="653"/>
                    </a:cubicBezTo>
                    <a:cubicBezTo>
                      <a:pt x="1930" y="652"/>
                      <a:pt x="1930" y="652"/>
                      <a:pt x="1930" y="652"/>
                    </a:cubicBezTo>
                    <a:cubicBezTo>
                      <a:pt x="1930" y="650"/>
                      <a:pt x="1930" y="650"/>
                      <a:pt x="1930" y="650"/>
                    </a:cubicBezTo>
                    <a:cubicBezTo>
                      <a:pt x="1930" y="648"/>
                      <a:pt x="1930" y="648"/>
                      <a:pt x="1930" y="648"/>
                    </a:cubicBezTo>
                    <a:cubicBezTo>
                      <a:pt x="1931" y="647"/>
                      <a:pt x="1931" y="647"/>
                      <a:pt x="1931" y="647"/>
                    </a:cubicBezTo>
                    <a:cubicBezTo>
                      <a:pt x="1932" y="645"/>
                      <a:pt x="1932" y="645"/>
                      <a:pt x="1932" y="645"/>
                    </a:cubicBezTo>
                    <a:cubicBezTo>
                      <a:pt x="1932" y="643"/>
                      <a:pt x="1932" y="643"/>
                      <a:pt x="1932" y="643"/>
                    </a:cubicBezTo>
                    <a:cubicBezTo>
                      <a:pt x="1933" y="643"/>
                      <a:pt x="1933" y="643"/>
                      <a:pt x="1933" y="643"/>
                    </a:cubicBezTo>
                    <a:cubicBezTo>
                      <a:pt x="1932" y="642"/>
                      <a:pt x="1932" y="642"/>
                      <a:pt x="1932" y="642"/>
                    </a:cubicBezTo>
                    <a:cubicBezTo>
                      <a:pt x="1932" y="640"/>
                      <a:pt x="1932" y="640"/>
                      <a:pt x="1932" y="640"/>
                    </a:cubicBezTo>
                    <a:cubicBezTo>
                      <a:pt x="1933" y="638"/>
                      <a:pt x="1933" y="638"/>
                      <a:pt x="1933" y="638"/>
                    </a:cubicBezTo>
                    <a:cubicBezTo>
                      <a:pt x="1932" y="636"/>
                      <a:pt x="1932" y="636"/>
                      <a:pt x="1932" y="636"/>
                    </a:cubicBezTo>
                    <a:cubicBezTo>
                      <a:pt x="1933" y="635"/>
                      <a:pt x="1933" y="635"/>
                      <a:pt x="1933" y="635"/>
                    </a:cubicBezTo>
                    <a:cubicBezTo>
                      <a:pt x="1933" y="632"/>
                      <a:pt x="1933" y="632"/>
                      <a:pt x="1933" y="632"/>
                    </a:cubicBezTo>
                    <a:cubicBezTo>
                      <a:pt x="1934" y="630"/>
                      <a:pt x="1934" y="630"/>
                      <a:pt x="1934" y="630"/>
                    </a:cubicBezTo>
                    <a:cubicBezTo>
                      <a:pt x="1934" y="629"/>
                      <a:pt x="1934" y="629"/>
                      <a:pt x="1934" y="629"/>
                    </a:cubicBezTo>
                    <a:cubicBezTo>
                      <a:pt x="1933" y="628"/>
                      <a:pt x="1933" y="628"/>
                      <a:pt x="1933" y="628"/>
                    </a:cubicBezTo>
                    <a:cubicBezTo>
                      <a:pt x="1932" y="628"/>
                      <a:pt x="1932" y="628"/>
                      <a:pt x="1932" y="628"/>
                    </a:cubicBezTo>
                    <a:cubicBezTo>
                      <a:pt x="1932" y="627"/>
                      <a:pt x="1932" y="627"/>
                      <a:pt x="1932" y="627"/>
                    </a:cubicBezTo>
                    <a:cubicBezTo>
                      <a:pt x="1930" y="626"/>
                      <a:pt x="1930" y="626"/>
                      <a:pt x="1930" y="626"/>
                    </a:cubicBezTo>
                    <a:cubicBezTo>
                      <a:pt x="1930" y="627"/>
                      <a:pt x="1930" y="627"/>
                      <a:pt x="1930" y="627"/>
                    </a:cubicBezTo>
                    <a:cubicBezTo>
                      <a:pt x="1930" y="628"/>
                      <a:pt x="1930" y="628"/>
                      <a:pt x="1930" y="628"/>
                    </a:cubicBezTo>
                    <a:cubicBezTo>
                      <a:pt x="1929" y="628"/>
                      <a:pt x="1929" y="628"/>
                      <a:pt x="1929" y="628"/>
                    </a:cubicBezTo>
                    <a:cubicBezTo>
                      <a:pt x="1927" y="630"/>
                      <a:pt x="1927" y="630"/>
                      <a:pt x="1927" y="630"/>
                    </a:cubicBezTo>
                    <a:close/>
                    <a:moveTo>
                      <a:pt x="1256" y="123"/>
                    </a:moveTo>
                    <a:cubicBezTo>
                      <a:pt x="1258" y="123"/>
                      <a:pt x="1258" y="123"/>
                      <a:pt x="1258" y="123"/>
                    </a:cubicBezTo>
                    <a:cubicBezTo>
                      <a:pt x="1258" y="122"/>
                      <a:pt x="1258" y="122"/>
                      <a:pt x="1258" y="122"/>
                    </a:cubicBezTo>
                    <a:cubicBezTo>
                      <a:pt x="1257" y="121"/>
                      <a:pt x="1257" y="121"/>
                      <a:pt x="1257" y="121"/>
                    </a:cubicBezTo>
                    <a:cubicBezTo>
                      <a:pt x="1255" y="120"/>
                      <a:pt x="1255" y="120"/>
                      <a:pt x="1255" y="120"/>
                    </a:cubicBezTo>
                    <a:cubicBezTo>
                      <a:pt x="1254" y="120"/>
                      <a:pt x="1254" y="120"/>
                      <a:pt x="1254" y="120"/>
                    </a:cubicBezTo>
                    <a:cubicBezTo>
                      <a:pt x="1254" y="121"/>
                      <a:pt x="1254" y="121"/>
                      <a:pt x="1254" y="121"/>
                    </a:cubicBezTo>
                    <a:cubicBezTo>
                      <a:pt x="1255" y="122"/>
                      <a:pt x="1255" y="122"/>
                      <a:pt x="1255" y="122"/>
                    </a:cubicBezTo>
                    <a:cubicBezTo>
                      <a:pt x="1255" y="123"/>
                      <a:pt x="1255" y="123"/>
                      <a:pt x="1255" y="123"/>
                    </a:cubicBezTo>
                    <a:cubicBezTo>
                      <a:pt x="1256" y="123"/>
                      <a:pt x="1256" y="123"/>
                      <a:pt x="1256" y="123"/>
                    </a:cubicBezTo>
                    <a:close/>
                    <a:moveTo>
                      <a:pt x="1300" y="99"/>
                    </a:moveTo>
                    <a:cubicBezTo>
                      <a:pt x="1300" y="99"/>
                      <a:pt x="1300" y="99"/>
                      <a:pt x="1302" y="97"/>
                    </a:cubicBezTo>
                    <a:cubicBezTo>
                      <a:pt x="1302" y="97"/>
                      <a:pt x="1302" y="97"/>
                      <a:pt x="1303" y="97"/>
                    </a:cubicBezTo>
                    <a:cubicBezTo>
                      <a:pt x="1303" y="97"/>
                      <a:pt x="1303" y="97"/>
                      <a:pt x="1304" y="96"/>
                    </a:cubicBezTo>
                    <a:cubicBezTo>
                      <a:pt x="1304" y="96"/>
                      <a:pt x="1304" y="96"/>
                      <a:pt x="1304" y="95"/>
                    </a:cubicBezTo>
                    <a:cubicBezTo>
                      <a:pt x="1304" y="95"/>
                      <a:pt x="1304" y="95"/>
                      <a:pt x="1303" y="95"/>
                    </a:cubicBezTo>
                    <a:cubicBezTo>
                      <a:pt x="1303" y="95"/>
                      <a:pt x="1303" y="95"/>
                      <a:pt x="1302" y="95"/>
                    </a:cubicBezTo>
                    <a:cubicBezTo>
                      <a:pt x="1302" y="95"/>
                      <a:pt x="1302" y="95"/>
                      <a:pt x="1301" y="97"/>
                    </a:cubicBezTo>
                    <a:cubicBezTo>
                      <a:pt x="1301" y="97"/>
                      <a:pt x="1301" y="97"/>
                      <a:pt x="1300" y="97"/>
                    </a:cubicBezTo>
                    <a:cubicBezTo>
                      <a:pt x="1300" y="97"/>
                      <a:pt x="1300" y="97"/>
                      <a:pt x="1299" y="98"/>
                    </a:cubicBezTo>
                    <a:cubicBezTo>
                      <a:pt x="1299" y="98"/>
                      <a:pt x="1298" y="98"/>
                      <a:pt x="1298" y="99"/>
                    </a:cubicBezTo>
                    <a:cubicBezTo>
                      <a:pt x="1298" y="99"/>
                      <a:pt x="1298" y="99"/>
                      <a:pt x="1299" y="99"/>
                    </a:cubicBezTo>
                    <a:cubicBezTo>
                      <a:pt x="1299" y="99"/>
                      <a:pt x="1299" y="99"/>
                      <a:pt x="1300" y="99"/>
                    </a:cubicBezTo>
                    <a:close/>
                    <a:moveTo>
                      <a:pt x="1289" y="123"/>
                    </a:moveTo>
                    <a:cubicBezTo>
                      <a:pt x="1289" y="123"/>
                      <a:pt x="1289" y="123"/>
                      <a:pt x="1290" y="123"/>
                    </a:cubicBezTo>
                    <a:cubicBezTo>
                      <a:pt x="1290" y="123"/>
                      <a:pt x="1290" y="123"/>
                      <a:pt x="1291" y="123"/>
                    </a:cubicBezTo>
                    <a:cubicBezTo>
                      <a:pt x="1291" y="123"/>
                      <a:pt x="1291" y="123"/>
                      <a:pt x="1292" y="124"/>
                    </a:cubicBezTo>
                    <a:cubicBezTo>
                      <a:pt x="1292" y="124"/>
                      <a:pt x="1292" y="124"/>
                      <a:pt x="1293" y="123"/>
                    </a:cubicBezTo>
                    <a:cubicBezTo>
                      <a:pt x="1293" y="123"/>
                      <a:pt x="1293" y="123"/>
                      <a:pt x="1294" y="122"/>
                    </a:cubicBezTo>
                    <a:cubicBezTo>
                      <a:pt x="1294" y="122"/>
                      <a:pt x="1294" y="122"/>
                      <a:pt x="1293" y="122"/>
                    </a:cubicBezTo>
                    <a:cubicBezTo>
                      <a:pt x="1293" y="122"/>
                      <a:pt x="1293" y="122"/>
                      <a:pt x="1291" y="122"/>
                    </a:cubicBezTo>
                    <a:cubicBezTo>
                      <a:pt x="1291" y="122"/>
                      <a:pt x="1291" y="122"/>
                      <a:pt x="1291" y="121"/>
                    </a:cubicBezTo>
                    <a:cubicBezTo>
                      <a:pt x="1291" y="121"/>
                      <a:pt x="1291" y="121"/>
                      <a:pt x="1290" y="122"/>
                    </a:cubicBezTo>
                    <a:cubicBezTo>
                      <a:pt x="1290" y="122"/>
                      <a:pt x="1290" y="122"/>
                      <a:pt x="1289" y="122"/>
                    </a:cubicBezTo>
                    <a:cubicBezTo>
                      <a:pt x="1289" y="122"/>
                      <a:pt x="1289" y="122"/>
                      <a:pt x="1288" y="123"/>
                    </a:cubicBezTo>
                    <a:cubicBezTo>
                      <a:pt x="1288" y="123"/>
                      <a:pt x="1288" y="123"/>
                      <a:pt x="1287" y="124"/>
                    </a:cubicBezTo>
                    <a:cubicBezTo>
                      <a:pt x="1287" y="124"/>
                      <a:pt x="1287" y="124"/>
                      <a:pt x="1288" y="125"/>
                    </a:cubicBezTo>
                    <a:cubicBezTo>
                      <a:pt x="1288" y="125"/>
                      <a:pt x="1288" y="125"/>
                      <a:pt x="1289" y="123"/>
                    </a:cubicBezTo>
                    <a:close/>
                    <a:moveTo>
                      <a:pt x="1260" y="197"/>
                    </a:moveTo>
                    <a:cubicBezTo>
                      <a:pt x="1260" y="196"/>
                      <a:pt x="1260" y="196"/>
                      <a:pt x="1260" y="196"/>
                    </a:cubicBezTo>
                    <a:cubicBezTo>
                      <a:pt x="1259" y="195"/>
                      <a:pt x="1259" y="195"/>
                      <a:pt x="1259" y="195"/>
                    </a:cubicBezTo>
                    <a:cubicBezTo>
                      <a:pt x="1258" y="195"/>
                      <a:pt x="1258" y="195"/>
                      <a:pt x="1258" y="195"/>
                    </a:cubicBezTo>
                    <a:cubicBezTo>
                      <a:pt x="1258" y="196"/>
                      <a:pt x="1258" y="196"/>
                      <a:pt x="1258" y="196"/>
                    </a:cubicBezTo>
                    <a:cubicBezTo>
                      <a:pt x="1259" y="197"/>
                      <a:pt x="1259" y="197"/>
                      <a:pt x="1259" y="197"/>
                    </a:cubicBezTo>
                    <a:cubicBezTo>
                      <a:pt x="1259" y="198"/>
                      <a:pt x="1259" y="198"/>
                      <a:pt x="1259" y="198"/>
                    </a:cubicBezTo>
                    <a:cubicBezTo>
                      <a:pt x="1260" y="197"/>
                      <a:pt x="1260" y="197"/>
                      <a:pt x="1260" y="197"/>
                    </a:cubicBezTo>
                    <a:close/>
                    <a:moveTo>
                      <a:pt x="1282" y="125"/>
                    </a:moveTo>
                    <a:cubicBezTo>
                      <a:pt x="1282" y="125"/>
                      <a:pt x="1282" y="125"/>
                      <a:pt x="1282" y="127"/>
                    </a:cubicBezTo>
                    <a:cubicBezTo>
                      <a:pt x="1282" y="127"/>
                      <a:pt x="1282" y="127"/>
                      <a:pt x="1282" y="128"/>
                    </a:cubicBezTo>
                    <a:cubicBezTo>
                      <a:pt x="1282" y="128"/>
                      <a:pt x="1282" y="128"/>
                      <a:pt x="1282" y="129"/>
                    </a:cubicBezTo>
                    <a:cubicBezTo>
                      <a:pt x="1282" y="129"/>
                      <a:pt x="1282" y="129"/>
                      <a:pt x="1283" y="129"/>
                    </a:cubicBezTo>
                    <a:cubicBezTo>
                      <a:pt x="1283" y="129"/>
                      <a:pt x="1283" y="129"/>
                      <a:pt x="1284" y="128"/>
                    </a:cubicBezTo>
                    <a:cubicBezTo>
                      <a:pt x="1284" y="128"/>
                      <a:pt x="1284" y="128"/>
                      <a:pt x="1284" y="127"/>
                    </a:cubicBezTo>
                    <a:cubicBezTo>
                      <a:pt x="1284" y="127"/>
                      <a:pt x="1284" y="127"/>
                      <a:pt x="1283" y="126"/>
                    </a:cubicBezTo>
                    <a:cubicBezTo>
                      <a:pt x="1283" y="126"/>
                      <a:pt x="1283" y="126"/>
                      <a:pt x="1283" y="125"/>
                    </a:cubicBezTo>
                    <a:cubicBezTo>
                      <a:pt x="1283" y="125"/>
                      <a:pt x="1283" y="125"/>
                      <a:pt x="1282" y="125"/>
                    </a:cubicBezTo>
                    <a:close/>
                    <a:moveTo>
                      <a:pt x="1260" y="130"/>
                    </a:moveTo>
                    <a:cubicBezTo>
                      <a:pt x="1259" y="131"/>
                      <a:pt x="1259" y="131"/>
                      <a:pt x="1259" y="131"/>
                    </a:cubicBezTo>
                    <a:cubicBezTo>
                      <a:pt x="1258" y="130"/>
                      <a:pt x="1258" y="130"/>
                      <a:pt x="1258" y="130"/>
                    </a:cubicBezTo>
                    <a:cubicBezTo>
                      <a:pt x="1257" y="131"/>
                      <a:pt x="1257" y="131"/>
                      <a:pt x="1257" y="131"/>
                    </a:cubicBezTo>
                    <a:cubicBezTo>
                      <a:pt x="1257" y="132"/>
                      <a:pt x="1257" y="132"/>
                      <a:pt x="1257" y="132"/>
                    </a:cubicBezTo>
                    <a:cubicBezTo>
                      <a:pt x="1258" y="132"/>
                      <a:pt x="1258" y="132"/>
                      <a:pt x="1258" y="132"/>
                    </a:cubicBezTo>
                    <a:cubicBezTo>
                      <a:pt x="1259" y="133"/>
                      <a:pt x="1259" y="133"/>
                      <a:pt x="1259" y="133"/>
                    </a:cubicBezTo>
                    <a:cubicBezTo>
                      <a:pt x="1259" y="134"/>
                      <a:pt x="1259" y="134"/>
                      <a:pt x="1259" y="134"/>
                    </a:cubicBezTo>
                    <a:cubicBezTo>
                      <a:pt x="1260" y="134"/>
                      <a:pt x="1260" y="134"/>
                      <a:pt x="1260" y="134"/>
                    </a:cubicBezTo>
                    <a:cubicBezTo>
                      <a:pt x="1260" y="135"/>
                      <a:pt x="1260" y="135"/>
                      <a:pt x="1260" y="135"/>
                    </a:cubicBezTo>
                    <a:cubicBezTo>
                      <a:pt x="1260" y="136"/>
                      <a:pt x="1260" y="136"/>
                      <a:pt x="1260" y="136"/>
                    </a:cubicBezTo>
                    <a:cubicBezTo>
                      <a:pt x="1261" y="136"/>
                      <a:pt x="1261" y="136"/>
                      <a:pt x="1261" y="136"/>
                    </a:cubicBezTo>
                    <a:cubicBezTo>
                      <a:pt x="1262" y="136"/>
                      <a:pt x="1262" y="136"/>
                      <a:pt x="1262" y="136"/>
                    </a:cubicBezTo>
                    <a:cubicBezTo>
                      <a:pt x="1263" y="135"/>
                      <a:pt x="1263" y="135"/>
                      <a:pt x="1263" y="135"/>
                    </a:cubicBezTo>
                    <a:cubicBezTo>
                      <a:pt x="1264" y="135"/>
                      <a:pt x="1264" y="135"/>
                      <a:pt x="1264" y="135"/>
                    </a:cubicBezTo>
                    <a:cubicBezTo>
                      <a:pt x="1265" y="134"/>
                      <a:pt x="1265" y="134"/>
                      <a:pt x="1265" y="134"/>
                    </a:cubicBezTo>
                    <a:cubicBezTo>
                      <a:pt x="1265" y="132"/>
                      <a:pt x="1265" y="132"/>
                      <a:pt x="1265" y="132"/>
                    </a:cubicBezTo>
                    <a:cubicBezTo>
                      <a:pt x="1266" y="131"/>
                      <a:pt x="1266" y="131"/>
                      <a:pt x="1266" y="131"/>
                    </a:cubicBezTo>
                    <a:cubicBezTo>
                      <a:pt x="1266" y="130"/>
                      <a:pt x="1266" y="130"/>
                      <a:pt x="1266" y="130"/>
                    </a:cubicBezTo>
                    <a:cubicBezTo>
                      <a:pt x="1266" y="129"/>
                      <a:pt x="1266" y="129"/>
                      <a:pt x="1266" y="129"/>
                    </a:cubicBezTo>
                    <a:cubicBezTo>
                      <a:pt x="1265" y="129"/>
                      <a:pt x="1265" y="129"/>
                      <a:pt x="1265" y="129"/>
                    </a:cubicBezTo>
                    <a:cubicBezTo>
                      <a:pt x="1264" y="129"/>
                      <a:pt x="1264" y="129"/>
                      <a:pt x="1264" y="129"/>
                    </a:cubicBezTo>
                    <a:cubicBezTo>
                      <a:pt x="1264" y="128"/>
                      <a:pt x="1264" y="128"/>
                      <a:pt x="1264" y="128"/>
                    </a:cubicBezTo>
                    <a:cubicBezTo>
                      <a:pt x="1263" y="129"/>
                      <a:pt x="1263" y="129"/>
                      <a:pt x="1263" y="129"/>
                    </a:cubicBezTo>
                    <a:cubicBezTo>
                      <a:pt x="1261" y="130"/>
                      <a:pt x="1261" y="130"/>
                      <a:pt x="1261" y="130"/>
                    </a:cubicBezTo>
                    <a:cubicBezTo>
                      <a:pt x="1261" y="129"/>
                      <a:pt x="1261" y="129"/>
                      <a:pt x="1261" y="129"/>
                    </a:cubicBezTo>
                    <a:cubicBezTo>
                      <a:pt x="1260" y="130"/>
                      <a:pt x="1260" y="130"/>
                      <a:pt x="1260" y="130"/>
                    </a:cubicBezTo>
                    <a:close/>
                    <a:moveTo>
                      <a:pt x="1284" y="100"/>
                    </a:moveTo>
                    <a:cubicBezTo>
                      <a:pt x="1283" y="99"/>
                      <a:pt x="1283" y="99"/>
                      <a:pt x="1283" y="99"/>
                    </a:cubicBezTo>
                    <a:cubicBezTo>
                      <a:pt x="1282" y="99"/>
                      <a:pt x="1282" y="99"/>
                      <a:pt x="1282" y="99"/>
                    </a:cubicBezTo>
                    <a:cubicBezTo>
                      <a:pt x="1282" y="100"/>
                      <a:pt x="1282" y="100"/>
                      <a:pt x="1282" y="100"/>
                    </a:cubicBezTo>
                    <a:cubicBezTo>
                      <a:pt x="1283" y="101"/>
                      <a:pt x="1283" y="101"/>
                      <a:pt x="1283" y="101"/>
                    </a:cubicBezTo>
                    <a:cubicBezTo>
                      <a:pt x="1284" y="100"/>
                      <a:pt x="1284" y="100"/>
                      <a:pt x="1284" y="100"/>
                    </a:cubicBezTo>
                    <a:close/>
                    <a:moveTo>
                      <a:pt x="1274" y="145"/>
                    </a:moveTo>
                    <a:cubicBezTo>
                      <a:pt x="1274" y="145"/>
                      <a:pt x="1274" y="145"/>
                      <a:pt x="1275" y="143"/>
                    </a:cubicBezTo>
                    <a:cubicBezTo>
                      <a:pt x="1275" y="143"/>
                      <a:pt x="1275" y="143"/>
                      <a:pt x="1277" y="143"/>
                    </a:cubicBezTo>
                    <a:cubicBezTo>
                      <a:pt x="1277" y="143"/>
                      <a:pt x="1277" y="143"/>
                      <a:pt x="1277" y="142"/>
                    </a:cubicBezTo>
                    <a:cubicBezTo>
                      <a:pt x="1277" y="142"/>
                      <a:pt x="1277" y="142"/>
                      <a:pt x="1276" y="142"/>
                    </a:cubicBezTo>
                    <a:cubicBezTo>
                      <a:pt x="1276" y="142"/>
                      <a:pt x="1276" y="142"/>
                      <a:pt x="1275" y="141"/>
                    </a:cubicBezTo>
                    <a:cubicBezTo>
                      <a:pt x="1275" y="141"/>
                      <a:pt x="1275" y="141"/>
                      <a:pt x="1274" y="140"/>
                    </a:cubicBezTo>
                    <a:cubicBezTo>
                      <a:pt x="1274" y="140"/>
                      <a:pt x="1274" y="140"/>
                      <a:pt x="1273" y="141"/>
                    </a:cubicBezTo>
                    <a:cubicBezTo>
                      <a:pt x="1273" y="141"/>
                      <a:pt x="1273" y="141"/>
                      <a:pt x="1272" y="142"/>
                    </a:cubicBezTo>
                    <a:cubicBezTo>
                      <a:pt x="1272" y="142"/>
                      <a:pt x="1272" y="142"/>
                      <a:pt x="1271" y="141"/>
                    </a:cubicBezTo>
                    <a:cubicBezTo>
                      <a:pt x="1271" y="141"/>
                      <a:pt x="1271" y="141"/>
                      <a:pt x="1269" y="140"/>
                    </a:cubicBezTo>
                    <a:cubicBezTo>
                      <a:pt x="1269" y="140"/>
                      <a:pt x="1269" y="140"/>
                      <a:pt x="1269" y="138"/>
                    </a:cubicBezTo>
                    <a:cubicBezTo>
                      <a:pt x="1269" y="138"/>
                      <a:pt x="1269" y="138"/>
                      <a:pt x="1269" y="137"/>
                    </a:cubicBezTo>
                    <a:cubicBezTo>
                      <a:pt x="1269" y="137"/>
                      <a:pt x="1269" y="137"/>
                      <a:pt x="1270" y="137"/>
                    </a:cubicBezTo>
                    <a:cubicBezTo>
                      <a:pt x="1270" y="137"/>
                      <a:pt x="1270" y="137"/>
                      <a:pt x="1269" y="135"/>
                    </a:cubicBezTo>
                    <a:cubicBezTo>
                      <a:pt x="1269" y="135"/>
                      <a:pt x="1269" y="135"/>
                      <a:pt x="1269" y="134"/>
                    </a:cubicBezTo>
                    <a:cubicBezTo>
                      <a:pt x="1269" y="134"/>
                      <a:pt x="1269" y="134"/>
                      <a:pt x="1267" y="135"/>
                    </a:cubicBezTo>
                    <a:cubicBezTo>
                      <a:pt x="1267" y="135"/>
                      <a:pt x="1267" y="135"/>
                      <a:pt x="1266" y="136"/>
                    </a:cubicBezTo>
                    <a:cubicBezTo>
                      <a:pt x="1266" y="136"/>
                      <a:pt x="1266" y="136"/>
                      <a:pt x="1264" y="136"/>
                    </a:cubicBezTo>
                    <a:cubicBezTo>
                      <a:pt x="1264" y="136"/>
                      <a:pt x="1264" y="136"/>
                      <a:pt x="1262" y="137"/>
                    </a:cubicBezTo>
                    <a:cubicBezTo>
                      <a:pt x="1262" y="137"/>
                      <a:pt x="1262" y="137"/>
                      <a:pt x="1261" y="138"/>
                    </a:cubicBezTo>
                    <a:cubicBezTo>
                      <a:pt x="1261" y="138"/>
                      <a:pt x="1261" y="138"/>
                      <a:pt x="1260" y="139"/>
                    </a:cubicBezTo>
                    <a:cubicBezTo>
                      <a:pt x="1260" y="139"/>
                      <a:pt x="1260" y="139"/>
                      <a:pt x="1261" y="140"/>
                    </a:cubicBezTo>
                    <a:cubicBezTo>
                      <a:pt x="1261" y="140"/>
                      <a:pt x="1261" y="140"/>
                      <a:pt x="1262" y="141"/>
                    </a:cubicBezTo>
                    <a:cubicBezTo>
                      <a:pt x="1262" y="141"/>
                      <a:pt x="1262" y="141"/>
                      <a:pt x="1263" y="141"/>
                    </a:cubicBezTo>
                    <a:cubicBezTo>
                      <a:pt x="1263" y="141"/>
                      <a:pt x="1263" y="141"/>
                      <a:pt x="1263" y="142"/>
                    </a:cubicBezTo>
                    <a:cubicBezTo>
                      <a:pt x="1263" y="142"/>
                      <a:pt x="1263" y="142"/>
                      <a:pt x="1263" y="143"/>
                    </a:cubicBezTo>
                    <a:cubicBezTo>
                      <a:pt x="1263" y="143"/>
                      <a:pt x="1263" y="143"/>
                      <a:pt x="1262" y="145"/>
                    </a:cubicBezTo>
                    <a:cubicBezTo>
                      <a:pt x="1262" y="145"/>
                      <a:pt x="1262" y="145"/>
                      <a:pt x="1262" y="147"/>
                    </a:cubicBezTo>
                    <a:cubicBezTo>
                      <a:pt x="1262" y="147"/>
                      <a:pt x="1262" y="147"/>
                      <a:pt x="1261" y="148"/>
                    </a:cubicBezTo>
                    <a:cubicBezTo>
                      <a:pt x="1261" y="148"/>
                      <a:pt x="1261" y="148"/>
                      <a:pt x="1261" y="149"/>
                    </a:cubicBezTo>
                    <a:cubicBezTo>
                      <a:pt x="1261" y="149"/>
                      <a:pt x="1261" y="149"/>
                      <a:pt x="1261" y="150"/>
                    </a:cubicBezTo>
                    <a:cubicBezTo>
                      <a:pt x="1261" y="150"/>
                      <a:pt x="1261" y="150"/>
                      <a:pt x="1262" y="150"/>
                    </a:cubicBezTo>
                    <a:cubicBezTo>
                      <a:pt x="1262" y="150"/>
                      <a:pt x="1262" y="150"/>
                      <a:pt x="1264" y="150"/>
                    </a:cubicBezTo>
                    <a:cubicBezTo>
                      <a:pt x="1264" y="150"/>
                      <a:pt x="1264" y="150"/>
                      <a:pt x="1265" y="149"/>
                    </a:cubicBezTo>
                    <a:cubicBezTo>
                      <a:pt x="1265" y="149"/>
                      <a:pt x="1265" y="149"/>
                      <a:pt x="1266" y="149"/>
                    </a:cubicBezTo>
                    <a:cubicBezTo>
                      <a:pt x="1266" y="149"/>
                      <a:pt x="1266" y="149"/>
                      <a:pt x="1267" y="148"/>
                    </a:cubicBezTo>
                    <a:cubicBezTo>
                      <a:pt x="1267" y="148"/>
                      <a:pt x="1267" y="148"/>
                      <a:pt x="1267" y="147"/>
                    </a:cubicBezTo>
                    <a:cubicBezTo>
                      <a:pt x="1267" y="147"/>
                      <a:pt x="1267" y="147"/>
                      <a:pt x="1268" y="146"/>
                    </a:cubicBezTo>
                    <a:cubicBezTo>
                      <a:pt x="1268" y="146"/>
                      <a:pt x="1268" y="146"/>
                      <a:pt x="1269" y="146"/>
                    </a:cubicBezTo>
                    <a:cubicBezTo>
                      <a:pt x="1269" y="146"/>
                      <a:pt x="1269" y="146"/>
                      <a:pt x="1269" y="147"/>
                    </a:cubicBezTo>
                    <a:cubicBezTo>
                      <a:pt x="1269" y="147"/>
                      <a:pt x="1269" y="147"/>
                      <a:pt x="1269" y="149"/>
                    </a:cubicBezTo>
                    <a:cubicBezTo>
                      <a:pt x="1269" y="149"/>
                      <a:pt x="1269" y="149"/>
                      <a:pt x="1269" y="150"/>
                    </a:cubicBezTo>
                    <a:cubicBezTo>
                      <a:pt x="1269" y="150"/>
                      <a:pt x="1269" y="150"/>
                      <a:pt x="1268" y="151"/>
                    </a:cubicBezTo>
                    <a:cubicBezTo>
                      <a:pt x="1268" y="151"/>
                      <a:pt x="1268" y="151"/>
                      <a:pt x="1269" y="152"/>
                    </a:cubicBezTo>
                    <a:cubicBezTo>
                      <a:pt x="1269" y="152"/>
                      <a:pt x="1269" y="152"/>
                      <a:pt x="1270" y="152"/>
                    </a:cubicBezTo>
                    <a:cubicBezTo>
                      <a:pt x="1270" y="152"/>
                      <a:pt x="1270" y="152"/>
                      <a:pt x="1270" y="151"/>
                    </a:cubicBezTo>
                    <a:cubicBezTo>
                      <a:pt x="1270" y="151"/>
                      <a:pt x="1270" y="151"/>
                      <a:pt x="1271" y="150"/>
                    </a:cubicBezTo>
                    <a:cubicBezTo>
                      <a:pt x="1271" y="150"/>
                      <a:pt x="1271" y="150"/>
                      <a:pt x="1272" y="149"/>
                    </a:cubicBezTo>
                    <a:cubicBezTo>
                      <a:pt x="1272" y="149"/>
                      <a:pt x="1272" y="149"/>
                      <a:pt x="1273" y="149"/>
                    </a:cubicBezTo>
                    <a:cubicBezTo>
                      <a:pt x="1273" y="149"/>
                      <a:pt x="1273" y="149"/>
                      <a:pt x="1274" y="146"/>
                    </a:cubicBezTo>
                    <a:cubicBezTo>
                      <a:pt x="1274" y="146"/>
                      <a:pt x="1274" y="146"/>
                      <a:pt x="1274" y="145"/>
                    </a:cubicBezTo>
                    <a:close/>
                    <a:moveTo>
                      <a:pt x="1218" y="131"/>
                    </a:moveTo>
                    <a:cubicBezTo>
                      <a:pt x="1218" y="131"/>
                      <a:pt x="1218" y="131"/>
                      <a:pt x="1218" y="133"/>
                    </a:cubicBezTo>
                    <a:cubicBezTo>
                      <a:pt x="1218" y="133"/>
                      <a:pt x="1218" y="133"/>
                      <a:pt x="1218" y="134"/>
                    </a:cubicBezTo>
                    <a:cubicBezTo>
                      <a:pt x="1218" y="134"/>
                      <a:pt x="1218" y="134"/>
                      <a:pt x="1219" y="134"/>
                    </a:cubicBezTo>
                    <a:cubicBezTo>
                      <a:pt x="1219" y="134"/>
                      <a:pt x="1219" y="134"/>
                      <a:pt x="1220" y="135"/>
                    </a:cubicBezTo>
                    <a:cubicBezTo>
                      <a:pt x="1220" y="135"/>
                      <a:pt x="1220" y="135"/>
                      <a:pt x="1221" y="136"/>
                    </a:cubicBezTo>
                    <a:cubicBezTo>
                      <a:pt x="1221" y="136"/>
                      <a:pt x="1221" y="136"/>
                      <a:pt x="1222" y="138"/>
                    </a:cubicBezTo>
                    <a:cubicBezTo>
                      <a:pt x="1222" y="138"/>
                      <a:pt x="1222" y="138"/>
                      <a:pt x="1223" y="138"/>
                    </a:cubicBezTo>
                    <a:cubicBezTo>
                      <a:pt x="1223" y="138"/>
                      <a:pt x="1223" y="138"/>
                      <a:pt x="1223" y="137"/>
                    </a:cubicBezTo>
                    <a:cubicBezTo>
                      <a:pt x="1223" y="137"/>
                      <a:pt x="1223" y="137"/>
                      <a:pt x="1223" y="136"/>
                    </a:cubicBezTo>
                    <a:cubicBezTo>
                      <a:pt x="1223" y="136"/>
                      <a:pt x="1223" y="136"/>
                      <a:pt x="1222" y="134"/>
                    </a:cubicBezTo>
                    <a:cubicBezTo>
                      <a:pt x="1222" y="134"/>
                      <a:pt x="1222" y="134"/>
                      <a:pt x="1221" y="133"/>
                    </a:cubicBezTo>
                    <a:cubicBezTo>
                      <a:pt x="1221" y="133"/>
                      <a:pt x="1221" y="133"/>
                      <a:pt x="1220" y="133"/>
                    </a:cubicBezTo>
                    <a:cubicBezTo>
                      <a:pt x="1220" y="133"/>
                      <a:pt x="1220" y="133"/>
                      <a:pt x="1219" y="132"/>
                    </a:cubicBezTo>
                    <a:cubicBezTo>
                      <a:pt x="1219" y="132"/>
                      <a:pt x="1219" y="132"/>
                      <a:pt x="1218" y="130"/>
                    </a:cubicBezTo>
                    <a:cubicBezTo>
                      <a:pt x="1218" y="130"/>
                      <a:pt x="1218" y="130"/>
                      <a:pt x="1219" y="129"/>
                    </a:cubicBezTo>
                    <a:cubicBezTo>
                      <a:pt x="1219" y="129"/>
                      <a:pt x="1219" y="129"/>
                      <a:pt x="1218" y="128"/>
                    </a:cubicBezTo>
                    <a:cubicBezTo>
                      <a:pt x="1218" y="128"/>
                      <a:pt x="1218" y="128"/>
                      <a:pt x="1217" y="127"/>
                    </a:cubicBezTo>
                    <a:cubicBezTo>
                      <a:pt x="1217" y="127"/>
                      <a:pt x="1217" y="127"/>
                      <a:pt x="1217" y="126"/>
                    </a:cubicBezTo>
                    <a:cubicBezTo>
                      <a:pt x="1217" y="126"/>
                      <a:pt x="1217" y="126"/>
                      <a:pt x="1216" y="127"/>
                    </a:cubicBezTo>
                    <a:cubicBezTo>
                      <a:pt x="1216" y="127"/>
                      <a:pt x="1216" y="127"/>
                      <a:pt x="1216" y="129"/>
                    </a:cubicBezTo>
                    <a:cubicBezTo>
                      <a:pt x="1216" y="129"/>
                      <a:pt x="1216" y="129"/>
                      <a:pt x="1217" y="129"/>
                    </a:cubicBezTo>
                    <a:cubicBezTo>
                      <a:pt x="1217" y="129"/>
                      <a:pt x="1217" y="129"/>
                      <a:pt x="1218" y="131"/>
                    </a:cubicBezTo>
                    <a:close/>
                    <a:moveTo>
                      <a:pt x="1247" y="100"/>
                    </a:moveTo>
                    <a:cubicBezTo>
                      <a:pt x="1247" y="100"/>
                      <a:pt x="1247" y="100"/>
                      <a:pt x="1247" y="99"/>
                    </a:cubicBezTo>
                    <a:cubicBezTo>
                      <a:pt x="1247" y="99"/>
                      <a:pt x="1247" y="99"/>
                      <a:pt x="1246" y="98"/>
                    </a:cubicBezTo>
                    <a:cubicBezTo>
                      <a:pt x="1246" y="98"/>
                      <a:pt x="1246" y="98"/>
                      <a:pt x="1245" y="99"/>
                    </a:cubicBezTo>
                    <a:cubicBezTo>
                      <a:pt x="1245" y="99"/>
                      <a:pt x="1245" y="99"/>
                      <a:pt x="1245" y="100"/>
                    </a:cubicBezTo>
                    <a:cubicBezTo>
                      <a:pt x="1245" y="100"/>
                      <a:pt x="1245" y="100"/>
                      <a:pt x="1246" y="101"/>
                    </a:cubicBezTo>
                    <a:cubicBezTo>
                      <a:pt x="1246" y="101"/>
                      <a:pt x="1246" y="101"/>
                      <a:pt x="1247" y="100"/>
                    </a:cubicBezTo>
                    <a:close/>
                    <a:moveTo>
                      <a:pt x="1217" y="122"/>
                    </a:moveTo>
                    <a:cubicBezTo>
                      <a:pt x="1217" y="122"/>
                      <a:pt x="1217" y="122"/>
                      <a:pt x="1218" y="122"/>
                    </a:cubicBezTo>
                    <a:cubicBezTo>
                      <a:pt x="1218" y="122"/>
                      <a:pt x="1218" y="122"/>
                      <a:pt x="1219" y="121"/>
                    </a:cubicBezTo>
                    <a:cubicBezTo>
                      <a:pt x="1219" y="121"/>
                      <a:pt x="1219" y="121"/>
                      <a:pt x="1219" y="120"/>
                    </a:cubicBezTo>
                    <a:cubicBezTo>
                      <a:pt x="1219" y="120"/>
                      <a:pt x="1219" y="120"/>
                      <a:pt x="1219" y="119"/>
                    </a:cubicBezTo>
                    <a:cubicBezTo>
                      <a:pt x="1219" y="119"/>
                      <a:pt x="1219" y="119"/>
                      <a:pt x="1220" y="119"/>
                    </a:cubicBezTo>
                    <a:cubicBezTo>
                      <a:pt x="1220" y="119"/>
                      <a:pt x="1220" y="119"/>
                      <a:pt x="1221" y="119"/>
                    </a:cubicBezTo>
                    <a:cubicBezTo>
                      <a:pt x="1221" y="119"/>
                      <a:pt x="1221" y="119"/>
                      <a:pt x="1221" y="120"/>
                    </a:cubicBezTo>
                    <a:cubicBezTo>
                      <a:pt x="1221" y="120"/>
                      <a:pt x="1221" y="120"/>
                      <a:pt x="1220" y="122"/>
                    </a:cubicBezTo>
                    <a:cubicBezTo>
                      <a:pt x="1220" y="122"/>
                      <a:pt x="1220" y="122"/>
                      <a:pt x="1220" y="123"/>
                    </a:cubicBezTo>
                    <a:cubicBezTo>
                      <a:pt x="1220" y="123"/>
                      <a:pt x="1220" y="123"/>
                      <a:pt x="1221" y="124"/>
                    </a:cubicBezTo>
                    <a:cubicBezTo>
                      <a:pt x="1221" y="124"/>
                      <a:pt x="1221" y="124"/>
                      <a:pt x="1222" y="125"/>
                    </a:cubicBezTo>
                    <a:cubicBezTo>
                      <a:pt x="1222" y="125"/>
                      <a:pt x="1222" y="125"/>
                      <a:pt x="1222" y="124"/>
                    </a:cubicBezTo>
                    <a:cubicBezTo>
                      <a:pt x="1222" y="124"/>
                      <a:pt x="1222" y="124"/>
                      <a:pt x="1223" y="125"/>
                    </a:cubicBezTo>
                    <a:cubicBezTo>
                      <a:pt x="1223" y="125"/>
                      <a:pt x="1223" y="125"/>
                      <a:pt x="1223" y="126"/>
                    </a:cubicBezTo>
                    <a:cubicBezTo>
                      <a:pt x="1223" y="126"/>
                      <a:pt x="1223" y="126"/>
                      <a:pt x="1222" y="126"/>
                    </a:cubicBezTo>
                    <a:cubicBezTo>
                      <a:pt x="1222" y="126"/>
                      <a:pt x="1222" y="126"/>
                      <a:pt x="1221" y="126"/>
                    </a:cubicBezTo>
                    <a:cubicBezTo>
                      <a:pt x="1221" y="126"/>
                      <a:pt x="1221" y="126"/>
                      <a:pt x="1221" y="125"/>
                    </a:cubicBezTo>
                    <a:cubicBezTo>
                      <a:pt x="1221" y="125"/>
                      <a:pt x="1221" y="125"/>
                      <a:pt x="1219" y="124"/>
                    </a:cubicBezTo>
                    <a:cubicBezTo>
                      <a:pt x="1219" y="124"/>
                      <a:pt x="1219" y="124"/>
                      <a:pt x="1219" y="125"/>
                    </a:cubicBezTo>
                    <a:cubicBezTo>
                      <a:pt x="1219" y="125"/>
                      <a:pt x="1219" y="125"/>
                      <a:pt x="1219" y="126"/>
                    </a:cubicBezTo>
                    <a:cubicBezTo>
                      <a:pt x="1219" y="126"/>
                      <a:pt x="1219" y="126"/>
                      <a:pt x="1220" y="127"/>
                    </a:cubicBezTo>
                    <a:cubicBezTo>
                      <a:pt x="1220" y="127"/>
                      <a:pt x="1220" y="127"/>
                      <a:pt x="1221" y="127"/>
                    </a:cubicBezTo>
                    <a:cubicBezTo>
                      <a:pt x="1221" y="127"/>
                      <a:pt x="1221" y="127"/>
                      <a:pt x="1221" y="128"/>
                    </a:cubicBezTo>
                    <a:cubicBezTo>
                      <a:pt x="1221" y="128"/>
                      <a:pt x="1221" y="128"/>
                      <a:pt x="1220" y="128"/>
                    </a:cubicBezTo>
                    <a:cubicBezTo>
                      <a:pt x="1220" y="128"/>
                      <a:pt x="1220" y="128"/>
                      <a:pt x="1221" y="129"/>
                    </a:cubicBezTo>
                    <a:cubicBezTo>
                      <a:pt x="1221" y="129"/>
                      <a:pt x="1221" y="129"/>
                      <a:pt x="1222" y="130"/>
                    </a:cubicBezTo>
                    <a:cubicBezTo>
                      <a:pt x="1222" y="130"/>
                      <a:pt x="1222" y="130"/>
                      <a:pt x="1223" y="130"/>
                    </a:cubicBezTo>
                    <a:cubicBezTo>
                      <a:pt x="1223" y="130"/>
                      <a:pt x="1223" y="130"/>
                      <a:pt x="1223" y="131"/>
                    </a:cubicBezTo>
                    <a:cubicBezTo>
                      <a:pt x="1223" y="131"/>
                      <a:pt x="1223" y="131"/>
                      <a:pt x="1224" y="131"/>
                    </a:cubicBezTo>
                    <a:cubicBezTo>
                      <a:pt x="1224" y="131"/>
                      <a:pt x="1224" y="131"/>
                      <a:pt x="1225" y="131"/>
                    </a:cubicBezTo>
                    <a:cubicBezTo>
                      <a:pt x="1225" y="131"/>
                      <a:pt x="1225" y="131"/>
                      <a:pt x="1226" y="131"/>
                    </a:cubicBezTo>
                    <a:cubicBezTo>
                      <a:pt x="1226" y="131"/>
                      <a:pt x="1226" y="131"/>
                      <a:pt x="1226" y="132"/>
                    </a:cubicBezTo>
                    <a:cubicBezTo>
                      <a:pt x="1226" y="132"/>
                      <a:pt x="1226" y="132"/>
                      <a:pt x="1225" y="132"/>
                    </a:cubicBezTo>
                    <a:cubicBezTo>
                      <a:pt x="1225" y="132"/>
                      <a:pt x="1225" y="132"/>
                      <a:pt x="1224" y="132"/>
                    </a:cubicBezTo>
                    <a:cubicBezTo>
                      <a:pt x="1224" y="132"/>
                      <a:pt x="1224" y="132"/>
                      <a:pt x="1224" y="133"/>
                    </a:cubicBezTo>
                    <a:cubicBezTo>
                      <a:pt x="1224" y="133"/>
                      <a:pt x="1224" y="133"/>
                      <a:pt x="1225" y="134"/>
                    </a:cubicBezTo>
                    <a:cubicBezTo>
                      <a:pt x="1225" y="134"/>
                      <a:pt x="1225" y="134"/>
                      <a:pt x="1226" y="135"/>
                    </a:cubicBezTo>
                    <a:cubicBezTo>
                      <a:pt x="1226" y="135"/>
                      <a:pt x="1226" y="135"/>
                      <a:pt x="1227" y="136"/>
                    </a:cubicBezTo>
                    <a:cubicBezTo>
                      <a:pt x="1227" y="136"/>
                      <a:pt x="1227" y="136"/>
                      <a:pt x="1228" y="137"/>
                    </a:cubicBezTo>
                    <a:cubicBezTo>
                      <a:pt x="1228" y="137"/>
                      <a:pt x="1228" y="137"/>
                      <a:pt x="1227" y="138"/>
                    </a:cubicBezTo>
                    <a:cubicBezTo>
                      <a:pt x="1227" y="138"/>
                      <a:pt x="1227" y="138"/>
                      <a:pt x="1229" y="138"/>
                    </a:cubicBezTo>
                    <a:cubicBezTo>
                      <a:pt x="1229" y="138"/>
                      <a:pt x="1229" y="138"/>
                      <a:pt x="1231" y="138"/>
                    </a:cubicBezTo>
                    <a:cubicBezTo>
                      <a:pt x="1231" y="138"/>
                      <a:pt x="1231" y="138"/>
                      <a:pt x="1232" y="137"/>
                    </a:cubicBezTo>
                    <a:cubicBezTo>
                      <a:pt x="1232" y="137"/>
                      <a:pt x="1232" y="137"/>
                      <a:pt x="1232" y="135"/>
                    </a:cubicBezTo>
                    <a:cubicBezTo>
                      <a:pt x="1232" y="135"/>
                      <a:pt x="1232" y="135"/>
                      <a:pt x="1233" y="135"/>
                    </a:cubicBezTo>
                    <a:cubicBezTo>
                      <a:pt x="1233" y="135"/>
                      <a:pt x="1233" y="135"/>
                      <a:pt x="1234" y="135"/>
                    </a:cubicBezTo>
                    <a:cubicBezTo>
                      <a:pt x="1234" y="135"/>
                      <a:pt x="1234" y="135"/>
                      <a:pt x="1234" y="134"/>
                    </a:cubicBezTo>
                    <a:cubicBezTo>
                      <a:pt x="1234" y="134"/>
                      <a:pt x="1234" y="134"/>
                      <a:pt x="1233" y="133"/>
                    </a:cubicBezTo>
                    <a:cubicBezTo>
                      <a:pt x="1233" y="133"/>
                      <a:pt x="1233" y="133"/>
                      <a:pt x="1233" y="132"/>
                    </a:cubicBezTo>
                    <a:cubicBezTo>
                      <a:pt x="1233" y="132"/>
                      <a:pt x="1233" y="132"/>
                      <a:pt x="1233" y="131"/>
                    </a:cubicBezTo>
                    <a:cubicBezTo>
                      <a:pt x="1233" y="131"/>
                      <a:pt x="1233" y="131"/>
                      <a:pt x="1232" y="130"/>
                    </a:cubicBezTo>
                    <a:cubicBezTo>
                      <a:pt x="1232" y="130"/>
                      <a:pt x="1232" y="130"/>
                      <a:pt x="1232" y="129"/>
                    </a:cubicBezTo>
                    <a:cubicBezTo>
                      <a:pt x="1232" y="129"/>
                      <a:pt x="1232" y="129"/>
                      <a:pt x="1233" y="129"/>
                    </a:cubicBezTo>
                    <a:cubicBezTo>
                      <a:pt x="1233" y="129"/>
                      <a:pt x="1233" y="129"/>
                      <a:pt x="1234" y="129"/>
                    </a:cubicBezTo>
                    <a:cubicBezTo>
                      <a:pt x="1234" y="129"/>
                      <a:pt x="1234" y="129"/>
                      <a:pt x="1234" y="130"/>
                    </a:cubicBezTo>
                    <a:cubicBezTo>
                      <a:pt x="1234" y="130"/>
                      <a:pt x="1234" y="130"/>
                      <a:pt x="1234" y="131"/>
                    </a:cubicBezTo>
                    <a:cubicBezTo>
                      <a:pt x="1234" y="131"/>
                      <a:pt x="1234" y="131"/>
                      <a:pt x="1235" y="130"/>
                    </a:cubicBezTo>
                    <a:cubicBezTo>
                      <a:pt x="1235" y="130"/>
                      <a:pt x="1235" y="130"/>
                      <a:pt x="1235" y="129"/>
                    </a:cubicBezTo>
                    <a:cubicBezTo>
                      <a:pt x="1235" y="129"/>
                      <a:pt x="1235" y="129"/>
                      <a:pt x="1235" y="127"/>
                    </a:cubicBezTo>
                    <a:cubicBezTo>
                      <a:pt x="1235" y="127"/>
                      <a:pt x="1235" y="127"/>
                      <a:pt x="1236" y="127"/>
                    </a:cubicBezTo>
                    <a:cubicBezTo>
                      <a:pt x="1236" y="127"/>
                      <a:pt x="1236" y="127"/>
                      <a:pt x="1236" y="129"/>
                    </a:cubicBezTo>
                    <a:cubicBezTo>
                      <a:pt x="1236" y="129"/>
                      <a:pt x="1236" y="129"/>
                      <a:pt x="1237" y="129"/>
                    </a:cubicBezTo>
                    <a:cubicBezTo>
                      <a:pt x="1237" y="129"/>
                      <a:pt x="1237" y="129"/>
                      <a:pt x="1237" y="130"/>
                    </a:cubicBezTo>
                    <a:cubicBezTo>
                      <a:pt x="1237" y="130"/>
                      <a:pt x="1237" y="130"/>
                      <a:pt x="1236" y="131"/>
                    </a:cubicBezTo>
                    <a:cubicBezTo>
                      <a:pt x="1236" y="131"/>
                      <a:pt x="1236" y="131"/>
                      <a:pt x="1236" y="132"/>
                    </a:cubicBezTo>
                    <a:cubicBezTo>
                      <a:pt x="1236" y="132"/>
                      <a:pt x="1236" y="132"/>
                      <a:pt x="1236" y="133"/>
                    </a:cubicBezTo>
                    <a:cubicBezTo>
                      <a:pt x="1236" y="133"/>
                      <a:pt x="1236" y="133"/>
                      <a:pt x="1237" y="134"/>
                    </a:cubicBezTo>
                    <a:cubicBezTo>
                      <a:pt x="1237" y="134"/>
                      <a:pt x="1237" y="134"/>
                      <a:pt x="1238" y="133"/>
                    </a:cubicBezTo>
                    <a:cubicBezTo>
                      <a:pt x="1238" y="133"/>
                      <a:pt x="1238" y="133"/>
                      <a:pt x="1239" y="132"/>
                    </a:cubicBezTo>
                    <a:cubicBezTo>
                      <a:pt x="1239" y="132"/>
                      <a:pt x="1239" y="132"/>
                      <a:pt x="1240" y="130"/>
                    </a:cubicBezTo>
                    <a:cubicBezTo>
                      <a:pt x="1240" y="130"/>
                      <a:pt x="1240" y="130"/>
                      <a:pt x="1240" y="129"/>
                    </a:cubicBezTo>
                    <a:cubicBezTo>
                      <a:pt x="1240" y="129"/>
                      <a:pt x="1240" y="129"/>
                      <a:pt x="1240" y="128"/>
                    </a:cubicBezTo>
                    <a:cubicBezTo>
                      <a:pt x="1240" y="128"/>
                      <a:pt x="1240" y="128"/>
                      <a:pt x="1241" y="128"/>
                    </a:cubicBezTo>
                    <a:cubicBezTo>
                      <a:pt x="1241" y="128"/>
                      <a:pt x="1241" y="128"/>
                      <a:pt x="1241" y="129"/>
                    </a:cubicBezTo>
                    <a:cubicBezTo>
                      <a:pt x="1241" y="129"/>
                      <a:pt x="1241" y="129"/>
                      <a:pt x="1241" y="131"/>
                    </a:cubicBezTo>
                    <a:cubicBezTo>
                      <a:pt x="1241" y="131"/>
                      <a:pt x="1241" y="131"/>
                      <a:pt x="1241" y="132"/>
                    </a:cubicBezTo>
                    <a:cubicBezTo>
                      <a:pt x="1241" y="132"/>
                      <a:pt x="1241" y="132"/>
                      <a:pt x="1241" y="133"/>
                    </a:cubicBezTo>
                    <a:cubicBezTo>
                      <a:pt x="1241" y="133"/>
                      <a:pt x="1241" y="133"/>
                      <a:pt x="1242" y="133"/>
                    </a:cubicBezTo>
                    <a:cubicBezTo>
                      <a:pt x="1242" y="133"/>
                      <a:pt x="1242" y="133"/>
                      <a:pt x="1243" y="132"/>
                    </a:cubicBezTo>
                    <a:cubicBezTo>
                      <a:pt x="1243" y="132"/>
                      <a:pt x="1243" y="132"/>
                      <a:pt x="1244" y="132"/>
                    </a:cubicBezTo>
                    <a:cubicBezTo>
                      <a:pt x="1244" y="132"/>
                      <a:pt x="1244" y="132"/>
                      <a:pt x="1244" y="133"/>
                    </a:cubicBezTo>
                    <a:cubicBezTo>
                      <a:pt x="1244" y="133"/>
                      <a:pt x="1244" y="133"/>
                      <a:pt x="1243" y="133"/>
                    </a:cubicBezTo>
                    <a:cubicBezTo>
                      <a:pt x="1243" y="133"/>
                      <a:pt x="1243" y="133"/>
                      <a:pt x="1242" y="134"/>
                    </a:cubicBezTo>
                    <a:cubicBezTo>
                      <a:pt x="1242" y="134"/>
                      <a:pt x="1242" y="134"/>
                      <a:pt x="1241" y="135"/>
                    </a:cubicBezTo>
                    <a:cubicBezTo>
                      <a:pt x="1241" y="135"/>
                      <a:pt x="1241" y="135"/>
                      <a:pt x="1239" y="135"/>
                    </a:cubicBezTo>
                    <a:cubicBezTo>
                      <a:pt x="1239" y="135"/>
                      <a:pt x="1239" y="135"/>
                      <a:pt x="1238" y="135"/>
                    </a:cubicBezTo>
                    <a:cubicBezTo>
                      <a:pt x="1238" y="135"/>
                      <a:pt x="1238" y="135"/>
                      <a:pt x="1237" y="136"/>
                    </a:cubicBezTo>
                    <a:cubicBezTo>
                      <a:pt x="1237" y="136"/>
                      <a:pt x="1237" y="136"/>
                      <a:pt x="1237" y="137"/>
                    </a:cubicBezTo>
                    <a:cubicBezTo>
                      <a:pt x="1237" y="137"/>
                      <a:pt x="1237" y="137"/>
                      <a:pt x="1236" y="137"/>
                    </a:cubicBezTo>
                    <a:cubicBezTo>
                      <a:pt x="1236" y="137"/>
                      <a:pt x="1236" y="137"/>
                      <a:pt x="1235" y="138"/>
                    </a:cubicBezTo>
                    <a:cubicBezTo>
                      <a:pt x="1235" y="138"/>
                      <a:pt x="1235" y="138"/>
                      <a:pt x="1234" y="139"/>
                    </a:cubicBezTo>
                    <a:cubicBezTo>
                      <a:pt x="1234" y="139"/>
                      <a:pt x="1234" y="139"/>
                      <a:pt x="1233" y="140"/>
                    </a:cubicBezTo>
                    <a:cubicBezTo>
                      <a:pt x="1233" y="140"/>
                      <a:pt x="1233" y="140"/>
                      <a:pt x="1233" y="141"/>
                    </a:cubicBezTo>
                    <a:cubicBezTo>
                      <a:pt x="1233" y="141"/>
                      <a:pt x="1233" y="141"/>
                      <a:pt x="1232" y="141"/>
                    </a:cubicBezTo>
                    <a:cubicBezTo>
                      <a:pt x="1232" y="141"/>
                      <a:pt x="1232" y="141"/>
                      <a:pt x="1232" y="140"/>
                    </a:cubicBezTo>
                    <a:cubicBezTo>
                      <a:pt x="1232" y="140"/>
                      <a:pt x="1232" y="140"/>
                      <a:pt x="1231" y="140"/>
                    </a:cubicBezTo>
                    <a:cubicBezTo>
                      <a:pt x="1231" y="140"/>
                      <a:pt x="1231" y="140"/>
                      <a:pt x="1230" y="141"/>
                    </a:cubicBezTo>
                    <a:cubicBezTo>
                      <a:pt x="1230" y="141"/>
                      <a:pt x="1230" y="141"/>
                      <a:pt x="1230" y="142"/>
                    </a:cubicBezTo>
                    <a:cubicBezTo>
                      <a:pt x="1230" y="142"/>
                      <a:pt x="1230" y="142"/>
                      <a:pt x="1230" y="143"/>
                    </a:cubicBezTo>
                    <a:cubicBezTo>
                      <a:pt x="1230" y="143"/>
                      <a:pt x="1230" y="143"/>
                      <a:pt x="1230" y="145"/>
                    </a:cubicBezTo>
                    <a:cubicBezTo>
                      <a:pt x="1230" y="145"/>
                      <a:pt x="1230" y="145"/>
                      <a:pt x="1231" y="145"/>
                    </a:cubicBezTo>
                    <a:cubicBezTo>
                      <a:pt x="1231" y="145"/>
                      <a:pt x="1231" y="145"/>
                      <a:pt x="1232" y="145"/>
                    </a:cubicBezTo>
                    <a:cubicBezTo>
                      <a:pt x="1232" y="145"/>
                      <a:pt x="1232" y="145"/>
                      <a:pt x="1234" y="145"/>
                    </a:cubicBezTo>
                    <a:cubicBezTo>
                      <a:pt x="1234" y="145"/>
                      <a:pt x="1234" y="145"/>
                      <a:pt x="1234" y="144"/>
                    </a:cubicBezTo>
                    <a:cubicBezTo>
                      <a:pt x="1234" y="144"/>
                      <a:pt x="1234" y="144"/>
                      <a:pt x="1235" y="144"/>
                    </a:cubicBezTo>
                    <a:cubicBezTo>
                      <a:pt x="1235" y="144"/>
                      <a:pt x="1235" y="144"/>
                      <a:pt x="1236" y="144"/>
                    </a:cubicBezTo>
                    <a:cubicBezTo>
                      <a:pt x="1236" y="144"/>
                      <a:pt x="1236" y="144"/>
                      <a:pt x="1237" y="143"/>
                    </a:cubicBezTo>
                    <a:cubicBezTo>
                      <a:pt x="1237" y="143"/>
                      <a:pt x="1237" y="143"/>
                      <a:pt x="1238" y="143"/>
                    </a:cubicBezTo>
                    <a:cubicBezTo>
                      <a:pt x="1238" y="143"/>
                      <a:pt x="1238" y="143"/>
                      <a:pt x="1239" y="143"/>
                    </a:cubicBezTo>
                    <a:cubicBezTo>
                      <a:pt x="1239" y="143"/>
                      <a:pt x="1239" y="143"/>
                      <a:pt x="1240" y="143"/>
                    </a:cubicBezTo>
                    <a:cubicBezTo>
                      <a:pt x="1240" y="143"/>
                      <a:pt x="1240" y="143"/>
                      <a:pt x="1242" y="143"/>
                    </a:cubicBezTo>
                    <a:cubicBezTo>
                      <a:pt x="1242" y="143"/>
                      <a:pt x="1242" y="143"/>
                      <a:pt x="1243" y="142"/>
                    </a:cubicBezTo>
                    <a:cubicBezTo>
                      <a:pt x="1243" y="142"/>
                      <a:pt x="1243" y="142"/>
                      <a:pt x="1244" y="142"/>
                    </a:cubicBezTo>
                    <a:cubicBezTo>
                      <a:pt x="1244" y="142"/>
                      <a:pt x="1244" y="142"/>
                      <a:pt x="1244" y="143"/>
                    </a:cubicBezTo>
                    <a:cubicBezTo>
                      <a:pt x="1244" y="143"/>
                      <a:pt x="1244" y="143"/>
                      <a:pt x="1243" y="143"/>
                    </a:cubicBezTo>
                    <a:cubicBezTo>
                      <a:pt x="1243" y="143"/>
                      <a:pt x="1243" y="143"/>
                      <a:pt x="1243" y="144"/>
                    </a:cubicBezTo>
                    <a:cubicBezTo>
                      <a:pt x="1243" y="144"/>
                      <a:pt x="1243" y="144"/>
                      <a:pt x="1242" y="144"/>
                    </a:cubicBezTo>
                    <a:cubicBezTo>
                      <a:pt x="1242" y="144"/>
                      <a:pt x="1242" y="144"/>
                      <a:pt x="1240" y="144"/>
                    </a:cubicBezTo>
                    <a:cubicBezTo>
                      <a:pt x="1240" y="144"/>
                      <a:pt x="1240" y="144"/>
                      <a:pt x="1239" y="145"/>
                    </a:cubicBezTo>
                    <a:cubicBezTo>
                      <a:pt x="1239" y="145"/>
                      <a:pt x="1239" y="145"/>
                      <a:pt x="1237" y="146"/>
                    </a:cubicBezTo>
                    <a:cubicBezTo>
                      <a:pt x="1237" y="146"/>
                      <a:pt x="1237" y="146"/>
                      <a:pt x="1236" y="146"/>
                    </a:cubicBezTo>
                    <a:cubicBezTo>
                      <a:pt x="1236" y="146"/>
                      <a:pt x="1236" y="146"/>
                      <a:pt x="1235" y="146"/>
                    </a:cubicBezTo>
                    <a:cubicBezTo>
                      <a:pt x="1235" y="146"/>
                      <a:pt x="1235" y="146"/>
                      <a:pt x="1236" y="147"/>
                    </a:cubicBezTo>
                    <a:cubicBezTo>
                      <a:pt x="1236" y="147"/>
                      <a:pt x="1236" y="147"/>
                      <a:pt x="1238" y="147"/>
                    </a:cubicBezTo>
                    <a:cubicBezTo>
                      <a:pt x="1238" y="147"/>
                      <a:pt x="1238" y="147"/>
                      <a:pt x="1239" y="147"/>
                    </a:cubicBezTo>
                    <a:cubicBezTo>
                      <a:pt x="1239" y="147"/>
                      <a:pt x="1239" y="147"/>
                      <a:pt x="1240" y="148"/>
                    </a:cubicBezTo>
                    <a:cubicBezTo>
                      <a:pt x="1240" y="148"/>
                      <a:pt x="1240" y="148"/>
                      <a:pt x="1238" y="149"/>
                    </a:cubicBezTo>
                    <a:cubicBezTo>
                      <a:pt x="1238" y="149"/>
                      <a:pt x="1238" y="149"/>
                      <a:pt x="1237" y="149"/>
                    </a:cubicBezTo>
                    <a:cubicBezTo>
                      <a:pt x="1237" y="149"/>
                      <a:pt x="1237" y="149"/>
                      <a:pt x="1236" y="148"/>
                    </a:cubicBezTo>
                    <a:cubicBezTo>
                      <a:pt x="1236" y="148"/>
                      <a:pt x="1236" y="148"/>
                      <a:pt x="1235" y="148"/>
                    </a:cubicBezTo>
                    <a:cubicBezTo>
                      <a:pt x="1235" y="148"/>
                      <a:pt x="1235" y="148"/>
                      <a:pt x="1235" y="149"/>
                    </a:cubicBezTo>
                    <a:cubicBezTo>
                      <a:pt x="1235" y="149"/>
                      <a:pt x="1235" y="149"/>
                      <a:pt x="1234" y="148"/>
                    </a:cubicBezTo>
                    <a:cubicBezTo>
                      <a:pt x="1234" y="148"/>
                      <a:pt x="1234" y="148"/>
                      <a:pt x="1233" y="147"/>
                    </a:cubicBezTo>
                    <a:cubicBezTo>
                      <a:pt x="1233" y="147"/>
                      <a:pt x="1233" y="147"/>
                      <a:pt x="1231" y="148"/>
                    </a:cubicBezTo>
                    <a:cubicBezTo>
                      <a:pt x="1231" y="148"/>
                      <a:pt x="1231" y="148"/>
                      <a:pt x="1231" y="149"/>
                    </a:cubicBezTo>
                    <a:cubicBezTo>
                      <a:pt x="1231" y="149"/>
                      <a:pt x="1231" y="149"/>
                      <a:pt x="1232" y="149"/>
                    </a:cubicBezTo>
                    <a:cubicBezTo>
                      <a:pt x="1232" y="149"/>
                      <a:pt x="1232" y="149"/>
                      <a:pt x="1232" y="150"/>
                    </a:cubicBezTo>
                    <a:cubicBezTo>
                      <a:pt x="1232" y="150"/>
                      <a:pt x="1232" y="150"/>
                      <a:pt x="1232" y="151"/>
                    </a:cubicBezTo>
                    <a:cubicBezTo>
                      <a:pt x="1232" y="151"/>
                      <a:pt x="1232" y="151"/>
                      <a:pt x="1232" y="152"/>
                    </a:cubicBezTo>
                    <a:cubicBezTo>
                      <a:pt x="1232" y="152"/>
                      <a:pt x="1232" y="152"/>
                      <a:pt x="1233" y="152"/>
                    </a:cubicBezTo>
                    <a:cubicBezTo>
                      <a:pt x="1233" y="152"/>
                      <a:pt x="1233" y="152"/>
                      <a:pt x="1233" y="153"/>
                    </a:cubicBezTo>
                    <a:cubicBezTo>
                      <a:pt x="1233" y="153"/>
                      <a:pt x="1233" y="153"/>
                      <a:pt x="1234" y="153"/>
                    </a:cubicBezTo>
                    <a:cubicBezTo>
                      <a:pt x="1234" y="153"/>
                      <a:pt x="1234" y="153"/>
                      <a:pt x="1234" y="154"/>
                    </a:cubicBezTo>
                    <a:cubicBezTo>
                      <a:pt x="1234" y="154"/>
                      <a:pt x="1234" y="154"/>
                      <a:pt x="1234" y="155"/>
                    </a:cubicBezTo>
                    <a:cubicBezTo>
                      <a:pt x="1234" y="155"/>
                      <a:pt x="1234" y="155"/>
                      <a:pt x="1235" y="155"/>
                    </a:cubicBezTo>
                    <a:cubicBezTo>
                      <a:pt x="1235" y="155"/>
                      <a:pt x="1235" y="155"/>
                      <a:pt x="1236" y="156"/>
                    </a:cubicBezTo>
                    <a:cubicBezTo>
                      <a:pt x="1236" y="156"/>
                      <a:pt x="1236" y="156"/>
                      <a:pt x="1237" y="156"/>
                    </a:cubicBezTo>
                    <a:cubicBezTo>
                      <a:pt x="1237" y="156"/>
                      <a:pt x="1237" y="156"/>
                      <a:pt x="1237" y="157"/>
                    </a:cubicBezTo>
                    <a:cubicBezTo>
                      <a:pt x="1237" y="157"/>
                      <a:pt x="1237" y="157"/>
                      <a:pt x="1237" y="158"/>
                    </a:cubicBezTo>
                    <a:cubicBezTo>
                      <a:pt x="1237" y="158"/>
                      <a:pt x="1237" y="158"/>
                      <a:pt x="1239" y="159"/>
                    </a:cubicBezTo>
                    <a:cubicBezTo>
                      <a:pt x="1239" y="159"/>
                      <a:pt x="1239" y="159"/>
                      <a:pt x="1240" y="158"/>
                    </a:cubicBezTo>
                    <a:cubicBezTo>
                      <a:pt x="1240" y="158"/>
                      <a:pt x="1240" y="158"/>
                      <a:pt x="1240" y="157"/>
                    </a:cubicBezTo>
                    <a:cubicBezTo>
                      <a:pt x="1240" y="157"/>
                      <a:pt x="1240" y="157"/>
                      <a:pt x="1241" y="157"/>
                    </a:cubicBezTo>
                    <a:cubicBezTo>
                      <a:pt x="1241" y="157"/>
                      <a:pt x="1241" y="157"/>
                      <a:pt x="1241" y="158"/>
                    </a:cubicBezTo>
                    <a:cubicBezTo>
                      <a:pt x="1241" y="158"/>
                      <a:pt x="1241" y="158"/>
                      <a:pt x="1242" y="158"/>
                    </a:cubicBezTo>
                    <a:cubicBezTo>
                      <a:pt x="1242" y="158"/>
                      <a:pt x="1242" y="158"/>
                      <a:pt x="1242" y="159"/>
                    </a:cubicBezTo>
                    <a:cubicBezTo>
                      <a:pt x="1242" y="159"/>
                      <a:pt x="1242" y="159"/>
                      <a:pt x="1241" y="159"/>
                    </a:cubicBezTo>
                    <a:cubicBezTo>
                      <a:pt x="1241" y="159"/>
                      <a:pt x="1241" y="159"/>
                      <a:pt x="1240" y="160"/>
                    </a:cubicBezTo>
                    <a:cubicBezTo>
                      <a:pt x="1240" y="160"/>
                      <a:pt x="1240" y="160"/>
                      <a:pt x="1240" y="161"/>
                    </a:cubicBezTo>
                    <a:cubicBezTo>
                      <a:pt x="1240" y="161"/>
                      <a:pt x="1240" y="161"/>
                      <a:pt x="1242" y="163"/>
                    </a:cubicBezTo>
                    <a:cubicBezTo>
                      <a:pt x="1242" y="163"/>
                      <a:pt x="1242" y="163"/>
                      <a:pt x="1243" y="163"/>
                    </a:cubicBezTo>
                    <a:cubicBezTo>
                      <a:pt x="1243" y="163"/>
                      <a:pt x="1243" y="163"/>
                      <a:pt x="1243" y="164"/>
                    </a:cubicBezTo>
                    <a:cubicBezTo>
                      <a:pt x="1243" y="164"/>
                      <a:pt x="1243" y="164"/>
                      <a:pt x="1243" y="165"/>
                    </a:cubicBezTo>
                    <a:cubicBezTo>
                      <a:pt x="1243" y="165"/>
                      <a:pt x="1243" y="165"/>
                      <a:pt x="1243" y="166"/>
                    </a:cubicBezTo>
                    <a:cubicBezTo>
                      <a:pt x="1243" y="166"/>
                      <a:pt x="1243" y="166"/>
                      <a:pt x="1244" y="166"/>
                    </a:cubicBezTo>
                    <a:cubicBezTo>
                      <a:pt x="1244" y="166"/>
                      <a:pt x="1244" y="166"/>
                      <a:pt x="1244" y="165"/>
                    </a:cubicBezTo>
                    <a:cubicBezTo>
                      <a:pt x="1244" y="165"/>
                      <a:pt x="1244" y="165"/>
                      <a:pt x="1245" y="165"/>
                    </a:cubicBezTo>
                    <a:cubicBezTo>
                      <a:pt x="1245" y="165"/>
                      <a:pt x="1245" y="165"/>
                      <a:pt x="1245" y="166"/>
                    </a:cubicBezTo>
                    <a:cubicBezTo>
                      <a:pt x="1245" y="166"/>
                      <a:pt x="1245" y="166"/>
                      <a:pt x="1246" y="166"/>
                    </a:cubicBezTo>
                    <a:cubicBezTo>
                      <a:pt x="1246" y="166"/>
                      <a:pt x="1246" y="166"/>
                      <a:pt x="1247" y="165"/>
                    </a:cubicBezTo>
                    <a:cubicBezTo>
                      <a:pt x="1247" y="165"/>
                      <a:pt x="1247" y="165"/>
                      <a:pt x="1247" y="163"/>
                    </a:cubicBezTo>
                    <a:cubicBezTo>
                      <a:pt x="1247" y="163"/>
                      <a:pt x="1247" y="163"/>
                      <a:pt x="1248" y="162"/>
                    </a:cubicBezTo>
                    <a:cubicBezTo>
                      <a:pt x="1248" y="162"/>
                      <a:pt x="1248" y="162"/>
                      <a:pt x="1247" y="161"/>
                    </a:cubicBezTo>
                    <a:cubicBezTo>
                      <a:pt x="1247" y="161"/>
                      <a:pt x="1247" y="161"/>
                      <a:pt x="1247" y="159"/>
                    </a:cubicBezTo>
                    <a:cubicBezTo>
                      <a:pt x="1247" y="159"/>
                      <a:pt x="1247" y="159"/>
                      <a:pt x="1248" y="157"/>
                    </a:cubicBezTo>
                    <a:cubicBezTo>
                      <a:pt x="1248" y="157"/>
                      <a:pt x="1248" y="157"/>
                      <a:pt x="1248" y="154"/>
                    </a:cubicBezTo>
                    <a:cubicBezTo>
                      <a:pt x="1248" y="154"/>
                      <a:pt x="1248" y="154"/>
                      <a:pt x="1248" y="153"/>
                    </a:cubicBezTo>
                    <a:cubicBezTo>
                      <a:pt x="1248" y="153"/>
                      <a:pt x="1248" y="153"/>
                      <a:pt x="1248" y="152"/>
                    </a:cubicBezTo>
                    <a:cubicBezTo>
                      <a:pt x="1248" y="152"/>
                      <a:pt x="1248" y="152"/>
                      <a:pt x="1249" y="151"/>
                    </a:cubicBezTo>
                    <a:cubicBezTo>
                      <a:pt x="1249" y="151"/>
                      <a:pt x="1249" y="151"/>
                      <a:pt x="1249" y="150"/>
                    </a:cubicBezTo>
                    <a:cubicBezTo>
                      <a:pt x="1249" y="150"/>
                      <a:pt x="1249" y="150"/>
                      <a:pt x="1248" y="150"/>
                    </a:cubicBezTo>
                    <a:cubicBezTo>
                      <a:pt x="1248" y="150"/>
                      <a:pt x="1248" y="150"/>
                      <a:pt x="1249" y="149"/>
                    </a:cubicBezTo>
                    <a:cubicBezTo>
                      <a:pt x="1249" y="149"/>
                      <a:pt x="1249" y="149"/>
                      <a:pt x="1250" y="149"/>
                    </a:cubicBezTo>
                    <a:cubicBezTo>
                      <a:pt x="1250" y="149"/>
                      <a:pt x="1250" y="149"/>
                      <a:pt x="1251" y="149"/>
                    </a:cubicBezTo>
                    <a:cubicBezTo>
                      <a:pt x="1251" y="149"/>
                      <a:pt x="1251" y="149"/>
                      <a:pt x="1251" y="148"/>
                    </a:cubicBezTo>
                    <a:cubicBezTo>
                      <a:pt x="1251" y="148"/>
                      <a:pt x="1251" y="148"/>
                      <a:pt x="1251" y="146"/>
                    </a:cubicBezTo>
                    <a:cubicBezTo>
                      <a:pt x="1251" y="146"/>
                      <a:pt x="1251" y="146"/>
                      <a:pt x="1251" y="145"/>
                    </a:cubicBezTo>
                    <a:cubicBezTo>
                      <a:pt x="1251" y="145"/>
                      <a:pt x="1251" y="145"/>
                      <a:pt x="1251" y="143"/>
                    </a:cubicBezTo>
                    <a:cubicBezTo>
                      <a:pt x="1251" y="143"/>
                      <a:pt x="1251" y="143"/>
                      <a:pt x="1250" y="142"/>
                    </a:cubicBezTo>
                    <a:cubicBezTo>
                      <a:pt x="1250" y="142"/>
                      <a:pt x="1250" y="142"/>
                      <a:pt x="1250" y="141"/>
                    </a:cubicBezTo>
                    <a:cubicBezTo>
                      <a:pt x="1250" y="141"/>
                      <a:pt x="1250" y="141"/>
                      <a:pt x="1251" y="140"/>
                    </a:cubicBezTo>
                    <a:cubicBezTo>
                      <a:pt x="1251" y="140"/>
                      <a:pt x="1251" y="140"/>
                      <a:pt x="1252" y="141"/>
                    </a:cubicBezTo>
                    <a:cubicBezTo>
                      <a:pt x="1252" y="141"/>
                      <a:pt x="1252" y="141"/>
                      <a:pt x="1253" y="140"/>
                    </a:cubicBezTo>
                    <a:cubicBezTo>
                      <a:pt x="1253" y="140"/>
                      <a:pt x="1253" y="140"/>
                      <a:pt x="1252" y="139"/>
                    </a:cubicBezTo>
                    <a:cubicBezTo>
                      <a:pt x="1252" y="139"/>
                      <a:pt x="1252" y="139"/>
                      <a:pt x="1252" y="138"/>
                    </a:cubicBezTo>
                    <a:cubicBezTo>
                      <a:pt x="1252" y="138"/>
                      <a:pt x="1252" y="138"/>
                      <a:pt x="1253" y="137"/>
                    </a:cubicBezTo>
                    <a:cubicBezTo>
                      <a:pt x="1253" y="137"/>
                      <a:pt x="1253" y="137"/>
                      <a:pt x="1252" y="135"/>
                    </a:cubicBezTo>
                    <a:cubicBezTo>
                      <a:pt x="1252" y="135"/>
                      <a:pt x="1252" y="135"/>
                      <a:pt x="1252" y="133"/>
                    </a:cubicBezTo>
                    <a:cubicBezTo>
                      <a:pt x="1252" y="133"/>
                      <a:pt x="1252" y="133"/>
                      <a:pt x="1252" y="132"/>
                    </a:cubicBezTo>
                    <a:cubicBezTo>
                      <a:pt x="1252" y="132"/>
                      <a:pt x="1252" y="132"/>
                      <a:pt x="1254" y="131"/>
                    </a:cubicBezTo>
                    <a:cubicBezTo>
                      <a:pt x="1254" y="131"/>
                      <a:pt x="1254" y="131"/>
                      <a:pt x="1253" y="130"/>
                    </a:cubicBezTo>
                    <a:cubicBezTo>
                      <a:pt x="1253" y="130"/>
                      <a:pt x="1253" y="130"/>
                      <a:pt x="1254" y="129"/>
                    </a:cubicBezTo>
                    <a:cubicBezTo>
                      <a:pt x="1254" y="129"/>
                      <a:pt x="1254" y="129"/>
                      <a:pt x="1255" y="129"/>
                    </a:cubicBezTo>
                    <a:cubicBezTo>
                      <a:pt x="1255" y="129"/>
                      <a:pt x="1255" y="129"/>
                      <a:pt x="1257" y="128"/>
                    </a:cubicBezTo>
                    <a:cubicBezTo>
                      <a:pt x="1257" y="128"/>
                      <a:pt x="1257" y="128"/>
                      <a:pt x="1259" y="128"/>
                    </a:cubicBezTo>
                    <a:cubicBezTo>
                      <a:pt x="1259" y="128"/>
                      <a:pt x="1259" y="128"/>
                      <a:pt x="1259" y="129"/>
                    </a:cubicBezTo>
                    <a:cubicBezTo>
                      <a:pt x="1259" y="129"/>
                      <a:pt x="1259" y="129"/>
                      <a:pt x="1260" y="129"/>
                    </a:cubicBezTo>
                    <a:cubicBezTo>
                      <a:pt x="1260" y="129"/>
                      <a:pt x="1260" y="129"/>
                      <a:pt x="1260" y="128"/>
                    </a:cubicBezTo>
                    <a:cubicBezTo>
                      <a:pt x="1260" y="128"/>
                      <a:pt x="1260" y="128"/>
                      <a:pt x="1260" y="127"/>
                    </a:cubicBezTo>
                    <a:cubicBezTo>
                      <a:pt x="1260" y="127"/>
                      <a:pt x="1260" y="127"/>
                      <a:pt x="1260" y="126"/>
                    </a:cubicBezTo>
                    <a:cubicBezTo>
                      <a:pt x="1260" y="126"/>
                      <a:pt x="1260" y="126"/>
                      <a:pt x="1259" y="125"/>
                    </a:cubicBezTo>
                    <a:cubicBezTo>
                      <a:pt x="1259" y="125"/>
                      <a:pt x="1259" y="125"/>
                      <a:pt x="1257" y="125"/>
                    </a:cubicBezTo>
                    <a:cubicBezTo>
                      <a:pt x="1257" y="125"/>
                      <a:pt x="1257" y="125"/>
                      <a:pt x="1255" y="124"/>
                    </a:cubicBezTo>
                    <a:cubicBezTo>
                      <a:pt x="1255" y="124"/>
                      <a:pt x="1255" y="124"/>
                      <a:pt x="1254" y="122"/>
                    </a:cubicBezTo>
                    <a:cubicBezTo>
                      <a:pt x="1254" y="122"/>
                      <a:pt x="1254" y="122"/>
                      <a:pt x="1253" y="122"/>
                    </a:cubicBezTo>
                    <a:cubicBezTo>
                      <a:pt x="1253" y="122"/>
                      <a:pt x="1253" y="122"/>
                      <a:pt x="1252" y="120"/>
                    </a:cubicBezTo>
                    <a:cubicBezTo>
                      <a:pt x="1252" y="120"/>
                      <a:pt x="1252" y="120"/>
                      <a:pt x="1251" y="120"/>
                    </a:cubicBezTo>
                    <a:cubicBezTo>
                      <a:pt x="1251" y="120"/>
                      <a:pt x="1251" y="120"/>
                      <a:pt x="1250" y="119"/>
                    </a:cubicBezTo>
                    <a:cubicBezTo>
                      <a:pt x="1250" y="119"/>
                      <a:pt x="1250" y="119"/>
                      <a:pt x="1249" y="119"/>
                    </a:cubicBezTo>
                    <a:cubicBezTo>
                      <a:pt x="1249" y="119"/>
                      <a:pt x="1249" y="119"/>
                      <a:pt x="1249" y="118"/>
                    </a:cubicBezTo>
                    <a:cubicBezTo>
                      <a:pt x="1249" y="118"/>
                      <a:pt x="1249" y="118"/>
                      <a:pt x="1248" y="115"/>
                    </a:cubicBezTo>
                    <a:cubicBezTo>
                      <a:pt x="1248" y="115"/>
                      <a:pt x="1248" y="115"/>
                      <a:pt x="1247" y="113"/>
                    </a:cubicBezTo>
                    <a:cubicBezTo>
                      <a:pt x="1247" y="113"/>
                      <a:pt x="1247" y="113"/>
                      <a:pt x="1246" y="111"/>
                    </a:cubicBezTo>
                    <a:cubicBezTo>
                      <a:pt x="1246" y="111"/>
                      <a:pt x="1246" y="111"/>
                      <a:pt x="1245" y="112"/>
                    </a:cubicBezTo>
                    <a:cubicBezTo>
                      <a:pt x="1245" y="112"/>
                      <a:pt x="1245" y="112"/>
                      <a:pt x="1244" y="113"/>
                    </a:cubicBezTo>
                    <a:cubicBezTo>
                      <a:pt x="1244" y="113"/>
                      <a:pt x="1244" y="113"/>
                      <a:pt x="1245" y="115"/>
                    </a:cubicBezTo>
                    <a:cubicBezTo>
                      <a:pt x="1245" y="115"/>
                      <a:pt x="1245" y="115"/>
                      <a:pt x="1245" y="117"/>
                    </a:cubicBezTo>
                    <a:cubicBezTo>
                      <a:pt x="1245" y="117"/>
                      <a:pt x="1245" y="117"/>
                      <a:pt x="1244" y="118"/>
                    </a:cubicBezTo>
                    <a:cubicBezTo>
                      <a:pt x="1244" y="118"/>
                      <a:pt x="1244" y="118"/>
                      <a:pt x="1243" y="117"/>
                    </a:cubicBezTo>
                    <a:cubicBezTo>
                      <a:pt x="1243" y="117"/>
                      <a:pt x="1243" y="117"/>
                      <a:pt x="1244" y="117"/>
                    </a:cubicBezTo>
                    <a:cubicBezTo>
                      <a:pt x="1244" y="117"/>
                      <a:pt x="1244" y="117"/>
                      <a:pt x="1244" y="115"/>
                    </a:cubicBezTo>
                    <a:cubicBezTo>
                      <a:pt x="1244" y="115"/>
                      <a:pt x="1244" y="115"/>
                      <a:pt x="1244" y="113"/>
                    </a:cubicBezTo>
                    <a:cubicBezTo>
                      <a:pt x="1244" y="112"/>
                      <a:pt x="1244" y="112"/>
                      <a:pt x="1244" y="112"/>
                    </a:cubicBezTo>
                    <a:cubicBezTo>
                      <a:pt x="1244" y="112"/>
                      <a:pt x="1244" y="112"/>
                      <a:pt x="1244" y="110"/>
                    </a:cubicBezTo>
                    <a:cubicBezTo>
                      <a:pt x="1244" y="110"/>
                      <a:pt x="1244" y="110"/>
                      <a:pt x="1244" y="109"/>
                    </a:cubicBezTo>
                    <a:cubicBezTo>
                      <a:pt x="1244" y="109"/>
                      <a:pt x="1244" y="109"/>
                      <a:pt x="1242" y="107"/>
                    </a:cubicBezTo>
                    <a:cubicBezTo>
                      <a:pt x="1242" y="107"/>
                      <a:pt x="1242" y="107"/>
                      <a:pt x="1241" y="107"/>
                    </a:cubicBezTo>
                    <a:cubicBezTo>
                      <a:pt x="1241" y="107"/>
                      <a:pt x="1241" y="107"/>
                      <a:pt x="1240" y="107"/>
                    </a:cubicBezTo>
                    <a:cubicBezTo>
                      <a:pt x="1240" y="107"/>
                      <a:pt x="1240" y="107"/>
                      <a:pt x="1240" y="108"/>
                    </a:cubicBezTo>
                    <a:cubicBezTo>
                      <a:pt x="1240" y="108"/>
                      <a:pt x="1240" y="108"/>
                      <a:pt x="1239" y="108"/>
                    </a:cubicBezTo>
                    <a:cubicBezTo>
                      <a:pt x="1239" y="108"/>
                      <a:pt x="1239" y="108"/>
                      <a:pt x="1239" y="106"/>
                    </a:cubicBezTo>
                    <a:cubicBezTo>
                      <a:pt x="1239" y="106"/>
                      <a:pt x="1239" y="106"/>
                      <a:pt x="1238" y="105"/>
                    </a:cubicBezTo>
                    <a:cubicBezTo>
                      <a:pt x="1238" y="105"/>
                      <a:pt x="1238" y="105"/>
                      <a:pt x="1237" y="104"/>
                    </a:cubicBezTo>
                    <a:cubicBezTo>
                      <a:pt x="1237" y="104"/>
                      <a:pt x="1237" y="104"/>
                      <a:pt x="1237" y="105"/>
                    </a:cubicBezTo>
                    <a:cubicBezTo>
                      <a:pt x="1237" y="105"/>
                      <a:pt x="1237" y="105"/>
                      <a:pt x="1236" y="106"/>
                    </a:cubicBezTo>
                    <a:cubicBezTo>
                      <a:pt x="1236" y="106"/>
                      <a:pt x="1236" y="106"/>
                      <a:pt x="1236" y="108"/>
                    </a:cubicBezTo>
                    <a:cubicBezTo>
                      <a:pt x="1236" y="108"/>
                      <a:pt x="1236" y="108"/>
                      <a:pt x="1236" y="109"/>
                    </a:cubicBezTo>
                    <a:cubicBezTo>
                      <a:pt x="1236" y="109"/>
                      <a:pt x="1236" y="109"/>
                      <a:pt x="1236" y="110"/>
                    </a:cubicBezTo>
                    <a:cubicBezTo>
                      <a:pt x="1236" y="110"/>
                      <a:pt x="1236" y="110"/>
                      <a:pt x="1235" y="111"/>
                    </a:cubicBezTo>
                    <a:cubicBezTo>
                      <a:pt x="1235" y="111"/>
                      <a:pt x="1235" y="111"/>
                      <a:pt x="1236" y="112"/>
                    </a:cubicBezTo>
                    <a:cubicBezTo>
                      <a:pt x="1236" y="112"/>
                      <a:pt x="1236" y="112"/>
                      <a:pt x="1236" y="113"/>
                    </a:cubicBezTo>
                    <a:cubicBezTo>
                      <a:pt x="1236" y="113"/>
                      <a:pt x="1236" y="113"/>
                      <a:pt x="1236" y="116"/>
                    </a:cubicBezTo>
                    <a:cubicBezTo>
                      <a:pt x="1236" y="116"/>
                      <a:pt x="1236" y="116"/>
                      <a:pt x="1236" y="118"/>
                    </a:cubicBezTo>
                    <a:cubicBezTo>
                      <a:pt x="1236" y="118"/>
                      <a:pt x="1236" y="118"/>
                      <a:pt x="1237" y="119"/>
                    </a:cubicBezTo>
                    <a:cubicBezTo>
                      <a:pt x="1237" y="119"/>
                      <a:pt x="1237" y="119"/>
                      <a:pt x="1238" y="121"/>
                    </a:cubicBezTo>
                    <a:cubicBezTo>
                      <a:pt x="1238" y="121"/>
                      <a:pt x="1238" y="121"/>
                      <a:pt x="1238" y="122"/>
                    </a:cubicBezTo>
                    <a:cubicBezTo>
                      <a:pt x="1238" y="122"/>
                      <a:pt x="1238" y="122"/>
                      <a:pt x="1239" y="124"/>
                    </a:cubicBezTo>
                    <a:cubicBezTo>
                      <a:pt x="1239" y="124"/>
                      <a:pt x="1239" y="124"/>
                      <a:pt x="1239" y="125"/>
                    </a:cubicBezTo>
                    <a:cubicBezTo>
                      <a:pt x="1239" y="125"/>
                      <a:pt x="1239" y="125"/>
                      <a:pt x="1238" y="125"/>
                    </a:cubicBezTo>
                    <a:cubicBezTo>
                      <a:pt x="1238" y="125"/>
                      <a:pt x="1238" y="125"/>
                      <a:pt x="1238" y="124"/>
                    </a:cubicBezTo>
                    <a:cubicBezTo>
                      <a:pt x="1238" y="124"/>
                      <a:pt x="1238" y="124"/>
                      <a:pt x="1237" y="122"/>
                    </a:cubicBezTo>
                    <a:cubicBezTo>
                      <a:pt x="1237" y="122"/>
                      <a:pt x="1237" y="122"/>
                      <a:pt x="1236" y="121"/>
                    </a:cubicBezTo>
                    <a:cubicBezTo>
                      <a:pt x="1236" y="121"/>
                      <a:pt x="1236" y="121"/>
                      <a:pt x="1235" y="121"/>
                    </a:cubicBezTo>
                    <a:cubicBezTo>
                      <a:pt x="1235" y="121"/>
                      <a:pt x="1235" y="121"/>
                      <a:pt x="1234" y="122"/>
                    </a:cubicBezTo>
                    <a:cubicBezTo>
                      <a:pt x="1234" y="122"/>
                      <a:pt x="1234" y="122"/>
                      <a:pt x="1234" y="121"/>
                    </a:cubicBezTo>
                    <a:cubicBezTo>
                      <a:pt x="1234" y="121"/>
                      <a:pt x="1234" y="121"/>
                      <a:pt x="1235" y="120"/>
                    </a:cubicBezTo>
                    <a:cubicBezTo>
                      <a:pt x="1235" y="120"/>
                      <a:pt x="1235" y="120"/>
                      <a:pt x="1235" y="119"/>
                    </a:cubicBezTo>
                    <a:cubicBezTo>
                      <a:pt x="1235" y="119"/>
                      <a:pt x="1235" y="119"/>
                      <a:pt x="1235" y="118"/>
                    </a:cubicBezTo>
                    <a:cubicBezTo>
                      <a:pt x="1235" y="118"/>
                      <a:pt x="1235" y="118"/>
                      <a:pt x="1234" y="116"/>
                    </a:cubicBezTo>
                    <a:cubicBezTo>
                      <a:pt x="1234" y="116"/>
                      <a:pt x="1234" y="116"/>
                      <a:pt x="1234" y="113"/>
                    </a:cubicBezTo>
                    <a:cubicBezTo>
                      <a:pt x="1234" y="113"/>
                      <a:pt x="1234" y="113"/>
                      <a:pt x="1233" y="112"/>
                    </a:cubicBezTo>
                    <a:cubicBezTo>
                      <a:pt x="1233" y="112"/>
                      <a:pt x="1233" y="112"/>
                      <a:pt x="1231" y="110"/>
                    </a:cubicBezTo>
                    <a:cubicBezTo>
                      <a:pt x="1231" y="110"/>
                      <a:pt x="1231" y="110"/>
                      <a:pt x="1230" y="111"/>
                    </a:cubicBezTo>
                    <a:cubicBezTo>
                      <a:pt x="1230" y="111"/>
                      <a:pt x="1230" y="111"/>
                      <a:pt x="1230" y="112"/>
                    </a:cubicBezTo>
                    <a:cubicBezTo>
                      <a:pt x="1230" y="112"/>
                      <a:pt x="1230" y="112"/>
                      <a:pt x="1229" y="114"/>
                    </a:cubicBezTo>
                    <a:cubicBezTo>
                      <a:pt x="1229" y="114"/>
                      <a:pt x="1229" y="114"/>
                      <a:pt x="1228" y="115"/>
                    </a:cubicBezTo>
                    <a:cubicBezTo>
                      <a:pt x="1228" y="115"/>
                      <a:pt x="1228" y="115"/>
                      <a:pt x="1229" y="117"/>
                    </a:cubicBezTo>
                    <a:cubicBezTo>
                      <a:pt x="1229" y="117"/>
                      <a:pt x="1229" y="117"/>
                      <a:pt x="1229" y="118"/>
                    </a:cubicBezTo>
                    <a:cubicBezTo>
                      <a:pt x="1229" y="118"/>
                      <a:pt x="1229" y="118"/>
                      <a:pt x="1230" y="120"/>
                    </a:cubicBezTo>
                    <a:cubicBezTo>
                      <a:pt x="1230" y="120"/>
                      <a:pt x="1230" y="120"/>
                      <a:pt x="1229" y="120"/>
                    </a:cubicBezTo>
                    <a:cubicBezTo>
                      <a:pt x="1229" y="120"/>
                      <a:pt x="1229" y="120"/>
                      <a:pt x="1229" y="119"/>
                    </a:cubicBezTo>
                    <a:cubicBezTo>
                      <a:pt x="1229" y="119"/>
                      <a:pt x="1229" y="119"/>
                      <a:pt x="1228" y="117"/>
                    </a:cubicBezTo>
                    <a:cubicBezTo>
                      <a:pt x="1228" y="117"/>
                      <a:pt x="1228" y="117"/>
                      <a:pt x="1228" y="116"/>
                    </a:cubicBezTo>
                    <a:cubicBezTo>
                      <a:pt x="1228" y="116"/>
                      <a:pt x="1228" y="116"/>
                      <a:pt x="1227" y="115"/>
                    </a:cubicBezTo>
                    <a:cubicBezTo>
                      <a:pt x="1227" y="115"/>
                      <a:pt x="1227" y="115"/>
                      <a:pt x="1227" y="116"/>
                    </a:cubicBezTo>
                    <a:cubicBezTo>
                      <a:pt x="1227" y="116"/>
                      <a:pt x="1227" y="116"/>
                      <a:pt x="1226" y="116"/>
                    </a:cubicBezTo>
                    <a:cubicBezTo>
                      <a:pt x="1226" y="116"/>
                      <a:pt x="1226" y="116"/>
                      <a:pt x="1226" y="115"/>
                    </a:cubicBezTo>
                    <a:cubicBezTo>
                      <a:pt x="1226" y="115"/>
                      <a:pt x="1226" y="115"/>
                      <a:pt x="1227" y="114"/>
                    </a:cubicBezTo>
                    <a:cubicBezTo>
                      <a:pt x="1227" y="114"/>
                      <a:pt x="1227" y="114"/>
                      <a:pt x="1227" y="113"/>
                    </a:cubicBezTo>
                    <a:cubicBezTo>
                      <a:pt x="1227" y="113"/>
                      <a:pt x="1227" y="113"/>
                      <a:pt x="1225" y="114"/>
                    </a:cubicBezTo>
                    <a:cubicBezTo>
                      <a:pt x="1225" y="114"/>
                      <a:pt x="1225" y="114"/>
                      <a:pt x="1224" y="115"/>
                    </a:cubicBezTo>
                    <a:cubicBezTo>
                      <a:pt x="1224" y="115"/>
                      <a:pt x="1224" y="115"/>
                      <a:pt x="1223" y="114"/>
                    </a:cubicBezTo>
                    <a:cubicBezTo>
                      <a:pt x="1223" y="114"/>
                      <a:pt x="1223" y="114"/>
                      <a:pt x="1224" y="113"/>
                    </a:cubicBezTo>
                    <a:cubicBezTo>
                      <a:pt x="1224" y="113"/>
                      <a:pt x="1224" y="113"/>
                      <a:pt x="1226" y="112"/>
                    </a:cubicBezTo>
                    <a:cubicBezTo>
                      <a:pt x="1226" y="112"/>
                      <a:pt x="1226" y="112"/>
                      <a:pt x="1226" y="111"/>
                    </a:cubicBezTo>
                    <a:cubicBezTo>
                      <a:pt x="1226" y="111"/>
                      <a:pt x="1226" y="111"/>
                      <a:pt x="1227" y="112"/>
                    </a:cubicBezTo>
                    <a:cubicBezTo>
                      <a:pt x="1227" y="112"/>
                      <a:pt x="1227" y="112"/>
                      <a:pt x="1228" y="111"/>
                    </a:cubicBezTo>
                    <a:cubicBezTo>
                      <a:pt x="1228" y="111"/>
                      <a:pt x="1228" y="111"/>
                      <a:pt x="1228" y="110"/>
                    </a:cubicBezTo>
                    <a:cubicBezTo>
                      <a:pt x="1228" y="110"/>
                      <a:pt x="1228" y="110"/>
                      <a:pt x="1228" y="109"/>
                    </a:cubicBezTo>
                    <a:cubicBezTo>
                      <a:pt x="1228" y="109"/>
                      <a:pt x="1228" y="109"/>
                      <a:pt x="1227" y="108"/>
                    </a:cubicBezTo>
                    <a:cubicBezTo>
                      <a:pt x="1227" y="108"/>
                      <a:pt x="1227" y="108"/>
                      <a:pt x="1226" y="108"/>
                    </a:cubicBezTo>
                    <a:cubicBezTo>
                      <a:pt x="1226" y="108"/>
                      <a:pt x="1226" y="108"/>
                      <a:pt x="1223" y="110"/>
                    </a:cubicBezTo>
                    <a:cubicBezTo>
                      <a:pt x="1223" y="110"/>
                      <a:pt x="1223" y="110"/>
                      <a:pt x="1222" y="111"/>
                    </a:cubicBezTo>
                    <a:cubicBezTo>
                      <a:pt x="1222" y="111"/>
                      <a:pt x="1222" y="111"/>
                      <a:pt x="1222" y="110"/>
                    </a:cubicBezTo>
                    <a:cubicBezTo>
                      <a:pt x="1222" y="110"/>
                      <a:pt x="1222" y="110"/>
                      <a:pt x="1221" y="109"/>
                    </a:cubicBezTo>
                    <a:cubicBezTo>
                      <a:pt x="1221" y="109"/>
                      <a:pt x="1221" y="109"/>
                      <a:pt x="1220" y="110"/>
                    </a:cubicBezTo>
                    <a:cubicBezTo>
                      <a:pt x="1220" y="110"/>
                      <a:pt x="1220" y="110"/>
                      <a:pt x="1220" y="111"/>
                    </a:cubicBezTo>
                    <a:cubicBezTo>
                      <a:pt x="1220" y="111"/>
                      <a:pt x="1220" y="111"/>
                      <a:pt x="1222" y="112"/>
                    </a:cubicBezTo>
                    <a:cubicBezTo>
                      <a:pt x="1222" y="112"/>
                      <a:pt x="1222" y="112"/>
                      <a:pt x="1221" y="113"/>
                    </a:cubicBezTo>
                    <a:cubicBezTo>
                      <a:pt x="1221" y="113"/>
                      <a:pt x="1221" y="113"/>
                      <a:pt x="1220" y="113"/>
                    </a:cubicBezTo>
                    <a:cubicBezTo>
                      <a:pt x="1220" y="113"/>
                      <a:pt x="1220" y="113"/>
                      <a:pt x="1220" y="112"/>
                    </a:cubicBezTo>
                    <a:cubicBezTo>
                      <a:pt x="1220" y="112"/>
                      <a:pt x="1220" y="112"/>
                      <a:pt x="1219" y="110"/>
                    </a:cubicBezTo>
                    <a:cubicBezTo>
                      <a:pt x="1219" y="110"/>
                      <a:pt x="1219" y="110"/>
                      <a:pt x="1218" y="110"/>
                    </a:cubicBezTo>
                    <a:cubicBezTo>
                      <a:pt x="1218" y="110"/>
                      <a:pt x="1218" y="110"/>
                      <a:pt x="1217" y="111"/>
                    </a:cubicBezTo>
                    <a:cubicBezTo>
                      <a:pt x="1217" y="111"/>
                      <a:pt x="1217" y="111"/>
                      <a:pt x="1217" y="112"/>
                    </a:cubicBezTo>
                    <a:cubicBezTo>
                      <a:pt x="1217" y="112"/>
                      <a:pt x="1217" y="112"/>
                      <a:pt x="1218" y="113"/>
                    </a:cubicBezTo>
                    <a:cubicBezTo>
                      <a:pt x="1218" y="113"/>
                      <a:pt x="1218" y="113"/>
                      <a:pt x="1218" y="114"/>
                    </a:cubicBezTo>
                    <a:cubicBezTo>
                      <a:pt x="1218" y="114"/>
                      <a:pt x="1218" y="114"/>
                      <a:pt x="1217" y="114"/>
                    </a:cubicBezTo>
                    <a:cubicBezTo>
                      <a:pt x="1217" y="114"/>
                      <a:pt x="1217" y="114"/>
                      <a:pt x="1216" y="115"/>
                    </a:cubicBezTo>
                    <a:cubicBezTo>
                      <a:pt x="1216" y="115"/>
                      <a:pt x="1216" y="115"/>
                      <a:pt x="1216" y="116"/>
                    </a:cubicBezTo>
                    <a:cubicBezTo>
                      <a:pt x="1216" y="116"/>
                      <a:pt x="1216" y="116"/>
                      <a:pt x="1216" y="118"/>
                    </a:cubicBezTo>
                    <a:cubicBezTo>
                      <a:pt x="1216" y="118"/>
                      <a:pt x="1216" y="118"/>
                      <a:pt x="1216" y="119"/>
                    </a:cubicBezTo>
                    <a:cubicBezTo>
                      <a:pt x="1216" y="119"/>
                      <a:pt x="1216" y="119"/>
                      <a:pt x="1217" y="121"/>
                    </a:cubicBezTo>
                    <a:cubicBezTo>
                      <a:pt x="1217" y="121"/>
                      <a:pt x="1217" y="121"/>
                      <a:pt x="1217" y="122"/>
                    </a:cubicBezTo>
                    <a:close/>
                    <a:moveTo>
                      <a:pt x="1246" y="104"/>
                    </a:moveTo>
                    <a:cubicBezTo>
                      <a:pt x="1245" y="104"/>
                      <a:pt x="1245" y="104"/>
                      <a:pt x="1245" y="104"/>
                    </a:cubicBezTo>
                    <a:cubicBezTo>
                      <a:pt x="1245" y="105"/>
                      <a:pt x="1245" y="105"/>
                      <a:pt x="1245" y="105"/>
                    </a:cubicBezTo>
                    <a:cubicBezTo>
                      <a:pt x="1247" y="105"/>
                      <a:pt x="1247" y="105"/>
                      <a:pt x="1247" y="105"/>
                    </a:cubicBezTo>
                    <a:cubicBezTo>
                      <a:pt x="1245" y="106"/>
                      <a:pt x="1245" y="106"/>
                      <a:pt x="1245" y="106"/>
                    </a:cubicBezTo>
                    <a:cubicBezTo>
                      <a:pt x="1245" y="107"/>
                      <a:pt x="1245" y="107"/>
                      <a:pt x="1245" y="107"/>
                    </a:cubicBezTo>
                    <a:cubicBezTo>
                      <a:pt x="1246" y="109"/>
                      <a:pt x="1246" y="109"/>
                      <a:pt x="1246" y="109"/>
                    </a:cubicBezTo>
                    <a:cubicBezTo>
                      <a:pt x="1247" y="110"/>
                      <a:pt x="1247" y="110"/>
                      <a:pt x="1247" y="110"/>
                    </a:cubicBezTo>
                    <a:cubicBezTo>
                      <a:pt x="1248" y="110"/>
                      <a:pt x="1248" y="110"/>
                      <a:pt x="1248" y="110"/>
                    </a:cubicBezTo>
                    <a:cubicBezTo>
                      <a:pt x="1250" y="110"/>
                      <a:pt x="1250" y="110"/>
                      <a:pt x="1250" y="110"/>
                    </a:cubicBezTo>
                    <a:cubicBezTo>
                      <a:pt x="1251" y="110"/>
                      <a:pt x="1251" y="110"/>
                      <a:pt x="1251" y="110"/>
                    </a:cubicBezTo>
                    <a:cubicBezTo>
                      <a:pt x="1252" y="110"/>
                      <a:pt x="1252" y="110"/>
                      <a:pt x="1252" y="110"/>
                    </a:cubicBezTo>
                    <a:cubicBezTo>
                      <a:pt x="1254" y="109"/>
                      <a:pt x="1254" y="109"/>
                      <a:pt x="1254" y="109"/>
                    </a:cubicBezTo>
                    <a:cubicBezTo>
                      <a:pt x="1257" y="109"/>
                      <a:pt x="1257" y="109"/>
                      <a:pt x="1257" y="109"/>
                    </a:cubicBezTo>
                    <a:cubicBezTo>
                      <a:pt x="1258" y="109"/>
                      <a:pt x="1258" y="109"/>
                      <a:pt x="1258" y="109"/>
                    </a:cubicBezTo>
                    <a:cubicBezTo>
                      <a:pt x="1259" y="108"/>
                      <a:pt x="1259" y="108"/>
                      <a:pt x="1259" y="108"/>
                    </a:cubicBezTo>
                    <a:cubicBezTo>
                      <a:pt x="1260" y="108"/>
                      <a:pt x="1260" y="108"/>
                      <a:pt x="1260" y="108"/>
                    </a:cubicBezTo>
                    <a:cubicBezTo>
                      <a:pt x="1260" y="109"/>
                      <a:pt x="1260" y="109"/>
                      <a:pt x="1260" y="109"/>
                    </a:cubicBezTo>
                    <a:cubicBezTo>
                      <a:pt x="1260" y="110"/>
                      <a:pt x="1260" y="110"/>
                      <a:pt x="1260" y="110"/>
                    </a:cubicBezTo>
                    <a:cubicBezTo>
                      <a:pt x="1259" y="111"/>
                      <a:pt x="1259" y="111"/>
                      <a:pt x="1259" y="111"/>
                    </a:cubicBezTo>
                    <a:cubicBezTo>
                      <a:pt x="1258" y="110"/>
                      <a:pt x="1258" y="110"/>
                      <a:pt x="1258" y="110"/>
                    </a:cubicBezTo>
                    <a:cubicBezTo>
                      <a:pt x="1256" y="110"/>
                      <a:pt x="1256" y="110"/>
                      <a:pt x="1256" y="110"/>
                    </a:cubicBezTo>
                    <a:cubicBezTo>
                      <a:pt x="1255" y="110"/>
                      <a:pt x="1255" y="110"/>
                      <a:pt x="1255" y="110"/>
                    </a:cubicBezTo>
                    <a:cubicBezTo>
                      <a:pt x="1255" y="111"/>
                      <a:pt x="1255" y="111"/>
                      <a:pt x="1255" y="111"/>
                    </a:cubicBezTo>
                    <a:cubicBezTo>
                      <a:pt x="1257" y="111"/>
                      <a:pt x="1257" y="111"/>
                      <a:pt x="1257" y="111"/>
                    </a:cubicBezTo>
                    <a:cubicBezTo>
                      <a:pt x="1258" y="112"/>
                      <a:pt x="1258" y="112"/>
                      <a:pt x="1258" y="112"/>
                    </a:cubicBezTo>
                    <a:cubicBezTo>
                      <a:pt x="1257" y="113"/>
                      <a:pt x="1257" y="113"/>
                      <a:pt x="1257" y="113"/>
                    </a:cubicBezTo>
                    <a:cubicBezTo>
                      <a:pt x="1256" y="112"/>
                      <a:pt x="1256" y="112"/>
                      <a:pt x="1256" y="112"/>
                    </a:cubicBezTo>
                    <a:cubicBezTo>
                      <a:pt x="1255" y="113"/>
                      <a:pt x="1255" y="113"/>
                      <a:pt x="1255" y="113"/>
                    </a:cubicBezTo>
                    <a:cubicBezTo>
                      <a:pt x="1254" y="112"/>
                      <a:pt x="1254" y="112"/>
                      <a:pt x="1254" y="112"/>
                    </a:cubicBezTo>
                    <a:cubicBezTo>
                      <a:pt x="1252" y="111"/>
                      <a:pt x="1252" y="111"/>
                      <a:pt x="1252" y="111"/>
                    </a:cubicBezTo>
                    <a:cubicBezTo>
                      <a:pt x="1251" y="112"/>
                      <a:pt x="1251" y="112"/>
                      <a:pt x="1251" y="112"/>
                    </a:cubicBezTo>
                    <a:cubicBezTo>
                      <a:pt x="1252" y="113"/>
                      <a:pt x="1252" y="113"/>
                      <a:pt x="1252" y="113"/>
                    </a:cubicBezTo>
                    <a:cubicBezTo>
                      <a:pt x="1254" y="115"/>
                      <a:pt x="1254" y="115"/>
                      <a:pt x="1254" y="115"/>
                    </a:cubicBezTo>
                    <a:cubicBezTo>
                      <a:pt x="1255" y="115"/>
                      <a:pt x="1255" y="115"/>
                      <a:pt x="1255" y="115"/>
                    </a:cubicBezTo>
                    <a:cubicBezTo>
                      <a:pt x="1256" y="115"/>
                      <a:pt x="1256" y="115"/>
                      <a:pt x="1256" y="115"/>
                    </a:cubicBezTo>
                    <a:cubicBezTo>
                      <a:pt x="1257" y="116"/>
                      <a:pt x="1257" y="116"/>
                      <a:pt x="1257" y="116"/>
                    </a:cubicBezTo>
                    <a:cubicBezTo>
                      <a:pt x="1257" y="117"/>
                      <a:pt x="1257" y="117"/>
                      <a:pt x="1257" y="117"/>
                    </a:cubicBezTo>
                    <a:cubicBezTo>
                      <a:pt x="1258" y="117"/>
                      <a:pt x="1258" y="117"/>
                      <a:pt x="1258" y="117"/>
                    </a:cubicBezTo>
                    <a:cubicBezTo>
                      <a:pt x="1259" y="117"/>
                      <a:pt x="1259" y="117"/>
                      <a:pt x="1259" y="117"/>
                    </a:cubicBezTo>
                    <a:cubicBezTo>
                      <a:pt x="1261" y="117"/>
                      <a:pt x="1261" y="117"/>
                      <a:pt x="1261" y="117"/>
                    </a:cubicBezTo>
                    <a:cubicBezTo>
                      <a:pt x="1262" y="116"/>
                      <a:pt x="1262" y="116"/>
                      <a:pt x="1262" y="116"/>
                    </a:cubicBezTo>
                    <a:cubicBezTo>
                      <a:pt x="1264" y="116"/>
                      <a:pt x="1264" y="116"/>
                      <a:pt x="1264" y="116"/>
                    </a:cubicBezTo>
                    <a:cubicBezTo>
                      <a:pt x="1265" y="116"/>
                      <a:pt x="1265" y="116"/>
                      <a:pt x="1265" y="116"/>
                    </a:cubicBezTo>
                    <a:cubicBezTo>
                      <a:pt x="1265" y="117"/>
                      <a:pt x="1265" y="117"/>
                      <a:pt x="1265" y="117"/>
                    </a:cubicBezTo>
                    <a:cubicBezTo>
                      <a:pt x="1265" y="119"/>
                      <a:pt x="1265" y="119"/>
                      <a:pt x="1265" y="119"/>
                    </a:cubicBezTo>
                    <a:cubicBezTo>
                      <a:pt x="1267" y="120"/>
                      <a:pt x="1267" y="120"/>
                      <a:pt x="1267" y="120"/>
                    </a:cubicBezTo>
                    <a:cubicBezTo>
                      <a:pt x="1268" y="120"/>
                      <a:pt x="1268" y="120"/>
                      <a:pt x="1268" y="120"/>
                    </a:cubicBezTo>
                    <a:cubicBezTo>
                      <a:pt x="1270" y="119"/>
                      <a:pt x="1270" y="119"/>
                      <a:pt x="1270" y="119"/>
                    </a:cubicBezTo>
                    <a:cubicBezTo>
                      <a:pt x="1270" y="118"/>
                      <a:pt x="1270" y="118"/>
                      <a:pt x="1270" y="118"/>
                    </a:cubicBezTo>
                    <a:cubicBezTo>
                      <a:pt x="1270" y="117"/>
                      <a:pt x="1270" y="117"/>
                      <a:pt x="1270" y="117"/>
                    </a:cubicBezTo>
                    <a:cubicBezTo>
                      <a:pt x="1271" y="117"/>
                      <a:pt x="1271" y="117"/>
                      <a:pt x="1271" y="117"/>
                    </a:cubicBezTo>
                    <a:cubicBezTo>
                      <a:pt x="1272" y="115"/>
                      <a:pt x="1272" y="115"/>
                      <a:pt x="1272" y="115"/>
                    </a:cubicBezTo>
                    <a:cubicBezTo>
                      <a:pt x="1273" y="115"/>
                      <a:pt x="1273" y="115"/>
                      <a:pt x="1273" y="115"/>
                    </a:cubicBezTo>
                    <a:cubicBezTo>
                      <a:pt x="1273" y="116"/>
                      <a:pt x="1273" y="116"/>
                      <a:pt x="1273" y="116"/>
                    </a:cubicBezTo>
                    <a:cubicBezTo>
                      <a:pt x="1274" y="117"/>
                      <a:pt x="1274" y="117"/>
                      <a:pt x="1274" y="117"/>
                    </a:cubicBezTo>
                    <a:cubicBezTo>
                      <a:pt x="1275" y="117"/>
                      <a:pt x="1275" y="117"/>
                      <a:pt x="1275" y="117"/>
                    </a:cubicBezTo>
                    <a:cubicBezTo>
                      <a:pt x="1277" y="116"/>
                      <a:pt x="1277" y="116"/>
                      <a:pt x="1277" y="116"/>
                    </a:cubicBezTo>
                    <a:cubicBezTo>
                      <a:pt x="1277" y="115"/>
                      <a:pt x="1277" y="115"/>
                      <a:pt x="1277" y="115"/>
                    </a:cubicBezTo>
                    <a:cubicBezTo>
                      <a:pt x="1277" y="113"/>
                      <a:pt x="1277" y="113"/>
                      <a:pt x="1277" y="113"/>
                    </a:cubicBezTo>
                    <a:cubicBezTo>
                      <a:pt x="1277" y="112"/>
                      <a:pt x="1277" y="112"/>
                      <a:pt x="1277" y="112"/>
                    </a:cubicBezTo>
                    <a:cubicBezTo>
                      <a:pt x="1278" y="111"/>
                      <a:pt x="1278" y="111"/>
                      <a:pt x="1278" y="111"/>
                    </a:cubicBezTo>
                    <a:cubicBezTo>
                      <a:pt x="1279" y="109"/>
                      <a:pt x="1279" y="109"/>
                      <a:pt x="1279" y="109"/>
                    </a:cubicBezTo>
                    <a:cubicBezTo>
                      <a:pt x="1280" y="108"/>
                      <a:pt x="1280" y="108"/>
                      <a:pt x="1280" y="108"/>
                    </a:cubicBezTo>
                    <a:cubicBezTo>
                      <a:pt x="1281" y="106"/>
                      <a:pt x="1281" y="106"/>
                      <a:pt x="1281" y="106"/>
                    </a:cubicBezTo>
                    <a:cubicBezTo>
                      <a:pt x="1282" y="105"/>
                      <a:pt x="1282" y="105"/>
                      <a:pt x="1282" y="105"/>
                    </a:cubicBezTo>
                    <a:cubicBezTo>
                      <a:pt x="1282" y="104"/>
                      <a:pt x="1282" y="104"/>
                      <a:pt x="1282" y="104"/>
                    </a:cubicBezTo>
                    <a:cubicBezTo>
                      <a:pt x="1281" y="103"/>
                      <a:pt x="1281" y="103"/>
                      <a:pt x="1281" y="103"/>
                    </a:cubicBezTo>
                    <a:cubicBezTo>
                      <a:pt x="1281" y="102"/>
                      <a:pt x="1281" y="102"/>
                      <a:pt x="1281" y="102"/>
                    </a:cubicBezTo>
                    <a:cubicBezTo>
                      <a:pt x="1281" y="101"/>
                      <a:pt x="1281" y="101"/>
                      <a:pt x="1281" y="101"/>
                    </a:cubicBezTo>
                    <a:cubicBezTo>
                      <a:pt x="1279" y="101"/>
                      <a:pt x="1279" y="101"/>
                      <a:pt x="1279" y="101"/>
                    </a:cubicBezTo>
                    <a:cubicBezTo>
                      <a:pt x="1278" y="100"/>
                      <a:pt x="1278" y="100"/>
                      <a:pt x="1278" y="100"/>
                    </a:cubicBezTo>
                    <a:cubicBezTo>
                      <a:pt x="1275" y="100"/>
                      <a:pt x="1275" y="100"/>
                      <a:pt x="1275" y="100"/>
                    </a:cubicBezTo>
                    <a:cubicBezTo>
                      <a:pt x="1274" y="100"/>
                      <a:pt x="1274" y="100"/>
                      <a:pt x="1274" y="100"/>
                    </a:cubicBezTo>
                    <a:cubicBezTo>
                      <a:pt x="1273" y="99"/>
                      <a:pt x="1273" y="99"/>
                      <a:pt x="1273" y="99"/>
                    </a:cubicBezTo>
                    <a:cubicBezTo>
                      <a:pt x="1272" y="99"/>
                      <a:pt x="1272" y="99"/>
                      <a:pt x="1272" y="99"/>
                    </a:cubicBezTo>
                    <a:cubicBezTo>
                      <a:pt x="1271" y="99"/>
                      <a:pt x="1271" y="99"/>
                      <a:pt x="1271" y="99"/>
                    </a:cubicBezTo>
                    <a:cubicBezTo>
                      <a:pt x="1271" y="98"/>
                      <a:pt x="1271" y="98"/>
                      <a:pt x="1271" y="98"/>
                    </a:cubicBezTo>
                    <a:cubicBezTo>
                      <a:pt x="1270" y="98"/>
                      <a:pt x="1270" y="98"/>
                      <a:pt x="1270" y="98"/>
                    </a:cubicBezTo>
                    <a:cubicBezTo>
                      <a:pt x="1270" y="97"/>
                      <a:pt x="1270" y="97"/>
                      <a:pt x="1270" y="97"/>
                    </a:cubicBezTo>
                    <a:cubicBezTo>
                      <a:pt x="1270" y="96"/>
                      <a:pt x="1270" y="96"/>
                      <a:pt x="1270" y="96"/>
                    </a:cubicBezTo>
                    <a:cubicBezTo>
                      <a:pt x="1269" y="97"/>
                      <a:pt x="1269" y="97"/>
                      <a:pt x="1269" y="97"/>
                    </a:cubicBezTo>
                    <a:cubicBezTo>
                      <a:pt x="1269" y="98"/>
                      <a:pt x="1269" y="98"/>
                      <a:pt x="1269" y="98"/>
                    </a:cubicBezTo>
                    <a:cubicBezTo>
                      <a:pt x="1268" y="98"/>
                      <a:pt x="1268" y="98"/>
                      <a:pt x="1268" y="98"/>
                    </a:cubicBezTo>
                    <a:cubicBezTo>
                      <a:pt x="1268" y="97"/>
                      <a:pt x="1268" y="97"/>
                      <a:pt x="1268" y="97"/>
                    </a:cubicBezTo>
                    <a:cubicBezTo>
                      <a:pt x="1267" y="97"/>
                      <a:pt x="1267" y="97"/>
                      <a:pt x="1267" y="97"/>
                    </a:cubicBezTo>
                    <a:cubicBezTo>
                      <a:pt x="1267" y="98"/>
                      <a:pt x="1267" y="98"/>
                      <a:pt x="1267" y="98"/>
                    </a:cubicBezTo>
                    <a:cubicBezTo>
                      <a:pt x="1266" y="99"/>
                      <a:pt x="1266" y="99"/>
                      <a:pt x="1266" y="99"/>
                    </a:cubicBezTo>
                    <a:cubicBezTo>
                      <a:pt x="1266" y="100"/>
                      <a:pt x="1266" y="100"/>
                      <a:pt x="1266" y="100"/>
                    </a:cubicBezTo>
                    <a:cubicBezTo>
                      <a:pt x="1266" y="101"/>
                      <a:pt x="1266" y="101"/>
                      <a:pt x="1266" y="101"/>
                    </a:cubicBezTo>
                    <a:cubicBezTo>
                      <a:pt x="1265" y="101"/>
                      <a:pt x="1265" y="101"/>
                      <a:pt x="1265" y="101"/>
                    </a:cubicBezTo>
                    <a:cubicBezTo>
                      <a:pt x="1265" y="100"/>
                      <a:pt x="1265" y="100"/>
                      <a:pt x="1265" y="100"/>
                    </a:cubicBezTo>
                    <a:cubicBezTo>
                      <a:pt x="1264" y="101"/>
                      <a:pt x="1264" y="101"/>
                      <a:pt x="1264" y="101"/>
                    </a:cubicBezTo>
                    <a:cubicBezTo>
                      <a:pt x="1264" y="100"/>
                      <a:pt x="1264" y="100"/>
                      <a:pt x="1264" y="100"/>
                    </a:cubicBezTo>
                    <a:cubicBezTo>
                      <a:pt x="1264" y="98"/>
                      <a:pt x="1264" y="98"/>
                      <a:pt x="1264" y="98"/>
                    </a:cubicBezTo>
                    <a:cubicBezTo>
                      <a:pt x="1264" y="96"/>
                      <a:pt x="1264" y="96"/>
                      <a:pt x="1264" y="96"/>
                    </a:cubicBezTo>
                    <a:cubicBezTo>
                      <a:pt x="1264" y="95"/>
                      <a:pt x="1264" y="95"/>
                      <a:pt x="1264" y="95"/>
                    </a:cubicBezTo>
                    <a:cubicBezTo>
                      <a:pt x="1263" y="95"/>
                      <a:pt x="1263" y="95"/>
                      <a:pt x="1263" y="95"/>
                    </a:cubicBezTo>
                    <a:cubicBezTo>
                      <a:pt x="1262" y="94"/>
                      <a:pt x="1262" y="94"/>
                      <a:pt x="1262" y="94"/>
                    </a:cubicBezTo>
                    <a:cubicBezTo>
                      <a:pt x="1261" y="95"/>
                      <a:pt x="1261" y="95"/>
                      <a:pt x="1261" y="95"/>
                    </a:cubicBezTo>
                    <a:cubicBezTo>
                      <a:pt x="1261" y="96"/>
                      <a:pt x="1261" y="96"/>
                      <a:pt x="1261" y="96"/>
                    </a:cubicBezTo>
                    <a:cubicBezTo>
                      <a:pt x="1261" y="97"/>
                      <a:pt x="1261" y="97"/>
                      <a:pt x="1261" y="97"/>
                    </a:cubicBezTo>
                    <a:cubicBezTo>
                      <a:pt x="1262" y="98"/>
                      <a:pt x="1262" y="98"/>
                      <a:pt x="1262" y="98"/>
                    </a:cubicBezTo>
                    <a:cubicBezTo>
                      <a:pt x="1262" y="99"/>
                      <a:pt x="1262" y="99"/>
                      <a:pt x="1262" y="99"/>
                    </a:cubicBezTo>
                    <a:cubicBezTo>
                      <a:pt x="1261" y="100"/>
                      <a:pt x="1261" y="100"/>
                      <a:pt x="1261" y="100"/>
                    </a:cubicBezTo>
                    <a:cubicBezTo>
                      <a:pt x="1261" y="102"/>
                      <a:pt x="1261" y="102"/>
                      <a:pt x="1261" y="102"/>
                    </a:cubicBezTo>
                    <a:cubicBezTo>
                      <a:pt x="1262" y="103"/>
                      <a:pt x="1262" y="103"/>
                      <a:pt x="1262" y="103"/>
                    </a:cubicBezTo>
                    <a:cubicBezTo>
                      <a:pt x="1262" y="105"/>
                      <a:pt x="1262" y="105"/>
                      <a:pt x="1262" y="105"/>
                    </a:cubicBezTo>
                    <a:cubicBezTo>
                      <a:pt x="1261" y="105"/>
                      <a:pt x="1261" y="105"/>
                      <a:pt x="1261" y="105"/>
                    </a:cubicBezTo>
                    <a:cubicBezTo>
                      <a:pt x="1261" y="103"/>
                      <a:pt x="1261" y="103"/>
                      <a:pt x="1261" y="103"/>
                    </a:cubicBezTo>
                    <a:cubicBezTo>
                      <a:pt x="1260" y="102"/>
                      <a:pt x="1260" y="102"/>
                      <a:pt x="1260" y="102"/>
                    </a:cubicBezTo>
                    <a:cubicBezTo>
                      <a:pt x="1259" y="102"/>
                      <a:pt x="1259" y="102"/>
                      <a:pt x="1259" y="102"/>
                    </a:cubicBezTo>
                    <a:cubicBezTo>
                      <a:pt x="1258" y="101"/>
                      <a:pt x="1258" y="101"/>
                      <a:pt x="1258" y="101"/>
                    </a:cubicBezTo>
                    <a:cubicBezTo>
                      <a:pt x="1259" y="100"/>
                      <a:pt x="1259" y="100"/>
                      <a:pt x="1259" y="100"/>
                    </a:cubicBezTo>
                    <a:cubicBezTo>
                      <a:pt x="1259" y="99"/>
                      <a:pt x="1259" y="99"/>
                      <a:pt x="1259" y="99"/>
                    </a:cubicBezTo>
                    <a:cubicBezTo>
                      <a:pt x="1258" y="99"/>
                      <a:pt x="1258" y="99"/>
                      <a:pt x="1258" y="99"/>
                    </a:cubicBezTo>
                    <a:cubicBezTo>
                      <a:pt x="1257" y="100"/>
                      <a:pt x="1257" y="100"/>
                      <a:pt x="1257" y="100"/>
                    </a:cubicBezTo>
                    <a:cubicBezTo>
                      <a:pt x="1256" y="100"/>
                      <a:pt x="1256" y="100"/>
                      <a:pt x="1256" y="100"/>
                    </a:cubicBezTo>
                    <a:cubicBezTo>
                      <a:pt x="1255" y="101"/>
                      <a:pt x="1255" y="101"/>
                      <a:pt x="1255" y="101"/>
                    </a:cubicBezTo>
                    <a:cubicBezTo>
                      <a:pt x="1254" y="100"/>
                      <a:pt x="1254" y="100"/>
                      <a:pt x="1254" y="100"/>
                    </a:cubicBezTo>
                    <a:cubicBezTo>
                      <a:pt x="1254" y="99"/>
                      <a:pt x="1254" y="99"/>
                      <a:pt x="1254" y="99"/>
                    </a:cubicBezTo>
                    <a:cubicBezTo>
                      <a:pt x="1253" y="98"/>
                      <a:pt x="1253" y="98"/>
                      <a:pt x="1253" y="98"/>
                    </a:cubicBezTo>
                    <a:cubicBezTo>
                      <a:pt x="1253" y="97"/>
                      <a:pt x="1253" y="97"/>
                      <a:pt x="1253" y="97"/>
                    </a:cubicBezTo>
                    <a:cubicBezTo>
                      <a:pt x="1252" y="97"/>
                      <a:pt x="1252" y="97"/>
                      <a:pt x="1252" y="97"/>
                    </a:cubicBezTo>
                    <a:cubicBezTo>
                      <a:pt x="1251" y="97"/>
                      <a:pt x="1251" y="97"/>
                      <a:pt x="1251" y="97"/>
                    </a:cubicBezTo>
                    <a:cubicBezTo>
                      <a:pt x="1250" y="96"/>
                      <a:pt x="1250" y="96"/>
                      <a:pt x="1250" y="96"/>
                    </a:cubicBezTo>
                    <a:cubicBezTo>
                      <a:pt x="1251" y="95"/>
                      <a:pt x="1251" y="95"/>
                      <a:pt x="1251" y="95"/>
                    </a:cubicBezTo>
                    <a:cubicBezTo>
                      <a:pt x="1250" y="94"/>
                      <a:pt x="1250" y="94"/>
                      <a:pt x="1250" y="94"/>
                    </a:cubicBezTo>
                    <a:cubicBezTo>
                      <a:pt x="1249" y="95"/>
                      <a:pt x="1249" y="95"/>
                      <a:pt x="1249" y="95"/>
                    </a:cubicBezTo>
                    <a:cubicBezTo>
                      <a:pt x="1249" y="97"/>
                      <a:pt x="1249" y="97"/>
                      <a:pt x="1249" y="97"/>
                    </a:cubicBezTo>
                    <a:cubicBezTo>
                      <a:pt x="1249" y="98"/>
                      <a:pt x="1249" y="98"/>
                      <a:pt x="1249" y="98"/>
                    </a:cubicBezTo>
                    <a:cubicBezTo>
                      <a:pt x="1250" y="99"/>
                      <a:pt x="1250" y="99"/>
                      <a:pt x="1250" y="99"/>
                    </a:cubicBezTo>
                    <a:cubicBezTo>
                      <a:pt x="1250" y="101"/>
                      <a:pt x="1250" y="101"/>
                      <a:pt x="1250" y="101"/>
                    </a:cubicBezTo>
                    <a:cubicBezTo>
                      <a:pt x="1249" y="100"/>
                      <a:pt x="1249" y="100"/>
                      <a:pt x="1249" y="100"/>
                    </a:cubicBezTo>
                    <a:cubicBezTo>
                      <a:pt x="1249" y="99"/>
                      <a:pt x="1249" y="99"/>
                      <a:pt x="1249" y="99"/>
                    </a:cubicBezTo>
                    <a:cubicBezTo>
                      <a:pt x="1248" y="99"/>
                      <a:pt x="1248" y="99"/>
                      <a:pt x="1248" y="99"/>
                    </a:cubicBezTo>
                    <a:cubicBezTo>
                      <a:pt x="1248" y="100"/>
                      <a:pt x="1248" y="100"/>
                      <a:pt x="1248" y="100"/>
                    </a:cubicBezTo>
                    <a:cubicBezTo>
                      <a:pt x="1248" y="101"/>
                      <a:pt x="1248" y="101"/>
                      <a:pt x="1248" y="101"/>
                    </a:cubicBezTo>
                    <a:cubicBezTo>
                      <a:pt x="1249" y="102"/>
                      <a:pt x="1249" y="102"/>
                      <a:pt x="1249" y="102"/>
                    </a:cubicBezTo>
                    <a:cubicBezTo>
                      <a:pt x="1249" y="103"/>
                      <a:pt x="1249" y="103"/>
                      <a:pt x="1249" y="103"/>
                    </a:cubicBezTo>
                    <a:cubicBezTo>
                      <a:pt x="1249" y="104"/>
                      <a:pt x="1249" y="104"/>
                      <a:pt x="1249" y="104"/>
                    </a:cubicBezTo>
                    <a:cubicBezTo>
                      <a:pt x="1248" y="104"/>
                      <a:pt x="1248" y="104"/>
                      <a:pt x="1248" y="104"/>
                    </a:cubicBezTo>
                    <a:cubicBezTo>
                      <a:pt x="1248" y="102"/>
                      <a:pt x="1248" y="102"/>
                      <a:pt x="1248" y="102"/>
                    </a:cubicBezTo>
                    <a:cubicBezTo>
                      <a:pt x="1247" y="102"/>
                      <a:pt x="1247" y="102"/>
                      <a:pt x="1247" y="102"/>
                    </a:cubicBezTo>
                    <a:cubicBezTo>
                      <a:pt x="1245" y="102"/>
                      <a:pt x="1245" y="102"/>
                      <a:pt x="1245" y="102"/>
                    </a:cubicBezTo>
                    <a:cubicBezTo>
                      <a:pt x="1244" y="101"/>
                      <a:pt x="1244" y="101"/>
                      <a:pt x="1244" y="101"/>
                    </a:cubicBezTo>
                    <a:cubicBezTo>
                      <a:pt x="1244" y="102"/>
                      <a:pt x="1244" y="102"/>
                      <a:pt x="1244" y="102"/>
                    </a:cubicBezTo>
                    <a:cubicBezTo>
                      <a:pt x="1244" y="103"/>
                      <a:pt x="1244" y="103"/>
                      <a:pt x="1244" y="103"/>
                    </a:cubicBezTo>
                    <a:cubicBezTo>
                      <a:pt x="1245" y="103"/>
                      <a:pt x="1245" y="103"/>
                      <a:pt x="1245" y="103"/>
                    </a:cubicBezTo>
                    <a:cubicBezTo>
                      <a:pt x="1246" y="104"/>
                      <a:pt x="1246" y="104"/>
                      <a:pt x="1246" y="104"/>
                    </a:cubicBezTo>
                    <a:close/>
                    <a:moveTo>
                      <a:pt x="1254" y="92"/>
                    </a:moveTo>
                    <a:cubicBezTo>
                      <a:pt x="1255" y="92"/>
                      <a:pt x="1255" y="92"/>
                      <a:pt x="1255" y="92"/>
                    </a:cubicBezTo>
                    <a:cubicBezTo>
                      <a:pt x="1255" y="91"/>
                      <a:pt x="1255" y="91"/>
                      <a:pt x="1255" y="91"/>
                    </a:cubicBezTo>
                    <a:cubicBezTo>
                      <a:pt x="1256" y="91"/>
                      <a:pt x="1256" y="91"/>
                      <a:pt x="1256" y="91"/>
                    </a:cubicBezTo>
                    <a:cubicBezTo>
                      <a:pt x="1255" y="90"/>
                      <a:pt x="1255" y="90"/>
                      <a:pt x="1255" y="90"/>
                    </a:cubicBezTo>
                    <a:cubicBezTo>
                      <a:pt x="1254" y="90"/>
                      <a:pt x="1254" y="90"/>
                      <a:pt x="1254" y="90"/>
                    </a:cubicBezTo>
                    <a:cubicBezTo>
                      <a:pt x="1253" y="90"/>
                      <a:pt x="1253" y="90"/>
                      <a:pt x="1253" y="90"/>
                    </a:cubicBezTo>
                    <a:cubicBezTo>
                      <a:pt x="1252" y="89"/>
                      <a:pt x="1252" y="89"/>
                      <a:pt x="1252" y="89"/>
                    </a:cubicBezTo>
                    <a:cubicBezTo>
                      <a:pt x="1251" y="90"/>
                      <a:pt x="1251" y="90"/>
                      <a:pt x="1251" y="90"/>
                    </a:cubicBezTo>
                    <a:cubicBezTo>
                      <a:pt x="1252" y="90"/>
                      <a:pt x="1252" y="90"/>
                      <a:pt x="1252" y="90"/>
                    </a:cubicBezTo>
                    <a:cubicBezTo>
                      <a:pt x="1254" y="92"/>
                      <a:pt x="1254" y="92"/>
                      <a:pt x="1254" y="92"/>
                    </a:cubicBezTo>
                    <a:close/>
                    <a:moveTo>
                      <a:pt x="2014" y="520"/>
                    </a:moveTo>
                    <a:cubicBezTo>
                      <a:pt x="2015" y="520"/>
                      <a:pt x="2015" y="520"/>
                      <a:pt x="2015" y="520"/>
                    </a:cubicBezTo>
                    <a:cubicBezTo>
                      <a:pt x="2015" y="519"/>
                      <a:pt x="2015" y="519"/>
                      <a:pt x="2015" y="519"/>
                    </a:cubicBezTo>
                    <a:cubicBezTo>
                      <a:pt x="2016" y="518"/>
                      <a:pt x="2016" y="518"/>
                      <a:pt x="2016" y="518"/>
                    </a:cubicBezTo>
                    <a:cubicBezTo>
                      <a:pt x="2015" y="517"/>
                      <a:pt x="2015" y="517"/>
                      <a:pt x="2015" y="517"/>
                    </a:cubicBezTo>
                    <a:cubicBezTo>
                      <a:pt x="2015" y="516"/>
                      <a:pt x="2015" y="516"/>
                      <a:pt x="2015" y="516"/>
                    </a:cubicBezTo>
                    <a:cubicBezTo>
                      <a:pt x="2015" y="515"/>
                      <a:pt x="2015" y="515"/>
                      <a:pt x="2015" y="515"/>
                    </a:cubicBezTo>
                    <a:cubicBezTo>
                      <a:pt x="2014" y="516"/>
                      <a:pt x="2014" y="516"/>
                      <a:pt x="2014" y="516"/>
                    </a:cubicBezTo>
                    <a:cubicBezTo>
                      <a:pt x="2014" y="518"/>
                      <a:pt x="2014" y="518"/>
                      <a:pt x="2014" y="518"/>
                    </a:cubicBezTo>
                    <a:cubicBezTo>
                      <a:pt x="2015" y="518"/>
                      <a:pt x="2015" y="518"/>
                      <a:pt x="2015" y="518"/>
                    </a:cubicBezTo>
                    <a:cubicBezTo>
                      <a:pt x="2014" y="519"/>
                      <a:pt x="2014" y="519"/>
                      <a:pt x="2014" y="519"/>
                    </a:cubicBezTo>
                    <a:cubicBezTo>
                      <a:pt x="2014" y="520"/>
                      <a:pt x="2014" y="520"/>
                      <a:pt x="2014" y="520"/>
                    </a:cubicBezTo>
                    <a:close/>
                    <a:moveTo>
                      <a:pt x="1987" y="535"/>
                    </a:moveTo>
                    <a:cubicBezTo>
                      <a:pt x="1987" y="536"/>
                      <a:pt x="1987" y="536"/>
                      <a:pt x="1987" y="536"/>
                    </a:cubicBezTo>
                    <a:cubicBezTo>
                      <a:pt x="1987" y="537"/>
                      <a:pt x="1987" y="537"/>
                      <a:pt x="1987" y="537"/>
                    </a:cubicBezTo>
                    <a:cubicBezTo>
                      <a:pt x="1988" y="536"/>
                      <a:pt x="1988" y="536"/>
                      <a:pt x="1988" y="536"/>
                    </a:cubicBezTo>
                    <a:cubicBezTo>
                      <a:pt x="1988" y="535"/>
                      <a:pt x="1988" y="535"/>
                      <a:pt x="1988" y="535"/>
                    </a:cubicBezTo>
                    <a:cubicBezTo>
                      <a:pt x="1987" y="535"/>
                      <a:pt x="1987" y="535"/>
                      <a:pt x="1987" y="535"/>
                    </a:cubicBezTo>
                    <a:close/>
                    <a:moveTo>
                      <a:pt x="2024" y="453"/>
                    </a:moveTo>
                    <a:cubicBezTo>
                      <a:pt x="2021" y="450"/>
                      <a:pt x="2021" y="450"/>
                      <a:pt x="2021" y="450"/>
                    </a:cubicBezTo>
                    <a:cubicBezTo>
                      <a:pt x="2020" y="448"/>
                      <a:pt x="2020" y="448"/>
                      <a:pt x="2020" y="448"/>
                    </a:cubicBezTo>
                    <a:cubicBezTo>
                      <a:pt x="2019" y="448"/>
                      <a:pt x="2019" y="448"/>
                      <a:pt x="2019" y="448"/>
                    </a:cubicBezTo>
                    <a:cubicBezTo>
                      <a:pt x="2016" y="446"/>
                      <a:pt x="2016" y="446"/>
                      <a:pt x="2016" y="446"/>
                    </a:cubicBezTo>
                    <a:cubicBezTo>
                      <a:pt x="2016" y="445"/>
                      <a:pt x="2016" y="445"/>
                      <a:pt x="2016" y="445"/>
                    </a:cubicBezTo>
                    <a:cubicBezTo>
                      <a:pt x="2015" y="445"/>
                      <a:pt x="2015" y="445"/>
                      <a:pt x="2015" y="445"/>
                    </a:cubicBezTo>
                    <a:cubicBezTo>
                      <a:pt x="2015" y="446"/>
                      <a:pt x="2015" y="446"/>
                      <a:pt x="2015" y="446"/>
                    </a:cubicBezTo>
                    <a:cubicBezTo>
                      <a:pt x="2014" y="446"/>
                      <a:pt x="2014" y="446"/>
                      <a:pt x="2014" y="446"/>
                    </a:cubicBezTo>
                    <a:cubicBezTo>
                      <a:pt x="2013" y="447"/>
                      <a:pt x="2013" y="447"/>
                      <a:pt x="2013" y="447"/>
                    </a:cubicBezTo>
                    <a:cubicBezTo>
                      <a:pt x="2014" y="448"/>
                      <a:pt x="2014" y="448"/>
                      <a:pt x="2014" y="448"/>
                    </a:cubicBezTo>
                    <a:cubicBezTo>
                      <a:pt x="2014" y="449"/>
                      <a:pt x="2014" y="449"/>
                      <a:pt x="2014" y="449"/>
                    </a:cubicBezTo>
                    <a:cubicBezTo>
                      <a:pt x="2016" y="453"/>
                      <a:pt x="2016" y="453"/>
                      <a:pt x="2016" y="453"/>
                    </a:cubicBezTo>
                    <a:cubicBezTo>
                      <a:pt x="2017" y="454"/>
                      <a:pt x="2017" y="454"/>
                      <a:pt x="2017" y="454"/>
                    </a:cubicBezTo>
                    <a:cubicBezTo>
                      <a:pt x="2017" y="456"/>
                      <a:pt x="2017" y="456"/>
                      <a:pt x="2017" y="456"/>
                    </a:cubicBezTo>
                    <a:cubicBezTo>
                      <a:pt x="2017" y="457"/>
                      <a:pt x="2017" y="457"/>
                      <a:pt x="2017" y="457"/>
                    </a:cubicBezTo>
                    <a:cubicBezTo>
                      <a:pt x="2017" y="459"/>
                      <a:pt x="2017" y="459"/>
                      <a:pt x="2017" y="459"/>
                    </a:cubicBezTo>
                    <a:cubicBezTo>
                      <a:pt x="2018" y="460"/>
                      <a:pt x="2018" y="460"/>
                      <a:pt x="2018" y="460"/>
                    </a:cubicBezTo>
                    <a:cubicBezTo>
                      <a:pt x="2018" y="461"/>
                      <a:pt x="2018" y="461"/>
                      <a:pt x="2018" y="461"/>
                    </a:cubicBezTo>
                    <a:cubicBezTo>
                      <a:pt x="2017" y="461"/>
                      <a:pt x="2017" y="461"/>
                      <a:pt x="2017" y="461"/>
                    </a:cubicBezTo>
                    <a:cubicBezTo>
                      <a:pt x="2016" y="462"/>
                      <a:pt x="2016" y="462"/>
                      <a:pt x="2016" y="462"/>
                    </a:cubicBezTo>
                    <a:cubicBezTo>
                      <a:pt x="2017" y="463"/>
                      <a:pt x="2017" y="463"/>
                      <a:pt x="2017" y="463"/>
                    </a:cubicBezTo>
                    <a:cubicBezTo>
                      <a:pt x="2017" y="464"/>
                      <a:pt x="2017" y="464"/>
                      <a:pt x="2017" y="464"/>
                    </a:cubicBezTo>
                    <a:cubicBezTo>
                      <a:pt x="2018" y="465"/>
                      <a:pt x="2018" y="465"/>
                      <a:pt x="2018" y="465"/>
                    </a:cubicBezTo>
                    <a:cubicBezTo>
                      <a:pt x="2018" y="466"/>
                      <a:pt x="2018" y="466"/>
                      <a:pt x="2018" y="466"/>
                    </a:cubicBezTo>
                    <a:cubicBezTo>
                      <a:pt x="2018" y="467"/>
                      <a:pt x="2018" y="467"/>
                      <a:pt x="2018" y="467"/>
                    </a:cubicBezTo>
                    <a:cubicBezTo>
                      <a:pt x="2017" y="468"/>
                      <a:pt x="2017" y="468"/>
                      <a:pt x="2017" y="468"/>
                    </a:cubicBezTo>
                    <a:cubicBezTo>
                      <a:pt x="2015" y="468"/>
                      <a:pt x="2015" y="468"/>
                      <a:pt x="2015" y="468"/>
                    </a:cubicBezTo>
                    <a:cubicBezTo>
                      <a:pt x="2013" y="467"/>
                      <a:pt x="2013" y="467"/>
                      <a:pt x="2013" y="467"/>
                    </a:cubicBezTo>
                    <a:cubicBezTo>
                      <a:pt x="2012" y="467"/>
                      <a:pt x="2012" y="467"/>
                      <a:pt x="2012" y="467"/>
                    </a:cubicBezTo>
                    <a:cubicBezTo>
                      <a:pt x="2012" y="468"/>
                      <a:pt x="2012" y="468"/>
                      <a:pt x="2012" y="468"/>
                    </a:cubicBezTo>
                    <a:cubicBezTo>
                      <a:pt x="2013" y="468"/>
                      <a:pt x="2013" y="468"/>
                      <a:pt x="2013" y="468"/>
                    </a:cubicBezTo>
                    <a:cubicBezTo>
                      <a:pt x="2014" y="469"/>
                      <a:pt x="2014" y="469"/>
                      <a:pt x="2014" y="469"/>
                    </a:cubicBezTo>
                    <a:cubicBezTo>
                      <a:pt x="2014" y="470"/>
                      <a:pt x="2014" y="470"/>
                      <a:pt x="2014" y="470"/>
                    </a:cubicBezTo>
                    <a:cubicBezTo>
                      <a:pt x="2013" y="472"/>
                      <a:pt x="2013" y="472"/>
                      <a:pt x="2013" y="472"/>
                    </a:cubicBezTo>
                    <a:cubicBezTo>
                      <a:pt x="2012" y="472"/>
                      <a:pt x="2012" y="472"/>
                      <a:pt x="2012" y="472"/>
                    </a:cubicBezTo>
                    <a:cubicBezTo>
                      <a:pt x="2011" y="473"/>
                      <a:pt x="2011" y="473"/>
                      <a:pt x="2011" y="473"/>
                    </a:cubicBezTo>
                    <a:cubicBezTo>
                      <a:pt x="2011" y="474"/>
                      <a:pt x="2011" y="474"/>
                      <a:pt x="2011" y="474"/>
                    </a:cubicBezTo>
                    <a:cubicBezTo>
                      <a:pt x="2011" y="475"/>
                      <a:pt x="2011" y="475"/>
                      <a:pt x="2011" y="475"/>
                    </a:cubicBezTo>
                    <a:cubicBezTo>
                      <a:pt x="2011" y="477"/>
                      <a:pt x="2011" y="477"/>
                      <a:pt x="2011" y="477"/>
                    </a:cubicBezTo>
                    <a:cubicBezTo>
                      <a:pt x="2011" y="478"/>
                      <a:pt x="2011" y="478"/>
                      <a:pt x="2011" y="478"/>
                    </a:cubicBezTo>
                    <a:cubicBezTo>
                      <a:pt x="2012" y="478"/>
                      <a:pt x="2012" y="478"/>
                      <a:pt x="2012" y="478"/>
                    </a:cubicBezTo>
                    <a:cubicBezTo>
                      <a:pt x="2013" y="478"/>
                      <a:pt x="2013" y="478"/>
                      <a:pt x="2013" y="478"/>
                    </a:cubicBezTo>
                    <a:cubicBezTo>
                      <a:pt x="2014" y="479"/>
                      <a:pt x="2014" y="479"/>
                      <a:pt x="2014" y="479"/>
                    </a:cubicBezTo>
                    <a:cubicBezTo>
                      <a:pt x="2015" y="481"/>
                      <a:pt x="2015" y="481"/>
                      <a:pt x="2015" y="481"/>
                    </a:cubicBezTo>
                    <a:cubicBezTo>
                      <a:pt x="2015" y="484"/>
                      <a:pt x="2015" y="484"/>
                      <a:pt x="2015" y="484"/>
                    </a:cubicBezTo>
                    <a:cubicBezTo>
                      <a:pt x="2015" y="485"/>
                      <a:pt x="2015" y="485"/>
                      <a:pt x="2015" y="485"/>
                    </a:cubicBezTo>
                    <a:cubicBezTo>
                      <a:pt x="2016" y="486"/>
                      <a:pt x="2016" y="486"/>
                      <a:pt x="2016" y="486"/>
                    </a:cubicBezTo>
                    <a:cubicBezTo>
                      <a:pt x="2018" y="484"/>
                      <a:pt x="2018" y="484"/>
                      <a:pt x="2018" y="484"/>
                    </a:cubicBezTo>
                    <a:cubicBezTo>
                      <a:pt x="2018" y="483"/>
                      <a:pt x="2018" y="483"/>
                      <a:pt x="2018" y="483"/>
                    </a:cubicBezTo>
                    <a:cubicBezTo>
                      <a:pt x="2018" y="482"/>
                      <a:pt x="2018" y="482"/>
                      <a:pt x="2018" y="482"/>
                    </a:cubicBezTo>
                    <a:cubicBezTo>
                      <a:pt x="2019" y="481"/>
                      <a:pt x="2019" y="481"/>
                      <a:pt x="2019" y="481"/>
                    </a:cubicBezTo>
                    <a:cubicBezTo>
                      <a:pt x="2020" y="482"/>
                      <a:pt x="2020" y="482"/>
                      <a:pt x="2020" y="482"/>
                    </a:cubicBezTo>
                    <a:cubicBezTo>
                      <a:pt x="2021" y="482"/>
                      <a:pt x="2021" y="482"/>
                      <a:pt x="2021" y="482"/>
                    </a:cubicBezTo>
                    <a:cubicBezTo>
                      <a:pt x="2022" y="481"/>
                      <a:pt x="2022" y="481"/>
                      <a:pt x="2022" y="481"/>
                    </a:cubicBezTo>
                    <a:cubicBezTo>
                      <a:pt x="2023" y="480"/>
                      <a:pt x="2023" y="480"/>
                      <a:pt x="2023" y="480"/>
                    </a:cubicBezTo>
                    <a:cubicBezTo>
                      <a:pt x="2022" y="479"/>
                      <a:pt x="2022" y="479"/>
                      <a:pt x="2022" y="479"/>
                    </a:cubicBezTo>
                    <a:cubicBezTo>
                      <a:pt x="2021" y="479"/>
                      <a:pt x="2021" y="479"/>
                      <a:pt x="2021" y="479"/>
                    </a:cubicBezTo>
                    <a:cubicBezTo>
                      <a:pt x="2019" y="479"/>
                      <a:pt x="2019" y="479"/>
                      <a:pt x="2019" y="479"/>
                    </a:cubicBezTo>
                    <a:cubicBezTo>
                      <a:pt x="2018" y="477"/>
                      <a:pt x="2018" y="477"/>
                      <a:pt x="2018" y="477"/>
                    </a:cubicBezTo>
                    <a:cubicBezTo>
                      <a:pt x="2016" y="478"/>
                      <a:pt x="2016" y="478"/>
                      <a:pt x="2016" y="478"/>
                    </a:cubicBezTo>
                    <a:cubicBezTo>
                      <a:pt x="2015" y="477"/>
                      <a:pt x="2015" y="477"/>
                      <a:pt x="2015" y="477"/>
                    </a:cubicBezTo>
                    <a:cubicBezTo>
                      <a:pt x="2015" y="476"/>
                      <a:pt x="2015" y="476"/>
                      <a:pt x="2015" y="476"/>
                    </a:cubicBezTo>
                    <a:cubicBezTo>
                      <a:pt x="2015" y="475"/>
                      <a:pt x="2015" y="475"/>
                      <a:pt x="2015" y="475"/>
                    </a:cubicBezTo>
                    <a:cubicBezTo>
                      <a:pt x="2015" y="474"/>
                      <a:pt x="2015" y="474"/>
                      <a:pt x="2015" y="474"/>
                    </a:cubicBezTo>
                    <a:cubicBezTo>
                      <a:pt x="2016" y="474"/>
                      <a:pt x="2016" y="474"/>
                      <a:pt x="2016" y="474"/>
                    </a:cubicBezTo>
                    <a:cubicBezTo>
                      <a:pt x="2018" y="475"/>
                      <a:pt x="2018" y="475"/>
                      <a:pt x="2018" y="475"/>
                    </a:cubicBezTo>
                    <a:cubicBezTo>
                      <a:pt x="2020" y="473"/>
                      <a:pt x="2020" y="473"/>
                      <a:pt x="2020" y="473"/>
                    </a:cubicBezTo>
                    <a:cubicBezTo>
                      <a:pt x="2021" y="472"/>
                      <a:pt x="2021" y="472"/>
                      <a:pt x="2021" y="472"/>
                    </a:cubicBezTo>
                    <a:cubicBezTo>
                      <a:pt x="2023" y="472"/>
                      <a:pt x="2023" y="472"/>
                      <a:pt x="2023" y="472"/>
                    </a:cubicBezTo>
                    <a:cubicBezTo>
                      <a:pt x="2023" y="473"/>
                      <a:pt x="2023" y="473"/>
                      <a:pt x="2023" y="473"/>
                    </a:cubicBezTo>
                    <a:cubicBezTo>
                      <a:pt x="2024" y="473"/>
                      <a:pt x="2024" y="473"/>
                      <a:pt x="2024" y="473"/>
                    </a:cubicBezTo>
                    <a:cubicBezTo>
                      <a:pt x="2025" y="473"/>
                      <a:pt x="2025" y="473"/>
                      <a:pt x="2025" y="473"/>
                    </a:cubicBezTo>
                    <a:cubicBezTo>
                      <a:pt x="2026" y="474"/>
                      <a:pt x="2026" y="474"/>
                      <a:pt x="2026" y="474"/>
                    </a:cubicBezTo>
                    <a:cubicBezTo>
                      <a:pt x="2028" y="475"/>
                      <a:pt x="2028" y="475"/>
                      <a:pt x="2028" y="475"/>
                    </a:cubicBezTo>
                    <a:cubicBezTo>
                      <a:pt x="2030" y="476"/>
                      <a:pt x="2030" y="476"/>
                      <a:pt x="2030" y="476"/>
                    </a:cubicBezTo>
                    <a:cubicBezTo>
                      <a:pt x="2032" y="477"/>
                      <a:pt x="2032" y="477"/>
                      <a:pt x="2032" y="477"/>
                    </a:cubicBezTo>
                    <a:cubicBezTo>
                      <a:pt x="2032" y="478"/>
                      <a:pt x="2032" y="478"/>
                      <a:pt x="2032" y="478"/>
                    </a:cubicBezTo>
                    <a:cubicBezTo>
                      <a:pt x="2033" y="478"/>
                      <a:pt x="2033" y="478"/>
                      <a:pt x="2033" y="478"/>
                    </a:cubicBezTo>
                    <a:cubicBezTo>
                      <a:pt x="2033" y="477"/>
                      <a:pt x="2033" y="477"/>
                      <a:pt x="2033" y="477"/>
                    </a:cubicBezTo>
                    <a:cubicBezTo>
                      <a:pt x="2034" y="476"/>
                      <a:pt x="2034" y="476"/>
                      <a:pt x="2034" y="476"/>
                    </a:cubicBezTo>
                    <a:cubicBezTo>
                      <a:pt x="2033" y="475"/>
                      <a:pt x="2033" y="475"/>
                      <a:pt x="2033" y="475"/>
                    </a:cubicBezTo>
                    <a:cubicBezTo>
                      <a:pt x="2034" y="473"/>
                      <a:pt x="2034" y="473"/>
                      <a:pt x="2034" y="473"/>
                    </a:cubicBezTo>
                    <a:cubicBezTo>
                      <a:pt x="2034" y="470"/>
                      <a:pt x="2034" y="470"/>
                      <a:pt x="2034" y="470"/>
                    </a:cubicBezTo>
                    <a:cubicBezTo>
                      <a:pt x="2036" y="468"/>
                      <a:pt x="2036" y="468"/>
                      <a:pt x="2036" y="468"/>
                    </a:cubicBezTo>
                    <a:cubicBezTo>
                      <a:pt x="2037" y="468"/>
                      <a:pt x="2037" y="468"/>
                      <a:pt x="2037" y="468"/>
                    </a:cubicBezTo>
                    <a:cubicBezTo>
                      <a:pt x="2038" y="468"/>
                      <a:pt x="2038" y="468"/>
                      <a:pt x="2038" y="468"/>
                    </a:cubicBezTo>
                    <a:cubicBezTo>
                      <a:pt x="2040" y="468"/>
                      <a:pt x="2040" y="468"/>
                      <a:pt x="2040" y="468"/>
                    </a:cubicBezTo>
                    <a:cubicBezTo>
                      <a:pt x="2040" y="467"/>
                      <a:pt x="2040" y="467"/>
                      <a:pt x="2040" y="467"/>
                    </a:cubicBezTo>
                    <a:cubicBezTo>
                      <a:pt x="2041" y="467"/>
                      <a:pt x="2041" y="467"/>
                      <a:pt x="2041" y="467"/>
                    </a:cubicBezTo>
                    <a:cubicBezTo>
                      <a:pt x="2042" y="467"/>
                      <a:pt x="2042" y="467"/>
                      <a:pt x="2042" y="467"/>
                    </a:cubicBezTo>
                    <a:cubicBezTo>
                      <a:pt x="2042" y="466"/>
                      <a:pt x="2042" y="466"/>
                      <a:pt x="2042" y="466"/>
                    </a:cubicBezTo>
                    <a:cubicBezTo>
                      <a:pt x="2042" y="465"/>
                      <a:pt x="2042" y="465"/>
                      <a:pt x="2042" y="465"/>
                    </a:cubicBezTo>
                    <a:cubicBezTo>
                      <a:pt x="2044" y="465"/>
                      <a:pt x="2044" y="465"/>
                      <a:pt x="2044" y="465"/>
                    </a:cubicBezTo>
                    <a:cubicBezTo>
                      <a:pt x="2044" y="464"/>
                      <a:pt x="2044" y="464"/>
                      <a:pt x="2044" y="464"/>
                    </a:cubicBezTo>
                    <a:cubicBezTo>
                      <a:pt x="2044" y="463"/>
                      <a:pt x="2044" y="463"/>
                      <a:pt x="2044" y="463"/>
                    </a:cubicBezTo>
                    <a:cubicBezTo>
                      <a:pt x="2043" y="464"/>
                      <a:pt x="2043" y="464"/>
                      <a:pt x="2043" y="464"/>
                    </a:cubicBezTo>
                    <a:cubicBezTo>
                      <a:pt x="2042" y="464"/>
                      <a:pt x="2042" y="464"/>
                      <a:pt x="2042" y="464"/>
                    </a:cubicBezTo>
                    <a:cubicBezTo>
                      <a:pt x="2042" y="463"/>
                      <a:pt x="2042" y="463"/>
                      <a:pt x="2042" y="463"/>
                    </a:cubicBezTo>
                    <a:cubicBezTo>
                      <a:pt x="2042" y="462"/>
                      <a:pt x="2042" y="462"/>
                      <a:pt x="2042" y="462"/>
                    </a:cubicBezTo>
                    <a:cubicBezTo>
                      <a:pt x="2041" y="461"/>
                      <a:pt x="2041" y="461"/>
                      <a:pt x="2041" y="461"/>
                    </a:cubicBezTo>
                    <a:cubicBezTo>
                      <a:pt x="2040" y="460"/>
                      <a:pt x="2040" y="460"/>
                      <a:pt x="2040" y="460"/>
                    </a:cubicBezTo>
                    <a:cubicBezTo>
                      <a:pt x="2039" y="459"/>
                      <a:pt x="2039" y="459"/>
                      <a:pt x="2039" y="459"/>
                    </a:cubicBezTo>
                    <a:cubicBezTo>
                      <a:pt x="2039" y="458"/>
                      <a:pt x="2039" y="458"/>
                      <a:pt x="2039" y="458"/>
                    </a:cubicBezTo>
                    <a:cubicBezTo>
                      <a:pt x="2040" y="456"/>
                      <a:pt x="2040" y="456"/>
                      <a:pt x="2040" y="456"/>
                    </a:cubicBezTo>
                    <a:cubicBezTo>
                      <a:pt x="2040" y="455"/>
                      <a:pt x="2040" y="455"/>
                      <a:pt x="2040" y="455"/>
                    </a:cubicBezTo>
                    <a:cubicBezTo>
                      <a:pt x="2040" y="454"/>
                      <a:pt x="2040" y="454"/>
                      <a:pt x="2040" y="454"/>
                    </a:cubicBezTo>
                    <a:cubicBezTo>
                      <a:pt x="2039" y="454"/>
                      <a:pt x="2039" y="454"/>
                      <a:pt x="2039" y="454"/>
                    </a:cubicBezTo>
                    <a:cubicBezTo>
                      <a:pt x="2039" y="456"/>
                      <a:pt x="2039" y="456"/>
                      <a:pt x="2039" y="456"/>
                    </a:cubicBezTo>
                    <a:cubicBezTo>
                      <a:pt x="2038" y="457"/>
                      <a:pt x="2038" y="457"/>
                      <a:pt x="2038" y="457"/>
                    </a:cubicBezTo>
                    <a:cubicBezTo>
                      <a:pt x="2036" y="458"/>
                      <a:pt x="2036" y="458"/>
                      <a:pt x="2036" y="458"/>
                    </a:cubicBezTo>
                    <a:cubicBezTo>
                      <a:pt x="2034" y="458"/>
                      <a:pt x="2034" y="458"/>
                      <a:pt x="2034" y="458"/>
                    </a:cubicBezTo>
                    <a:cubicBezTo>
                      <a:pt x="2033" y="458"/>
                      <a:pt x="2033" y="458"/>
                      <a:pt x="2033" y="458"/>
                    </a:cubicBezTo>
                    <a:cubicBezTo>
                      <a:pt x="2032" y="457"/>
                      <a:pt x="2032" y="457"/>
                      <a:pt x="2032" y="457"/>
                    </a:cubicBezTo>
                    <a:cubicBezTo>
                      <a:pt x="2030" y="457"/>
                      <a:pt x="2030" y="457"/>
                      <a:pt x="2030" y="457"/>
                    </a:cubicBezTo>
                    <a:cubicBezTo>
                      <a:pt x="2028" y="456"/>
                      <a:pt x="2028" y="456"/>
                      <a:pt x="2028" y="456"/>
                    </a:cubicBezTo>
                    <a:cubicBezTo>
                      <a:pt x="2027" y="455"/>
                      <a:pt x="2027" y="455"/>
                      <a:pt x="2027" y="455"/>
                    </a:cubicBezTo>
                    <a:cubicBezTo>
                      <a:pt x="2026" y="455"/>
                      <a:pt x="2026" y="455"/>
                      <a:pt x="2026" y="455"/>
                    </a:cubicBezTo>
                    <a:cubicBezTo>
                      <a:pt x="2026" y="454"/>
                      <a:pt x="2026" y="454"/>
                      <a:pt x="2026" y="454"/>
                    </a:cubicBezTo>
                    <a:cubicBezTo>
                      <a:pt x="2024" y="453"/>
                      <a:pt x="2024" y="453"/>
                      <a:pt x="2024" y="453"/>
                    </a:cubicBezTo>
                    <a:close/>
                    <a:moveTo>
                      <a:pt x="1974" y="568"/>
                    </a:moveTo>
                    <a:cubicBezTo>
                      <a:pt x="1973" y="568"/>
                      <a:pt x="1973" y="568"/>
                      <a:pt x="1973" y="568"/>
                    </a:cubicBezTo>
                    <a:cubicBezTo>
                      <a:pt x="1973" y="569"/>
                      <a:pt x="1973" y="569"/>
                      <a:pt x="1973" y="569"/>
                    </a:cubicBezTo>
                    <a:cubicBezTo>
                      <a:pt x="1973" y="570"/>
                      <a:pt x="1973" y="570"/>
                      <a:pt x="1973" y="570"/>
                    </a:cubicBezTo>
                    <a:cubicBezTo>
                      <a:pt x="1974" y="570"/>
                      <a:pt x="1974" y="570"/>
                      <a:pt x="1974" y="570"/>
                    </a:cubicBezTo>
                    <a:cubicBezTo>
                      <a:pt x="1974" y="569"/>
                      <a:pt x="1974" y="569"/>
                      <a:pt x="1974" y="569"/>
                    </a:cubicBezTo>
                    <a:cubicBezTo>
                      <a:pt x="1974" y="568"/>
                      <a:pt x="1974" y="568"/>
                      <a:pt x="1974" y="568"/>
                    </a:cubicBezTo>
                    <a:close/>
                    <a:moveTo>
                      <a:pt x="1954" y="631"/>
                    </a:moveTo>
                    <a:cubicBezTo>
                      <a:pt x="1955" y="632"/>
                      <a:pt x="1955" y="632"/>
                      <a:pt x="1955" y="632"/>
                    </a:cubicBezTo>
                    <a:cubicBezTo>
                      <a:pt x="1956" y="631"/>
                      <a:pt x="1956" y="631"/>
                      <a:pt x="1956" y="631"/>
                    </a:cubicBezTo>
                    <a:cubicBezTo>
                      <a:pt x="1954" y="630"/>
                      <a:pt x="1954" y="630"/>
                      <a:pt x="1954" y="630"/>
                    </a:cubicBezTo>
                    <a:cubicBezTo>
                      <a:pt x="1954" y="631"/>
                      <a:pt x="1954" y="631"/>
                      <a:pt x="1954" y="631"/>
                    </a:cubicBezTo>
                    <a:close/>
                    <a:moveTo>
                      <a:pt x="1975" y="569"/>
                    </a:moveTo>
                    <a:cubicBezTo>
                      <a:pt x="1976" y="568"/>
                      <a:pt x="1976" y="568"/>
                      <a:pt x="1976" y="568"/>
                    </a:cubicBezTo>
                    <a:cubicBezTo>
                      <a:pt x="1975" y="568"/>
                      <a:pt x="1975" y="568"/>
                      <a:pt x="1975" y="568"/>
                    </a:cubicBezTo>
                    <a:cubicBezTo>
                      <a:pt x="1975" y="569"/>
                      <a:pt x="1975" y="569"/>
                      <a:pt x="1975" y="569"/>
                    </a:cubicBezTo>
                    <a:close/>
                    <a:moveTo>
                      <a:pt x="1979" y="577"/>
                    </a:moveTo>
                    <a:cubicBezTo>
                      <a:pt x="1979" y="575"/>
                      <a:pt x="1979" y="575"/>
                      <a:pt x="1979" y="575"/>
                    </a:cubicBezTo>
                    <a:cubicBezTo>
                      <a:pt x="1980" y="575"/>
                      <a:pt x="1980" y="575"/>
                      <a:pt x="1980" y="575"/>
                    </a:cubicBezTo>
                    <a:cubicBezTo>
                      <a:pt x="1980" y="576"/>
                      <a:pt x="1980" y="576"/>
                      <a:pt x="1980" y="576"/>
                    </a:cubicBezTo>
                    <a:cubicBezTo>
                      <a:pt x="1981" y="577"/>
                      <a:pt x="1981" y="577"/>
                      <a:pt x="1981" y="577"/>
                    </a:cubicBezTo>
                    <a:cubicBezTo>
                      <a:pt x="1981" y="579"/>
                      <a:pt x="1981" y="579"/>
                      <a:pt x="1981" y="579"/>
                    </a:cubicBezTo>
                    <a:cubicBezTo>
                      <a:pt x="1981" y="580"/>
                      <a:pt x="1981" y="580"/>
                      <a:pt x="1981" y="580"/>
                    </a:cubicBezTo>
                    <a:cubicBezTo>
                      <a:pt x="1981" y="581"/>
                      <a:pt x="1981" y="581"/>
                      <a:pt x="1981" y="581"/>
                    </a:cubicBezTo>
                    <a:cubicBezTo>
                      <a:pt x="1982" y="580"/>
                      <a:pt x="1982" y="580"/>
                      <a:pt x="1982" y="580"/>
                    </a:cubicBezTo>
                    <a:cubicBezTo>
                      <a:pt x="1983" y="579"/>
                      <a:pt x="1983" y="579"/>
                      <a:pt x="1983" y="579"/>
                    </a:cubicBezTo>
                    <a:cubicBezTo>
                      <a:pt x="1982" y="577"/>
                      <a:pt x="1982" y="577"/>
                      <a:pt x="1982" y="577"/>
                    </a:cubicBezTo>
                    <a:cubicBezTo>
                      <a:pt x="1983" y="576"/>
                      <a:pt x="1983" y="576"/>
                      <a:pt x="1983" y="576"/>
                    </a:cubicBezTo>
                    <a:cubicBezTo>
                      <a:pt x="1983" y="577"/>
                      <a:pt x="1983" y="577"/>
                      <a:pt x="1983" y="577"/>
                    </a:cubicBezTo>
                    <a:cubicBezTo>
                      <a:pt x="1984" y="577"/>
                      <a:pt x="1984" y="577"/>
                      <a:pt x="1984" y="577"/>
                    </a:cubicBezTo>
                    <a:cubicBezTo>
                      <a:pt x="1984" y="576"/>
                      <a:pt x="1984" y="576"/>
                      <a:pt x="1984" y="576"/>
                    </a:cubicBezTo>
                    <a:cubicBezTo>
                      <a:pt x="1984" y="574"/>
                      <a:pt x="1984" y="574"/>
                      <a:pt x="1984" y="574"/>
                    </a:cubicBezTo>
                    <a:cubicBezTo>
                      <a:pt x="1984" y="573"/>
                      <a:pt x="1984" y="573"/>
                      <a:pt x="1984" y="573"/>
                    </a:cubicBezTo>
                    <a:cubicBezTo>
                      <a:pt x="1984" y="569"/>
                      <a:pt x="1984" y="569"/>
                      <a:pt x="1984" y="569"/>
                    </a:cubicBezTo>
                    <a:cubicBezTo>
                      <a:pt x="1984" y="567"/>
                      <a:pt x="1984" y="567"/>
                      <a:pt x="1984" y="567"/>
                    </a:cubicBezTo>
                    <a:cubicBezTo>
                      <a:pt x="1985" y="566"/>
                      <a:pt x="1985" y="566"/>
                      <a:pt x="1985" y="566"/>
                    </a:cubicBezTo>
                    <a:cubicBezTo>
                      <a:pt x="1986" y="565"/>
                      <a:pt x="1986" y="565"/>
                      <a:pt x="1986" y="565"/>
                    </a:cubicBezTo>
                    <a:cubicBezTo>
                      <a:pt x="1985" y="564"/>
                      <a:pt x="1985" y="564"/>
                      <a:pt x="1985" y="564"/>
                    </a:cubicBezTo>
                    <a:cubicBezTo>
                      <a:pt x="1985" y="563"/>
                      <a:pt x="1985" y="563"/>
                      <a:pt x="1985" y="563"/>
                    </a:cubicBezTo>
                    <a:cubicBezTo>
                      <a:pt x="1984" y="563"/>
                      <a:pt x="1984" y="563"/>
                      <a:pt x="1984" y="563"/>
                    </a:cubicBezTo>
                    <a:cubicBezTo>
                      <a:pt x="1984" y="562"/>
                      <a:pt x="1984" y="562"/>
                      <a:pt x="1984" y="562"/>
                    </a:cubicBezTo>
                    <a:cubicBezTo>
                      <a:pt x="1982" y="562"/>
                      <a:pt x="1982" y="562"/>
                      <a:pt x="1982" y="562"/>
                    </a:cubicBezTo>
                    <a:cubicBezTo>
                      <a:pt x="1982" y="561"/>
                      <a:pt x="1982" y="561"/>
                      <a:pt x="1982" y="561"/>
                    </a:cubicBezTo>
                    <a:cubicBezTo>
                      <a:pt x="1983" y="561"/>
                      <a:pt x="1983" y="561"/>
                      <a:pt x="1983" y="561"/>
                    </a:cubicBezTo>
                    <a:cubicBezTo>
                      <a:pt x="1983" y="560"/>
                      <a:pt x="1983" y="560"/>
                      <a:pt x="1983" y="560"/>
                    </a:cubicBezTo>
                    <a:cubicBezTo>
                      <a:pt x="1983" y="558"/>
                      <a:pt x="1983" y="558"/>
                      <a:pt x="1983" y="558"/>
                    </a:cubicBezTo>
                    <a:cubicBezTo>
                      <a:pt x="1982" y="558"/>
                      <a:pt x="1982" y="558"/>
                      <a:pt x="1982" y="558"/>
                    </a:cubicBezTo>
                    <a:cubicBezTo>
                      <a:pt x="1981" y="558"/>
                      <a:pt x="1981" y="558"/>
                      <a:pt x="1981" y="558"/>
                    </a:cubicBezTo>
                    <a:cubicBezTo>
                      <a:pt x="1980" y="559"/>
                      <a:pt x="1980" y="559"/>
                      <a:pt x="1980" y="559"/>
                    </a:cubicBezTo>
                    <a:cubicBezTo>
                      <a:pt x="1979" y="559"/>
                      <a:pt x="1979" y="559"/>
                      <a:pt x="1979" y="559"/>
                    </a:cubicBezTo>
                    <a:cubicBezTo>
                      <a:pt x="1978" y="557"/>
                      <a:pt x="1978" y="557"/>
                      <a:pt x="1978" y="557"/>
                    </a:cubicBezTo>
                    <a:cubicBezTo>
                      <a:pt x="1980" y="556"/>
                      <a:pt x="1980" y="556"/>
                      <a:pt x="1980" y="556"/>
                    </a:cubicBezTo>
                    <a:cubicBezTo>
                      <a:pt x="1982" y="555"/>
                      <a:pt x="1982" y="555"/>
                      <a:pt x="1982" y="555"/>
                    </a:cubicBezTo>
                    <a:cubicBezTo>
                      <a:pt x="1984" y="556"/>
                      <a:pt x="1984" y="556"/>
                      <a:pt x="1984" y="556"/>
                    </a:cubicBezTo>
                    <a:cubicBezTo>
                      <a:pt x="1985" y="556"/>
                      <a:pt x="1985" y="556"/>
                      <a:pt x="1985" y="556"/>
                    </a:cubicBezTo>
                    <a:cubicBezTo>
                      <a:pt x="1985" y="555"/>
                      <a:pt x="1985" y="555"/>
                      <a:pt x="1985" y="555"/>
                    </a:cubicBezTo>
                    <a:cubicBezTo>
                      <a:pt x="1985" y="554"/>
                      <a:pt x="1985" y="554"/>
                      <a:pt x="1985" y="554"/>
                    </a:cubicBezTo>
                    <a:cubicBezTo>
                      <a:pt x="1985" y="553"/>
                      <a:pt x="1985" y="553"/>
                      <a:pt x="1985" y="553"/>
                    </a:cubicBezTo>
                    <a:cubicBezTo>
                      <a:pt x="1985" y="552"/>
                      <a:pt x="1985" y="552"/>
                      <a:pt x="1985" y="552"/>
                    </a:cubicBezTo>
                    <a:cubicBezTo>
                      <a:pt x="1986" y="552"/>
                      <a:pt x="1986" y="552"/>
                      <a:pt x="1986" y="552"/>
                    </a:cubicBezTo>
                    <a:cubicBezTo>
                      <a:pt x="1986" y="553"/>
                      <a:pt x="1986" y="553"/>
                      <a:pt x="1986" y="553"/>
                    </a:cubicBezTo>
                    <a:cubicBezTo>
                      <a:pt x="1987" y="553"/>
                      <a:pt x="1987" y="553"/>
                      <a:pt x="1987" y="553"/>
                    </a:cubicBezTo>
                    <a:cubicBezTo>
                      <a:pt x="1988" y="552"/>
                      <a:pt x="1988" y="552"/>
                      <a:pt x="1988" y="552"/>
                    </a:cubicBezTo>
                    <a:cubicBezTo>
                      <a:pt x="1990" y="552"/>
                      <a:pt x="1990" y="552"/>
                      <a:pt x="1990" y="552"/>
                    </a:cubicBezTo>
                    <a:cubicBezTo>
                      <a:pt x="1992" y="551"/>
                      <a:pt x="1992" y="551"/>
                      <a:pt x="1992" y="551"/>
                    </a:cubicBezTo>
                    <a:cubicBezTo>
                      <a:pt x="1994" y="551"/>
                      <a:pt x="1994" y="551"/>
                      <a:pt x="1994" y="551"/>
                    </a:cubicBezTo>
                    <a:cubicBezTo>
                      <a:pt x="1995" y="551"/>
                      <a:pt x="1995" y="551"/>
                      <a:pt x="1995" y="551"/>
                    </a:cubicBezTo>
                    <a:cubicBezTo>
                      <a:pt x="1996" y="550"/>
                      <a:pt x="1996" y="550"/>
                      <a:pt x="1996" y="550"/>
                    </a:cubicBezTo>
                    <a:cubicBezTo>
                      <a:pt x="1996" y="549"/>
                      <a:pt x="1996" y="549"/>
                      <a:pt x="1996" y="549"/>
                    </a:cubicBezTo>
                    <a:cubicBezTo>
                      <a:pt x="1998" y="548"/>
                      <a:pt x="1998" y="548"/>
                      <a:pt x="1998" y="548"/>
                    </a:cubicBezTo>
                    <a:cubicBezTo>
                      <a:pt x="1999" y="548"/>
                      <a:pt x="1999" y="548"/>
                      <a:pt x="1999" y="548"/>
                    </a:cubicBezTo>
                    <a:cubicBezTo>
                      <a:pt x="2001" y="548"/>
                      <a:pt x="2001" y="548"/>
                      <a:pt x="2001" y="548"/>
                    </a:cubicBezTo>
                    <a:cubicBezTo>
                      <a:pt x="2002" y="548"/>
                      <a:pt x="2002" y="548"/>
                      <a:pt x="2002" y="548"/>
                    </a:cubicBezTo>
                    <a:cubicBezTo>
                      <a:pt x="2003" y="548"/>
                      <a:pt x="2003" y="548"/>
                      <a:pt x="2003" y="548"/>
                    </a:cubicBezTo>
                    <a:cubicBezTo>
                      <a:pt x="2003" y="549"/>
                      <a:pt x="2003" y="549"/>
                      <a:pt x="2003" y="549"/>
                    </a:cubicBezTo>
                    <a:cubicBezTo>
                      <a:pt x="2002" y="550"/>
                      <a:pt x="2002" y="550"/>
                      <a:pt x="2002" y="550"/>
                    </a:cubicBezTo>
                    <a:cubicBezTo>
                      <a:pt x="2002" y="552"/>
                      <a:pt x="2002" y="552"/>
                      <a:pt x="2002" y="552"/>
                    </a:cubicBezTo>
                    <a:cubicBezTo>
                      <a:pt x="2002" y="553"/>
                      <a:pt x="2002" y="553"/>
                      <a:pt x="2002" y="553"/>
                    </a:cubicBezTo>
                    <a:cubicBezTo>
                      <a:pt x="2002" y="554"/>
                      <a:pt x="2002" y="554"/>
                      <a:pt x="2002" y="554"/>
                    </a:cubicBezTo>
                    <a:cubicBezTo>
                      <a:pt x="2002" y="555"/>
                      <a:pt x="2002" y="555"/>
                      <a:pt x="2002" y="555"/>
                    </a:cubicBezTo>
                    <a:cubicBezTo>
                      <a:pt x="2003" y="556"/>
                      <a:pt x="2003" y="556"/>
                      <a:pt x="2003" y="556"/>
                    </a:cubicBezTo>
                    <a:cubicBezTo>
                      <a:pt x="2004" y="556"/>
                      <a:pt x="2004" y="556"/>
                      <a:pt x="2004" y="556"/>
                    </a:cubicBezTo>
                    <a:cubicBezTo>
                      <a:pt x="2006" y="558"/>
                      <a:pt x="2006" y="558"/>
                      <a:pt x="2006" y="558"/>
                    </a:cubicBezTo>
                    <a:cubicBezTo>
                      <a:pt x="2007" y="558"/>
                      <a:pt x="2007" y="558"/>
                      <a:pt x="2007" y="558"/>
                    </a:cubicBezTo>
                    <a:cubicBezTo>
                      <a:pt x="2008" y="558"/>
                      <a:pt x="2008" y="558"/>
                      <a:pt x="2008" y="558"/>
                    </a:cubicBezTo>
                    <a:cubicBezTo>
                      <a:pt x="2009" y="556"/>
                      <a:pt x="2009" y="556"/>
                      <a:pt x="2009" y="556"/>
                    </a:cubicBezTo>
                    <a:cubicBezTo>
                      <a:pt x="2009" y="555"/>
                      <a:pt x="2009" y="555"/>
                      <a:pt x="2009" y="555"/>
                    </a:cubicBezTo>
                    <a:cubicBezTo>
                      <a:pt x="2010" y="555"/>
                      <a:pt x="2010" y="555"/>
                      <a:pt x="2010" y="555"/>
                    </a:cubicBezTo>
                    <a:cubicBezTo>
                      <a:pt x="2010" y="554"/>
                      <a:pt x="2010" y="554"/>
                      <a:pt x="2010" y="554"/>
                    </a:cubicBezTo>
                    <a:cubicBezTo>
                      <a:pt x="2010" y="553"/>
                      <a:pt x="2010" y="553"/>
                      <a:pt x="2010" y="553"/>
                    </a:cubicBezTo>
                    <a:cubicBezTo>
                      <a:pt x="2010" y="552"/>
                      <a:pt x="2010" y="552"/>
                      <a:pt x="2010" y="552"/>
                    </a:cubicBezTo>
                    <a:cubicBezTo>
                      <a:pt x="2011" y="551"/>
                      <a:pt x="2011" y="551"/>
                      <a:pt x="2011" y="551"/>
                    </a:cubicBezTo>
                    <a:cubicBezTo>
                      <a:pt x="2012" y="551"/>
                      <a:pt x="2012" y="551"/>
                      <a:pt x="2012" y="551"/>
                    </a:cubicBezTo>
                    <a:cubicBezTo>
                      <a:pt x="2013" y="551"/>
                      <a:pt x="2013" y="551"/>
                      <a:pt x="2013" y="551"/>
                    </a:cubicBezTo>
                    <a:cubicBezTo>
                      <a:pt x="2012" y="550"/>
                      <a:pt x="2012" y="550"/>
                      <a:pt x="2012" y="550"/>
                    </a:cubicBezTo>
                    <a:cubicBezTo>
                      <a:pt x="2012" y="549"/>
                      <a:pt x="2012" y="549"/>
                      <a:pt x="2012" y="549"/>
                    </a:cubicBezTo>
                    <a:cubicBezTo>
                      <a:pt x="2010" y="548"/>
                      <a:pt x="2010" y="548"/>
                      <a:pt x="2010" y="548"/>
                    </a:cubicBezTo>
                    <a:cubicBezTo>
                      <a:pt x="2010" y="547"/>
                      <a:pt x="2010" y="547"/>
                      <a:pt x="2010" y="547"/>
                    </a:cubicBezTo>
                    <a:cubicBezTo>
                      <a:pt x="2010" y="546"/>
                      <a:pt x="2010" y="546"/>
                      <a:pt x="2010" y="546"/>
                    </a:cubicBezTo>
                    <a:cubicBezTo>
                      <a:pt x="2011" y="545"/>
                      <a:pt x="2011" y="545"/>
                      <a:pt x="2011" y="545"/>
                    </a:cubicBezTo>
                    <a:cubicBezTo>
                      <a:pt x="2011" y="547"/>
                      <a:pt x="2011" y="547"/>
                      <a:pt x="2011" y="547"/>
                    </a:cubicBezTo>
                    <a:cubicBezTo>
                      <a:pt x="2012" y="547"/>
                      <a:pt x="2012" y="547"/>
                      <a:pt x="2012" y="547"/>
                    </a:cubicBezTo>
                    <a:cubicBezTo>
                      <a:pt x="2012" y="546"/>
                      <a:pt x="2012" y="546"/>
                      <a:pt x="2012" y="546"/>
                    </a:cubicBezTo>
                    <a:cubicBezTo>
                      <a:pt x="2013" y="547"/>
                      <a:pt x="2013" y="547"/>
                      <a:pt x="2013" y="547"/>
                    </a:cubicBezTo>
                    <a:cubicBezTo>
                      <a:pt x="2014" y="547"/>
                      <a:pt x="2014" y="547"/>
                      <a:pt x="2014" y="547"/>
                    </a:cubicBezTo>
                    <a:cubicBezTo>
                      <a:pt x="2015" y="547"/>
                      <a:pt x="2015" y="547"/>
                      <a:pt x="2015" y="547"/>
                    </a:cubicBezTo>
                    <a:cubicBezTo>
                      <a:pt x="2015" y="548"/>
                      <a:pt x="2015" y="548"/>
                      <a:pt x="2015" y="548"/>
                    </a:cubicBezTo>
                    <a:cubicBezTo>
                      <a:pt x="2016" y="547"/>
                      <a:pt x="2016" y="547"/>
                      <a:pt x="2016" y="547"/>
                    </a:cubicBezTo>
                    <a:cubicBezTo>
                      <a:pt x="2020" y="548"/>
                      <a:pt x="2020" y="548"/>
                      <a:pt x="2020" y="548"/>
                    </a:cubicBezTo>
                    <a:cubicBezTo>
                      <a:pt x="2021" y="547"/>
                      <a:pt x="2021" y="547"/>
                      <a:pt x="2021" y="547"/>
                    </a:cubicBezTo>
                    <a:cubicBezTo>
                      <a:pt x="2020" y="546"/>
                      <a:pt x="2020" y="546"/>
                      <a:pt x="2020" y="546"/>
                    </a:cubicBezTo>
                    <a:cubicBezTo>
                      <a:pt x="2021" y="544"/>
                      <a:pt x="2021" y="544"/>
                      <a:pt x="2021" y="544"/>
                    </a:cubicBezTo>
                    <a:cubicBezTo>
                      <a:pt x="2022" y="544"/>
                      <a:pt x="2022" y="544"/>
                      <a:pt x="2022" y="544"/>
                    </a:cubicBezTo>
                    <a:cubicBezTo>
                      <a:pt x="2023" y="544"/>
                      <a:pt x="2023" y="544"/>
                      <a:pt x="2023" y="544"/>
                    </a:cubicBezTo>
                    <a:cubicBezTo>
                      <a:pt x="2023" y="545"/>
                      <a:pt x="2023" y="545"/>
                      <a:pt x="2023" y="545"/>
                    </a:cubicBezTo>
                    <a:cubicBezTo>
                      <a:pt x="2023" y="546"/>
                      <a:pt x="2023" y="546"/>
                      <a:pt x="2023" y="546"/>
                    </a:cubicBezTo>
                    <a:cubicBezTo>
                      <a:pt x="2024" y="547"/>
                      <a:pt x="2024" y="547"/>
                      <a:pt x="2024" y="547"/>
                    </a:cubicBezTo>
                    <a:cubicBezTo>
                      <a:pt x="2025" y="547"/>
                      <a:pt x="2025" y="547"/>
                      <a:pt x="2025" y="547"/>
                    </a:cubicBezTo>
                    <a:cubicBezTo>
                      <a:pt x="2025" y="546"/>
                      <a:pt x="2025" y="546"/>
                      <a:pt x="2025" y="546"/>
                    </a:cubicBezTo>
                    <a:cubicBezTo>
                      <a:pt x="2025" y="543"/>
                      <a:pt x="2025" y="543"/>
                      <a:pt x="2025" y="543"/>
                    </a:cubicBezTo>
                    <a:cubicBezTo>
                      <a:pt x="2025" y="542"/>
                      <a:pt x="2025" y="542"/>
                      <a:pt x="2025" y="542"/>
                    </a:cubicBezTo>
                    <a:cubicBezTo>
                      <a:pt x="2027" y="541"/>
                      <a:pt x="2027" y="541"/>
                      <a:pt x="2027" y="541"/>
                    </a:cubicBezTo>
                    <a:cubicBezTo>
                      <a:pt x="2028" y="540"/>
                      <a:pt x="2028" y="540"/>
                      <a:pt x="2028" y="540"/>
                    </a:cubicBezTo>
                    <a:cubicBezTo>
                      <a:pt x="2027" y="540"/>
                      <a:pt x="2027" y="540"/>
                      <a:pt x="2027" y="540"/>
                    </a:cubicBezTo>
                    <a:cubicBezTo>
                      <a:pt x="2027" y="538"/>
                      <a:pt x="2027" y="538"/>
                      <a:pt x="2027" y="538"/>
                    </a:cubicBezTo>
                    <a:cubicBezTo>
                      <a:pt x="2028" y="538"/>
                      <a:pt x="2028" y="538"/>
                      <a:pt x="2028" y="538"/>
                    </a:cubicBezTo>
                    <a:cubicBezTo>
                      <a:pt x="2029" y="538"/>
                      <a:pt x="2029" y="538"/>
                      <a:pt x="2029" y="538"/>
                    </a:cubicBezTo>
                    <a:cubicBezTo>
                      <a:pt x="2030" y="539"/>
                      <a:pt x="2030" y="539"/>
                      <a:pt x="2030" y="539"/>
                    </a:cubicBezTo>
                    <a:cubicBezTo>
                      <a:pt x="2029" y="539"/>
                      <a:pt x="2029" y="539"/>
                      <a:pt x="2029" y="539"/>
                    </a:cubicBezTo>
                    <a:cubicBezTo>
                      <a:pt x="2029" y="541"/>
                      <a:pt x="2029" y="541"/>
                      <a:pt x="2029" y="541"/>
                    </a:cubicBezTo>
                    <a:cubicBezTo>
                      <a:pt x="2029" y="545"/>
                      <a:pt x="2029" y="545"/>
                      <a:pt x="2029" y="545"/>
                    </a:cubicBezTo>
                    <a:cubicBezTo>
                      <a:pt x="2030" y="545"/>
                      <a:pt x="2030" y="545"/>
                      <a:pt x="2030" y="545"/>
                    </a:cubicBezTo>
                    <a:cubicBezTo>
                      <a:pt x="2031" y="544"/>
                      <a:pt x="2031" y="544"/>
                      <a:pt x="2031" y="544"/>
                    </a:cubicBezTo>
                    <a:cubicBezTo>
                      <a:pt x="2031" y="543"/>
                      <a:pt x="2031" y="543"/>
                      <a:pt x="2031" y="543"/>
                    </a:cubicBezTo>
                    <a:cubicBezTo>
                      <a:pt x="2032" y="543"/>
                      <a:pt x="2032" y="543"/>
                      <a:pt x="2032" y="543"/>
                    </a:cubicBezTo>
                    <a:cubicBezTo>
                      <a:pt x="2033" y="542"/>
                      <a:pt x="2033" y="542"/>
                      <a:pt x="2033" y="542"/>
                    </a:cubicBezTo>
                    <a:cubicBezTo>
                      <a:pt x="2034" y="540"/>
                      <a:pt x="2034" y="540"/>
                      <a:pt x="2034" y="540"/>
                    </a:cubicBezTo>
                    <a:cubicBezTo>
                      <a:pt x="2034" y="539"/>
                      <a:pt x="2034" y="539"/>
                      <a:pt x="2034" y="539"/>
                    </a:cubicBezTo>
                    <a:cubicBezTo>
                      <a:pt x="2035" y="538"/>
                      <a:pt x="2035" y="538"/>
                      <a:pt x="2035" y="538"/>
                    </a:cubicBezTo>
                    <a:cubicBezTo>
                      <a:pt x="2035" y="537"/>
                      <a:pt x="2035" y="537"/>
                      <a:pt x="2035" y="537"/>
                    </a:cubicBezTo>
                    <a:cubicBezTo>
                      <a:pt x="2034" y="536"/>
                      <a:pt x="2034" y="536"/>
                      <a:pt x="2034" y="536"/>
                    </a:cubicBezTo>
                    <a:cubicBezTo>
                      <a:pt x="2033" y="534"/>
                      <a:pt x="2033" y="534"/>
                      <a:pt x="2033" y="534"/>
                    </a:cubicBezTo>
                    <a:cubicBezTo>
                      <a:pt x="2032" y="533"/>
                      <a:pt x="2032" y="533"/>
                      <a:pt x="2032" y="533"/>
                    </a:cubicBezTo>
                    <a:cubicBezTo>
                      <a:pt x="2032" y="530"/>
                      <a:pt x="2032" y="530"/>
                      <a:pt x="2032" y="530"/>
                    </a:cubicBezTo>
                    <a:cubicBezTo>
                      <a:pt x="2032" y="526"/>
                      <a:pt x="2032" y="526"/>
                      <a:pt x="2032" y="526"/>
                    </a:cubicBezTo>
                    <a:cubicBezTo>
                      <a:pt x="2032" y="524"/>
                      <a:pt x="2032" y="524"/>
                      <a:pt x="2032" y="524"/>
                    </a:cubicBezTo>
                    <a:cubicBezTo>
                      <a:pt x="2031" y="520"/>
                      <a:pt x="2031" y="520"/>
                      <a:pt x="2031" y="520"/>
                    </a:cubicBezTo>
                    <a:cubicBezTo>
                      <a:pt x="2030" y="518"/>
                      <a:pt x="2030" y="518"/>
                      <a:pt x="2030" y="518"/>
                    </a:cubicBezTo>
                    <a:cubicBezTo>
                      <a:pt x="2029" y="516"/>
                      <a:pt x="2029" y="516"/>
                      <a:pt x="2029" y="516"/>
                    </a:cubicBezTo>
                    <a:cubicBezTo>
                      <a:pt x="2030" y="514"/>
                      <a:pt x="2030" y="514"/>
                      <a:pt x="2030" y="514"/>
                    </a:cubicBezTo>
                    <a:cubicBezTo>
                      <a:pt x="2032" y="513"/>
                      <a:pt x="2032" y="513"/>
                      <a:pt x="2032" y="513"/>
                    </a:cubicBezTo>
                    <a:cubicBezTo>
                      <a:pt x="2033" y="513"/>
                      <a:pt x="2033" y="513"/>
                      <a:pt x="2033" y="513"/>
                    </a:cubicBezTo>
                    <a:cubicBezTo>
                      <a:pt x="2033" y="514"/>
                      <a:pt x="2033" y="514"/>
                      <a:pt x="2033" y="514"/>
                    </a:cubicBezTo>
                    <a:cubicBezTo>
                      <a:pt x="2034" y="513"/>
                      <a:pt x="2034" y="513"/>
                      <a:pt x="2034" y="513"/>
                    </a:cubicBezTo>
                    <a:cubicBezTo>
                      <a:pt x="2033" y="512"/>
                      <a:pt x="2033" y="512"/>
                      <a:pt x="2033" y="512"/>
                    </a:cubicBezTo>
                    <a:cubicBezTo>
                      <a:pt x="2033" y="511"/>
                      <a:pt x="2033" y="511"/>
                      <a:pt x="2033" y="511"/>
                    </a:cubicBezTo>
                    <a:cubicBezTo>
                      <a:pt x="2032" y="509"/>
                      <a:pt x="2032" y="509"/>
                      <a:pt x="2032" y="509"/>
                    </a:cubicBezTo>
                    <a:cubicBezTo>
                      <a:pt x="2032" y="508"/>
                      <a:pt x="2032" y="508"/>
                      <a:pt x="2032" y="508"/>
                    </a:cubicBezTo>
                    <a:cubicBezTo>
                      <a:pt x="2033" y="507"/>
                      <a:pt x="2033" y="507"/>
                      <a:pt x="2033" y="507"/>
                    </a:cubicBezTo>
                    <a:cubicBezTo>
                      <a:pt x="2033" y="506"/>
                      <a:pt x="2033" y="506"/>
                      <a:pt x="2033" y="506"/>
                    </a:cubicBezTo>
                    <a:cubicBezTo>
                      <a:pt x="2033" y="505"/>
                      <a:pt x="2033" y="505"/>
                      <a:pt x="2033" y="505"/>
                    </a:cubicBezTo>
                    <a:cubicBezTo>
                      <a:pt x="2032" y="503"/>
                      <a:pt x="2032" y="503"/>
                      <a:pt x="2032" y="503"/>
                    </a:cubicBezTo>
                    <a:cubicBezTo>
                      <a:pt x="2033" y="503"/>
                      <a:pt x="2033" y="503"/>
                      <a:pt x="2033" y="503"/>
                    </a:cubicBezTo>
                    <a:cubicBezTo>
                      <a:pt x="2032" y="502"/>
                      <a:pt x="2032" y="502"/>
                      <a:pt x="2032" y="502"/>
                    </a:cubicBezTo>
                    <a:cubicBezTo>
                      <a:pt x="2032" y="499"/>
                      <a:pt x="2032" y="499"/>
                      <a:pt x="2032" y="499"/>
                    </a:cubicBezTo>
                    <a:cubicBezTo>
                      <a:pt x="2031" y="497"/>
                      <a:pt x="2031" y="497"/>
                      <a:pt x="2031" y="497"/>
                    </a:cubicBezTo>
                    <a:cubicBezTo>
                      <a:pt x="2030" y="497"/>
                      <a:pt x="2030" y="497"/>
                      <a:pt x="2030" y="497"/>
                    </a:cubicBezTo>
                    <a:cubicBezTo>
                      <a:pt x="2029" y="497"/>
                      <a:pt x="2029" y="497"/>
                      <a:pt x="2029" y="497"/>
                    </a:cubicBezTo>
                    <a:cubicBezTo>
                      <a:pt x="2029" y="494"/>
                      <a:pt x="2029" y="494"/>
                      <a:pt x="2029" y="494"/>
                    </a:cubicBezTo>
                    <a:cubicBezTo>
                      <a:pt x="2028" y="493"/>
                      <a:pt x="2028" y="493"/>
                      <a:pt x="2028" y="493"/>
                    </a:cubicBezTo>
                    <a:cubicBezTo>
                      <a:pt x="2026" y="490"/>
                      <a:pt x="2026" y="490"/>
                      <a:pt x="2026" y="490"/>
                    </a:cubicBezTo>
                    <a:cubicBezTo>
                      <a:pt x="2025" y="489"/>
                      <a:pt x="2025" y="489"/>
                      <a:pt x="2025" y="489"/>
                    </a:cubicBezTo>
                    <a:cubicBezTo>
                      <a:pt x="2024" y="487"/>
                      <a:pt x="2024" y="487"/>
                      <a:pt x="2024" y="487"/>
                    </a:cubicBezTo>
                    <a:cubicBezTo>
                      <a:pt x="2024" y="485"/>
                      <a:pt x="2024" y="485"/>
                      <a:pt x="2024" y="485"/>
                    </a:cubicBezTo>
                    <a:cubicBezTo>
                      <a:pt x="2023" y="485"/>
                      <a:pt x="2023" y="485"/>
                      <a:pt x="2023" y="485"/>
                    </a:cubicBezTo>
                    <a:cubicBezTo>
                      <a:pt x="2022" y="484"/>
                      <a:pt x="2022" y="484"/>
                      <a:pt x="2022" y="484"/>
                    </a:cubicBezTo>
                    <a:cubicBezTo>
                      <a:pt x="2021" y="484"/>
                      <a:pt x="2021" y="484"/>
                      <a:pt x="2021" y="484"/>
                    </a:cubicBezTo>
                    <a:cubicBezTo>
                      <a:pt x="2021" y="485"/>
                      <a:pt x="2021" y="485"/>
                      <a:pt x="2021" y="485"/>
                    </a:cubicBezTo>
                    <a:cubicBezTo>
                      <a:pt x="2021" y="486"/>
                      <a:pt x="2021" y="486"/>
                      <a:pt x="2021" y="486"/>
                    </a:cubicBezTo>
                    <a:cubicBezTo>
                      <a:pt x="2021" y="487"/>
                      <a:pt x="2021" y="487"/>
                      <a:pt x="2021" y="487"/>
                    </a:cubicBezTo>
                    <a:cubicBezTo>
                      <a:pt x="2021" y="488"/>
                      <a:pt x="2021" y="488"/>
                      <a:pt x="2021" y="488"/>
                    </a:cubicBezTo>
                    <a:cubicBezTo>
                      <a:pt x="2022" y="487"/>
                      <a:pt x="2022" y="487"/>
                      <a:pt x="2022" y="487"/>
                    </a:cubicBezTo>
                    <a:cubicBezTo>
                      <a:pt x="2023" y="486"/>
                      <a:pt x="2023" y="486"/>
                      <a:pt x="2023" y="486"/>
                    </a:cubicBezTo>
                    <a:cubicBezTo>
                      <a:pt x="2024" y="488"/>
                      <a:pt x="2024" y="488"/>
                      <a:pt x="2024" y="488"/>
                    </a:cubicBezTo>
                    <a:cubicBezTo>
                      <a:pt x="2023" y="489"/>
                      <a:pt x="2023" y="489"/>
                      <a:pt x="2023" y="489"/>
                    </a:cubicBezTo>
                    <a:cubicBezTo>
                      <a:pt x="2022" y="489"/>
                      <a:pt x="2022" y="489"/>
                      <a:pt x="2022" y="489"/>
                    </a:cubicBezTo>
                    <a:cubicBezTo>
                      <a:pt x="2021" y="489"/>
                      <a:pt x="2021" y="489"/>
                      <a:pt x="2021" y="489"/>
                    </a:cubicBezTo>
                    <a:cubicBezTo>
                      <a:pt x="2022" y="490"/>
                      <a:pt x="2022" y="490"/>
                      <a:pt x="2022" y="490"/>
                    </a:cubicBezTo>
                    <a:cubicBezTo>
                      <a:pt x="2021" y="491"/>
                      <a:pt x="2021" y="491"/>
                      <a:pt x="2021" y="491"/>
                    </a:cubicBezTo>
                    <a:cubicBezTo>
                      <a:pt x="2020" y="490"/>
                      <a:pt x="2020" y="490"/>
                      <a:pt x="2020" y="490"/>
                    </a:cubicBezTo>
                    <a:cubicBezTo>
                      <a:pt x="2020" y="489"/>
                      <a:pt x="2020" y="489"/>
                      <a:pt x="2020" y="489"/>
                    </a:cubicBezTo>
                    <a:cubicBezTo>
                      <a:pt x="2020" y="488"/>
                      <a:pt x="2020" y="488"/>
                      <a:pt x="2020" y="488"/>
                    </a:cubicBezTo>
                    <a:cubicBezTo>
                      <a:pt x="2020" y="487"/>
                      <a:pt x="2020" y="487"/>
                      <a:pt x="2020" y="487"/>
                    </a:cubicBezTo>
                    <a:cubicBezTo>
                      <a:pt x="2019" y="488"/>
                      <a:pt x="2019" y="488"/>
                      <a:pt x="2019" y="488"/>
                    </a:cubicBezTo>
                    <a:cubicBezTo>
                      <a:pt x="2018" y="487"/>
                      <a:pt x="2018" y="487"/>
                      <a:pt x="2018" y="487"/>
                    </a:cubicBezTo>
                    <a:cubicBezTo>
                      <a:pt x="2018" y="488"/>
                      <a:pt x="2018" y="488"/>
                      <a:pt x="2018" y="488"/>
                    </a:cubicBezTo>
                    <a:cubicBezTo>
                      <a:pt x="2018" y="490"/>
                      <a:pt x="2018" y="490"/>
                      <a:pt x="2018" y="490"/>
                    </a:cubicBezTo>
                    <a:cubicBezTo>
                      <a:pt x="2018" y="491"/>
                      <a:pt x="2018" y="491"/>
                      <a:pt x="2018" y="491"/>
                    </a:cubicBezTo>
                    <a:cubicBezTo>
                      <a:pt x="2018" y="492"/>
                      <a:pt x="2018" y="492"/>
                      <a:pt x="2018" y="492"/>
                    </a:cubicBezTo>
                    <a:cubicBezTo>
                      <a:pt x="2017" y="493"/>
                      <a:pt x="2017" y="493"/>
                      <a:pt x="2017" y="493"/>
                    </a:cubicBezTo>
                    <a:cubicBezTo>
                      <a:pt x="2017" y="494"/>
                      <a:pt x="2017" y="494"/>
                      <a:pt x="2017" y="494"/>
                    </a:cubicBezTo>
                    <a:cubicBezTo>
                      <a:pt x="2018" y="495"/>
                      <a:pt x="2018" y="495"/>
                      <a:pt x="2018" y="495"/>
                    </a:cubicBezTo>
                    <a:cubicBezTo>
                      <a:pt x="2019" y="496"/>
                      <a:pt x="2019" y="496"/>
                      <a:pt x="2019" y="496"/>
                    </a:cubicBezTo>
                    <a:cubicBezTo>
                      <a:pt x="2018" y="498"/>
                      <a:pt x="2018" y="498"/>
                      <a:pt x="2018" y="498"/>
                    </a:cubicBezTo>
                    <a:cubicBezTo>
                      <a:pt x="2017" y="498"/>
                      <a:pt x="2017" y="498"/>
                      <a:pt x="2017" y="498"/>
                    </a:cubicBezTo>
                    <a:cubicBezTo>
                      <a:pt x="2016" y="499"/>
                      <a:pt x="2016" y="499"/>
                      <a:pt x="2016" y="499"/>
                    </a:cubicBezTo>
                    <a:cubicBezTo>
                      <a:pt x="2017" y="500"/>
                      <a:pt x="2017" y="500"/>
                      <a:pt x="2017" y="500"/>
                    </a:cubicBezTo>
                    <a:cubicBezTo>
                      <a:pt x="2018" y="500"/>
                      <a:pt x="2018" y="500"/>
                      <a:pt x="2018" y="500"/>
                    </a:cubicBezTo>
                    <a:cubicBezTo>
                      <a:pt x="2019" y="499"/>
                      <a:pt x="2019" y="499"/>
                      <a:pt x="2019" y="499"/>
                    </a:cubicBezTo>
                    <a:cubicBezTo>
                      <a:pt x="2020" y="502"/>
                      <a:pt x="2020" y="502"/>
                      <a:pt x="2020" y="502"/>
                    </a:cubicBezTo>
                    <a:cubicBezTo>
                      <a:pt x="2021" y="505"/>
                      <a:pt x="2021" y="505"/>
                      <a:pt x="2021" y="505"/>
                    </a:cubicBezTo>
                    <a:cubicBezTo>
                      <a:pt x="2020" y="506"/>
                      <a:pt x="2020" y="506"/>
                      <a:pt x="2020" y="506"/>
                    </a:cubicBezTo>
                    <a:cubicBezTo>
                      <a:pt x="2021" y="509"/>
                      <a:pt x="2021" y="509"/>
                      <a:pt x="2021" y="509"/>
                    </a:cubicBezTo>
                    <a:cubicBezTo>
                      <a:pt x="2019" y="514"/>
                      <a:pt x="2019" y="514"/>
                      <a:pt x="2019" y="514"/>
                    </a:cubicBezTo>
                    <a:cubicBezTo>
                      <a:pt x="2020" y="515"/>
                      <a:pt x="2020" y="515"/>
                      <a:pt x="2020" y="515"/>
                    </a:cubicBezTo>
                    <a:cubicBezTo>
                      <a:pt x="2019" y="517"/>
                      <a:pt x="2019" y="517"/>
                      <a:pt x="2019" y="517"/>
                    </a:cubicBezTo>
                    <a:cubicBezTo>
                      <a:pt x="2018" y="518"/>
                      <a:pt x="2018" y="518"/>
                      <a:pt x="2018" y="518"/>
                    </a:cubicBezTo>
                    <a:cubicBezTo>
                      <a:pt x="2017" y="520"/>
                      <a:pt x="2017" y="520"/>
                      <a:pt x="2017" y="520"/>
                    </a:cubicBezTo>
                    <a:cubicBezTo>
                      <a:pt x="2017" y="522"/>
                      <a:pt x="2017" y="522"/>
                      <a:pt x="2017" y="522"/>
                    </a:cubicBezTo>
                    <a:cubicBezTo>
                      <a:pt x="2016" y="523"/>
                      <a:pt x="2016" y="523"/>
                      <a:pt x="2016" y="523"/>
                    </a:cubicBezTo>
                    <a:cubicBezTo>
                      <a:pt x="2016" y="524"/>
                      <a:pt x="2016" y="524"/>
                      <a:pt x="2016" y="524"/>
                    </a:cubicBezTo>
                    <a:cubicBezTo>
                      <a:pt x="2015" y="526"/>
                      <a:pt x="2015" y="526"/>
                      <a:pt x="2015" y="526"/>
                    </a:cubicBezTo>
                    <a:cubicBezTo>
                      <a:pt x="2012" y="528"/>
                      <a:pt x="2012" y="528"/>
                      <a:pt x="2012" y="528"/>
                    </a:cubicBezTo>
                    <a:cubicBezTo>
                      <a:pt x="2011" y="528"/>
                      <a:pt x="2011" y="528"/>
                      <a:pt x="2011" y="528"/>
                    </a:cubicBezTo>
                    <a:cubicBezTo>
                      <a:pt x="2010" y="529"/>
                      <a:pt x="2010" y="529"/>
                      <a:pt x="2010" y="529"/>
                    </a:cubicBezTo>
                    <a:cubicBezTo>
                      <a:pt x="2008" y="528"/>
                      <a:pt x="2008" y="528"/>
                      <a:pt x="2008" y="528"/>
                    </a:cubicBezTo>
                    <a:cubicBezTo>
                      <a:pt x="2007" y="527"/>
                      <a:pt x="2007" y="527"/>
                      <a:pt x="2007" y="527"/>
                    </a:cubicBezTo>
                    <a:cubicBezTo>
                      <a:pt x="2007" y="526"/>
                      <a:pt x="2007" y="526"/>
                      <a:pt x="2007" y="526"/>
                    </a:cubicBezTo>
                    <a:cubicBezTo>
                      <a:pt x="2008" y="525"/>
                      <a:pt x="2008" y="525"/>
                      <a:pt x="2008" y="525"/>
                    </a:cubicBezTo>
                    <a:cubicBezTo>
                      <a:pt x="2008" y="524"/>
                      <a:pt x="2008" y="524"/>
                      <a:pt x="2008" y="524"/>
                    </a:cubicBezTo>
                    <a:cubicBezTo>
                      <a:pt x="2009" y="523"/>
                      <a:pt x="2009" y="523"/>
                      <a:pt x="2009" y="523"/>
                    </a:cubicBezTo>
                    <a:cubicBezTo>
                      <a:pt x="2007" y="523"/>
                      <a:pt x="2007" y="523"/>
                      <a:pt x="2007" y="523"/>
                    </a:cubicBezTo>
                    <a:cubicBezTo>
                      <a:pt x="2006" y="524"/>
                      <a:pt x="2006" y="524"/>
                      <a:pt x="2006" y="524"/>
                    </a:cubicBezTo>
                    <a:cubicBezTo>
                      <a:pt x="2005" y="524"/>
                      <a:pt x="2005" y="524"/>
                      <a:pt x="2005" y="524"/>
                    </a:cubicBezTo>
                    <a:cubicBezTo>
                      <a:pt x="2005" y="526"/>
                      <a:pt x="2005" y="526"/>
                      <a:pt x="2005" y="526"/>
                    </a:cubicBezTo>
                    <a:cubicBezTo>
                      <a:pt x="2006" y="527"/>
                      <a:pt x="2006" y="527"/>
                      <a:pt x="2006" y="527"/>
                    </a:cubicBezTo>
                    <a:cubicBezTo>
                      <a:pt x="2006" y="530"/>
                      <a:pt x="2006" y="530"/>
                      <a:pt x="2006" y="530"/>
                    </a:cubicBezTo>
                    <a:cubicBezTo>
                      <a:pt x="2006" y="532"/>
                      <a:pt x="2006" y="532"/>
                      <a:pt x="2006" y="532"/>
                    </a:cubicBezTo>
                    <a:cubicBezTo>
                      <a:pt x="2004" y="533"/>
                      <a:pt x="2004" y="533"/>
                      <a:pt x="2004" y="533"/>
                    </a:cubicBezTo>
                    <a:cubicBezTo>
                      <a:pt x="2004" y="534"/>
                      <a:pt x="2004" y="534"/>
                      <a:pt x="2004" y="534"/>
                    </a:cubicBezTo>
                    <a:cubicBezTo>
                      <a:pt x="2003" y="537"/>
                      <a:pt x="2003" y="537"/>
                      <a:pt x="2003" y="537"/>
                    </a:cubicBezTo>
                    <a:cubicBezTo>
                      <a:pt x="2004" y="537"/>
                      <a:pt x="2004" y="537"/>
                      <a:pt x="2004" y="537"/>
                    </a:cubicBezTo>
                    <a:cubicBezTo>
                      <a:pt x="2004" y="538"/>
                      <a:pt x="2004" y="538"/>
                      <a:pt x="2004" y="538"/>
                    </a:cubicBezTo>
                    <a:cubicBezTo>
                      <a:pt x="2004" y="539"/>
                      <a:pt x="2004" y="539"/>
                      <a:pt x="2004" y="539"/>
                    </a:cubicBezTo>
                    <a:cubicBezTo>
                      <a:pt x="2004" y="540"/>
                      <a:pt x="2004" y="540"/>
                      <a:pt x="2004" y="540"/>
                    </a:cubicBezTo>
                    <a:cubicBezTo>
                      <a:pt x="2003" y="540"/>
                      <a:pt x="2003" y="540"/>
                      <a:pt x="2003" y="540"/>
                    </a:cubicBezTo>
                    <a:cubicBezTo>
                      <a:pt x="2003" y="541"/>
                      <a:pt x="2003" y="541"/>
                      <a:pt x="2003" y="541"/>
                    </a:cubicBezTo>
                    <a:cubicBezTo>
                      <a:pt x="2002" y="540"/>
                      <a:pt x="2002" y="540"/>
                      <a:pt x="2002" y="540"/>
                    </a:cubicBezTo>
                    <a:cubicBezTo>
                      <a:pt x="2001" y="541"/>
                      <a:pt x="2001" y="541"/>
                      <a:pt x="2001" y="541"/>
                    </a:cubicBezTo>
                    <a:cubicBezTo>
                      <a:pt x="2000" y="541"/>
                      <a:pt x="2000" y="541"/>
                      <a:pt x="2000" y="541"/>
                    </a:cubicBezTo>
                    <a:cubicBezTo>
                      <a:pt x="2000" y="539"/>
                      <a:pt x="2000" y="539"/>
                      <a:pt x="2000" y="539"/>
                    </a:cubicBezTo>
                    <a:cubicBezTo>
                      <a:pt x="1999" y="540"/>
                      <a:pt x="1999" y="540"/>
                      <a:pt x="1999" y="540"/>
                    </a:cubicBezTo>
                    <a:cubicBezTo>
                      <a:pt x="1998" y="540"/>
                      <a:pt x="1998" y="540"/>
                      <a:pt x="1998" y="540"/>
                    </a:cubicBezTo>
                    <a:cubicBezTo>
                      <a:pt x="1995" y="540"/>
                      <a:pt x="1995" y="540"/>
                      <a:pt x="1995" y="540"/>
                    </a:cubicBezTo>
                    <a:cubicBezTo>
                      <a:pt x="1994" y="541"/>
                      <a:pt x="1994" y="541"/>
                      <a:pt x="1994" y="541"/>
                    </a:cubicBezTo>
                    <a:cubicBezTo>
                      <a:pt x="1992" y="542"/>
                      <a:pt x="1992" y="542"/>
                      <a:pt x="1992" y="542"/>
                    </a:cubicBezTo>
                    <a:cubicBezTo>
                      <a:pt x="1991" y="542"/>
                      <a:pt x="1991" y="542"/>
                      <a:pt x="1991" y="542"/>
                    </a:cubicBezTo>
                    <a:cubicBezTo>
                      <a:pt x="1989" y="542"/>
                      <a:pt x="1989" y="542"/>
                      <a:pt x="1989" y="542"/>
                    </a:cubicBezTo>
                    <a:cubicBezTo>
                      <a:pt x="1987" y="542"/>
                      <a:pt x="1987" y="542"/>
                      <a:pt x="1987" y="542"/>
                    </a:cubicBezTo>
                    <a:cubicBezTo>
                      <a:pt x="1985" y="544"/>
                      <a:pt x="1985" y="544"/>
                      <a:pt x="1985" y="544"/>
                    </a:cubicBezTo>
                    <a:cubicBezTo>
                      <a:pt x="1984" y="545"/>
                      <a:pt x="1984" y="545"/>
                      <a:pt x="1984" y="545"/>
                    </a:cubicBezTo>
                    <a:cubicBezTo>
                      <a:pt x="1984" y="546"/>
                      <a:pt x="1984" y="546"/>
                      <a:pt x="1984" y="546"/>
                    </a:cubicBezTo>
                    <a:cubicBezTo>
                      <a:pt x="1983" y="547"/>
                      <a:pt x="1983" y="547"/>
                      <a:pt x="1983" y="547"/>
                    </a:cubicBezTo>
                    <a:cubicBezTo>
                      <a:pt x="1982" y="548"/>
                      <a:pt x="1982" y="548"/>
                      <a:pt x="1982" y="548"/>
                    </a:cubicBezTo>
                    <a:cubicBezTo>
                      <a:pt x="1981" y="549"/>
                      <a:pt x="1981" y="549"/>
                      <a:pt x="1981" y="549"/>
                    </a:cubicBezTo>
                    <a:cubicBezTo>
                      <a:pt x="1980" y="550"/>
                      <a:pt x="1980" y="550"/>
                      <a:pt x="1980" y="550"/>
                    </a:cubicBezTo>
                    <a:cubicBezTo>
                      <a:pt x="1979" y="551"/>
                      <a:pt x="1979" y="551"/>
                      <a:pt x="1979" y="551"/>
                    </a:cubicBezTo>
                    <a:cubicBezTo>
                      <a:pt x="1979" y="552"/>
                      <a:pt x="1979" y="552"/>
                      <a:pt x="1979" y="552"/>
                    </a:cubicBezTo>
                    <a:cubicBezTo>
                      <a:pt x="1977" y="552"/>
                      <a:pt x="1977" y="552"/>
                      <a:pt x="1977" y="552"/>
                    </a:cubicBezTo>
                    <a:cubicBezTo>
                      <a:pt x="1976" y="553"/>
                      <a:pt x="1976" y="553"/>
                      <a:pt x="1976" y="553"/>
                    </a:cubicBezTo>
                    <a:cubicBezTo>
                      <a:pt x="1977" y="555"/>
                      <a:pt x="1977" y="555"/>
                      <a:pt x="1977" y="555"/>
                    </a:cubicBezTo>
                    <a:cubicBezTo>
                      <a:pt x="1977" y="556"/>
                      <a:pt x="1977" y="556"/>
                      <a:pt x="1977" y="556"/>
                    </a:cubicBezTo>
                    <a:cubicBezTo>
                      <a:pt x="1977" y="557"/>
                      <a:pt x="1977" y="557"/>
                      <a:pt x="1977" y="557"/>
                    </a:cubicBezTo>
                    <a:cubicBezTo>
                      <a:pt x="1976" y="557"/>
                      <a:pt x="1976" y="557"/>
                      <a:pt x="1976" y="557"/>
                    </a:cubicBezTo>
                    <a:cubicBezTo>
                      <a:pt x="1975" y="558"/>
                      <a:pt x="1975" y="558"/>
                      <a:pt x="1975" y="558"/>
                    </a:cubicBezTo>
                    <a:cubicBezTo>
                      <a:pt x="1974" y="559"/>
                      <a:pt x="1974" y="559"/>
                      <a:pt x="1974" y="559"/>
                    </a:cubicBezTo>
                    <a:cubicBezTo>
                      <a:pt x="1972" y="561"/>
                      <a:pt x="1972" y="561"/>
                      <a:pt x="1972" y="561"/>
                    </a:cubicBezTo>
                    <a:cubicBezTo>
                      <a:pt x="1971" y="562"/>
                      <a:pt x="1971" y="562"/>
                      <a:pt x="1971" y="562"/>
                    </a:cubicBezTo>
                    <a:cubicBezTo>
                      <a:pt x="1971" y="563"/>
                      <a:pt x="1971" y="563"/>
                      <a:pt x="1971" y="563"/>
                    </a:cubicBezTo>
                    <a:cubicBezTo>
                      <a:pt x="1972" y="565"/>
                      <a:pt x="1972" y="565"/>
                      <a:pt x="1972" y="565"/>
                    </a:cubicBezTo>
                    <a:cubicBezTo>
                      <a:pt x="1971" y="564"/>
                      <a:pt x="1971" y="564"/>
                      <a:pt x="1971" y="564"/>
                    </a:cubicBezTo>
                    <a:cubicBezTo>
                      <a:pt x="1971" y="563"/>
                      <a:pt x="1971" y="563"/>
                      <a:pt x="1971" y="563"/>
                    </a:cubicBezTo>
                    <a:cubicBezTo>
                      <a:pt x="1970" y="564"/>
                      <a:pt x="1970" y="564"/>
                      <a:pt x="1970" y="564"/>
                    </a:cubicBezTo>
                    <a:cubicBezTo>
                      <a:pt x="1971" y="566"/>
                      <a:pt x="1971" y="566"/>
                      <a:pt x="1971" y="566"/>
                    </a:cubicBezTo>
                    <a:cubicBezTo>
                      <a:pt x="1972" y="566"/>
                      <a:pt x="1972" y="566"/>
                      <a:pt x="1972" y="566"/>
                    </a:cubicBezTo>
                    <a:cubicBezTo>
                      <a:pt x="1973" y="566"/>
                      <a:pt x="1973" y="566"/>
                      <a:pt x="1973" y="566"/>
                    </a:cubicBezTo>
                    <a:cubicBezTo>
                      <a:pt x="1974" y="566"/>
                      <a:pt x="1974" y="566"/>
                      <a:pt x="1974" y="566"/>
                    </a:cubicBezTo>
                    <a:cubicBezTo>
                      <a:pt x="1973" y="567"/>
                      <a:pt x="1973" y="567"/>
                      <a:pt x="1973" y="567"/>
                    </a:cubicBezTo>
                    <a:cubicBezTo>
                      <a:pt x="1974" y="567"/>
                      <a:pt x="1974" y="567"/>
                      <a:pt x="1974" y="567"/>
                    </a:cubicBezTo>
                    <a:cubicBezTo>
                      <a:pt x="1975" y="567"/>
                      <a:pt x="1975" y="567"/>
                      <a:pt x="1975" y="567"/>
                    </a:cubicBezTo>
                    <a:cubicBezTo>
                      <a:pt x="1975" y="566"/>
                      <a:pt x="1975" y="566"/>
                      <a:pt x="1975" y="566"/>
                    </a:cubicBezTo>
                    <a:cubicBezTo>
                      <a:pt x="1974" y="565"/>
                      <a:pt x="1974" y="565"/>
                      <a:pt x="1974" y="565"/>
                    </a:cubicBezTo>
                    <a:cubicBezTo>
                      <a:pt x="1973" y="565"/>
                      <a:pt x="1973" y="565"/>
                      <a:pt x="1973" y="565"/>
                    </a:cubicBezTo>
                    <a:cubicBezTo>
                      <a:pt x="1973" y="564"/>
                      <a:pt x="1973" y="564"/>
                      <a:pt x="1973" y="564"/>
                    </a:cubicBezTo>
                    <a:cubicBezTo>
                      <a:pt x="1973" y="563"/>
                      <a:pt x="1973" y="563"/>
                      <a:pt x="1973" y="563"/>
                    </a:cubicBezTo>
                    <a:cubicBezTo>
                      <a:pt x="1974" y="563"/>
                      <a:pt x="1974" y="563"/>
                      <a:pt x="1974" y="563"/>
                    </a:cubicBezTo>
                    <a:cubicBezTo>
                      <a:pt x="1975" y="563"/>
                      <a:pt x="1975" y="563"/>
                      <a:pt x="1975" y="563"/>
                    </a:cubicBezTo>
                    <a:cubicBezTo>
                      <a:pt x="1976" y="565"/>
                      <a:pt x="1976" y="565"/>
                      <a:pt x="1976" y="565"/>
                    </a:cubicBezTo>
                    <a:cubicBezTo>
                      <a:pt x="1976" y="566"/>
                      <a:pt x="1976" y="566"/>
                      <a:pt x="1976" y="566"/>
                    </a:cubicBezTo>
                    <a:cubicBezTo>
                      <a:pt x="1976" y="567"/>
                      <a:pt x="1976" y="567"/>
                      <a:pt x="1976" y="567"/>
                    </a:cubicBezTo>
                    <a:cubicBezTo>
                      <a:pt x="1976" y="568"/>
                      <a:pt x="1976" y="568"/>
                      <a:pt x="1976" y="568"/>
                    </a:cubicBezTo>
                    <a:cubicBezTo>
                      <a:pt x="1976" y="569"/>
                      <a:pt x="1976" y="569"/>
                      <a:pt x="1976" y="569"/>
                    </a:cubicBezTo>
                    <a:cubicBezTo>
                      <a:pt x="1976" y="571"/>
                      <a:pt x="1976" y="571"/>
                      <a:pt x="1976" y="571"/>
                    </a:cubicBezTo>
                    <a:cubicBezTo>
                      <a:pt x="1975" y="571"/>
                      <a:pt x="1975" y="571"/>
                      <a:pt x="1975" y="571"/>
                    </a:cubicBezTo>
                    <a:cubicBezTo>
                      <a:pt x="1974" y="570"/>
                      <a:pt x="1974" y="570"/>
                      <a:pt x="1974" y="570"/>
                    </a:cubicBezTo>
                    <a:cubicBezTo>
                      <a:pt x="1974" y="571"/>
                      <a:pt x="1974" y="571"/>
                      <a:pt x="1974" y="571"/>
                    </a:cubicBezTo>
                    <a:cubicBezTo>
                      <a:pt x="1975" y="572"/>
                      <a:pt x="1975" y="572"/>
                      <a:pt x="1975" y="572"/>
                    </a:cubicBezTo>
                    <a:cubicBezTo>
                      <a:pt x="1976" y="573"/>
                      <a:pt x="1976" y="573"/>
                      <a:pt x="1976" y="573"/>
                    </a:cubicBezTo>
                    <a:cubicBezTo>
                      <a:pt x="1976" y="576"/>
                      <a:pt x="1976" y="576"/>
                      <a:pt x="1976" y="576"/>
                    </a:cubicBezTo>
                    <a:cubicBezTo>
                      <a:pt x="1977" y="577"/>
                      <a:pt x="1977" y="577"/>
                      <a:pt x="1977" y="577"/>
                    </a:cubicBezTo>
                    <a:cubicBezTo>
                      <a:pt x="1977" y="578"/>
                      <a:pt x="1977" y="578"/>
                      <a:pt x="1977" y="578"/>
                    </a:cubicBezTo>
                    <a:cubicBezTo>
                      <a:pt x="1977" y="579"/>
                      <a:pt x="1977" y="579"/>
                      <a:pt x="1977" y="579"/>
                    </a:cubicBezTo>
                    <a:cubicBezTo>
                      <a:pt x="1977" y="580"/>
                      <a:pt x="1977" y="580"/>
                      <a:pt x="1977" y="580"/>
                    </a:cubicBezTo>
                    <a:cubicBezTo>
                      <a:pt x="1978" y="579"/>
                      <a:pt x="1978" y="579"/>
                      <a:pt x="1978" y="579"/>
                    </a:cubicBezTo>
                    <a:cubicBezTo>
                      <a:pt x="1979" y="580"/>
                      <a:pt x="1979" y="580"/>
                      <a:pt x="1979" y="580"/>
                    </a:cubicBezTo>
                    <a:cubicBezTo>
                      <a:pt x="1980" y="579"/>
                      <a:pt x="1980" y="579"/>
                      <a:pt x="1980" y="579"/>
                    </a:cubicBezTo>
                    <a:cubicBezTo>
                      <a:pt x="1979" y="577"/>
                      <a:pt x="1979" y="577"/>
                      <a:pt x="1979" y="577"/>
                    </a:cubicBezTo>
                    <a:close/>
                    <a:moveTo>
                      <a:pt x="2045" y="462"/>
                    </a:moveTo>
                    <a:cubicBezTo>
                      <a:pt x="2044" y="463"/>
                      <a:pt x="2044" y="463"/>
                      <a:pt x="2044" y="463"/>
                    </a:cubicBezTo>
                    <a:cubicBezTo>
                      <a:pt x="2045" y="463"/>
                      <a:pt x="2045" y="463"/>
                      <a:pt x="2045" y="463"/>
                    </a:cubicBezTo>
                    <a:cubicBezTo>
                      <a:pt x="2045" y="462"/>
                      <a:pt x="2045" y="462"/>
                      <a:pt x="2045" y="462"/>
                    </a:cubicBezTo>
                    <a:close/>
                    <a:moveTo>
                      <a:pt x="2001" y="551"/>
                    </a:moveTo>
                    <a:cubicBezTo>
                      <a:pt x="2001" y="550"/>
                      <a:pt x="2001" y="550"/>
                      <a:pt x="2001" y="550"/>
                    </a:cubicBezTo>
                    <a:cubicBezTo>
                      <a:pt x="2001" y="549"/>
                      <a:pt x="2001" y="549"/>
                      <a:pt x="2001" y="549"/>
                    </a:cubicBezTo>
                    <a:cubicBezTo>
                      <a:pt x="2000" y="550"/>
                      <a:pt x="2000" y="550"/>
                      <a:pt x="2000" y="550"/>
                    </a:cubicBezTo>
                    <a:cubicBezTo>
                      <a:pt x="2000" y="551"/>
                      <a:pt x="2000" y="551"/>
                      <a:pt x="2000" y="551"/>
                    </a:cubicBezTo>
                    <a:cubicBezTo>
                      <a:pt x="2000" y="552"/>
                      <a:pt x="2000" y="552"/>
                      <a:pt x="2000" y="552"/>
                    </a:cubicBezTo>
                    <a:cubicBezTo>
                      <a:pt x="2001" y="552"/>
                      <a:pt x="2001" y="552"/>
                      <a:pt x="2001" y="552"/>
                    </a:cubicBezTo>
                    <a:cubicBezTo>
                      <a:pt x="2001" y="551"/>
                      <a:pt x="2001" y="551"/>
                      <a:pt x="2001" y="551"/>
                    </a:cubicBezTo>
                    <a:close/>
                    <a:moveTo>
                      <a:pt x="1997" y="550"/>
                    </a:moveTo>
                    <a:cubicBezTo>
                      <a:pt x="1996" y="551"/>
                      <a:pt x="1996" y="551"/>
                      <a:pt x="1996" y="551"/>
                    </a:cubicBezTo>
                    <a:cubicBezTo>
                      <a:pt x="1997" y="552"/>
                      <a:pt x="1997" y="552"/>
                      <a:pt x="1997" y="552"/>
                    </a:cubicBezTo>
                    <a:cubicBezTo>
                      <a:pt x="1998" y="551"/>
                      <a:pt x="1998" y="551"/>
                      <a:pt x="1998" y="551"/>
                    </a:cubicBezTo>
                    <a:cubicBezTo>
                      <a:pt x="1997" y="550"/>
                      <a:pt x="1997" y="550"/>
                      <a:pt x="1997" y="550"/>
                    </a:cubicBezTo>
                    <a:close/>
                    <a:moveTo>
                      <a:pt x="1965" y="567"/>
                    </a:moveTo>
                    <a:cubicBezTo>
                      <a:pt x="1965" y="568"/>
                      <a:pt x="1965" y="568"/>
                      <a:pt x="1965" y="568"/>
                    </a:cubicBezTo>
                    <a:cubicBezTo>
                      <a:pt x="1966" y="568"/>
                      <a:pt x="1966" y="568"/>
                      <a:pt x="1966" y="568"/>
                    </a:cubicBezTo>
                    <a:cubicBezTo>
                      <a:pt x="1967" y="568"/>
                      <a:pt x="1967" y="568"/>
                      <a:pt x="1967" y="568"/>
                    </a:cubicBezTo>
                    <a:cubicBezTo>
                      <a:pt x="1966" y="567"/>
                      <a:pt x="1966" y="567"/>
                      <a:pt x="1966" y="567"/>
                    </a:cubicBezTo>
                    <a:cubicBezTo>
                      <a:pt x="1966" y="566"/>
                      <a:pt x="1966" y="566"/>
                      <a:pt x="1966" y="566"/>
                    </a:cubicBezTo>
                    <a:cubicBezTo>
                      <a:pt x="1965" y="566"/>
                      <a:pt x="1965" y="566"/>
                      <a:pt x="1965" y="566"/>
                    </a:cubicBezTo>
                    <a:cubicBezTo>
                      <a:pt x="1965" y="567"/>
                      <a:pt x="1965" y="567"/>
                      <a:pt x="1965" y="567"/>
                    </a:cubicBezTo>
                    <a:close/>
                    <a:moveTo>
                      <a:pt x="1976" y="602"/>
                    </a:moveTo>
                    <a:cubicBezTo>
                      <a:pt x="1975" y="603"/>
                      <a:pt x="1975" y="603"/>
                      <a:pt x="1975" y="603"/>
                    </a:cubicBezTo>
                    <a:cubicBezTo>
                      <a:pt x="1974" y="603"/>
                      <a:pt x="1974" y="603"/>
                      <a:pt x="1974" y="603"/>
                    </a:cubicBezTo>
                    <a:cubicBezTo>
                      <a:pt x="1975" y="604"/>
                      <a:pt x="1975" y="604"/>
                      <a:pt x="1975" y="604"/>
                    </a:cubicBezTo>
                    <a:cubicBezTo>
                      <a:pt x="1976" y="604"/>
                      <a:pt x="1976" y="604"/>
                      <a:pt x="1976" y="604"/>
                    </a:cubicBezTo>
                    <a:cubicBezTo>
                      <a:pt x="1977" y="603"/>
                      <a:pt x="1977" y="603"/>
                      <a:pt x="1977" y="603"/>
                    </a:cubicBezTo>
                    <a:cubicBezTo>
                      <a:pt x="1978" y="602"/>
                      <a:pt x="1978" y="602"/>
                      <a:pt x="1978" y="602"/>
                    </a:cubicBezTo>
                    <a:cubicBezTo>
                      <a:pt x="1978" y="601"/>
                      <a:pt x="1978" y="601"/>
                      <a:pt x="1978" y="601"/>
                    </a:cubicBezTo>
                    <a:cubicBezTo>
                      <a:pt x="1977" y="601"/>
                      <a:pt x="1977" y="601"/>
                      <a:pt x="1977" y="601"/>
                    </a:cubicBezTo>
                    <a:cubicBezTo>
                      <a:pt x="1976" y="602"/>
                      <a:pt x="1976" y="602"/>
                      <a:pt x="1976" y="602"/>
                    </a:cubicBezTo>
                    <a:close/>
                    <a:moveTo>
                      <a:pt x="1973" y="607"/>
                    </a:moveTo>
                    <a:cubicBezTo>
                      <a:pt x="1973" y="608"/>
                      <a:pt x="1973" y="608"/>
                      <a:pt x="1973" y="608"/>
                    </a:cubicBezTo>
                    <a:cubicBezTo>
                      <a:pt x="1974" y="608"/>
                      <a:pt x="1974" y="608"/>
                      <a:pt x="1974" y="608"/>
                    </a:cubicBezTo>
                    <a:cubicBezTo>
                      <a:pt x="1975" y="608"/>
                      <a:pt x="1975" y="608"/>
                      <a:pt x="1975" y="608"/>
                    </a:cubicBezTo>
                    <a:cubicBezTo>
                      <a:pt x="1974" y="607"/>
                      <a:pt x="1974" y="607"/>
                      <a:pt x="1974" y="607"/>
                    </a:cubicBezTo>
                    <a:cubicBezTo>
                      <a:pt x="1974" y="606"/>
                      <a:pt x="1974" y="606"/>
                      <a:pt x="1974" y="606"/>
                    </a:cubicBezTo>
                    <a:cubicBezTo>
                      <a:pt x="1973" y="607"/>
                      <a:pt x="1973" y="607"/>
                      <a:pt x="1973" y="607"/>
                    </a:cubicBezTo>
                    <a:close/>
                    <a:moveTo>
                      <a:pt x="1970" y="615"/>
                    </a:moveTo>
                    <a:cubicBezTo>
                      <a:pt x="1968" y="616"/>
                      <a:pt x="1968" y="616"/>
                      <a:pt x="1968" y="616"/>
                    </a:cubicBezTo>
                    <a:cubicBezTo>
                      <a:pt x="1969" y="616"/>
                      <a:pt x="1969" y="616"/>
                      <a:pt x="1969" y="616"/>
                    </a:cubicBezTo>
                    <a:cubicBezTo>
                      <a:pt x="1969" y="617"/>
                      <a:pt x="1969" y="617"/>
                      <a:pt x="1969" y="617"/>
                    </a:cubicBezTo>
                    <a:cubicBezTo>
                      <a:pt x="1967" y="617"/>
                      <a:pt x="1967" y="617"/>
                      <a:pt x="1967" y="617"/>
                    </a:cubicBezTo>
                    <a:cubicBezTo>
                      <a:pt x="1968" y="619"/>
                      <a:pt x="1968" y="619"/>
                      <a:pt x="1968" y="619"/>
                    </a:cubicBezTo>
                    <a:cubicBezTo>
                      <a:pt x="1969" y="619"/>
                      <a:pt x="1969" y="619"/>
                      <a:pt x="1969" y="619"/>
                    </a:cubicBezTo>
                    <a:cubicBezTo>
                      <a:pt x="1969" y="618"/>
                      <a:pt x="1969" y="618"/>
                      <a:pt x="1969" y="618"/>
                    </a:cubicBezTo>
                    <a:cubicBezTo>
                      <a:pt x="1970" y="617"/>
                      <a:pt x="1970" y="617"/>
                      <a:pt x="1970" y="617"/>
                    </a:cubicBezTo>
                    <a:cubicBezTo>
                      <a:pt x="1970" y="616"/>
                      <a:pt x="1970" y="616"/>
                      <a:pt x="1970" y="616"/>
                    </a:cubicBezTo>
                    <a:cubicBezTo>
                      <a:pt x="1971" y="615"/>
                      <a:pt x="1971" y="615"/>
                      <a:pt x="1971" y="615"/>
                    </a:cubicBezTo>
                    <a:cubicBezTo>
                      <a:pt x="1970" y="614"/>
                      <a:pt x="1970" y="614"/>
                      <a:pt x="1970" y="614"/>
                    </a:cubicBezTo>
                    <a:cubicBezTo>
                      <a:pt x="1970" y="615"/>
                      <a:pt x="1970" y="615"/>
                      <a:pt x="1970" y="615"/>
                    </a:cubicBezTo>
                    <a:close/>
                    <a:moveTo>
                      <a:pt x="1948" y="634"/>
                    </a:moveTo>
                    <a:cubicBezTo>
                      <a:pt x="1949" y="635"/>
                      <a:pt x="1949" y="635"/>
                      <a:pt x="1949" y="635"/>
                    </a:cubicBezTo>
                    <a:cubicBezTo>
                      <a:pt x="1950" y="634"/>
                      <a:pt x="1950" y="634"/>
                      <a:pt x="1950" y="634"/>
                    </a:cubicBezTo>
                    <a:cubicBezTo>
                      <a:pt x="1949" y="634"/>
                      <a:pt x="1949" y="634"/>
                      <a:pt x="1949" y="634"/>
                    </a:cubicBezTo>
                    <a:cubicBezTo>
                      <a:pt x="1948" y="634"/>
                      <a:pt x="1948" y="634"/>
                      <a:pt x="1948" y="634"/>
                    </a:cubicBezTo>
                    <a:close/>
                    <a:moveTo>
                      <a:pt x="1999" y="558"/>
                    </a:moveTo>
                    <a:cubicBezTo>
                      <a:pt x="2001" y="556"/>
                      <a:pt x="2001" y="556"/>
                      <a:pt x="2001" y="556"/>
                    </a:cubicBezTo>
                    <a:cubicBezTo>
                      <a:pt x="2001" y="555"/>
                      <a:pt x="2001" y="555"/>
                      <a:pt x="2001" y="555"/>
                    </a:cubicBezTo>
                    <a:cubicBezTo>
                      <a:pt x="2000" y="555"/>
                      <a:pt x="2000" y="555"/>
                      <a:pt x="2000" y="555"/>
                    </a:cubicBezTo>
                    <a:cubicBezTo>
                      <a:pt x="2000" y="554"/>
                      <a:pt x="2000" y="554"/>
                      <a:pt x="2000" y="554"/>
                    </a:cubicBezTo>
                    <a:cubicBezTo>
                      <a:pt x="1999" y="553"/>
                      <a:pt x="1999" y="553"/>
                      <a:pt x="1999" y="553"/>
                    </a:cubicBezTo>
                    <a:cubicBezTo>
                      <a:pt x="1998" y="553"/>
                      <a:pt x="1998" y="553"/>
                      <a:pt x="1998" y="553"/>
                    </a:cubicBezTo>
                    <a:cubicBezTo>
                      <a:pt x="1997" y="552"/>
                      <a:pt x="1997" y="552"/>
                      <a:pt x="1997" y="552"/>
                    </a:cubicBezTo>
                    <a:cubicBezTo>
                      <a:pt x="1995" y="552"/>
                      <a:pt x="1995" y="552"/>
                      <a:pt x="1995" y="552"/>
                    </a:cubicBezTo>
                    <a:cubicBezTo>
                      <a:pt x="1994" y="553"/>
                      <a:pt x="1994" y="553"/>
                      <a:pt x="1994" y="553"/>
                    </a:cubicBezTo>
                    <a:cubicBezTo>
                      <a:pt x="1994" y="554"/>
                      <a:pt x="1994" y="554"/>
                      <a:pt x="1994" y="554"/>
                    </a:cubicBezTo>
                    <a:cubicBezTo>
                      <a:pt x="1993" y="555"/>
                      <a:pt x="1993" y="555"/>
                      <a:pt x="1993" y="555"/>
                    </a:cubicBezTo>
                    <a:cubicBezTo>
                      <a:pt x="1992" y="556"/>
                      <a:pt x="1992" y="556"/>
                      <a:pt x="1992" y="556"/>
                    </a:cubicBezTo>
                    <a:cubicBezTo>
                      <a:pt x="1991" y="556"/>
                      <a:pt x="1991" y="556"/>
                      <a:pt x="1991" y="556"/>
                    </a:cubicBezTo>
                    <a:cubicBezTo>
                      <a:pt x="1990" y="556"/>
                      <a:pt x="1990" y="556"/>
                      <a:pt x="1990" y="556"/>
                    </a:cubicBezTo>
                    <a:cubicBezTo>
                      <a:pt x="1990" y="554"/>
                      <a:pt x="1990" y="554"/>
                      <a:pt x="1990" y="554"/>
                    </a:cubicBezTo>
                    <a:cubicBezTo>
                      <a:pt x="1989" y="554"/>
                      <a:pt x="1989" y="554"/>
                      <a:pt x="1989" y="554"/>
                    </a:cubicBezTo>
                    <a:cubicBezTo>
                      <a:pt x="1987" y="556"/>
                      <a:pt x="1987" y="556"/>
                      <a:pt x="1987" y="556"/>
                    </a:cubicBezTo>
                    <a:cubicBezTo>
                      <a:pt x="1987" y="557"/>
                      <a:pt x="1987" y="557"/>
                      <a:pt x="1987" y="557"/>
                    </a:cubicBezTo>
                    <a:cubicBezTo>
                      <a:pt x="1986" y="558"/>
                      <a:pt x="1986" y="558"/>
                      <a:pt x="1986" y="558"/>
                    </a:cubicBezTo>
                    <a:cubicBezTo>
                      <a:pt x="1986" y="559"/>
                      <a:pt x="1986" y="559"/>
                      <a:pt x="1986" y="559"/>
                    </a:cubicBezTo>
                    <a:cubicBezTo>
                      <a:pt x="1988" y="560"/>
                      <a:pt x="1988" y="560"/>
                      <a:pt x="1988" y="560"/>
                    </a:cubicBezTo>
                    <a:cubicBezTo>
                      <a:pt x="1988" y="561"/>
                      <a:pt x="1988" y="561"/>
                      <a:pt x="1988" y="561"/>
                    </a:cubicBezTo>
                    <a:cubicBezTo>
                      <a:pt x="1988" y="562"/>
                      <a:pt x="1988" y="562"/>
                      <a:pt x="1988" y="562"/>
                    </a:cubicBezTo>
                    <a:cubicBezTo>
                      <a:pt x="1989" y="564"/>
                      <a:pt x="1989" y="564"/>
                      <a:pt x="1989" y="564"/>
                    </a:cubicBezTo>
                    <a:cubicBezTo>
                      <a:pt x="1990" y="564"/>
                      <a:pt x="1990" y="564"/>
                      <a:pt x="1990" y="564"/>
                    </a:cubicBezTo>
                    <a:cubicBezTo>
                      <a:pt x="1990" y="565"/>
                      <a:pt x="1990" y="565"/>
                      <a:pt x="1990" y="565"/>
                    </a:cubicBezTo>
                    <a:cubicBezTo>
                      <a:pt x="1991" y="565"/>
                      <a:pt x="1991" y="565"/>
                      <a:pt x="1991" y="565"/>
                    </a:cubicBezTo>
                    <a:cubicBezTo>
                      <a:pt x="1991" y="564"/>
                      <a:pt x="1991" y="564"/>
                      <a:pt x="1991" y="564"/>
                    </a:cubicBezTo>
                    <a:cubicBezTo>
                      <a:pt x="1992" y="565"/>
                      <a:pt x="1992" y="565"/>
                      <a:pt x="1992" y="565"/>
                    </a:cubicBezTo>
                    <a:cubicBezTo>
                      <a:pt x="1992" y="564"/>
                      <a:pt x="1992" y="564"/>
                      <a:pt x="1992" y="564"/>
                    </a:cubicBezTo>
                    <a:cubicBezTo>
                      <a:pt x="1991" y="562"/>
                      <a:pt x="1991" y="562"/>
                      <a:pt x="1991" y="562"/>
                    </a:cubicBezTo>
                    <a:cubicBezTo>
                      <a:pt x="1992" y="561"/>
                      <a:pt x="1992" y="561"/>
                      <a:pt x="1992" y="561"/>
                    </a:cubicBezTo>
                    <a:cubicBezTo>
                      <a:pt x="1992" y="560"/>
                      <a:pt x="1992" y="560"/>
                      <a:pt x="1992" y="560"/>
                    </a:cubicBezTo>
                    <a:cubicBezTo>
                      <a:pt x="1994" y="559"/>
                      <a:pt x="1994" y="559"/>
                      <a:pt x="1994" y="559"/>
                    </a:cubicBezTo>
                    <a:cubicBezTo>
                      <a:pt x="1994" y="558"/>
                      <a:pt x="1994" y="558"/>
                      <a:pt x="1994" y="558"/>
                    </a:cubicBezTo>
                    <a:cubicBezTo>
                      <a:pt x="1996" y="558"/>
                      <a:pt x="1996" y="558"/>
                      <a:pt x="1996" y="558"/>
                    </a:cubicBezTo>
                    <a:cubicBezTo>
                      <a:pt x="1997" y="559"/>
                      <a:pt x="1997" y="559"/>
                      <a:pt x="1997" y="559"/>
                    </a:cubicBezTo>
                    <a:cubicBezTo>
                      <a:pt x="1998" y="560"/>
                      <a:pt x="1998" y="560"/>
                      <a:pt x="1998" y="560"/>
                    </a:cubicBezTo>
                    <a:cubicBezTo>
                      <a:pt x="1999" y="560"/>
                      <a:pt x="1999" y="560"/>
                      <a:pt x="1999" y="560"/>
                    </a:cubicBezTo>
                    <a:cubicBezTo>
                      <a:pt x="1999" y="558"/>
                      <a:pt x="1999" y="558"/>
                      <a:pt x="1999" y="558"/>
                    </a:cubicBezTo>
                    <a:close/>
                    <a:moveTo>
                      <a:pt x="1946" y="636"/>
                    </a:moveTo>
                    <a:cubicBezTo>
                      <a:pt x="1947" y="636"/>
                      <a:pt x="1947" y="636"/>
                      <a:pt x="1947" y="636"/>
                    </a:cubicBezTo>
                    <a:cubicBezTo>
                      <a:pt x="1948" y="636"/>
                      <a:pt x="1948" y="636"/>
                      <a:pt x="1948" y="636"/>
                    </a:cubicBezTo>
                    <a:cubicBezTo>
                      <a:pt x="1947" y="635"/>
                      <a:pt x="1947" y="635"/>
                      <a:pt x="1947" y="635"/>
                    </a:cubicBezTo>
                    <a:cubicBezTo>
                      <a:pt x="1946" y="635"/>
                      <a:pt x="1946" y="635"/>
                      <a:pt x="1946" y="635"/>
                    </a:cubicBezTo>
                    <a:cubicBezTo>
                      <a:pt x="1946" y="636"/>
                      <a:pt x="1946" y="636"/>
                      <a:pt x="1946" y="636"/>
                    </a:cubicBezTo>
                    <a:close/>
                    <a:moveTo>
                      <a:pt x="1966" y="565"/>
                    </a:moveTo>
                    <a:cubicBezTo>
                      <a:pt x="1966" y="566"/>
                      <a:pt x="1966" y="566"/>
                      <a:pt x="1966" y="566"/>
                    </a:cubicBezTo>
                    <a:cubicBezTo>
                      <a:pt x="1967" y="565"/>
                      <a:pt x="1967" y="565"/>
                      <a:pt x="1967" y="565"/>
                    </a:cubicBezTo>
                    <a:cubicBezTo>
                      <a:pt x="1966" y="565"/>
                      <a:pt x="1966" y="565"/>
                      <a:pt x="1966" y="565"/>
                    </a:cubicBezTo>
                    <a:close/>
                    <a:moveTo>
                      <a:pt x="1982" y="587"/>
                    </a:moveTo>
                    <a:cubicBezTo>
                      <a:pt x="1982" y="586"/>
                      <a:pt x="1982" y="586"/>
                      <a:pt x="1982" y="586"/>
                    </a:cubicBezTo>
                    <a:cubicBezTo>
                      <a:pt x="1981" y="585"/>
                      <a:pt x="1981" y="585"/>
                      <a:pt x="1981" y="585"/>
                    </a:cubicBezTo>
                    <a:cubicBezTo>
                      <a:pt x="1980" y="585"/>
                      <a:pt x="1980" y="585"/>
                      <a:pt x="1980" y="585"/>
                    </a:cubicBezTo>
                    <a:cubicBezTo>
                      <a:pt x="1980" y="586"/>
                      <a:pt x="1980" y="586"/>
                      <a:pt x="1980" y="586"/>
                    </a:cubicBezTo>
                    <a:cubicBezTo>
                      <a:pt x="1981" y="587"/>
                      <a:pt x="1981" y="587"/>
                      <a:pt x="1981" y="587"/>
                    </a:cubicBezTo>
                    <a:cubicBezTo>
                      <a:pt x="1982" y="587"/>
                      <a:pt x="1982" y="587"/>
                      <a:pt x="1982" y="587"/>
                    </a:cubicBezTo>
                    <a:close/>
                    <a:moveTo>
                      <a:pt x="1967" y="564"/>
                    </a:moveTo>
                    <a:cubicBezTo>
                      <a:pt x="1967" y="565"/>
                      <a:pt x="1967" y="565"/>
                      <a:pt x="1967" y="565"/>
                    </a:cubicBezTo>
                    <a:cubicBezTo>
                      <a:pt x="1968" y="564"/>
                      <a:pt x="1968" y="564"/>
                      <a:pt x="1968" y="564"/>
                    </a:cubicBezTo>
                    <a:cubicBezTo>
                      <a:pt x="1967" y="564"/>
                      <a:pt x="1967" y="564"/>
                      <a:pt x="1967" y="564"/>
                    </a:cubicBezTo>
                    <a:close/>
                    <a:moveTo>
                      <a:pt x="1983" y="582"/>
                    </a:moveTo>
                    <a:cubicBezTo>
                      <a:pt x="1983" y="584"/>
                      <a:pt x="1983" y="584"/>
                      <a:pt x="1983" y="584"/>
                    </a:cubicBezTo>
                    <a:cubicBezTo>
                      <a:pt x="1984" y="583"/>
                      <a:pt x="1984" y="583"/>
                      <a:pt x="1984" y="583"/>
                    </a:cubicBezTo>
                    <a:cubicBezTo>
                      <a:pt x="1983" y="582"/>
                      <a:pt x="1983" y="582"/>
                      <a:pt x="1983" y="582"/>
                    </a:cubicBezTo>
                    <a:close/>
                    <a:moveTo>
                      <a:pt x="2008" y="478"/>
                    </a:moveTo>
                    <a:cubicBezTo>
                      <a:pt x="2008" y="479"/>
                      <a:pt x="2008" y="479"/>
                      <a:pt x="2008" y="479"/>
                    </a:cubicBezTo>
                    <a:cubicBezTo>
                      <a:pt x="2009" y="479"/>
                      <a:pt x="2009" y="479"/>
                      <a:pt x="2009" y="479"/>
                    </a:cubicBezTo>
                    <a:cubicBezTo>
                      <a:pt x="2009" y="478"/>
                      <a:pt x="2009" y="478"/>
                      <a:pt x="2009" y="478"/>
                    </a:cubicBezTo>
                    <a:cubicBezTo>
                      <a:pt x="2010" y="477"/>
                      <a:pt x="2010" y="477"/>
                      <a:pt x="2010" y="477"/>
                    </a:cubicBezTo>
                    <a:cubicBezTo>
                      <a:pt x="2009" y="477"/>
                      <a:pt x="2009" y="477"/>
                      <a:pt x="2009" y="477"/>
                    </a:cubicBezTo>
                    <a:cubicBezTo>
                      <a:pt x="2008" y="478"/>
                      <a:pt x="2008" y="478"/>
                      <a:pt x="2008" y="478"/>
                    </a:cubicBezTo>
                    <a:close/>
                    <a:moveTo>
                      <a:pt x="1967" y="551"/>
                    </a:moveTo>
                    <a:cubicBezTo>
                      <a:pt x="1966" y="551"/>
                      <a:pt x="1966" y="551"/>
                      <a:pt x="1966" y="551"/>
                    </a:cubicBezTo>
                    <a:cubicBezTo>
                      <a:pt x="1966" y="552"/>
                      <a:pt x="1966" y="552"/>
                      <a:pt x="1966" y="552"/>
                    </a:cubicBezTo>
                    <a:cubicBezTo>
                      <a:pt x="1966" y="553"/>
                      <a:pt x="1966" y="553"/>
                      <a:pt x="1966" y="553"/>
                    </a:cubicBezTo>
                    <a:cubicBezTo>
                      <a:pt x="1967" y="552"/>
                      <a:pt x="1967" y="552"/>
                      <a:pt x="1967" y="552"/>
                    </a:cubicBezTo>
                    <a:cubicBezTo>
                      <a:pt x="1967" y="551"/>
                      <a:pt x="1967" y="551"/>
                      <a:pt x="1967" y="551"/>
                    </a:cubicBezTo>
                    <a:close/>
                    <a:moveTo>
                      <a:pt x="1956" y="550"/>
                    </a:moveTo>
                    <a:cubicBezTo>
                      <a:pt x="1956" y="551"/>
                      <a:pt x="1956" y="551"/>
                      <a:pt x="1956" y="551"/>
                    </a:cubicBezTo>
                    <a:cubicBezTo>
                      <a:pt x="1957" y="550"/>
                      <a:pt x="1957" y="550"/>
                      <a:pt x="1957" y="550"/>
                    </a:cubicBezTo>
                    <a:cubicBezTo>
                      <a:pt x="1956" y="550"/>
                      <a:pt x="1956" y="550"/>
                      <a:pt x="1956" y="550"/>
                    </a:cubicBezTo>
                    <a:close/>
                    <a:moveTo>
                      <a:pt x="1962" y="549"/>
                    </a:moveTo>
                    <a:cubicBezTo>
                      <a:pt x="1962" y="548"/>
                      <a:pt x="1962" y="548"/>
                      <a:pt x="1962" y="548"/>
                    </a:cubicBezTo>
                    <a:cubicBezTo>
                      <a:pt x="1961" y="548"/>
                      <a:pt x="1961" y="548"/>
                      <a:pt x="1961" y="548"/>
                    </a:cubicBezTo>
                    <a:cubicBezTo>
                      <a:pt x="1960" y="549"/>
                      <a:pt x="1960" y="549"/>
                      <a:pt x="1960" y="549"/>
                    </a:cubicBezTo>
                    <a:cubicBezTo>
                      <a:pt x="1961" y="550"/>
                      <a:pt x="1961" y="550"/>
                      <a:pt x="1961" y="550"/>
                    </a:cubicBezTo>
                    <a:cubicBezTo>
                      <a:pt x="1962" y="549"/>
                      <a:pt x="1962" y="549"/>
                      <a:pt x="1962" y="549"/>
                    </a:cubicBezTo>
                    <a:close/>
                    <a:moveTo>
                      <a:pt x="1966" y="555"/>
                    </a:moveTo>
                    <a:cubicBezTo>
                      <a:pt x="1965" y="555"/>
                      <a:pt x="1965" y="555"/>
                      <a:pt x="1965" y="555"/>
                    </a:cubicBezTo>
                    <a:cubicBezTo>
                      <a:pt x="1965" y="556"/>
                      <a:pt x="1965" y="556"/>
                      <a:pt x="1965" y="556"/>
                    </a:cubicBezTo>
                    <a:cubicBezTo>
                      <a:pt x="1966" y="556"/>
                      <a:pt x="1966" y="556"/>
                      <a:pt x="1966" y="556"/>
                    </a:cubicBezTo>
                    <a:cubicBezTo>
                      <a:pt x="1966" y="555"/>
                      <a:pt x="1966" y="555"/>
                      <a:pt x="1966" y="555"/>
                    </a:cubicBezTo>
                    <a:close/>
                    <a:moveTo>
                      <a:pt x="1947" y="553"/>
                    </a:moveTo>
                    <a:cubicBezTo>
                      <a:pt x="1946" y="554"/>
                      <a:pt x="1946" y="554"/>
                      <a:pt x="1946" y="554"/>
                    </a:cubicBezTo>
                    <a:cubicBezTo>
                      <a:pt x="1947" y="555"/>
                      <a:pt x="1947" y="555"/>
                      <a:pt x="1947" y="555"/>
                    </a:cubicBezTo>
                    <a:cubicBezTo>
                      <a:pt x="1947" y="554"/>
                      <a:pt x="1947" y="554"/>
                      <a:pt x="1947" y="554"/>
                    </a:cubicBezTo>
                    <a:cubicBezTo>
                      <a:pt x="1948" y="554"/>
                      <a:pt x="1948" y="554"/>
                      <a:pt x="1948" y="554"/>
                    </a:cubicBezTo>
                    <a:cubicBezTo>
                      <a:pt x="1948" y="553"/>
                      <a:pt x="1948" y="553"/>
                      <a:pt x="1948" y="553"/>
                    </a:cubicBezTo>
                    <a:cubicBezTo>
                      <a:pt x="1947" y="552"/>
                      <a:pt x="1947" y="552"/>
                      <a:pt x="1947" y="552"/>
                    </a:cubicBezTo>
                    <a:cubicBezTo>
                      <a:pt x="1947" y="553"/>
                      <a:pt x="1947" y="553"/>
                      <a:pt x="1947" y="553"/>
                    </a:cubicBezTo>
                    <a:close/>
                    <a:moveTo>
                      <a:pt x="1952" y="563"/>
                    </a:moveTo>
                    <a:cubicBezTo>
                      <a:pt x="1953" y="561"/>
                      <a:pt x="1953" y="561"/>
                      <a:pt x="1953" y="561"/>
                    </a:cubicBezTo>
                    <a:cubicBezTo>
                      <a:pt x="1953" y="560"/>
                      <a:pt x="1953" y="560"/>
                      <a:pt x="1953" y="560"/>
                    </a:cubicBezTo>
                    <a:cubicBezTo>
                      <a:pt x="1952" y="560"/>
                      <a:pt x="1952" y="560"/>
                      <a:pt x="1952" y="560"/>
                    </a:cubicBezTo>
                    <a:cubicBezTo>
                      <a:pt x="1949" y="561"/>
                      <a:pt x="1949" y="561"/>
                      <a:pt x="1949" y="561"/>
                    </a:cubicBezTo>
                    <a:cubicBezTo>
                      <a:pt x="1948" y="562"/>
                      <a:pt x="1948" y="562"/>
                      <a:pt x="1948" y="562"/>
                    </a:cubicBezTo>
                    <a:cubicBezTo>
                      <a:pt x="1949" y="563"/>
                      <a:pt x="1949" y="563"/>
                      <a:pt x="1949" y="563"/>
                    </a:cubicBezTo>
                    <a:cubicBezTo>
                      <a:pt x="1950" y="563"/>
                      <a:pt x="1950" y="563"/>
                      <a:pt x="1950" y="563"/>
                    </a:cubicBezTo>
                    <a:cubicBezTo>
                      <a:pt x="1952" y="563"/>
                      <a:pt x="1952" y="563"/>
                      <a:pt x="1952" y="563"/>
                    </a:cubicBezTo>
                    <a:close/>
                    <a:moveTo>
                      <a:pt x="2294" y="920"/>
                    </a:moveTo>
                    <a:cubicBezTo>
                      <a:pt x="2291" y="921"/>
                      <a:pt x="2291" y="921"/>
                      <a:pt x="2291" y="921"/>
                    </a:cubicBezTo>
                    <a:cubicBezTo>
                      <a:pt x="2289" y="922"/>
                      <a:pt x="2289" y="922"/>
                      <a:pt x="2289" y="922"/>
                    </a:cubicBezTo>
                    <a:cubicBezTo>
                      <a:pt x="2289" y="924"/>
                      <a:pt x="2289" y="924"/>
                      <a:pt x="2289" y="924"/>
                    </a:cubicBezTo>
                    <a:cubicBezTo>
                      <a:pt x="2287" y="924"/>
                      <a:pt x="2287" y="924"/>
                      <a:pt x="2287" y="924"/>
                    </a:cubicBezTo>
                    <a:cubicBezTo>
                      <a:pt x="2287" y="926"/>
                      <a:pt x="2287" y="926"/>
                      <a:pt x="2287" y="926"/>
                    </a:cubicBezTo>
                    <a:cubicBezTo>
                      <a:pt x="2289" y="927"/>
                      <a:pt x="2289" y="927"/>
                      <a:pt x="2289" y="927"/>
                    </a:cubicBezTo>
                    <a:cubicBezTo>
                      <a:pt x="2292" y="927"/>
                      <a:pt x="2292" y="927"/>
                      <a:pt x="2292" y="927"/>
                    </a:cubicBezTo>
                    <a:cubicBezTo>
                      <a:pt x="2293" y="926"/>
                      <a:pt x="2293" y="926"/>
                      <a:pt x="2293" y="926"/>
                    </a:cubicBezTo>
                    <a:cubicBezTo>
                      <a:pt x="2295" y="927"/>
                      <a:pt x="2295" y="927"/>
                      <a:pt x="2295" y="927"/>
                    </a:cubicBezTo>
                    <a:cubicBezTo>
                      <a:pt x="2297" y="926"/>
                      <a:pt x="2297" y="926"/>
                      <a:pt x="2297" y="926"/>
                    </a:cubicBezTo>
                    <a:cubicBezTo>
                      <a:pt x="2296" y="922"/>
                      <a:pt x="2296" y="922"/>
                      <a:pt x="2296" y="922"/>
                    </a:cubicBezTo>
                    <a:cubicBezTo>
                      <a:pt x="2294" y="920"/>
                      <a:pt x="2294" y="920"/>
                      <a:pt x="2294" y="920"/>
                    </a:cubicBezTo>
                    <a:close/>
                    <a:moveTo>
                      <a:pt x="2305" y="913"/>
                    </a:moveTo>
                    <a:cubicBezTo>
                      <a:pt x="2306" y="912"/>
                      <a:pt x="2306" y="912"/>
                      <a:pt x="2306" y="912"/>
                    </a:cubicBezTo>
                    <a:cubicBezTo>
                      <a:pt x="2306" y="911"/>
                      <a:pt x="2306" y="911"/>
                      <a:pt x="2306" y="911"/>
                    </a:cubicBezTo>
                    <a:cubicBezTo>
                      <a:pt x="2304" y="913"/>
                      <a:pt x="2304" y="913"/>
                      <a:pt x="2304" y="913"/>
                    </a:cubicBezTo>
                    <a:cubicBezTo>
                      <a:pt x="2303" y="913"/>
                      <a:pt x="2303" y="913"/>
                      <a:pt x="2303" y="913"/>
                    </a:cubicBezTo>
                    <a:cubicBezTo>
                      <a:pt x="2301" y="914"/>
                      <a:pt x="2301" y="914"/>
                      <a:pt x="2301" y="914"/>
                    </a:cubicBezTo>
                    <a:cubicBezTo>
                      <a:pt x="2300" y="914"/>
                      <a:pt x="2300" y="914"/>
                      <a:pt x="2300" y="914"/>
                    </a:cubicBezTo>
                    <a:cubicBezTo>
                      <a:pt x="2298" y="915"/>
                      <a:pt x="2298" y="915"/>
                      <a:pt x="2298" y="915"/>
                    </a:cubicBezTo>
                    <a:cubicBezTo>
                      <a:pt x="2297" y="915"/>
                      <a:pt x="2297" y="915"/>
                      <a:pt x="2297" y="915"/>
                    </a:cubicBezTo>
                    <a:cubicBezTo>
                      <a:pt x="2296" y="917"/>
                      <a:pt x="2296" y="917"/>
                      <a:pt x="2296" y="917"/>
                    </a:cubicBezTo>
                    <a:cubicBezTo>
                      <a:pt x="2297" y="918"/>
                      <a:pt x="2297" y="918"/>
                      <a:pt x="2297" y="918"/>
                    </a:cubicBezTo>
                    <a:cubicBezTo>
                      <a:pt x="2298" y="917"/>
                      <a:pt x="2298" y="917"/>
                      <a:pt x="2298" y="917"/>
                    </a:cubicBezTo>
                    <a:cubicBezTo>
                      <a:pt x="2300" y="917"/>
                      <a:pt x="2300" y="917"/>
                      <a:pt x="2300" y="917"/>
                    </a:cubicBezTo>
                    <a:cubicBezTo>
                      <a:pt x="2300" y="916"/>
                      <a:pt x="2300" y="916"/>
                      <a:pt x="2300" y="916"/>
                    </a:cubicBezTo>
                    <a:cubicBezTo>
                      <a:pt x="2301" y="916"/>
                      <a:pt x="2301" y="916"/>
                      <a:pt x="2301" y="916"/>
                    </a:cubicBezTo>
                    <a:cubicBezTo>
                      <a:pt x="2302" y="917"/>
                      <a:pt x="2302" y="917"/>
                      <a:pt x="2302" y="917"/>
                    </a:cubicBezTo>
                    <a:cubicBezTo>
                      <a:pt x="2305" y="917"/>
                      <a:pt x="2305" y="917"/>
                      <a:pt x="2305" y="917"/>
                    </a:cubicBezTo>
                    <a:cubicBezTo>
                      <a:pt x="2306" y="916"/>
                      <a:pt x="2306" y="916"/>
                      <a:pt x="2306" y="916"/>
                    </a:cubicBezTo>
                    <a:cubicBezTo>
                      <a:pt x="2305" y="915"/>
                      <a:pt x="2305" y="915"/>
                      <a:pt x="2305" y="915"/>
                    </a:cubicBezTo>
                    <a:cubicBezTo>
                      <a:pt x="2304" y="916"/>
                      <a:pt x="2304" y="916"/>
                      <a:pt x="2304" y="916"/>
                    </a:cubicBezTo>
                    <a:cubicBezTo>
                      <a:pt x="2303" y="916"/>
                      <a:pt x="2303" y="916"/>
                      <a:pt x="2303" y="916"/>
                    </a:cubicBezTo>
                    <a:cubicBezTo>
                      <a:pt x="2305" y="914"/>
                      <a:pt x="2305" y="914"/>
                      <a:pt x="2305" y="914"/>
                    </a:cubicBezTo>
                    <a:cubicBezTo>
                      <a:pt x="2305" y="913"/>
                      <a:pt x="2305" y="913"/>
                      <a:pt x="2305" y="913"/>
                    </a:cubicBezTo>
                    <a:close/>
                    <a:moveTo>
                      <a:pt x="2233" y="915"/>
                    </a:moveTo>
                    <a:cubicBezTo>
                      <a:pt x="2233" y="915"/>
                      <a:pt x="2233" y="915"/>
                      <a:pt x="2232" y="914"/>
                    </a:cubicBezTo>
                    <a:cubicBezTo>
                      <a:pt x="2232" y="914"/>
                      <a:pt x="2232" y="914"/>
                      <a:pt x="2231" y="915"/>
                    </a:cubicBezTo>
                    <a:cubicBezTo>
                      <a:pt x="2231" y="915"/>
                      <a:pt x="2231" y="915"/>
                      <a:pt x="2231" y="916"/>
                    </a:cubicBezTo>
                    <a:cubicBezTo>
                      <a:pt x="2231" y="916"/>
                      <a:pt x="2231" y="916"/>
                      <a:pt x="2233" y="916"/>
                    </a:cubicBezTo>
                    <a:cubicBezTo>
                      <a:pt x="2233" y="916"/>
                      <a:pt x="2233" y="916"/>
                      <a:pt x="2233" y="915"/>
                    </a:cubicBezTo>
                    <a:close/>
                    <a:moveTo>
                      <a:pt x="2231" y="904"/>
                    </a:moveTo>
                    <a:cubicBezTo>
                      <a:pt x="2230" y="904"/>
                      <a:pt x="2230" y="904"/>
                      <a:pt x="2230" y="904"/>
                    </a:cubicBezTo>
                    <a:cubicBezTo>
                      <a:pt x="2229" y="905"/>
                      <a:pt x="2229" y="905"/>
                      <a:pt x="2229" y="905"/>
                    </a:cubicBezTo>
                    <a:cubicBezTo>
                      <a:pt x="2230" y="905"/>
                      <a:pt x="2230" y="905"/>
                      <a:pt x="2230" y="905"/>
                    </a:cubicBezTo>
                    <a:cubicBezTo>
                      <a:pt x="2231" y="904"/>
                      <a:pt x="2231" y="904"/>
                      <a:pt x="2231" y="904"/>
                    </a:cubicBezTo>
                    <a:close/>
                    <a:moveTo>
                      <a:pt x="2230" y="912"/>
                    </a:moveTo>
                    <a:cubicBezTo>
                      <a:pt x="2230" y="912"/>
                      <a:pt x="2230" y="912"/>
                      <a:pt x="2230" y="913"/>
                    </a:cubicBezTo>
                    <a:cubicBezTo>
                      <a:pt x="2230" y="913"/>
                      <a:pt x="2230" y="913"/>
                      <a:pt x="2231" y="913"/>
                    </a:cubicBezTo>
                    <a:cubicBezTo>
                      <a:pt x="2231" y="913"/>
                      <a:pt x="2231" y="913"/>
                      <a:pt x="2232" y="913"/>
                    </a:cubicBezTo>
                    <a:cubicBezTo>
                      <a:pt x="2232" y="913"/>
                      <a:pt x="2232" y="913"/>
                      <a:pt x="2233" y="912"/>
                    </a:cubicBezTo>
                    <a:cubicBezTo>
                      <a:pt x="2233" y="912"/>
                      <a:pt x="2233" y="912"/>
                      <a:pt x="2232" y="912"/>
                    </a:cubicBezTo>
                    <a:cubicBezTo>
                      <a:pt x="2232" y="912"/>
                      <a:pt x="2232" y="912"/>
                      <a:pt x="2232" y="911"/>
                    </a:cubicBezTo>
                    <a:cubicBezTo>
                      <a:pt x="2232" y="911"/>
                      <a:pt x="2232" y="911"/>
                      <a:pt x="2230" y="912"/>
                    </a:cubicBezTo>
                    <a:close/>
                    <a:moveTo>
                      <a:pt x="2231" y="922"/>
                    </a:moveTo>
                    <a:cubicBezTo>
                      <a:pt x="2231" y="922"/>
                      <a:pt x="2231" y="922"/>
                      <a:pt x="2232" y="923"/>
                    </a:cubicBezTo>
                    <a:cubicBezTo>
                      <a:pt x="2232" y="923"/>
                      <a:pt x="2232" y="923"/>
                      <a:pt x="2233" y="923"/>
                    </a:cubicBezTo>
                    <a:cubicBezTo>
                      <a:pt x="2233" y="923"/>
                      <a:pt x="2233" y="923"/>
                      <a:pt x="2233" y="921"/>
                    </a:cubicBezTo>
                    <a:cubicBezTo>
                      <a:pt x="2233" y="921"/>
                      <a:pt x="2233" y="921"/>
                      <a:pt x="2232" y="920"/>
                    </a:cubicBezTo>
                    <a:cubicBezTo>
                      <a:pt x="2232" y="920"/>
                      <a:pt x="2232" y="920"/>
                      <a:pt x="2231" y="921"/>
                    </a:cubicBezTo>
                    <a:cubicBezTo>
                      <a:pt x="2231" y="921"/>
                      <a:pt x="2231" y="921"/>
                      <a:pt x="2231" y="922"/>
                    </a:cubicBezTo>
                    <a:close/>
                    <a:moveTo>
                      <a:pt x="2225" y="909"/>
                    </a:moveTo>
                    <a:cubicBezTo>
                      <a:pt x="2225" y="909"/>
                      <a:pt x="2225" y="909"/>
                      <a:pt x="2226" y="910"/>
                    </a:cubicBezTo>
                    <a:cubicBezTo>
                      <a:pt x="2226" y="910"/>
                      <a:pt x="2226" y="910"/>
                      <a:pt x="2227" y="911"/>
                    </a:cubicBezTo>
                    <a:cubicBezTo>
                      <a:pt x="2227" y="911"/>
                      <a:pt x="2227" y="911"/>
                      <a:pt x="2227" y="912"/>
                    </a:cubicBezTo>
                    <a:cubicBezTo>
                      <a:pt x="2227" y="912"/>
                      <a:pt x="2227" y="912"/>
                      <a:pt x="2226" y="913"/>
                    </a:cubicBezTo>
                    <a:cubicBezTo>
                      <a:pt x="2226" y="913"/>
                      <a:pt x="2226" y="913"/>
                      <a:pt x="2227" y="914"/>
                    </a:cubicBezTo>
                    <a:cubicBezTo>
                      <a:pt x="2227" y="914"/>
                      <a:pt x="2227" y="914"/>
                      <a:pt x="2228" y="914"/>
                    </a:cubicBezTo>
                    <a:cubicBezTo>
                      <a:pt x="2228" y="914"/>
                      <a:pt x="2228" y="914"/>
                      <a:pt x="2229" y="913"/>
                    </a:cubicBezTo>
                    <a:cubicBezTo>
                      <a:pt x="2229" y="913"/>
                      <a:pt x="2229" y="913"/>
                      <a:pt x="2229" y="912"/>
                    </a:cubicBezTo>
                    <a:cubicBezTo>
                      <a:pt x="2229" y="912"/>
                      <a:pt x="2229" y="912"/>
                      <a:pt x="2228" y="911"/>
                    </a:cubicBezTo>
                    <a:cubicBezTo>
                      <a:pt x="2228" y="911"/>
                      <a:pt x="2228" y="911"/>
                      <a:pt x="2228" y="910"/>
                    </a:cubicBezTo>
                    <a:cubicBezTo>
                      <a:pt x="2228" y="910"/>
                      <a:pt x="2228" y="910"/>
                      <a:pt x="2227" y="909"/>
                    </a:cubicBezTo>
                    <a:cubicBezTo>
                      <a:pt x="2227" y="909"/>
                      <a:pt x="2227" y="909"/>
                      <a:pt x="2226" y="909"/>
                    </a:cubicBezTo>
                    <a:cubicBezTo>
                      <a:pt x="2226" y="909"/>
                      <a:pt x="2226" y="909"/>
                      <a:pt x="2225" y="909"/>
                    </a:cubicBezTo>
                    <a:close/>
                    <a:moveTo>
                      <a:pt x="2222" y="902"/>
                    </a:moveTo>
                    <a:cubicBezTo>
                      <a:pt x="2222" y="904"/>
                      <a:pt x="2222" y="904"/>
                      <a:pt x="2222" y="904"/>
                    </a:cubicBezTo>
                    <a:cubicBezTo>
                      <a:pt x="2222" y="905"/>
                      <a:pt x="2222" y="905"/>
                      <a:pt x="2222" y="905"/>
                    </a:cubicBezTo>
                    <a:cubicBezTo>
                      <a:pt x="2223" y="907"/>
                      <a:pt x="2223" y="907"/>
                      <a:pt x="2223" y="907"/>
                    </a:cubicBezTo>
                    <a:cubicBezTo>
                      <a:pt x="2224" y="907"/>
                      <a:pt x="2224" y="907"/>
                      <a:pt x="2224" y="907"/>
                    </a:cubicBezTo>
                    <a:cubicBezTo>
                      <a:pt x="2225" y="906"/>
                      <a:pt x="2225" y="906"/>
                      <a:pt x="2225" y="906"/>
                    </a:cubicBezTo>
                    <a:cubicBezTo>
                      <a:pt x="2226" y="906"/>
                      <a:pt x="2226" y="906"/>
                      <a:pt x="2226" y="906"/>
                    </a:cubicBezTo>
                    <a:cubicBezTo>
                      <a:pt x="2226" y="904"/>
                      <a:pt x="2226" y="904"/>
                      <a:pt x="2226" y="904"/>
                    </a:cubicBezTo>
                    <a:cubicBezTo>
                      <a:pt x="2226" y="903"/>
                      <a:pt x="2226" y="903"/>
                      <a:pt x="2226" y="903"/>
                    </a:cubicBezTo>
                    <a:cubicBezTo>
                      <a:pt x="2226" y="902"/>
                      <a:pt x="2226" y="902"/>
                      <a:pt x="2226" y="902"/>
                    </a:cubicBezTo>
                    <a:cubicBezTo>
                      <a:pt x="2225" y="901"/>
                      <a:pt x="2225" y="901"/>
                      <a:pt x="2225" y="901"/>
                    </a:cubicBezTo>
                    <a:cubicBezTo>
                      <a:pt x="2225" y="902"/>
                      <a:pt x="2225" y="902"/>
                      <a:pt x="2225" y="902"/>
                    </a:cubicBezTo>
                    <a:cubicBezTo>
                      <a:pt x="2225" y="903"/>
                      <a:pt x="2225" y="903"/>
                      <a:pt x="2225" y="903"/>
                    </a:cubicBezTo>
                    <a:cubicBezTo>
                      <a:pt x="2224" y="903"/>
                      <a:pt x="2224" y="903"/>
                      <a:pt x="2224" y="903"/>
                    </a:cubicBezTo>
                    <a:cubicBezTo>
                      <a:pt x="2223" y="900"/>
                      <a:pt x="2223" y="900"/>
                      <a:pt x="2223" y="900"/>
                    </a:cubicBezTo>
                    <a:cubicBezTo>
                      <a:pt x="2223" y="899"/>
                      <a:pt x="2223" y="899"/>
                      <a:pt x="2223" y="899"/>
                    </a:cubicBezTo>
                    <a:cubicBezTo>
                      <a:pt x="2222" y="902"/>
                      <a:pt x="2222" y="902"/>
                      <a:pt x="2222" y="902"/>
                    </a:cubicBezTo>
                    <a:close/>
                    <a:moveTo>
                      <a:pt x="2233" y="908"/>
                    </a:moveTo>
                    <a:cubicBezTo>
                      <a:pt x="2233" y="908"/>
                      <a:pt x="2233" y="908"/>
                      <a:pt x="2233" y="907"/>
                    </a:cubicBezTo>
                    <a:cubicBezTo>
                      <a:pt x="2233" y="907"/>
                      <a:pt x="2233" y="907"/>
                      <a:pt x="2232" y="906"/>
                    </a:cubicBezTo>
                    <a:cubicBezTo>
                      <a:pt x="2232" y="908"/>
                      <a:pt x="2232" y="908"/>
                      <a:pt x="2232" y="908"/>
                    </a:cubicBezTo>
                    <a:cubicBezTo>
                      <a:pt x="2232" y="908"/>
                      <a:pt x="2232" y="908"/>
                      <a:pt x="2232" y="909"/>
                    </a:cubicBezTo>
                    <a:cubicBezTo>
                      <a:pt x="2232" y="909"/>
                      <a:pt x="2232" y="909"/>
                      <a:pt x="2233" y="909"/>
                    </a:cubicBezTo>
                    <a:cubicBezTo>
                      <a:pt x="2233" y="909"/>
                      <a:pt x="2233" y="909"/>
                      <a:pt x="2233" y="908"/>
                    </a:cubicBezTo>
                    <a:close/>
                    <a:moveTo>
                      <a:pt x="2236" y="930"/>
                    </a:moveTo>
                    <a:cubicBezTo>
                      <a:pt x="2236" y="930"/>
                      <a:pt x="2236" y="930"/>
                      <a:pt x="2235" y="929"/>
                    </a:cubicBezTo>
                    <a:cubicBezTo>
                      <a:pt x="2235" y="929"/>
                      <a:pt x="2235" y="929"/>
                      <a:pt x="2235" y="931"/>
                    </a:cubicBezTo>
                    <a:cubicBezTo>
                      <a:pt x="2235" y="931"/>
                      <a:pt x="2235" y="931"/>
                      <a:pt x="2236" y="932"/>
                    </a:cubicBezTo>
                    <a:cubicBezTo>
                      <a:pt x="2236" y="932"/>
                      <a:pt x="2236" y="932"/>
                      <a:pt x="2236" y="930"/>
                    </a:cubicBezTo>
                    <a:close/>
                    <a:moveTo>
                      <a:pt x="2183" y="861"/>
                    </a:moveTo>
                    <a:cubicBezTo>
                      <a:pt x="2183" y="861"/>
                      <a:pt x="2183" y="861"/>
                      <a:pt x="2182" y="863"/>
                    </a:cubicBezTo>
                    <a:cubicBezTo>
                      <a:pt x="2182" y="863"/>
                      <a:pt x="2182" y="863"/>
                      <a:pt x="2184" y="865"/>
                    </a:cubicBezTo>
                    <a:cubicBezTo>
                      <a:pt x="2184" y="865"/>
                      <a:pt x="2184" y="865"/>
                      <a:pt x="2185" y="865"/>
                    </a:cubicBezTo>
                    <a:cubicBezTo>
                      <a:pt x="2185" y="865"/>
                      <a:pt x="2185" y="865"/>
                      <a:pt x="2187" y="865"/>
                    </a:cubicBezTo>
                    <a:cubicBezTo>
                      <a:pt x="2187" y="865"/>
                      <a:pt x="2187" y="865"/>
                      <a:pt x="2188" y="866"/>
                    </a:cubicBezTo>
                    <a:cubicBezTo>
                      <a:pt x="2188" y="866"/>
                      <a:pt x="2188" y="866"/>
                      <a:pt x="2189" y="866"/>
                    </a:cubicBezTo>
                    <a:cubicBezTo>
                      <a:pt x="2189" y="866"/>
                      <a:pt x="2189" y="866"/>
                      <a:pt x="2190" y="865"/>
                    </a:cubicBezTo>
                    <a:cubicBezTo>
                      <a:pt x="2190" y="865"/>
                      <a:pt x="2190" y="865"/>
                      <a:pt x="2189" y="864"/>
                    </a:cubicBezTo>
                    <a:cubicBezTo>
                      <a:pt x="2189" y="864"/>
                      <a:pt x="2189" y="864"/>
                      <a:pt x="2188" y="863"/>
                    </a:cubicBezTo>
                    <a:cubicBezTo>
                      <a:pt x="2188" y="863"/>
                      <a:pt x="2188" y="863"/>
                      <a:pt x="2186" y="862"/>
                    </a:cubicBezTo>
                    <a:cubicBezTo>
                      <a:pt x="2186" y="862"/>
                      <a:pt x="2186" y="862"/>
                      <a:pt x="2184" y="862"/>
                    </a:cubicBezTo>
                    <a:cubicBezTo>
                      <a:pt x="2184" y="862"/>
                      <a:pt x="2184" y="862"/>
                      <a:pt x="2183" y="861"/>
                    </a:cubicBezTo>
                    <a:close/>
                    <a:moveTo>
                      <a:pt x="2184" y="877"/>
                    </a:moveTo>
                    <a:cubicBezTo>
                      <a:pt x="2184" y="877"/>
                      <a:pt x="2184" y="877"/>
                      <a:pt x="2184" y="878"/>
                    </a:cubicBezTo>
                    <a:cubicBezTo>
                      <a:pt x="2184" y="878"/>
                      <a:pt x="2184" y="878"/>
                      <a:pt x="2185" y="878"/>
                    </a:cubicBezTo>
                    <a:cubicBezTo>
                      <a:pt x="2185" y="878"/>
                      <a:pt x="2185" y="878"/>
                      <a:pt x="2186" y="878"/>
                    </a:cubicBezTo>
                    <a:cubicBezTo>
                      <a:pt x="2186" y="878"/>
                      <a:pt x="2186" y="878"/>
                      <a:pt x="2187" y="878"/>
                    </a:cubicBezTo>
                    <a:cubicBezTo>
                      <a:pt x="2187" y="878"/>
                      <a:pt x="2187" y="878"/>
                      <a:pt x="2186" y="877"/>
                    </a:cubicBezTo>
                    <a:cubicBezTo>
                      <a:pt x="2186" y="877"/>
                      <a:pt x="2186" y="877"/>
                      <a:pt x="2185" y="877"/>
                    </a:cubicBezTo>
                    <a:cubicBezTo>
                      <a:pt x="2185" y="877"/>
                      <a:pt x="2185" y="877"/>
                      <a:pt x="2184" y="877"/>
                    </a:cubicBezTo>
                    <a:close/>
                    <a:moveTo>
                      <a:pt x="2170" y="853"/>
                    </a:moveTo>
                    <a:cubicBezTo>
                      <a:pt x="2169" y="852"/>
                      <a:pt x="2169" y="852"/>
                      <a:pt x="2169" y="852"/>
                    </a:cubicBezTo>
                    <a:cubicBezTo>
                      <a:pt x="2168" y="853"/>
                      <a:pt x="2168" y="853"/>
                      <a:pt x="2168" y="853"/>
                    </a:cubicBezTo>
                    <a:cubicBezTo>
                      <a:pt x="2168" y="855"/>
                      <a:pt x="2168" y="855"/>
                      <a:pt x="2168" y="855"/>
                    </a:cubicBezTo>
                    <a:cubicBezTo>
                      <a:pt x="2169" y="855"/>
                      <a:pt x="2169" y="855"/>
                      <a:pt x="2169" y="855"/>
                    </a:cubicBezTo>
                    <a:cubicBezTo>
                      <a:pt x="2170" y="855"/>
                      <a:pt x="2170" y="855"/>
                      <a:pt x="2170" y="855"/>
                    </a:cubicBezTo>
                    <a:cubicBezTo>
                      <a:pt x="2170" y="856"/>
                      <a:pt x="2170" y="856"/>
                      <a:pt x="2170" y="856"/>
                    </a:cubicBezTo>
                    <a:cubicBezTo>
                      <a:pt x="2171" y="856"/>
                      <a:pt x="2171" y="856"/>
                      <a:pt x="2171" y="856"/>
                    </a:cubicBezTo>
                    <a:cubicBezTo>
                      <a:pt x="2172" y="855"/>
                      <a:pt x="2172" y="855"/>
                      <a:pt x="2172" y="855"/>
                    </a:cubicBezTo>
                    <a:cubicBezTo>
                      <a:pt x="2171" y="854"/>
                      <a:pt x="2171" y="854"/>
                      <a:pt x="2171" y="854"/>
                    </a:cubicBezTo>
                    <a:cubicBezTo>
                      <a:pt x="2170" y="854"/>
                      <a:pt x="2170" y="854"/>
                      <a:pt x="2170" y="854"/>
                    </a:cubicBezTo>
                    <a:cubicBezTo>
                      <a:pt x="2170" y="853"/>
                      <a:pt x="2170" y="853"/>
                      <a:pt x="2170" y="853"/>
                    </a:cubicBezTo>
                    <a:close/>
                    <a:moveTo>
                      <a:pt x="2180" y="854"/>
                    </a:moveTo>
                    <a:cubicBezTo>
                      <a:pt x="2180" y="854"/>
                      <a:pt x="2180" y="854"/>
                      <a:pt x="2181" y="855"/>
                    </a:cubicBezTo>
                    <a:cubicBezTo>
                      <a:pt x="2181" y="855"/>
                      <a:pt x="2181" y="855"/>
                      <a:pt x="2182" y="855"/>
                    </a:cubicBezTo>
                    <a:cubicBezTo>
                      <a:pt x="2182" y="855"/>
                      <a:pt x="2182" y="855"/>
                      <a:pt x="2182" y="856"/>
                    </a:cubicBezTo>
                    <a:cubicBezTo>
                      <a:pt x="2182" y="856"/>
                      <a:pt x="2182" y="856"/>
                      <a:pt x="2183" y="856"/>
                    </a:cubicBezTo>
                    <a:cubicBezTo>
                      <a:pt x="2183" y="856"/>
                      <a:pt x="2183" y="856"/>
                      <a:pt x="2183" y="855"/>
                    </a:cubicBezTo>
                    <a:cubicBezTo>
                      <a:pt x="2183" y="855"/>
                      <a:pt x="2183" y="855"/>
                      <a:pt x="2184" y="855"/>
                    </a:cubicBezTo>
                    <a:cubicBezTo>
                      <a:pt x="2184" y="855"/>
                      <a:pt x="2184" y="855"/>
                      <a:pt x="2181" y="852"/>
                    </a:cubicBezTo>
                    <a:cubicBezTo>
                      <a:pt x="2181" y="852"/>
                      <a:pt x="2181" y="852"/>
                      <a:pt x="2179" y="851"/>
                    </a:cubicBezTo>
                    <a:cubicBezTo>
                      <a:pt x="2179" y="851"/>
                      <a:pt x="2179" y="851"/>
                      <a:pt x="2178" y="850"/>
                    </a:cubicBezTo>
                    <a:cubicBezTo>
                      <a:pt x="2178" y="850"/>
                      <a:pt x="2178" y="850"/>
                      <a:pt x="2175" y="850"/>
                    </a:cubicBezTo>
                    <a:cubicBezTo>
                      <a:pt x="2177" y="851"/>
                      <a:pt x="2177" y="851"/>
                      <a:pt x="2177" y="851"/>
                    </a:cubicBezTo>
                    <a:cubicBezTo>
                      <a:pt x="2177" y="851"/>
                      <a:pt x="2177" y="851"/>
                      <a:pt x="2180" y="854"/>
                    </a:cubicBezTo>
                    <a:close/>
                    <a:moveTo>
                      <a:pt x="2189" y="857"/>
                    </a:moveTo>
                    <a:cubicBezTo>
                      <a:pt x="2190" y="858"/>
                      <a:pt x="2190" y="858"/>
                      <a:pt x="2190" y="858"/>
                    </a:cubicBezTo>
                    <a:cubicBezTo>
                      <a:pt x="2190" y="860"/>
                      <a:pt x="2190" y="860"/>
                      <a:pt x="2190" y="860"/>
                    </a:cubicBezTo>
                    <a:cubicBezTo>
                      <a:pt x="2192" y="862"/>
                      <a:pt x="2192" y="862"/>
                      <a:pt x="2192" y="862"/>
                    </a:cubicBezTo>
                    <a:cubicBezTo>
                      <a:pt x="2193" y="863"/>
                      <a:pt x="2193" y="863"/>
                      <a:pt x="2193" y="863"/>
                    </a:cubicBezTo>
                    <a:cubicBezTo>
                      <a:pt x="2194" y="864"/>
                      <a:pt x="2194" y="864"/>
                      <a:pt x="2194" y="864"/>
                    </a:cubicBezTo>
                    <a:cubicBezTo>
                      <a:pt x="2195" y="864"/>
                      <a:pt x="2195" y="864"/>
                      <a:pt x="2195" y="864"/>
                    </a:cubicBezTo>
                    <a:cubicBezTo>
                      <a:pt x="2195" y="863"/>
                      <a:pt x="2195" y="863"/>
                      <a:pt x="2195" y="863"/>
                    </a:cubicBezTo>
                    <a:cubicBezTo>
                      <a:pt x="2194" y="861"/>
                      <a:pt x="2194" y="861"/>
                      <a:pt x="2194" y="861"/>
                    </a:cubicBezTo>
                    <a:cubicBezTo>
                      <a:pt x="2193" y="861"/>
                      <a:pt x="2193" y="861"/>
                      <a:pt x="2193" y="861"/>
                    </a:cubicBezTo>
                    <a:cubicBezTo>
                      <a:pt x="2192" y="860"/>
                      <a:pt x="2192" y="860"/>
                      <a:pt x="2192" y="860"/>
                    </a:cubicBezTo>
                    <a:cubicBezTo>
                      <a:pt x="2191" y="858"/>
                      <a:pt x="2191" y="858"/>
                      <a:pt x="2191" y="858"/>
                    </a:cubicBezTo>
                    <a:cubicBezTo>
                      <a:pt x="2191" y="857"/>
                      <a:pt x="2191" y="857"/>
                      <a:pt x="2191" y="857"/>
                    </a:cubicBezTo>
                    <a:cubicBezTo>
                      <a:pt x="2190" y="855"/>
                      <a:pt x="2190" y="855"/>
                      <a:pt x="2190" y="855"/>
                    </a:cubicBezTo>
                    <a:cubicBezTo>
                      <a:pt x="2188" y="855"/>
                      <a:pt x="2188" y="855"/>
                      <a:pt x="2188" y="855"/>
                    </a:cubicBezTo>
                    <a:cubicBezTo>
                      <a:pt x="2188" y="856"/>
                      <a:pt x="2188" y="856"/>
                      <a:pt x="2188" y="856"/>
                    </a:cubicBezTo>
                    <a:cubicBezTo>
                      <a:pt x="2189" y="856"/>
                      <a:pt x="2189" y="856"/>
                      <a:pt x="2189" y="856"/>
                    </a:cubicBezTo>
                    <a:cubicBezTo>
                      <a:pt x="2189" y="857"/>
                      <a:pt x="2189" y="857"/>
                      <a:pt x="2189" y="857"/>
                    </a:cubicBezTo>
                    <a:close/>
                    <a:moveTo>
                      <a:pt x="2194" y="868"/>
                    </a:moveTo>
                    <a:cubicBezTo>
                      <a:pt x="2194" y="868"/>
                      <a:pt x="2194" y="868"/>
                      <a:pt x="2192" y="868"/>
                    </a:cubicBezTo>
                    <a:cubicBezTo>
                      <a:pt x="2192" y="868"/>
                      <a:pt x="2192" y="868"/>
                      <a:pt x="2193" y="869"/>
                    </a:cubicBezTo>
                    <a:cubicBezTo>
                      <a:pt x="2193" y="869"/>
                      <a:pt x="2193" y="869"/>
                      <a:pt x="2193" y="870"/>
                    </a:cubicBezTo>
                    <a:cubicBezTo>
                      <a:pt x="2193" y="870"/>
                      <a:pt x="2193" y="870"/>
                      <a:pt x="2195" y="872"/>
                    </a:cubicBezTo>
                    <a:cubicBezTo>
                      <a:pt x="2195" y="872"/>
                      <a:pt x="2195" y="872"/>
                      <a:pt x="2197" y="873"/>
                    </a:cubicBezTo>
                    <a:cubicBezTo>
                      <a:pt x="2197" y="873"/>
                      <a:pt x="2197" y="873"/>
                      <a:pt x="2198" y="873"/>
                    </a:cubicBezTo>
                    <a:cubicBezTo>
                      <a:pt x="2198" y="873"/>
                      <a:pt x="2198" y="873"/>
                      <a:pt x="2198" y="872"/>
                    </a:cubicBezTo>
                    <a:cubicBezTo>
                      <a:pt x="2198" y="872"/>
                      <a:pt x="2198" y="872"/>
                      <a:pt x="2198" y="871"/>
                    </a:cubicBezTo>
                    <a:cubicBezTo>
                      <a:pt x="2198" y="871"/>
                      <a:pt x="2198" y="871"/>
                      <a:pt x="2197" y="870"/>
                    </a:cubicBezTo>
                    <a:cubicBezTo>
                      <a:pt x="2197" y="870"/>
                      <a:pt x="2197" y="870"/>
                      <a:pt x="2195" y="870"/>
                    </a:cubicBezTo>
                    <a:cubicBezTo>
                      <a:pt x="2195" y="870"/>
                      <a:pt x="2195" y="870"/>
                      <a:pt x="2194" y="868"/>
                    </a:cubicBezTo>
                    <a:close/>
                    <a:moveTo>
                      <a:pt x="2187" y="860"/>
                    </a:moveTo>
                    <a:cubicBezTo>
                      <a:pt x="2186" y="859"/>
                      <a:pt x="2186" y="859"/>
                      <a:pt x="2186" y="859"/>
                    </a:cubicBezTo>
                    <a:cubicBezTo>
                      <a:pt x="2186" y="860"/>
                      <a:pt x="2186" y="860"/>
                      <a:pt x="2186" y="860"/>
                    </a:cubicBezTo>
                    <a:cubicBezTo>
                      <a:pt x="2188" y="861"/>
                      <a:pt x="2188" y="861"/>
                      <a:pt x="2188" y="861"/>
                    </a:cubicBezTo>
                    <a:cubicBezTo>
                      <a:pt x="2187" y="860"/>
                      <a:pt x="2187" y="860"/>
                      <a:pt x="2187" y="860"/>
                    </a:cubicBezTo>
                    <a:close/>
                    <a:moveTo>
                      <a:pt x="2169" y="857"/>
                    </a:moveTo>
                    <a:cubicBezTo>
                      <a:pt x="2169" y="857"/>
                      <a:pt x="2169" y="857"/>
                      <a:pt x="2169" y="856"/>
                    </a:cubicBezTo>
                    <a:cubicBezTo>
                      <a:pt x="2169" y="856"/>
                      <a:pt x="2169" y="856"/>
                      <a:pt x="2168" y="856"/>
                    </a:cubicBezTo>
                    <a:cubicBezTo>
                      <a:pt x="2168" y="856"/>
                      <a:pt x="2168" y="856"/>
                      <a:pt x="2169" y="857"/>
                    </a:cubicBezTo>
                    <a:close/>
                    <a:moveTo>
                      <a:pt x="2163" y="844"/>
                    </a:moveTo>
                    <a:cubicBezTo>
                      <a:pt x="2164" y="846"/>
                      <a:pt x="2164" y="846"/>
                      <a:pt x="2164" y="846"/>
                    </a:cubicBezTo>
                    <a:cubicBezTo>
                      <a:pt x="2166" y="847"/>
                      <a:pt x="2166" y="847"/>
                      <a:pt x="2166" y="847"/>
                    </a:cubicBezTo>
                    <a:cubicBezTo>
                      <a:pt x="2167" y="848"/>
                      <a:pt x="2167" y="848"/>
                      <a:pt x="2167" y="848"/>
                    </a:cubicBezTo>
                    <a:cubicBezTo>
                      <a:pt x="2169" y="849"/>
                      <a:pt x="2169" y="849"/>
                      <a:pt x="2169" y="849"/>
                    </a:cubicBezTo>
                    <a:cubicBezTo>
                      <a:pt x="2170" y="849"/>
                      <a:pt x="2170" y="849"/>
                      <a:pt x="2170" y="849"/>
                    </a:cubicBezTo>
                    <a:cubicBezTo>
                      <a:pt x="2170" y="848"/>
                      <a:pt x="2170" y="848"/>
                      <a:pt x="2170" y="848"/>
                    </a:cubicBezTo>
                    <a:cubicBezTo>
                      <a:pt x="2169" y="847"/>
                      <a:pt x="2169" y="847"/>
                      <a:pt x="2169" y="847"/>
                    </a:cubicBezTo>
                    <a:cubicBezTo>
                      <a:pt x="2168" y="846"/>
                      <a:pt x="2168" y="846"/>
                      <a:pt x="2168" y="846"/>
                    </a:cubicBezTo>
                    <a:cubicBezTo>
                      <a:pt x="2168" y="845"/>
                      <a:pt x="2168" y="845"/>
                      <a:pt x="2168" y="845"/>
                    </a:cubicBezTo>
                    <a:cubicBezTo>
                      <a:pt x="2167" y="845"/>
                      <a:pt x="2167" y="845"/>
                      <a:pt x="2167" y="845"/>
                    </a:cubicBezTo>
                    <a:cubicBezTo>
                      <a:pt x="2165" y="845"/>
                      <a:pt x="2165" y="845"/>
                      <a:pt x="2165" y="845"/>
                    </a:cubicBezTo>
                    <a:cubicBezTo>
                      <a:pt x="2164" y="843"/>
                      <a:pt x="2164" y="843"/>
                      <a:pt x="2164" y="843"/>
                    </a:cubicBezTo>
                    <a:cubicBezTo>
                      <a:pt x="2163" y="844"/>
                      <a:pt x="2163" y="844"/>
                      <a:pt x="2163" y="844"/>
                    </a:cubicBezTo>
                    <a:close/>
                    <a:moveTo>
                      <a:pt x="2172" y="858"/>
                    </a:moveTo>
                    <a:cubicBezTo>
                      <a:pt x="2172" y="858"/>
                      <a:pt x="2172" y="858"/>
                      <a:pt x="2173" y="858"/>
                    </a:cubicBezTo>
                    <a:cubicBezTo>
                      <a:pt x="2173" y="858"/>
                      <a:pt x="2173" y="858"/>
                      <a:pt x="2173" y="857"/>
                    </a:cubicBezTo>
                    <a:cubicBezTo>
                      <a:pt x="2173" y="857"/>
                      <a:pt x="2173" y="857"/>
                      <a:pt x="2172" y="857"/>
                    </a:cubicBezTo>
                    <a:cubicBezTo>
                      <a:pt x="2172" y="857"/>
                      <a:pt x="2172" y="857"/>
                      <a:pt x="2172" y="858"/>
                    </a:cubicBezTo>
                    <a:close/>
                    <a:moveTo>
                      <a:pt x="2222" y="872"/>
                    </a:moveTo>
                    <a:cubicBezTo>
                      <a:pt x="2222" y="872"/>
                      <a:pt x="2222" y="872"/>
                      <a:pt x="2221" y="871"/>
                    </a:cubicBezTo>
                    <a:cubicBezTo>
                      <a:pt x="2221" y="871"/>
                      <a:pt x="2221" y="871"/>
                      <a:pt x="2220" y="871"/>
                    </a:cubicBezTo>
                    <a:cubicBezTo>
                      <a:pt x="2220" y="871"/>
                      <a:pt x="2220" y="871"/>
                      <a:pt x="2219" y="872"/>
                    </a:cubicBezTo>
                    <a:cubicBezTo>
                      <a:pt x="2219" y="872"/>
                      <a:pt x="2219" y="872"/>
                      <a:pt x="2219" y="873"/>
                    </a:cubicBezTo>
                    <a:cubicBezTo>
                      <a:pt x="2219" y="873"/>
                      <a:pt x="2219" y="873"/>
                      <a:pt x="2221" y="873"/>
                    </a:cubicBezTo>
                    <a:cubicBezTo>
                      <a:pt x="2221" y="873"/>
                      <a:pt x="2221" y="873"/>
                      <a:pt x="2222" y="872"/>
                    </a:cubicBezTo>
                    <a:close/>
                    <a:moveTo>
                      <a:pt x="2167" y="852"/>
                    </a:moveTo>
                    <a:cubicBezTo>
                      <a:pt x="2167" y="852"/>
                      <a:pt x="2167" y="852"/>
                      <a:pt x="2166" y="852"/>
                    </a:cubicBezTo>
                    <a:cubicBezTo>
                      <a:pt x="2166" y="853"/>
                      <a:pt x="2166" y="853"/>
                      <a:pt x="2166" y="853"/>
                    </a:cubicBezTo>
                    <a:cubicBezTo>
                      <a:pt x="2166" y="853"/>
                      <a:pt x="2166" y="853"/>
                      <a:pt x="2167" y="853"/>
                    </a:cubicBezTo>
                    <a:cubicBezTo>
                      <a:pt x="2167" y="853"/>
                      <a:pt x="2167" y="853"/>
                      <a:pt x="2168" y="853"/>
                    </a:cubicBezTo>
                    <a:cubicBezTo>
                      <a:pt x="2168" y="853"/>
                      <a:pt x="2168" y="853"/>
                      <a:pt x="2168" y="852"/>
                    </a:cubicBezTo>
                    <a:cubicBezTo>
                      <a:pt x="2168" y="852"/>
                      <a:pt x="2168" y="852"/>
                      <a:pt x="2167" y="852"/>
                    </a:cubicBezTo>
                    <a:close/>
                    <a:moveTo>
                      <a:pt x="2164" y="841"/>
                    </a:moveTo>
                    <a:cubicBezTo>
                      <a:pt x="2162" y="843"/>
                      <a:pt x="2162" y="843"/>
                      <a:pt x="2162" y="843"/>
                    </a:cubicBezTo>
                    <a:cubicBezTo>
                      <a:pt x="2164" y="842"/>
                      <a:pt x="2164" y="842"/>
                      <a:pt x="2164" y="842"/>
                    </a:cubicBezTo>
                    <a:cubicBezTo>
                      <a:pt x="2164" y="841"/>
                      <a:pt x="2164" y="841"/>
                      <a:pt x="2164" y="841"/>
                    </a:cubicBezTo>
                    <a:close/>
                    <a:moveTo>
                      <a:pt x="2164" y="851"/>
                    </a:moveTo>
                    <a:cubicBezTo>
                      <a:pt x="2164" y="851"/>
                      <a:pt x="2164" y="851"/>
                      <a:pt x="2164" y="852"/>
                    </a:cubicBezTo>
                    <a:cubicBezTo>
                      <a:pt x="2164" y="852"/>
                      <a:pt x="2164" y="852"/>
                      <a:pt x="2165" y="852"/>
                    </a:cubicBezTo>
                    <a:cubicBezTo>
                      <a:pt x="2165" y="852"/>
                      <a:pt x="2165" y="852"/>
                      <a:pt x="2165" y="851"/>
                    </a:cubicBezTo>
                    <a:cubicBezTo>
                      <a:pt x="2165" y="851"/>
                      <a:pt x="2165" y="851"/>
                      <a:pt x="2164" y="850"/>
                    </a:cubicBezTo>
                    <a:cubicBezTo>
                      <a:pt x="2164" y="850"/>
                      <a:pt x="2164" y="850"/>
                      <a:pt x="2164" y="851"/>
                    </a:cubicBezTo>
                    <a:close/>
                    <a:moveTo>
                      <a:pt x="2127" y="865"/>
                    </a:moveTo>
                    <a:cubicBezTo>
                      <a:pt x="2127" y="865"/>
                      <a:pt x="2127" y="865"/>
                      <a:pt x="2127" y="866"/>
                    </a:cubicBezTo>
                    <a:cubicBezTo>
                      <a:pt x="2127" y="866"/>
                      <a:pt x="2127" y="866"/>
                      <a:pt x="2127" y="867"/>
                    </a:cubicBezTo>
                    <a:cubicBezTo>
                      <a:pt x="2127" y="867"/>
                      <a:pt x="2127" y="867"/>
                      <a:pt x="2128" y="867"/>
                    </a:cubicBezTo>
                    <a:cubicBezTo>
                      <a:pt x="2128" y="867"/>
                      <a:pt x="2128" y="867"/>
                      <a:pt x="2129" y="867"/>
                    </a:cubicBezTo>
                    <a:cubicBezTo>
                      <a:pt x="2129" y="867"/>
                      <a:pt x="2129" y="867"/>
                      <a:pt x="2130" y="866"/>
                    </a:cubicBezTo>
                    <a:cubicBezTo>
                      <a:pt x="2130" y="866"/>
                      <a:pt x="2130" y="866"/>
                      <a:pt x="2129" y="866"/>
                    </a:cubicBezTo>
                    <a:cubicBezTo>
                      <a:pt x="2129" y="866"/>
                      <a:pt x="2129" y="866"/>
                      <a:pt x="2128" y="866"/>
                    </a:cubicBezTo>
                    <a:cubicBezTo>
                      <a:pt x="2128" y="866"/>
                      <a:pt x="2128" y="866"/>
                      <a:pt x="2127" y="865"/>
                    </a:cubicBezTo>
                    <a:close/>
                    <a:moveTo>
                      <a:pt x="2082" y="859"/>
                    </a:moveTo>
                    <a:cubicBezTo>
                      <a:pt x="2082" y="859"/>
                      <a:pt x="2082" y="859"/>
                      <a:pt x="2081" y="858"/>
                    </a:cubicBezTo>
                    <a:cubicBezTo>
                      <a:pt x="2079" y="857"/>
                      <a:pt x="2079" y="857"/>
                      <a:pt x="2079" y="857"/>
                    </a:cubicBezTo>
                    <a:cubicBezTo>
                      <a:pt x="2079" y="857"/>
                      <a:pt x="2079" y="857"/>
                      <a:pt x="2082" y="859"/>
                    </a:cubicBezTo>
                    <a:close/>
                    <a:moveTo>
                      <a:pt x="2080" y="856"/>
                    </a:moveTo>
                    <a:cubicBezTo>
                      <a:pt x="2080" y="857"/>
                      <a:pt x="2080" y="857"/>
                      <a:pt x="2080" y="857"/>
                    </a:cubicBezTo>
                    <a:cubicBezTo>
                      <a:pt x="2081" y="856"/>
                      <a:pt x="2081" y="856"/>
                      <a:pt x="2081" y="856"/>
                    </a:cubicBezTo>
                    <a:cubicBezTo>
                      <a:pt x="2080" y="856"/>
                      <a:pt x="2080" y="856"/>
                      <a:pt x="2080" y="856"/>
                    </a:cubicBezTo>
                    <a:close/>
                    <a:moveTo>
                      <a:pt x="2124" y="861"/>
                    </a:moveTo>
                    <a:cubicBezTo>
                      <a:pt x="2123" y="861"/>
                      <a:pt x="2123" y="861"/>
                      <a:pt x="2123" y="861"/>
                    </a:cubicBezTo>
                    <a:cubicBezTo>
                      <a:pt x="2122" y="862"/>
                      <a:pt x="2122" y="862"/>
                      <a:pt x="2122" y="862"/>
                    </a:cubicBezTo>
                    <a:cubicBezTo>
                      <a:pt x="2123" y="863"/>
                      <a:pt x="2123" y="863"/>
                      <a:pt x="2123" y="863"/>
                    </a:cubicBezTo>
                    <a:cubicBezTo>
                      <a:pt x="2124" y="863"/>
                      <a:pt x="2124" y="863"/>
                      <a:pt x="2124" y="863"/>
                    </a:cubicBezTo>
                    <a:cubicBezTo>
                      <a:pt x="2124" y="861"/>
                      <a:pt x="2124" y="861"/>
                      <a:pt x="2124" y="861"/>
                    </a:cubicBezTo>
                    <a:close/>
                    <a:moveTo>
                      <a:pt x="2087" y="851"/>
                    </a:moveTo>
                    <a:cubicBezTo>
                      <a:pt x="2087" y="851"/>
                      <a:pt x="2087" y="851"/>
                      <a:pt x="2088" y="851"/>
                    </a:cubicBezTo>
                    <a:cubicBezTo>
                      <a:pt x="2088" y="851"/>
                      <a:pt x="2088" y="851"/>
                      <a:pt x="2088" y="850"/>
                    </a:cubicBezTo>
                    <a:cubicBezTo>
                      <a:pt x="2088" y="850"/>
                      <a:pt x="2088" y="850"/>
                      <a:pt x="2087" y="850"/>
                    </a:cubicBezTo>
                    <a:cubicBezTo>
                      <a:pt x="2087" y="850"/>
                      <a:pt x="2087" y="850"/>
                      <a:pt x="2087" y="851"/>
                    </a:cubicBezTo>
                    <a:close/>
                    <a:moveTo>
                      <a:pt x="2138" y="860"/>
                    </a:moveTo>
                    <a:cubicBezTo>
                      <a:pt x="2138" y="861"/>
                      <a:pt x="2138" y="861"/>
                      <a:pt x="2138" y="861"/>
                    </a:cubicBezTo>
                    <a:cubicBezTo>
                      <a:pt x="2139" y="861"/>
                      <a:pt x="2139" y="861"/>
                      <a:pt x="2139" y="861"/>
                    </a:cubicBezTo>
                    <a:cubicBezTo>
                      <a:pt x="2140" y="862"/>
                      <a:pt x="2140" y="862"/>
                      <a:pt x="2140" y="862"/>
                    </a:cubicBezTo>
                    <a:cubicBezTo>
                      <a:pt x="2140" y="861"/>
                      <a:pt x="2140" y="861"/>
                      <a:pt x="2140" y="861"/>
                    </a:cubicBezTo>
                    <a:cubicBezTo>
                      <a:pt x="2138" y="859"/>
                      <a:pt x="2138" y="859"/>
                      <a:pt x="2138" y="859"/>
                    </a:cubicBezTo>
                    <a:cubicBezTo>
                      <a:pt x="2138" y="860"/>
                      <a:pt x="2138" y="860"/>
                      <a:pt x="2138" y="860"/>
                    </a:cubicBezTo>
                    <a:close/>
                    <a:moveTo>
                      <a:pt x="2130" y="857"/>
                    </a:moveTo>
                    <a:cubicBezTo>
                      <a:pt x="2129" y="855"/>
                      <a:pt x="2129" y="855"/>
                      <a:pt x="2129" y="855"/>
                    </a:cubicBezTo>
                    <a:cubicBezTo>
                      <a:pt x="2128" y="856"/>
                      <a:pt x="2128" y="856"/>
                      <a:pt x="2128" y="856"/>
                    </a:cubicBezTo>
                    <a:cubicBezTo>
                      <a:pt x="2129" y="857"/>
                      <a:pt x="2129" y="857"/>
                      <a:pt x="2129" y="857"/>
                    </a:cubicBezTo>
                    <a:cubicBezTo>
                      <a:pt x="2129" y="858"/>
                      <a:pt x="2129" y="858"/>
                      <a:pt x="2129" y="858"/>
                    </a:cubicBezTo>
                    <a:cubicBezTo>
                      <a:pt x="2130" y="857"/>
                      <a:pt x="2130" y="857"/>
                      <a:pt x="2130" y="857"/>
                    </a:cubicBezTo>
                    <a:close/>
                    <a:moveTo>
                      <a:pt x="2125" y="862"/>
                    </a:moveTo>
                    <a:cubicBezTo>
                      <a:pt x="2125" y="863"/>
                      <a:pt x="2125" y="863"/>
                      <a:pt x="2125" y="863"/>
                    </a:cubicBezTo>
                    <a:cubicBezTo>
                      <a:pt x="2125" y="864"/>
                      <a:pt x="2125" y="864"/>
                      <a:pt x="2125" y="864"/>
                    </a:cubicBezTo>
                    <a:cubicBezTo>
                      <a:pt x="2126" y="864"/>
                      <a:pt x="2126" y="864"/>
                      <a:pt x="2126" y="864"/>
                    </a:cubicBezTo>
                    <a:cubicBezTo>
                      <a:pt x="2127" y="864"/>
                      <a:pt x="2127" y="864"/>
                      <a:pt x="2127" y="864"/>
                    </a:cubicBezTo>
                    <a:cubicBezTo>
                      <a:pt x="2127" y="863"/>
                      <a:pt x="2127" y="863"/>
                      <a:pt x="2127" y="863"/>
                    </a:cubicBezTo>
                    <a:cubicBezTo>
                      <a:pt x="2126" y="863"/>
                      <a:pt x="2126" y="863"/>
                      <a:pt x="2126" y="863"/>
                    </a:cubicBezTo>
                    <a:cubicBezTo>
                      <a:pt x="2125" y="862"/>
                      <a:pt x="2125" y="862"/>
                      <a:pt x="2125" y="862"/>
                    </a:cubicBezTo>
                    <a:close/>
                    <a:moveTo>
                      <a:pt x="2141" y="876"/>
                    </a:moveTo>
                    <a:cubicBezTo>
                      <a:pt x="2143" y="877"/>
                      <a:pt x="2143" y="877"/>
                      <a:pt x="2143" y="877"/>
                    </a:cubicBezTo>
                    <a:cubicBezTo>
                      <a:pt x="2142" y="876"/>
                      <a:pt x="2142" y="876"/>
                      <a:pt x="2142" y="876"/>
                    </a:cubicBezTo>
                    <a:cubicBezTo>
                      <a:pt x="2141" y="876"/>
                      <a:pt x="2141" y="876"/>
                      <a:pt x="2141" y="876"/>
                    </a:cubicBezTo>
                    <a:close/>
                    <a:moveTo>
                      <a:pt x="2152" y="833"/>
                    </a:moveTo>
                    <a:cubicBezTo>
                      <a:pt x="2151" y="833"/>
                      <a:pt x="2151" y="833"/>
                      <a:pt x="2151" y="833"/>
                    </a:cubicBezTo>
                    <a:cubicBezTo>
                      <a:pt x="2151" y="834"/>
                      <a:pt x="2151" y="834"/>
                      <a:pt x="2151" y="834"/>
                    </a:cubicBezTo>
                    <a:cubicBezTo>
                      <a:pt x="2152" y="835"/>
                      <a:pt x="2152" y="835"/>
                      <a:pt x="2152" y="835"/>
                    </a:cubicBezTo>
                    <a:cubicBezTo>
                      <a:pt x="2152" y="833"/>
                      <a:pt x="2152" y="833"/>
                      <a:pt x="2152" y="833"/>
                    </a:cubicBezTo>
                    <a:close/>
                    <a:moveTo>
                      <a:pt x="2150" y="829"/>
                    </a:moveTo>
                    <a:cubicBezTo>
                      <a:pt x="2150" y="829"/>
                      <a:pt x="2150" y="829"/>
                      <a:pt x="2150" y="830"/>
                    </a:cubicBezTo>
                    <a:cubicBezTo>
                      <a:pt x="2150" y="830"/>
                      <a:pt x="2150" y="830"/>
                      <a:pt x="2149" y="830"/>
                    </a:cubicBezTo>
                    <a:cubicBezTo>
                      <a:pt x="2149" y="830"/>
                      <a:pt x="2149" y="830"/>
                      <a:pt x="2149" y="831"/>
                    </a:cubicBezTo>
                    <a:cubicBezTo>
                      <a:pt x="2149" y="831"/>
                      <a:pt x="2149" y="831"/>
                      <a:pt x="2150" y="831"/>
                    </a:cubicBezTo>
                    <a:cubicBezTo>
                      <a:pt x="2150" y="831"/>
                      <a:pt x="2150" y="831"/>
                      <a:pt x="2151" y="830"/>
                    </a:cubicBezTo>
                    <a:cubicBezTo>
                      <a:pt x="2151" y="830"/>
                      <a:pt x="2151" y="830"/>
                      <a:pt x="2150" y="829"/>
                    </a:cubicBezTo>
                    <a:close/>
                    <a:moveTo>
                      <a:pt x="2111" y="856"/>
                    </a:moveTo>
                    <a:cubicBezTo>
                      <a:pt x="2111" y="856"/>
                      <a:pt x="2111" y="856"/>
                      <a:pt x="2112" y="857"/>
                    </a:cubicBezTo>
                    <a:cubicBezTo>
                      <a:pt x="2112" y="857"/>
                      <a:pt x="2112" y="857"/>
                      <a:pt x="2112" y="859"/>
                    </a:cubicBezTo>
                    <a:cubicBezTo>
                      <a:pt x="2112" y="859"/>
                      <a:pt x="2112" y="859"/>
                      <a:pt x="2114" y="860"/>
                    </a:cubicBezTo>
                    <a:cubicBezTo>
                      <a:pt x="2114" y="860"/>
                      <a:pt x="2114" y="860"/>
                      <a:pt x="2115" y="860"/>
                    </a:cubicBezTo>
                    <a:cubicBezTo>
                      <a:pt x="2115" y="860"/>
                      <a:pt x="2115" y="860"/>
                      <a:pt x="2116" y="860"/>
                    </a:cubicBezTo>
                    <a:cubicBezTo>
                      <a:pt x="2116" y="860"/>
                      <a:pt x="2116" y="860"/>
                      <a:pt x="2117" y="860"/>
                    </a:cubicBezTo>
                    <a:cubicBezTo>
                      <a:pt x="2117" y="860"/>
                      <a:pt x="2117" y="860"/>
                      <a:pt x="2117" y="861"/>
                    </a:cubicBezTo>
                    <a:cubicBezTo>
                      <a:pt x="2117" y="861"/>
                      <a:pt x="2117" y="861"/>
                      <a:pt x="2116" y="862"/>
                    </a:cubicBezTo>
                    <a:cubicBezTo>
                      <a:pt x="2116" y="862"/>
                      <a:pt x="2116" y="862"/>
                      <a:pt x="2116" y="863"/>
                    </a:cubicBezTo>
                    <a:cubicBezTo>
                      <a:pt x="2116" y="863"/>
                      <a:pt x="2116" y="863"/>
                      <a:pt x="2117" y="864"/>
                    </a:cubicBezTo>
                    <a:cubicBezTo>
                      <a:pt x="2117" y="864"/>
                      <a:pt x="2117" y="864"/>
                      <a:pt x="2119" y="864"/>
                    </a:cubicBezTo>
                    <a:cubicBezTo>
                      <a:pt x="2119" y="864"/>
                      <a:pt x="2119" y="864"/>
                      <a:pt x="2121" y="864"/>
                    </a:cubicBezTo>
                    <a:cubicBezTo>
                      <a:pt x="2121" y="864"/>
                      <a:pt x="2121" y="864"/>
                      <a:pt x="2122" y="864"/>
                    </a:cubicBezTo>
                    <a:cubicBezTo>
                      <a:pt x="2122" y="864"/>
                      <a:pt x="2122" y="864"/>
                      <a:pt x="2121" y="865"/>
                    </a:cubicBezTo>
                    <a:cubicBezTo>
                      <a:pt x="2121" y="865"/>
                      <a:pt x="2121" y="865"/>
                      <a:pt x="2119" y="865"/>
                    </a:cubicBezTo>
                    <a:cubicBezTo>
                      <a:pt x="2119" y="865"/>
                      <a:pt x="2119" y="865"/>
                      <a:pt x="2120" y="866"/>
                    </a:cubicBezTo>
                    <a:cubicBezTo>
                      <a:pt x="2120" y="866"/>
                      <a:pt x="2120" y="866"/>
                      <a:pt x="2121" y="867"/>
                    </a:cubicBezTo>
                    <a:cubicBezTo>
                      <a:pt x="2121" y="867"/>
                      <a:pt x="2121" y="867"/>
                      <a:pt x="2124" y="867"/>
                    </a:cubicBezTo>
                    <a:cubicBezTo>
                      <a:pt x="2124" y="867"/>
                      <a:pt x="2124" y="867"/>
                      <a:pt x="2126" y="868"/>
                    </a:cubicBezTo>
                    <a:cubicBezTo>
                      <a:pt x="2126" y="868"/>
                      <a:pt x="2126" y="868"/>
                      <a:pt x="2125" y="869"/>
                    </a:cubicBezTo>
                    <a:cubicBezTo>
                      <a:pt x="2125" y="869"/>
                      <a:pt x="2125" y="869"/>
                      <a:pt x="2124" y="868"/>
                    </a:cubicBezTo>
                    <a:cubicBezTo>
                      <a:pt x="2124" y="868"/>
                      <a:pt x="2124" y="868"/>
                      <a:pt x="2123" y="868"/>
                    </a:cubicBezTo>
                    <a:cubicBezTo>
                      <a:pt x="2123" y="868"/>
                      <a:pt x="2123" y="868"/>
                      <a:pt x="2123" y="869"/>
                    </a:cubicBezTo>
                    <a:cubicBezTo>
                      <a:pt x="2123" y="869"/>
                      <a:pt x="2123" y="869"/>
                      <a:pt x="2124" y="869"/>
                    </a:cubicBezTo>
                    <a:cubicBezTo>
                      <a:pt x="2124" y="869"/>
                      <a:pt x="2124" y="869"/>
                      <a:pt x="2125" y="870"/>
                    </a:cubicBezTo>
                    <a:cubicBezTo>
                      <a:pt x="2125" y="870"/>
                      <a:pt x="2125" y="870"/>
                      <a:pt x="2125" y="871"/>
                    </a:cubicBezTo>
                    <a:cubicBezTo>
                      <a:pt x="2125" y="871"/>
                      <a:pt x="2125" y="871"/>
                      <a:pt x="2123" y="871"/>
                    </a:cubicBezTo>
                    <a:cubicBezTo>
                      <a:pt x="2123" y="871"/>
                      <a:pt x="2123" y="871"/>
                      <a:pt x="2122" y="870"/>
                    </a:cubicBezTo>
                    <a:cubicBezTo>
                      <a:pt x="2122" y="870"/>
                      <a:pt x="2122" y="870"/>
                      <a:pt x="2121" y="870"/>
                    </a:cubicBezTo>
                    <a:cubicBezTo>
                      <a:pt x="2121" y="870"/>
                      <a:pt x="2121" y="870"/>
                      <a:pt x="2121" y="869"/>
                    </a:cubicBezTo>
                    <a:cubicBezTo>
                      <a:pt x="2121" y="869"/>
                      <a:pt x="2121" y="869"/>
                      <a:pt x="2120" y="869"/>
                    </a:cubicBezTo>
                    <a:cubicBezTo>
                      <a:pt x="2120" y="869"/>
                      <a:pt x="2120" y="869"/>
                      <a:pt x="2119" y="868"/>
                    </a:cubicBezTo>
                    <a:cubicBezTo>
                      <a:pt x="2119" y="868"/>
                      <a:pt x="2119" y="868"/>
                      <a:pt x="2118" y="869"/>
                    </a:cubicBezTo>
                    <a:cubicBezTo>
                      <a:pt x="2118" y="869"/>
                      <a:pt x="2118" y="869"/>
                      <a:pt x="2117" y="868"/>
                    </a:cubicBezTo>
                    <a:cubicBezTo>
                      <a:pt x="2117" y="868"/>
                      <a:pt x="2117" y="868"/>
                      <a:pt x="2115" y="868"/>
                    </a:cubicBezTo>
                    <a:cubicBezTo>
                      <a:pt x="2115" y="868"/>
                      <a:pt x="2115" y="868"/>
                      <a:pt x="2114" y="868"/>
                    </a:cubicBezTo>
                    <a:cubicBezTo>
                      <a:pt x="2114" y="868"/>
                      <a:pt x="2114" y="868"/>
                      <a:pt x="2113" y="867"/>
                    </a:cubicBezTo>
                    <a:cubicBezTo>
                      <a:pt x="2113" y="867"/>
                      <a:pt x="2113" y="867"/>
                      <a:pt x="2111" y="868"/>
                    </a:cubicBezTo>
                    <a:cubicBezTo>
                      <a:pt x="2111" y="868"/>
                      <a:pt x="2111" y="868"/>
                      <a:pt x="2110" y="867"/>
                    </a:cubicBezTo>
                    <a:cubicBezTo>
                      <a:pt x="2110" y="867"/>
                      <a:pt x="2110" y="867"/>
                      <a:pt x="2109" y="867"/>
                    </a:cubicBezTo>
                    <a:cubicBezTo>
                      <a:pt x="2109" y="867"/>
                      <a:pt x="2109" y="867"/>
                      <a:pt x="2108" y="867"/>
                    </a:cubicBezTo>
                    <a:cubicBezTo>
                      <a:pt x="2108" y="867"/>
                      <a:pt x="2108" y="867"/>
                      <a:pt x="2107" y="867"/>
                    </a:cubicBezTo>
                    <a:cubicBezTo>
                      <a:pt x="2107" y="867"/>
                      <a:pt x="2107" y="867"/>
                      <a:pt x="2106" y="866"/>
                    </a:cubicBezTo>
                    <a:cubicBezTo>
                      <a:pt x="2106" y="866"/>
                      <a:pt x="2106" y="866"/>
                      <a:pt x="2105" y="865"/>
                    </a:cubicBezTo>
                    <a:cubicBezTo>
                      <a:pt x="2105" y="865"/>
                      <a:pt x="2105" y="865"/>
                      <a:pt x="2103" y="862"/>
                    </a:cubicBezTo>
                    <a:cubicBezTo>
                      <a:pt x="2103" y="862"/>
                      <a:pt x="2103" y="862"/>
                      <a:pt x="2102" y="861"/>
                    </a:cubicBezTo>
                    <a:cubicBezTo>
                      <a:pt x="2102" y="861"/>
                      <a:pt x="2102" y="861"/>
                      <a:pt x="2102" y="860"/>
                    </a:cubicBezTo>
                    <a:cubicBezTo>
                      <a:pt x="2102" y="860"/>
                      <a:pt x="2102" y="860"/>
                      <a:pt x="2100" y="860"/>
                    </a:cubicBezTo>
                    <a:cubicBezTo>
                      <a:pt x="2100" y="860"/>
                      <a:pt x="2100" y="860"/>
                      <a:pt x="2100" y="859"/>
                    </a:cubicBezTo>
                    <a:cubicBezTo>
                      <a:pt x="2100" y="859"/>
                      <a:pt x="2100" y="859"/>
                      <a:pt x="2099" y="857"/>
                    </a:cubicBezTo>
                    <a:cubicBezTo>
                      <a:pt x="2099" y="857"/>
                      <a:pt x="2099" y="857"/>
                      <a:pt x="2098" y="855"/>
                    </a:cubicBezTo>
                    <a:cubicBezTo>
                      <a:pt x="2098" y="855"/>
                      <a:pt x="2098" y="855"/>
                      <a:pt x="2097" y="854"/>
                    </a:cubicBezTo>
                    <a:cubicBezTo>
                      <a:pt x="2097" y="854"/>
                      <a:pt x="2097" y="854"/>
                      <a:pt x="2096" y="854"/>
                    </a:cubicBezTo>
                    <a:cubicBezTo>
                      <a:pt x="2096" y="854"/>
                      <a:pt x="2096" y="854"/>
                      <a:pt x="2093" y="853"/>
                    </a:cubicBezTo>
                    <a:cubicBezTo>
                      <a:pt x="2093" y="853"/>
                      <a:pt x="2093" y="853"/>
                      <a:pt x="2092" y="852"/>
                    </a:cubicBezTo>
                    <a:cubicBezTo>
                      <a:pt x="2092" y="852"/>
                      <a:pt x="2092" y="852"/>
                      <a:pt x="2091" y="852"/>
                    </a:cubicBezTo>
                    <a:cubicBezTo>
                      <a:pt x="2091" y="852"/>
                      <a:pt x="2091" y="852"/>
                      <a:pt x="2090" y="851"/>
                    </a:cubicBezTo>
                    <a:cubicBezTo>
                      <a:pt x="2090" y="851"/>
                      <a:pt x="2090" y="851"/>
                      <a:pt x="2089" y="851"/>
                    </a:cubicBezTo>
                    <a:cubicBezTo>
                      <a:pt x="2089" y="851"/>
                      <a:pt x="2089" y="851"/>
                      <a:pt x="2089" y="850"/>
                    </a:cubicBezTo>
                    <a:cubicBezTo>
                      <a:pt x="2089" y="850"/>
                      <a:pt x="2089" y="850"/>
                      <a:pt x="2088" y="850"/>
                    </a:cubicBezTo>
                    <a:cubicBezTo>
                      <a:pt x="2088" y="850"/>
                      <a:pt x="2088" y="850"/>
                      <a:pt x="2087" y="849"/>
                    </a:cubicBezTo>
                    <a:cubicBezTo>
                      <a:pt x="2087" y="849"/>
                      <a:pt x="2087" y="849"/>
                      <a:pt x="2086" y="848"/>
                    </a:cubicBezTo>
                    <a:cubicBezTo>
                      <a:pt x="2086" y="848"/>
                      <a:pt x="2086" y="848"/>
                      <a:pt x="2086" y="850"/>
                    </a:cubicBezTo>
                    <a:cubicBezTo>
                      <a:pt x="2086" y="850"/>
                      <a:pt x="2086" y="850"/>
                      <a:pt x="2086" y="851"/>
                    </a:cubicBezTo>
                    <a:cubicBezTo>
                      <a:pt x="2086" y="851"/>
                      <a:pt x="2086" y="851"/>
                      <a:pt x="2085" y="850"/>
                    </a:cubicBezTo>
                    <a:cubicBezTo>
                      <a:pt x="2085" y="850"/>
                      <a:pt x="2085" y="850"/>
                      <a:pt x="2085" y="851"/>
                    </a:cubicBezTo>
                    <a:cubicBezTo>
                      <a:pt x="2085" y="851"/>
                      <a:pt x="2085" y="851"/>
                      <a:pt x="2084" y="851"/>
                    </a:cubicBezTo>
                    <a:cubicBezTo>
                      <a:pt x="2084" y="851"/>
                      <a:pt x="2084" y="851"/>
                      <a:pt x="2083" y="850"/>
                    </a:cubicBezTo>
                    <a:cubicBezTo>
                      <a:pt x="2083" y="850"/>
                      <a:pt x="2083" y="850"/>
                      <a:pt x="2083" y="849"/>
                    </a:cubicBezTo>
                    <a:cubicBezTo>
                      <a:pt x="2083" y="849"/>
                      <a:pt x="2083" y="849"/>
                      <a:pt x="2082" y="849"/>
                    </a:cubicBezTo>
                    <a:cubicBezTo>
                      <a:pt x="2082" y="849"/>
                      <a:pt x="2082" y="849"/>
                      <a:pt x="2082" y="850"/>
                    </a:cubicBezTo>
                    <a:cubicBezTo>
                      <a:pt x="2082" y="850"/>
                      <a:pt x="2082" y="850"/>
                      <a:pt x="2083" y="851"/>
                    </a:cubicBezTo>
                    <a:cubicBezTo>
                      <a:pt x="2083" y="851"/>
                      <a:pt x="2083" y="851"/>
                      <a:pt x="2082" y="852"/>
                    </a:cubicBezTo>
                    <a:cubicBezTo>
                      <a:pt x="2083" y="852"/>
                      <a:pt x="2083" y="852"/>
                      <a:pt x="2083" y="852"/>
                    </a:cubicBezTo>
                    <a:cubicBezTo>
                      <a:pt x="2083" y="853"/>
                      <a:pt x="2083" y="853"/>
                      <a:pt x="2083" y="853"/>
                    </a:cubicBezTo>
                    <a:cubicBezTo>
                      <a:pt x="2083" y="854"/>
                      <a:pt x="2083" y="854"/>
                      <a:pt x="2083" y="854"/>
                    </a:cubicBezTo>
                    <a:cubicBezTo>
                      <a:pt x="2082" y="853"/>
                      <a:pt x="2082" y="853"/>
                      <a:pt x="2082" y="853"/>
                    </a:cubicBezTo>
                    <a:cubicBezTo>
                      <a:pt x="2082" y="853"/>
                      <a:pt x="2082" y="853"/>
                      <a:pt x="2082" y="854"/>
                    </a:cubicBezTo>
                    <a:cubicBezTo>
                      <a:pt x="2082" y="854"/>
                      <a:pt x="2082" y="854"/>
                      <a:pt x="2081" y="854"/>
                    </a:cubicBezTo>
                    <a:cubicBezTo>
                      <a:pt x="2081" y="854"/>
                      <a:pt x="2081" y="854"/>
                      <a:pt x="2080" y="852"/>
                    </a:cubicBezTo>
                    <a:cubicBezTo>
                      <a:pt x="2080" y="852"/>
                      <a:pt x="2080" y="852"/>
                      <a:pt x="2079" y="853"/>
                    </a:cubicBezTo>
                    <a:cubicBezTo>
                      <a:pt x="2079" y="853"/>
                      <a:pt x="2079" y="853"/>
                      <a:pt x="2080" y="853"/>
                    </a:cubicBezTo>
                    <a:cubicBezTo>
                      <a:pt x="2080" y="853"/>
                      <a:pt x="2080" y="853"/>
                      <a:pt x="2080" y="854"/>
                    </a:cubicBezTo>
                    <a:cubicBezTo>
                      <a:pt x="2080" y="854"/>
                      <a:pt x="2080" y="854"/>
                      <a:pt x="2081" y="854"/>
                    </a:cubicBezTo>
                    <a:cubicBezTo>
                      <a:pt x="2081" y="854"/>
                      <a:pt x="2081" y="854"/>
                      <a:pt x="2081" y="855"/>
                    </a:cubicBezTo>
                    <a:cubicBezTo>
                      <a:pt x="2081" y="855"/>
                      <a:pt x="2081" y="855"/>
                      <a:pt x="2080" y="855"/>
                    </a:cubicBezTo>
                    <a:cubicBezTo>
                      <a:pt x="2080" y="855"/>
                      <a:pt x="2080" y="855"/>
                      <a:pt x="2079" y="855"/>
                    </a:cubicBezTo>
                    <a:cubicBezTo>
                      <a:pt x="2079" y="855"/>
                      <a:pt x="2079" y="855"/>
                      <a:pt x="2077" y="856"/>
                    </a:cubicBezTo>
                    <a:cubicBezTo>
                      <a:pt x="2077" y="856"/>
                      <a:pt x="2077" y="856"/>
                      <a:pt x="2076" y="856"/>
                    </a:cubicBezTo>
                    <a:cubicBezTo>
                      <a:pt x="2076" y="856"/>
                      <a:pt x="2076" y="856"/>
                      <a:pt x="2078" y="857"/>
                    </a:cubicBezTo>
                    <a:cubicBezTo>
                      <a:pt x="2078" y="857"/>
                      <a:pt x="2078" y="857"/>
                      <a:pt x="2080" y="858"/>
                    </a:cubicBezTo>
                    <a:cubicBezTo>
                      <a:pt x="2080" y="858"/>
                      <a:pt x="2080" y="858"/>
                      <a:pt x="2080" y="860"/>
                    </a:cubicBezTo>
                    <a:cubicBezTo>
                      <a:pt x="2080" y="860"/>
                      <a:pt x="2080" y="860"/>
                      <a:pt x="2079" y="861"/>
                    </a:cubicBezTo>
                    <a:cubicBezTo>
                      <a:pt x="2079" y="861"/>
                      <a:pt x="2079" y="861"/>
                      <a:pt x="2079" y="860"/>
                    </a:cubicBezTo>
                    <a:cubicBezTo>
                      <a:pt x="2079" y="860"/>
                      <a:pt x="2079" y="860"/>
                      <a:pt x="2078" y="861"/>
                    </a:cubicBezTo>
                    <a:cubicBezTo>
                      <a:pt x="2078" y="861"/>
                      <a:pt x="2078" y="861"/>
                      <a:pt x="2076" y="861"/>
                    </a:cubicBezTo>
                    <a:cubicBezTo>
                      <a:pt x="2076" y="861"/>
                      <a:pt x="2076" y="861"/>
                      <a:pt x="2075" y="862"/>
                    </a:cubicBezTo>
                    <a:cubicBezTo>
                      <a:pt x="2075" y="862"/>
                      <a:pt x="2075" y="862"/>
                      <a:pt x="2074" y="862"/>
                    </a:cubicBezTo>
                    <a:cubicBezTo>
                      <a:pt x="2074" y="862"/>
                      <a:pt x="2074" y="862"/>
                      <a:pt x="2073" y="861"/>
                    </a:cubicBezTo>
                    <a:cubicBezTo>
                      <a:pt x="2073" y="861"/>
                      <a:pt x="2073" y="861"/>
                      <a:pt x="2073" y="860"/>
                    </a:cubicBezTo>
                    <a:cubicBezTo>
                      <a:pt x="2073" y="860"/>
                      <a:pt x="2073" y="860"/>
                      <a:pt x="2072" y="861"/>
                    </a:cubicBezTo>
                    <a:cubicBezTo>
                      <a:pt x="2072" y="861"/>
                      <a:pt x="2072" y="861"/>
                      <a:pt x="2069" y="860"/>
                    </a:cubicBezTo>
                    <a:cubicBezTo>
                      <a:pt x="2069" y="860"/>
                      <a:pt x="2069" y="860"/>
                      <a:pt x="2068" y="861"/>
                    </a:cubicBezTo>
                    <a:cubicBezTo>
                      <a:pt x="2068" y="861"/>
                      <a:pt x="2068" y="861"/>
                      <a:pt x="2067" y="860"/>
                    </a:cubicBezTo>
                    <a:cubicBezTo>
                      <a:pt x="2067" y="860"/>
                      <a:pt x="2067" y="860"/>
                      <a:pt x="2065" y="860"/>
                    </a:cubicBezTo>
                    <a:cubicBezTo>
                      <a:pt x="2064" y="860"/>
                      <a:pt x="2064" y="860"/>
                      <a:pt x="2064" y="860"/>
                    </a:cubicBezTo>
                    <a:cubicBezTo>
                      <a:pt x="2063" y="860"/>
                      <a:pt x="2063" y="860"/>
                      <a:pt x="2063" y="860"/>
                    </a:cubicBezTo>
                    <a:cubicBezTo>
                      <a:pt x="2061" y="858"/>
                      <a:pt x="2061" y="858"/>
                      <a:pt x="2061" y="858"/>
                    </a:cubicBezTo>
                    <a:cubicBezTo>
                      <a:pt x="2061" y="857"/>
                      <a:pt x="2061" y="857"/>
                      <a:pt x="2061" y="857"/>
                    </a:cubicBezTo>
                    <a:cubicBezTo>
                      <a:pt x="2059" y="855"/>
                      <a:pt x="2059" y="855"/>
                      <a:pt x="2059" y="855"/>
                    </a:cubicBezTo>
                    <a:cubicBezTo>
                      <a:pt x="2059" y="854"/>
                      <a:pt x="2059" y="854"/>
                      <a:pt x="2059" y="854"/>
                    </a:cubicBezTo>
                    <a:cubicBezTo>
                      <a:pt x="2059" y="853"/>
                      <a:pt x="2059" y="853"/>
                      <a:pt x="2059" y="853"/>
                    </a:cubicBezTo>
                    <a:cubicBezTo>
                      <a:pt x="2058" y="854"/>
                      <a:pt x="2058" y="854"/>
                      <a:pt x="2058" y="854"/>
                    </a:cubicBezTo>
                    <a:cubicBezTo>
                      <a:pt x="2056" y="854"/>
                      <a:pt x="2056" y="854"/>
                      <a:pt x="2056" y="854"/>
                    </a:cubicBezTo>
                    <a:cubicBezTo>
                      <a:pt x="2055" y="854"/>
                      <a:pt x="2055" y="854"/>
                      <a:pt x="2055" y="854"/>
                    </a:cubicBezTo>
                    <a:cubicBezTo>
                      <a:pt x="2054" y="854"/>
                      <a:pt x="2054" y="854"/>
                      <a:pt x="2054" y="854"/>
                    </a:cubicBezTo>
                    <a:cubicBezTo>
                      <a:pt x="2052" y="854"/>
                      <a:pt x="2052" y="854"/>
                      <a:pt x="2052" y="854"/>
                    </a:cubicBezTo>
                    <a:cubicBezTo>
                      <a:pt x="2051" y="853"/>
                      <a:pt x="2051" y="853"/>
                      <a:pt x="2051" y="853"/>
                    </a:cubicBezTo>
                    <a:cubicBezTo>
                      <a:pt x="2052" y="853"/>
                      <a:pt x="2052" y="853"/>
                      <a:pt x="2052" y="853"/>
                    </a:cubicBezTo>
                    <a:cubicBezTo>
                      <a:pt x="2052" y="852"/>
                      <a:pt x="2052" y="852"/>
                      <a:pt x="2052" y="852"/>
                    </a:cubicBezTo>
                    <a:cubicBezTo>
                      <a:pt x="2052" y="852"/>
                      <a:pt x="2052" y="852"/>
                      <a:pt x="2051" y="852"/>
                    </a:cubicBezTo>
                    <a:cubicBezTo>
                      <a:pt x="2051" y="852"/>
                      <a:pt x="2051" y="852"/>
                      <a:pt x="2051" y="853"/>
                    </a:cubicBezTo>
                    <a:cubicBezTo>
                      <a:pt x="2051" y="853"/>
                      <a:pt x="2051" y="853"/>
                      <a:pt x="2050" y="854"/>
                    </a:cubicBezTo>
                    <a:cubicBezTo>
                      <a:pt x="2050" y="854"/>
                      <a:pt x="2050" y="854"/>
                      <a:pt x="2049" y="855"/>
                    </a:cubicBezTo>
                    <a:cubicBezTo>
                      <a:pt x="2049" y="855"/>
                      <a:pt x="2049" y="855"/>
                      <a:pt x="2048" y="855"/>
                    </a:cubicBezTo>
                    <a:cubicBezTo>
                      <a:pt x="2048" y="855"/>
                      <a:pt x="2048" y="855"/>
                      <a:pt x="2046" y="855"/>
                    </a:cubicBezTo>
                    <a:cubicBezTo>
                      <a:pt x="2046" y="855"/>
                      <a:pt x="2046" y="855"/>
                      <a:pt x="2045" y="855"/>
                    </a:cubicBezTo>
                    <a:cubicBezTo>
                      <a:pt x="2045" y="855"/>
                      <a:pt x="2045" y="855"/>
                      <a:pt x="2043" y="855"/>
                    </a:cubicBezTo>
                    <a:cubicBezTo>
                      <a:pt x="2043" y="855"/>
                      <a:pt x="2043" y="855"/>
                      <a:pt x="2046" y="853"/>
                    </a:cubicBezTo>
                    <a:cubicBezTo>
                      <a:pt x="2046" y="853"/>
                      <a:pt x="2046" y="853"/>
                      <a:pt x="2047" y="851"/>
                    </a:cubicBezTo>
                    <a:cubicBezTo>
                      <a:pt x="2047" y="851"/>
                      <a:pt x="2047" y="851"/>
                      <a:pt x="2047" y="850"/>
                    </a:cubicBezTo>
                    <a:cubicBezTo>
                      <a:pt x="2047" y="850"/>
                      <a:pt x="2047" y="850"/>
                      <a:pt x="2049" y="849"/>
                    </a:cubicBezTo>
                    <a:cubicBezTo>
                      <a:pt x="2049" y="849"/>
                      <a:pt x="2049" y="849"/>
                      <a:pt x="2051" y="849"/>
                    </a:cubicBezTo>
                    <a:cubicBezTo>
                      <a:pt x="2051" y="849"/>
                      <a:pt x="2051" y="849"/>
                      <a:pt x="2052" y="850"/>
                    </a:cubicBezTo>
                    <a:cubicBezTo>
                      <a:pt x="2052" y="850"/>
                      <a:pt x="2052" y="850"/>
                      <a:pt x="2052" y="851"/>
                    </a:cubicBezTo>
                    <a:cubicBezTo>
                      <a:pt x="2053" y="851"/>
                      <a:pt x="2053" y="851"/>
                      <a:pt x="2053" y="851"/>
                    </a:cubicBezTo>
                    <a:cubicBezTo>
                      <a:pt x="2053" y="849"/>
                      <a:pt x="2053" y="849"/>
                      <a:pt x="2053" y="849"/>
                    </a:cubicBezTo>
                    <a:cubicBezTo>
                      <a:pt x="2052" y="849"/>
                      <a:pt x="2052" y="849"/>
                      <a:pt x="2052" y="849"/>
                    </a:cubicBezTo>
                    <a:cubicBezTo>
                      <a:pt x="2051" y="848"/>
                      <a:pt x="2051" y="848"/>
                      <a:pt x="2051" y="848"/>
                    </a:cubicBezTo>
                    <a:cubicBezTo>
                      <a:pt x="2052" y="848"/>
                      <a:pt x="2052" y="848"/>
                      <a:pt x="2052" y="848"/>
                    </a:cubicBezTo>
                    <a:cubicBezTo>
                      <a:pt x="2053" y="848"/>
                      <a:pt x="2053" y="848"/>
                      <a:pt x="2053" y="848"/>
                    </a:cubicBezTo>
                    <a:cubicBezTo>
                      <a:pt x="2054" y="848"/>
                      <a:pt x="2054" y="848"/>
                      <a:pt x="2054" y="848"/>
                    </a:cubicBezTo>
                    <a:cubicBezTo>
                      <a:pt x="2055" y="848"/>
                      <a:pt x="2055" y="848"/>
                      <a:pt x="2055" y="848"/>
                    </a:cubicBezTo>
                    <a:cubicBezTo>
                      <a:pt x="2054" y="847"/>
                      <a:pt x="2054" y="847"/>
                      <a:pt x="2054" y="847"/>
                    </a:cubicBezTo>
                    <a:cubicBezTo>
                      <a:pt x="2052" y="848"/>
                      <a:pt x="2052" y="848"/>
                      <a:pt x="2052" y="848"/>
                    </a:cubicBezTo>
                    <a:cubicBezTo>
                      <a:pt x="2051" y="847"/>
                      <a:pt x="2051" y="847"/>
                      <a:pt x="2051" y="847"/>
                    </a:cubicBezTo>
                    <a:cubicBezTo>
                      <a:pt x="2050" y="846"/>
                      <a:pt x="2050" y="846"/>
                      <a:pt x="2050" y="846"/>
                    </a:cubicBezTo>
                    <a:cubicBezTo>
                      <a:pt x="2050" y="845"/>
                      <a:pt x="2050" y="845"/>
                      <a:pt x="2050" y="845"/>
                    </a:cubicBezTo>
                    <a:cubicBezTo>
                      <a:pt x="2051" y="845"/>
                      <a:pt x="2051" y="845"/>
                      <a:pt x="2051" y="845"/>
                    </a:cubicBezTo>
                    <a:cubicBezTo>
                      <a:pt x="2052" y="845"/>
                      <a:pt x="2052" y="845"/>
                      <a:pt x="2052" y="845"/>
                    </a:cubicBezTo>
                    <a:cubicBezTo>
                      <a:pt x="2050" y="844"/>
                      <a:pt x="2050" y="844"/>
                      <a:pt x="2050" y="844"/>
                    </a:cubicBezTo>
                    <a:cubicBezTo>
                      <a:pt x="2049" y="843"/>
                      <a:pt x="2049" y="843"/>
                      <a:pt x="2049" y="843"/>
                    </a:cubicBezTo>
                    <a:cubicBezTo>
                      <a:pt x="2048" y="842"/>
                      <a:pt x="2048" y="842"/>
                      <a:pt x="2048" y="842"/>
                    </a:cubicBezTo>
                    <a:cubicBezTo>
                      <a:pt x="2049" y="841"/>
                      <a:pt x="2049" y="841"/>
                      <a:pt x="2049" y="841"/>
                    </a:cubicBezTo>
                    <a:cubicBezTo>
                      <a:pt x="2047" y="839"/>
                      <a:pt x="2047" y="839"/>
                      <a:pt x="2047" y="839"/>
                    </a:cubicBezTo>
                    <a:cubicBezTo>
                      <a:pt x="2049" y="838"/>
                      <a:pt x="2049" y="838"/>
                      <a:pt x="2049" y="838"/>
                    </a:cubicBezTo>
                    <a:cubicBezTo>
                      <a:pt x="2047" y="838"/>
                      <a:pt x="2047" y="838"/>
                      <a:pt x="2047" y="838"/>
                    </a:cubicBezTo>
                    <a:cubicBezTo>
                      <a:pt x="2047" y="837"/>
                      <a:pt x="2047" y="837"/>
                      <a:pt x="2047" y="837"/>
                    </a:cubicBezTo>
                    <a:cubicBezTo>
                      <a:pt x="2047" y="836"/>
                      <a:pt x="2047" y="836"/>
                      <a:pt x="2047" y="836"/>
                    </a:cubicBezTo>
                    <a:cubicBezTo>
                      <a:pt x="2046" y="836"/>
                      <a:pt x="2046" y="836"/>
                      <a:pt x="2046" y="836"/>
                    </a:cubicBezTo>
                    <a:cubicBezTo>
                      <a:pt x="2046" y="835"/>
                      <a:pt x="2046" y="835"/>
                      <a:pt x="2046" y="835"/>
                    </a:cubicBezTo>
                    <a:cubicBezTo>
                      <a:pt x="2045" y="836"/>
                      <a:pt x="2045" y="836"/>
                      <a:pt x="2045" y="836"/>
                    </a:cubicBezTo>
                    <a:cubicBezTo>
                      <a:pt x="2044" y="835"/>
                      <a:pt x="2044" y="835"/>
                      <a:pt x="2044" y="835"/>
                    </a:cubicBezTo>
                    <a:cubicBezTo>
                      <a:pt x="2045" y="835"/>
                      <a:pt x="2045" y="835"/>
                      <a:pt x="2045" y="835"/>
                    </a:cubicBezTo>
                    <a:cubicBezTo>
                      <a:pt x="2045" y="835"/>
                      <a:pt x="2045" y="835"/>
                      <a:pt x="2045" y="834"/>
                    </a:cubicBezTo>
                    <a:cubicBezTo>
                      <a:pt x="2045" y="834"/>
                      <a:pt x="2045" y="834"/>
                      <a:pt x="2044" y="835"/>
                    </a:cubicBezTo>
                    <a:cubicBezTo>
                      <a:pt x="2043" y="835"/>
                      <a:pt x="2043" y="835"/>
                      <a:pt x="2043" y="835"/>
                    </a:cubicBezTo>
                    <a:cubicBezTo>
                      <a:pt x="2042" y="834"/>
                      <a:pt x="2042" y="834"/>
                      <a:pt x="2042" y="834"/>
                    </a:cubicBezTo>
                    <a:cubicBezTo>
                      <a:pt x="2041" y="833"/>
                      <a:pt x="2041" y="833"/>
                      <a:pt x="2041" y="833"/>
                    </a:cubicBezTo>
                    <a:cubicBezTo>
                      <a:pt x="2040" y="832"/>
                      <a:pt x="2040" y="832"/>
                      <a:pt x="2040" y="832"/>
                    </a:cubicBezTo>
                    <a:cubicBezTo>
                      <a:pt x="2038" y="832"/>
                      <a:pt x="2038" y="832"/>
                      <a:pt x="2038" y="832"/>
                    </a:cubicBezTo>
                    <a:cubicBezTo>
                      <a:pt x="2035" y="831"/>
                      <a:pt x="2035" y="831"/>
                      <a:pt x="2035" y="831"/>
                    </a:cubicBezTo>
                    <a:cubicBezTo>
                      <a:pt x="2031" y="830"/>
                      <a:pt x="2031" y="830"/>
                      <a:pt x="2031" y="830"/>
                    </a:cubicBezTo>
                    <a:cubicBezTo>
                      <a:pt x="2029" y="830"/>
                      <a:pt x="2029" y="830"/>
                      <a:pt x="2029" y="830"/>
                    </a:cubicBezTo>
                    <a:cubicBezTo>
                      <a:pt x="2028" y="829"/>
                      <a:pt x="2028" y="829"/>
                      <a:pt x="2028" y="829"/>
                    </a:cubicBezTo>
                    <a:cubicBezTo>
                      <a:pt x="2027" y="829"/>
                      <a:pt x="2027" y="829"/>
                      <a:pt x="2027" y="829"/>
                    </a:cubicBezTo>
                    <a:cubicBezTo>
                      <a:pt x="2027" y="828"/>
                      <a:pt x="2027" y="828"/>
                      <a:pt x="2027" y="828"/>
                    </a:cubicBezTo>
                    <a:cubicBezTo>
                      <a:pt x="2026" y="828"/>
                      <a:pt x="2026" y="828"/>
                      <a:pt x="2026" y="828"/>
                    </a:cubicBezTo>
                    <a:cubicBezTo>
                      <a:pt x="2026" y="827"/>
                      <a:pt x="2026" y="827"/>
                      <a:pt x="2026" y="827"/>
                    </a:cubicBezTo>
                    <a:cubicBezTo>
                      <a:pt x="2025" y="827"/>
                      <a:pt x="2025" y="827"/>
                      <a:pt x="2025" y="827"/>
                    </a:cubicBezTo>
                    <a:cubicBezTo>
                      <a:pt x="2024" y="827"/>
                      <a:pt x="2024" y="827"/>
                      <a:pt x="2024" y="827"/>
                    </a:cubicBezTo>
                    <a:cubicBezTo>
                      <a:pt x="2024" y="826"/>
                      <a:pt x="2024" y="826"/>
                      <a:pt x="2024" y="826"/>
                    </a:cubicBezTo>
                    <a:cubicBezTo>
                      <a:pt x="2023" y="827"/>
                      <a:pt x="2023" y="827"/>
                      <a:pt x="2023" y="827"/>
                    </a:cubicBezTo>
                    <a:cubicBezTo>
                      <a:pt x="2023" y="825"/>
                      <a:pt x="2023" y="825"/>
                      <a:pt x="2023" y="825"/>
                    </a:cubicBezTo>
                    <a:cubicBezTo>
                      <a:pt x="2022" y="825"/>
                      <a:pt x="2022" y="825"/>
                      <a:pt x="2022" y="825"/>
                    </a:cubicBezTo>
                    <a:cubicBezTo>
                      <a:pt x="2021" y="826"/>
                      <a:pt x="2021" y="826"/>
                      <a:pt x="2021" y="826"/>
                    </a:cubicBezTo>
                    <a:cubicBezTo>
                      <a:pt x="2021" y="825"/>
                      <a:pt x="2021" y="825"/>
                      <a:pt x="2021" y="825"/>
                    </a:cubicBezTo>
                    <a:cubicBezTo>
                      <a:pt x="2020" y="823"/>
                      <a:pt x="2020" y="823"/>
                      <a:pt x="2020" y="823"/>
                    </a:cubicBezTo>
                    <a:cubicBezTo>
                      <a:pt x="2020" y="822"/>
                      <a:pt x="2020" y="822"/>
                      <a:pt x="2020" y="822"/>
                    </a:cubicBezTo>
                    <a:cubicBezTo>
                      <a:pt x="2021" y="821"/>
                      <a:pt x="2021" y="821"/>
                      <a:pt x="2021" y="821"/>
                    </a:cubicBezTo>
                    <a:cubicBezTo>
                      <a:pt x="2021" y="820"/>
                      <a:pt x="2021" y="820"/>
                      <a:pt x="2021" y="820"/>
                    </a:cubicBezTo>
                    <a:cubicBezTo>
                      <a:pt x="2020" y="821"/>
                      <a:pt x="2020" y="821"/>
                      <a:pt x="2020" y="821"/>
                    </a:cubicBezTo>
                    <a:cubicBezTo>
                      <a:pt x="2019" y="822"/>
                      <a:pt x="2019" y="822"/>
                      <a:pt x="2019" y="822"/>
                    </a:cubicBezTo>
                    <a:cubicBezTo>
                      <a:pt x="2019" y="823"/>
                      <a:pt x="2019" y="823"/>
                      <a:pt x="2019" y="823"/>
                    </a:cubicBezTo>
                    <a:cubicBezTo>
                      <a:pt x="2018" y="825"/>
                      <a:pt x="2018" y="825"/>
                      <a:pt x="2018" y="825"/>
                    </a:cubicBezTo>
                    <a:cubicBezTo>
                      <a:pt x="2018" y="826"/>
                      <a:pt x="2018" y="826"/>
                      <a:pt x="2018" y="826"/>
                    </a:cubicBezTo>
                    <a:cubicBezTo>
                      <a:pt x="2017" y="828"/>
                      <a:pt x="2017" y="828"/>
                      <a:pt x="2017" y="828"/>
                    </a:cubicBezTo>
                    <a:cubicBezTo>
                      <a:pt x="2015" y="828"/>
                      <a:pt x="2015" y="828"/>
                      <a:pt x="2015" y="828"/>
                    </a:cubicBezTo>
                    <a:cubicBezTo>
                      <a:pt x="2014" y="828"/>
                      <a:pt x="2014" y="828"/>
                      <a:pt x="2014" y="828"/>
                    </a:cubicBezTo>
                    <a:cubicBezTo>
                      <a:pt x="2013" y="826"/>
                      <a:pt x="2013" y="826"/>
                      <a:pt x="2013" y="826"/>
                    </a:cubicBezTo>
                    <a:cubicBezTo>
                      <a:pt x="2013" y="825"/>
                      <a:pt x="2013" y="825"/>
                      <a:pt x="2013" y="825"/>
                    </a:cubicBezTo>
                    <a:cubicBezTo>
                      <a:pt x="2014" y="825"/>
                      <a:pt x="2014" y="825"/>
                      <a:pt x="2014" y="825"/>
                    </a:cubicBezTo>
                    <a:cubicBezTo>
                      <a:pt x="2014" y="824"/>
                      <a:pt x="2014" y="824"/>
                      <a:pt x="2014" y="824"/>
                    </a:cubicBezTo>
                    <a:cubicBezTo>
                      <a:pt x="2014" y="823"/>
                      <a:pt x="2014" y="823"/>
                      <a:pt x="2014" y="823"/>
                    </a:cubicBezTo>
                    <a:cubicBezTo>
                      <a:pt x="2013" y="823"/>
                      <a:pt x="2013" y="823"/>
                      <a:pt x="2013" y="823"/>
                    </a:cubicBezTo>
                    <a:cubicBezTo>
                      <a:pt x="2012" y="821"/>
                      <a:pt x="2012" y="821"/>
                      <a:pt x="2012" y="821"/>
                    </a:cubicBezTo>
                    <a:cubicBezTo>
                      <a:pt x="2011" y="821"/>
                      <a:pt x="2011" y="821"/>
                      <a:pt x="2011" y="821"/>
                    </a:cubicBezTo>
                    <a:cubicBezTo>
                      <a:pt x="2009" y="820"/>
                      <a:pt x="2009" y="820"/>
                      <a:pt x="2009" y="820"/>
                    </a:cubicBezTo>
                    <a:cubicBezTo>
                      <a:pt x="2010" y="819"/>
                      <a:pt x="2010" y="819"/>
                      <a:pt x="2010" y="819"/>
                    </a:cubicBezTo>
                    <a:cubicBezTo>
                      <a:pt x="2011" y="819"/>
                      <a:pt x="2011" y="819"/>
                      <a:pt x="2011" y="819"/>
                    </a:cubicBezTo>
                    <a:cubicBezTo>
                      <a:pt x="2012" y="819"/>
                      <a:pt x="2012" y="819"/>
                      <a:pt x="2012" y="819"/>
                    </a:cubicBezTo>
                    <a:cubicBezTo>
                      <a:pt x="2013" y="819"/>
                      <a:pt x="2013" y="819"/>
                      <a:pt x="2013" y="819"/>
                    </a:cubicBezTo>
                    <a:cubicBezTo>
                      <a:pt x="2014" y="820"/>
                      <a:pt x="2014" y="820"/>
                      <a:pt x="2014" y="820"/>
                    </a:cubicBezTo>
                    <a:cubicBezTo>
                      <a:pt x="2015" y="819"/>
                      <a:pt x="2015" y="819"/>
                      <a:pt x="2015" y="819"/>
                    </a:cubicBezTo>
                    <a:cubicBezTo>
                      <a:pt x="2016" y="818"/>
                      <a:pt x="2016" y="818"/>
                      <a:pt x="2016" y="818"/>
                    </a:cubicBezTo>
                    <a:cubicBezTo>
                      <a:pt x="2017" y="817"/>
                      <a:pt x="2017" y="817"/>
                      <a:pt x="2017" y="817"/>
                    </a:cubicBezTo>
                    <a:cubicBezTo>
                      <a:pt x="2019" y="818"/>
                      <a:pt x="2019" y="818"/>
                      <a:pt x="2019" y="818"/>
                    </a:cubicBezTo>
                    <a:cubicBezTo>
                      <a:pt x="2019" y="819"/>
                      <a:pt x="2019" y="819"/>
                      <a:pt x="2019" y="819"/>
                    </a:cubicBezTo>
                    <a:cubicBezTo>
                      <a:pt x="2020" y="818"/>
                      <a:pt x="2020" y="818"/>
                      <a:pt x="2020" y="818"/>
                    </a:cubicBezTo>
                    <a:cubicBezTo>
                      <a:pt x="2020" y="817"/>
                      <a:pt x="2020" y="817"/>
                      <a:pt x="2020" y="817"/>
                    </a:cubicBezTo>
                    <a:cubicBezTo>
                      <a:pt x="2021" y="817"/>
                      <a:pt x="2021" y="817"/>
                      <a:pt x="2021" y="817"/>
                    </a:cubicBezTo>
                    <a:cubicBezTo>
                      <a:pt x="2021" y="816"/>
                      <a:pt x="2021" y="816"/>
                      <a:pt x="2021" y="816"/>
                    </a:cubicBezTo>
                    <a:cubicBezTo>
                      <a:pt x="2021" y="815"/>
                      <a:pt x="2021" y="815"/>
                      <a:pt x="2021" y="815"/>
                    </a:cubicBezTo>
                    <a:cubicBezTo>
                      <a:pt x="2018" y="815"/>
                      <a:pt x="2018" y="815"/>
                      <a:pt x="2018" y="815"/>
                    </a:cubicBezTo>
                    <a:cubicBezTo>
                      <a:pt x="2017" y="816"/>
                      <a:pt x="2017" y="816"/>
                      <a:pt x="2017" y="816"/>
                    </a:cubicBezTo>
                    <a:cubicBezTo>
                      <a:pt x="2017" y="815"/>
                      <a:pt x="2017" y="815"/>
                      <a:pt x="2017" y="815"/>
                    </a:cubicBezTo>
                    <a:cubicBezTo>
                      <a:pt x="2015" y="816"/>
                      <a:pt x="2015" y="816"/>
                      <a:pt x="2015" y="816"/>
                    </a:cubicBezTo>
                    <a:cubicBezTo>
                      <a:pt x="2014" y="816"/>
                      <a:pt x="2014" y="816"/>
                      <a:pt x="2014" y="816"/>
                    </a:cubicBezTo>
                    <a:cubicBezTo>
                      <a:pt x="2013" y="816"/>
                      <a:pt x="2013" y="816"/>
                      <a:pt x="2013" y="816"/>
                    </a:cubicBezTo>
                    <a:cubicBezTo>
                      <a:pt x="2011" y="816"/>
                      <a:pt x="2011" y="816"/>
                      <a:pt x="2011" y="816"/>
                    </a:cubicBezTo>
                    <a:cubicBezTo>
                      <a:pt x="2010" y="816"/>
                      <a:pt x="2010" y="816"/>
                      <a:pt x="2010" y="816"/>
                    </a:cubicBezTo>
                    <a:cubicBezTo>
                      <a:pt x="2009" y="815"/>
                      <a:pt x="2009" y="815"/>
                      <a:pt x="2009" y="815"/>
                    </a:cubicBezTo>
                    <a:cubicBezTo>
                      <a:pt x="2009" y="813"/>
                      <a:pt x="2009" y="813"/>
                      <a:pt x="2009" y="813"/>
                    </a:cubicBezTo>
                    <a:cubicBezTo>
                      <a:pt x="2008" y="812"/>
                      <a:pt x="2008" y="812"/>
                      <a:pt x="2008" y="812"/>
                    </a:cubicBezTo>
                    <a:cubicBezTo>
                      <a:pt x="2006" y="811"/>
                      <a:pt x="2006" y="811"/>
                      <a:pt x="2006" y="811"/>
                    </a:cubicBezTo>
                    <a:cubicBezTo>
                      <a:pt x="2006" y="810"/>
                      <a:pt x="2006" y="810"/>
                      <a:pt x="2006" y="810"/>
                    </a:cubicBezTo>
                    <a:cubicBezTo>
                      <a:pt x="2005" y="810"/>
                      <a:pt x="2005" y="810"/>
                      <a:pt x="2005" y="810"/>
                    </a:cubicBezTo>
                    <a:cubicBezTo>
                      <a:pt x="2004" y="811"/>
                      <a:pt x="2004" y="811"/>
                      <a:pt x="2004" y="811"/>
                    </a:cubicBezTo>
                    <a:cubicBezTo>
                      <a:pt x="2003" y="811"/>
                      <a:pt x="2003" y="811"/>
                      <a:pt x="2003" y="811"/>
                    </a:cubicBezTo>
                    <a:cubicBezTo>
                      <a:pt x="2003" y="810"/>
                      <a:pt x="2003" y="810"/>
                      <a:pt x="2003" y="810"/>
                    </a:cubicBezTo>
                    <a:cubicBezTo>
                      <a:pt x="2005" y="809"/>
                      <a:pt x="2005" y="809"/>
                      <a:pt x="2005" y="809"/>
                    </a:cubicBezTo>
                    <a:cubicBezTo>
                      <a:pt x="2005" y="808"/>
                      <a:pt x="2005" y="808"/>
                      <a:pt x="2005" y="808"/>
                    </a:cubicBezTo>
                    <a:cubicBezTo>
                      <a:pt x="2004" y="807"/>
                      <a:pt x="2004" y="807"/>
                      <a:pt x="2004" y="807"/>
                    </a:cubicBezTo>
                    <a:cubicBezTo>
                      <a:pt x="2005" y="806"/>
                      <a:pt x="2005" y="806"/>
                      <a:pt x="2005" y="806"/>
                    </a:cubicBezTo>
                    <a:cubicBezTo>
                      <a:pt x="2007" y="806"/>
                      <a:pt x="2007" y="806"/>
                      <a:pt x="2007" y="806"/>
                    </a:cubicBezTo>
                    <a:cubicBezTo>
                      <a:pt x="2008" y="806"/>
                      <a:pt x="2008" y="806"/>
                      <a:pt x="2008" y="806"/>
                    </a:cubicBezTo>
                    <a:cubicBezTo>
                      <a:pt x="2009" y="805"/>
                      <a:pt x="2009" y="805"/>
                      <a:pt x="2009" y="805"/>
                    </a:cubicBezTo>
                    <a:cubicBezTo>
                      <a:pt x="2011" y="804"/>
                      <a:pt x="2011" y="804"/>
                      <a:pt x="2011" y="804"/>
                    </a:cubicBezTo>
                    <a:cubicBezTo>
                      <a:pt x="2013" y="803"/>
                      <a:pt x="2013" y="803"/>
                      <a:pt x="2013" y="803"/>
                    </a:cubicBezTo>
                    <a:cubicBezTo>
                      <a:pt x="2016" y="804"/>
                      <a:pt x="2016" y="804"/>
                      <a:pt x="2016" y="804"/>
                    </a:cubicBezTo>
                    <a:cubicBezTo>
                      <a:pt x="2018" y="806"/>
                      <a:pt x="2018" y="806"/>
                      <a:pt x="2018" y="806"/>
                    </a:cubicBezTo>
                    <a:cubicBezTo>
                      <a:pt x="2020" y="806"/>
                      <a:pt x="2020" y="806"/>
                      <a:pt x="2020" y="806"/>
                    </a:cubicBezTo>
                    <a:cubicBezTo>
                      <a:pt x="2022" y="806"/>
                      <a:pt x="2022" y="806"/>
                      <a:pt x="2022" y="806"/>
                    </a:cubicBezTo>
                    <a:cubicBezTo>
                      <a:pt x="2023" y="806"/>
                      <a:pt x="2023" y="806"/>
                      <a:pt x="2023" y="806"/>
                    </a:cubicBezTo>
                    <a:cubicBezTo>
                      <a:pt x="2022" y="807"/>
                      <a:pt x="2022" y="807"/>
                      <a:pt x="2022" y="807"/>
                    </a:cubicBezTo>
                    <a:cubicBezTo>
                      <a:pt x="2022" y="809"/>
                      <a:pt x="2022" y="809"/>
                      <a:pt x="2022" y="809"/>
                    </a:cubicBezTo>
                    <a:cubicBezTo>
                      <a:pt x="2024" y="809"/>
                      <a:pt x="2024" y="809"/>
                      <a:pt x="2024" y="809"/>
                    </a:cubicBezTo>
                    <a:cubicBezTo>
                      <a:pt x="2024" y="811"/>
                      <a:pt x="2024" y="811"/>
                      <a:pt x="2024" y="811"/>
                    </a:cubicBezTo>
                    <a:cubicBezTo>
                      <a:pt x="2023" y="812"/>
                      <a:pt x="2023" y="812"/>
                      <a:pt x="2023" y="812"/>
                    </a:cubicBezTo>
                    <a:cubicBezTo>
                      <a:pt x="2022" y="813"/>
                      <a:pt x="2022" y="813"/>
                      <a:pt x="2022" y="813"/>
                    </a:cubicBezTo>
                    <a:cubicBezTo>
                      <a:pt x="2023" y="815"/>
                      <a:pt x="2023" y="815"/>
                      <a:pt x="2023" y="815"/>
                    </a:cubicBezTo>
                    <a:cubicBezTo>
                      <a:pt x="2023" y="817"/>
                      <a:pt x="2023" y="817"/>
                      <a:pt x="2023" y="817"/>
                    </a:cubicBezTo>
                    <a:cubicBezTo>
                      <a:pt x="2024" y="819"/>
                      <a:pt x="2024" y="819"/>
                      <a:pt x="2024" y="819"/>
                    </a:cubicBezTo>
                    <a:cubicBezTo>
                      <a:pt x="2025" y="820"/>
                      <a:pt x="2025" y="820"/>
                      <a:pt x="2025" y="820"/>
                    </a:cubicBezTo>
                    <a:cubicBezTo>
                      <a:pt x="2025" y="818"/>
                      <a:pt x="2025" y="818"/>
                      <a:pt x="2025" y="818"/>
                    </a:cubicBezTo>
                    <a:cubicBezTo>
                      <a:pt x="2026" y="818"/>
                      <a:pt x="2026" y="818"/>
                      <a:pt x="2026" y="818"/>
                    </a:cubicBezTo>
                    <a:cubicBezTo>
                      <a:pt x="2026" y="819"/>
                      <a:pt x="2026" y="819"/>
                      <a:pt x="2026" y="819"/>
                    </a:cubicBezTo>
                    <a:cubicBezTo>
                      <a:pt x="2027" y="821"/>
                      <a:pt x="2027" y="821"/>
                      <a:pt x="2027" y="821"/>
                    </a:cubicBezTo>
                    <a:cubicBezTo>
                      <a:pt x="2029" y="823"/>
                      <a:pt x="2029" y="823"/>
                      <a:pt x="2029" y="823"/>
                    </a:cubicBezTo>
                    <a:cubicBezTo>
                      <a:pt x="2030" y="823"/>
                      <a:pt x="2030" y="823"/>
                      <a:pt x="2030" y="823"/>
                    </a:cubicBezTo>
                    <a:cubicBezTo>
                      <a:pt x="2031" y="823"/>
                      <a:pt x="2031" y="823"/>
                      <a:pt x="2031" y="823"/>
                    </a:cubicBezTo>
                    <a:cubicBezTo>
                      <a:pt x="2032" y="823"/>
                      <a:pt x="2032" y="823"/>
                      <a:pt x="2032" y="823"/>
                    </a:cubicBezTo>
                    <a:cubicBezTo>
                      <a:pt x="2032" y="822"/>
                      <a:pt x="2032" y="822"/>
                      <a:pt x="2032" y="822"/>
                    </a:cubicBezTo>
                    <a:cubicBezTo>
                      <a:pt x="2033" y="821"/>
                      <a:pt x="2033" y="821"/>
                      <a:pt x="2033" y="821"/>
                    </a:cubicBezTo>
                    <a:cubicBezTo>
                      <a:pt x="2034" y="821"/>
                      <a:pt x="2034" y="821"/>
                      <a:pt x="2034" y="821"/>
                    </a:cubicBezTo>
                    <a:cubicBezTo>
                      <a:pt x="2034" y="819"/>
                      <a:pt x="2034" y="819"/>
                      <a:pt x="2034" y="819"/>
                    </a:cubicBezTo>
                    <a:cubicBezTo>
                      <a:pt x="2034" y="818"/>
                      <a:pt x="2034" y="818"/>
                      <a:pt x="2034" y="818"/>
                    </a:cubicBezTo>
                    <a:cubicBezTo>
                      <a:pt x="2036" y="818"/>
                      <a:pt x="2036" y="818"/>
                      <a:pt x="2036" y="818"/>
                    </a:cubicBezTo>
                    <a:cubicBezTo>
                      <a:pt x="2037" y="817"/>
                      <a:pt x="2037" y="817"/>
                      <a:pt x="2037" y="817"/>
                    </a:cubicBezTo>
                    <a:cubicBezTo>
                      <a:pt x="2037" y="816"/>
                      <a:pt x="2037" y="816"/>
                      <a:pt x="2037" y="816"/>
                    </a:cubicBezTo>
                    <a:cubicBezTo>
                      <a:pt x="2037" y="815"/>
                      <a:pt x="2037" y="815"/>
                      <a:pt x="2037" y="815"/>
                    </a:cubicBezTo>
                    <a:cubicBezTo>
                      <a:pt x="2038" y="816"/>
                      <a:pt x="2038" y="816"/>
                      <a:pt x="2038" y="816"/>
                    </a:cubicBezTo>
                    <a:cubicBezTo>
                      <a:pt x="2039" y="816"/>
                      <a:pt x="2039" y="816"/>
                      <a:pt x="2039" y="816"/>
                    </a:cubicBezTo>
                    <a:cubicBezTo>
                      <a:pt x="2040" y="815"/>
                      <a:pt x="2040" y="815"/>
                      <a:pt x="2040" y="815"/>
                    </a:cubicBezTo>
                    <a:cubicBezTo>
                      <a:pt x="2042" y="815"/>
                      <a:pt x="2042" y="815"/>
                      <a:pt x="2042" y="815"/>
                    </a:cubicBezTo>
                    <a:cubicBezTo>
                      <a:pt x="2042" y="814"/>
                      <a:pt x="2042" y="814"/>
                      <a:pt x="2042" y="814"/>
                    </a:cubicBezTo>
                    <a:cubicBezTo>
                      <a:pt x="2041" y="813"/>
                      <a:pt x="2041" y="813"/>
                      <a:pt x="2041" y="813"/>
                    </a:cubicBezTo>
                    <a:cubicBezTo>
                      <a:pt x="2042" y="812"/>
                      <a:pt x="2042" y="812"/>
                      <a:pt x="2042" y="812"/>
                    </a:cubicBezTo>
                    <a:cubicBezTo>
                      <a:pt x="2045" y="810"/>
                      <a:pt x="2045" y="810"/>
                      <a:pt x="2045" y="810"/>
                    </a:cubicBezTo>
                    <a:cubicBezTo>
                      <a:pt x="2046" y="811"/>
                      <a:pt x="2046" y="811"/>
                      <a:pt x="2046" y="811"/>
                    </a:cubicBezTo>
                    <a:cubicBezTo>
                      <a:pt x="2047" y="811"/>
                      <a:pt x="2047" y="811"/>
                      <a:pt x="2047" y="811"/>
                    </a:cubicBezTo>
                    <a:cubicBezTo>
                      <a:pt x="2049" y="812"/>
                      <a:pt x="2049" y="812"/>
                      <a:pt x="2049" y="812"/>
                    </a:cubicBezTo>
                    <a:cubicBezTo>
                      <a:pt x="2051" y="813"/>
                      <a:pt x="2051" y="813"/>
                      <a:pt x="2051" y="813"/>
                    </a:cubicBezTo>
                    <a:cubicBezTo>
                      <a:pt x="2052" y="814"/>
                      <a:pt x="2052" y="814"/>
                      <a:pt x="2052" y="814"/>
                    </a:cubicBezTo>
                    <a:cubicBezTo>
                      <a:pt x="2054" y="814"/>
                      <a:pt x="2054" y="814"/>
                      <a:pt x="2054" y="814"/>
                    </a:cubicBezTo>
                    <a:cubicBezTo>
                      <a:pt x="2055" y="814"/>
                      <a:pt x="2055" y="814"/>
                      <a:pt x="2055" y="814"/>
                    </a:cubicBezTo>
                    <a:cubicBezTo>
                      <a:pt x="2059" y="816"/>
                      <a:pt x="2059" y="816"/>
                      <a:pt x="2059" y="816"/>
                    </a:cubicBezTo>
                    <a:cubicBezTo>
                      <a:pt x="2060" y="816"/>
                      <a:pt x="2060" y="816"/>
                      <a:pt x="2060" y="816"/>
                    </a:cubicBezTo>
                    <a:cubicBezTo>
                      <a:pt x="2061" y="816"/>
                      <a:pt x="2061" y="816"/>
                      <a:pt x="2061" y="816"/>
                    </a:cubicBezTo>
                    <a:cubicBezTo>
                      <a:pt x="2062" y="816"/>
                      <a:pt x="2062" y="816"/>
                      <a:pt x="2062" y="816"/>
                    </a:cubicBezTo>
                    <a:cubicBezTo>
                      <a:pt x="2063" y="816"/>
                      <a:pt x="2063" y="816"/>
                      <a:pt x="2063" y="816"/>
                    </a:cubicBezTo>
                    <a:cubicBezTo>
                      <a:pt x="2064" y="817"/>
                      <a:pt x="2064" y="817"/>
                      <a:pt x="2064" y="817"/>
                    </a:cubicBezTo>
                    <a:cubicBezTo>
                      <a:pt x="2064" y="818"/>
                      <a:pt x="2064" y="818"/>
                      <a:pt x="2064" y="818"/>
                    </a:cubicBezTo>
                    <a:cubicBezTo>
                      <a:pt x="2065" y="819"/>
                      <a:pt x="2065" y="819"/>
                      <a:pt x="2065" y="819"/>
                    </a:cubicBezTo>
                    <a:cubicBezTo>
                      <a:pt x="2066" y="818"/>
                      <a:pt x="2066" y="818"/>
                      <a:pt x="2066" y="818"/>
                    </a:cubicBezTo>
                    <a:cubicBezTo>
                      <a:pt x="2066" y="818"/>
                      <a:pt x="2066" y="818"/>
                      <a:pt x="2067" y="818"/>
                    </a:cubicBezTo>
                    <a:cubicBezTo>
                      <a:pt x="2067" y="818"/>
                      <a:pt x="2067" y="818"/>
                      <a:pt x="2069" y="819"/>
                    </a:cubicBezTo>
                    <a:cubicBezTo>
                      <a:pt x="2069" y="819"/>
                      <a:pt x="2069" y="819"/>
                      <a:pt x="2070" y="820"/>
                    </a:cubicBezTo>
                    <a:cubicBezTo>
                      <a:pt x="2070" y="820"/>
                      <a:pt x="2070" y="820"/>
                      <a:pt x="2071" y="820"/>
                    </a:cubicBezTo>
                    <a:cubicBezTo>
                      <a:pt x="2071" y="820"/>
                      <a:pt x="2071" y="820"/>
                      <a:pt x="2073" y="821"/>
                    </a:cubicBezTo>
                    <a:cubicBezTo>
                      <a:pt x="2073" y="821"/>
                      <a:pt x="2073" y="821"/>
                      <a:pt x="2074" y="821"/>
                    </a:cubicBezTo>
                    <a:cubicBezTo>
                      <a:pt x="2074" y="821"/>
                      <a:pt x="2074" y="821"/>
                      <a:pt x="2075" y="821"/>
                    </a:cubicBezTo>
                    <a:cubicBezTo>
                      <a:pt x="2075" y="821"/>
                      <a:pt x="2075" y="821"/>
                      <a:pt x="2075" y="822"/>
                    </a:cubicBezTo>
                    <a:cubicBezTo>
                      <a:pt x="2075" y="822"/>
                      <a:pt x="2075" y="822"/>
                      <a:pt x="2077" y="822"/>
                    </a:cubicBezTo>
                    <a:cubicBezTo>
                      <a:pt x="2077" y="822"/>
                      <a:pt x="2077" y="822"/>
                      <a:pt x="2080" y="823"/>
                    </a:cubicBezTo>
                    <a:cubicBezTo>
                      <a:pt x="2080" y="823"/>
                      <a:pt x="2080" y="823"/>
                      <a:pt x="2082" y="824"/>
                    </a:cubicBezTo>
                    <a:cubicBezTo>
                      <a:pt x="2082" y="824"/>
                      <a:pt x="2082" y="824"/>
                      <a:pt x="2084" y="824"/>
                    </a:cubicBezTo>
                    <a:cubicBezTo>
                      <a:pt x="2084" y="824"/>
                      <a:pt x="2084" y="824"/>
                      <a:pt x="2085" y="825"/>
                    </a:cubicBezTo>
                    <a:cubicBezTo>
                      <a:pt x="2085" y="825"/>
                      <a:pt x="2085" y="825"/>
                      <a:pt x="2086" y="826"/>
                    </a:cubicBezTo>
                    <a:cubicBezTo>
                      <a:pt x="2086" y="826"/>
                      <a:pt x="2086" y="826"/>
                      <a:pt x="2087" y="826"/>
                    </a:cubicBezTo>
                    <a:cubicBezTo>
                      <a:pt x="2087" y="826"/>
                      <a:pt x="2087" y="826"/>
                      <a:pt x="2088" y="826"/>
                    </a:cubicBezTo>
                    <a:cubicBezTo>
                      <a:pt x="2088" y="826"/>
                      <a:pt x="2088" y="826"/>
                      <a:pt x="2089" y="827"/>
                    </a:cubicBezTo>
                    <a:cubicBezTo>
                      <a:pt x="2089" y="827"/>
                      <a:pt x="2089" y="827"/>
                      <a:pt x="2090" y="827"/>
                    </a:cubicBezTo>
                    <a:cubicBezTo>
                      <a:pt x="2090" y="827"/>
                      <a:pt x="2090" y="827"/>
                      <a:pt x="2090" y="828"/>
                    </a:cubicBezTo>
                    <a:cubicBezTo>
                      <a:pt x="2090" y="828"/>
                      <a:pt x="2090" y="828"/>
                      <a:pt x="2092" y="829"/>
                    </a:cubicBezTo>
                    <a:cubicBezTo>
                      <a:pt x="2092" y="829"/>
                      <a:pt x="2092" y="829"/>
                      <a:pt x="2092" y="830"/>
                    </a:cubicBezTo>
                    <a:cubicBezTo>
                      <a:pt x="2092" y="830"/>
                      <a:pt x="2092" y="830"/>
                      <a:pt x="2093" y="830"/>
                    </a:cubicBezTo>
                    <a:cubicBezTo>
                      <a:pt x="2093" y="830"/>
                      <a:pt x="2093" y="830"/>
                      <a:pt x="2093" y="829"/>
                    </a:cubicBezTo>
                    <a:cubicBezTo>
                      <a:pt x="2093" y="829"/>
                      <a:pt x="2093" y="829"/>
                      <a:pt x="2096" y="832"/>
                    </a:cubicBezTo>
                    <a:cubicBezTo>
                      <a:pt x="2096" y="832"/>
                      <a:pt x="2096" y="832"/>
                      <a:pt x="2096" y="833"/>
                    </a:cubicBezTo>
                    <a:cubicBezTo>
                      <a:pt x="2096" y="833"/>
                      <a:pt x="2096" y="833"/>
                      <a:pt x="2096" y="834"/>
                    </a:cubicBezTo>
                    <a:cubicBezTo>
                      <a:pt x="2096" y="834"/>
                      <a:pt x="2096" y="834"/>
                      <a:pt x="2095" y="835"/>
                    </a:cubicBezTo>
                    <a:cubicBezTo>
                      <a:pt x="2095" y="835"/>
                      <a:pt x="2095" y="835"/>
                      <a:pt x="2096" y="836"/>
                    </a:cubicBezTo>
                    <a:cubicBezTo>
                      <a:pt x="2096" y="836"/>
                      <a:pt x="2096" y="836"/>
                      <a:pt x="2099" y="837"/>
                    </a:cubicBezTo>
                    <a:cubicBezTo>
                      <a:pt x="2099" y="837"/>
                      <a:pt x="2099" y="837"/>
                      <a:pt x="2100" y="837"/>
                    </a:cubicBezTo>
                    <a:cubicBezTo>
                      <a:pt x="2100" y="837"/>
                      <a:pt x="2100" y="837"/>
                      <a:pt x="2101" y="838"/>
                    </a:cubicBezTo>
                    <a:cubicBezTo>
                      <a:pt x="2101" y="838"/>
                      <a:pt x="2101" y="838"/>
                      <a:pt x="2103" y="839"/>
                    </a:cubicBezTo>
                    <a:cubicBezTo>
                      <a:pt x="2103" y="839"/>
                      <a:pt x="2103" y="839"/>
                      <a:pt x="2105" y="840"/>
                    </a:cubicBezTo>
                    <a:cubicBezTo>
                      <a:pt x="2105" y="840"/>
                      <a:pt x="2105" y="840"/>
                      <a:pt x="2107" y="840"/>
                    </a:cubicBezTo>
                    <a:cubicBezTo>
                      <a:pt x="2107" y="840"/>
                      <a:pt x="2107" y="840"/>
                      <a:pt x="2108" y="842"/>
                    </a:cubicBezTo>
                    <a:cubicBezTo>
                      <a:pt x="2108" y="842"/>
                      <a:pt x="2108" y="842"/>
                      <a:pt x="2109" y="843"/>
                    </a:cubicBezTo>
                    <a:cubicBezTo>
                      <a:pt x="2109" y="843"/>
                      <a:pt x="2109" y="843"/>
                      <a:pt x="2108" y="844"/>
                    </a:cubicBezTo>
                    <a:cubicBezTo>
                      <a:pt x="2108" y="844"/>
                      <a:pt x="2108" y="844"/>
                      <a:pt x="2106" y="845"/>
                    </a:cubicBezTo>
                    <a:cubicBezTo>
                      <a:pt x="2106" y="845"/>
                      <a:pt x="2106" y="845"/>
                      <a:pt x="2103" y="845"/>
                    </a:cubicBezTo>
                    <a:cubicBezTo>
                      <a:pt x="2103" y="845"/>
                      <a:pt x="2103" y="845"/>
                      <a:pt x="2103" y="846"/>
                    </a:cubicBezTo>
                    <a:cubicBezTo>
                      <a:pt x="2103" y="846"/>
                      <a:pt x="2103" y="846"/>
                      <a:pt x="2104" y="847"/>
                    </a:cubicBezTo>
                    <a:cubicBezTo>
                      <a:pt x="2104" y="847"/>
                      <a:pt x="2104" y="847"/>
                      <a:pt x="2105" y="848"/>
                    </a:cubicBezTo>
                    <a:cubicBezTo>
                      <a:pt x="2105" y="848"/>
                      <a:pt x="2105" y="848"/>
                      <a:pt x="2105" y="849"/>
                    </a:cubicBezTo>
                    <a:cubicBezTo>
                      <a:pt x="2105" y="849"/>
                      <a:pt x="2105" y="849"/>
                      <a:pt x="2106" y="851"/>
                    </a:cubicBezTo>
                    <a:cubicBezTo>
                      <a:pt x="2106" y="851"/>
                      <a:pt x="2106" y="851"/>
                      <a:pt x="2107" y="852"/>
                    </a:cubicBezTo>
                    <a:cubicBezTo>
                      <a:pt x="2107" y="852"/>
                      <a:pt x="2107" y="852"/>
                      <a:pt x="2108" y="852"/>
                    </a:cubicBezTo>
                    <a:cubicBezTo>
                      <a:pt x="2108" y="852"/>
                      <a:pt x="2108" y="852"/>
                      <a:pt x="2109" y="852"/>
                    </a:cubicBezTo>
                    <a:cubicBezTo>
                      <a:pt x="2109" y="852"/>
                      <a:pt x="2109" y="852"/>
                      <a:pt x="2110" y="853"/>
                    </a:cubicBezTo>
                    <a:cubicBezTo>
                      <a:pt x="2110" y="853"/>
                      <a:pt x="2110" y="853"/>
                      <a:pt x="2110" y="854"/>
                    </a:cubicBezTo>
                    <a:cubicBezTo>
                      <a:pt x="2110" y="854"/>
                      <a:pt x="2110" y="854"/>
                      <a:pt x="2111" y="856"/>
                    </a:cubicBezTo>
                    <a:close/>
                    <a:moveTo>
                      <a:pt x="2071" y="852"/>
                    </a:moveTo>
                    <a:cubicBezTo>
                      <a:pt x="2071" y="852"/>
                      <a:pt x="2071" y="852"/>
                      <a:pt x="2072" y="853"/>
                    </a:cubicBezTo>
                    <a:cubicBezTo>
                      <a:pt x="2072" y="853"/>
                      <a:pt x="2072" y="853"/>
                      <a:pt x="2072" y="852"/>
                    </a:cubicBezTo>
                    <a:cubicBezTo>
                      <a:pt x="2072" y="852"/>
                      <a:pt x="2072" y="852"/>
                      <a:pt x="2070" y="851"/>
                    </a:cubicBezTo>
                    <a:cubicBezTo>
                      <a:pt x="2070" y="851"/>
                      <a:pt x="2070" y="851"/>
                      <a:pt x="2071" y="852"/>
                    </a:cubicBezTo>
                    <a:close/>
                    <a:moveTo>
                      <a:pt x="2073" y="855"/>
                    </a:moveTo>
                    <a:cubicBezTo>
                      <a:pt x="2073" y="855"/>
                      <a:pt x="2073" y="855"/>
                      <a:pt x="2074" y="855"/>
                    </a:cubicBezTo>
                    <a:cubicBezTo>
                      <a:pt x="2074" y="855"/>
                      <a:pt x="2074" y="855"/>
                      <a:pt x="2073" y="854"/>
                    </a:cubicBezTo>
                    <a:cubicBezTo>
                      <a:pt x="2073" y="854"/>
                      <a:pt x="2073" y="854"/>
                      <a:pt x="2072" y="854"/>
                    </a:cubicBezTo>
                    <a:cubicBezTo>
                      <a:pt x="2072" y="855"/>
                      <a:pt x="2072" y="855"/>
                      <a:pt x="2072" y="855"/>
                    </a:cubicBezTo>
                    <a:cubicBezTo>
                      <a:pt x="2072" y="855"/>
                      <a:pt x="2072" y="855"/>
                      <a:pt x="2073" y="855"/>
                    </a:cubicBezTo>
                    <a:close/>
                    <a:moveTo>
                      <a:pt x="2157" y="839"/>
                    </a:moveTo>
                    <a:cubicBezTo>
                      <a:pt x="2157" y="839"/>
                      <a:pt x="2157" y="839"/>
                      <a:pt x="2155" y="839"/>
                    </a:cubicBezTo>
                    <a:cubicBezTo>
                      <a:pt x="2155" y="839"/>
                      <a:pt x="2155" y="839"/>
                      <a:pt x="2155" y="837"/>
                    </a:cubicBezTo>
                    <a:cubicBezTo>
                      <a:pt x="2155" y="837"/>
                      <a:pt x="2155" y="837"/>
                      <a:pt x="2154" y="836"/>
                    </a:cubicBezTo>
                    <a:cubicBezTo>
                      <a:pt x="2154" y="836"/>
                      <a:pt x="2154" y="836"/>
                      <a:pt x="2153" y="836"/>
                    </a:cubicBezTo>
                    <a:cubicBezTo>
                      <a:pt x="2153" y="836"/>
                      <a:pt x="2153" y="836"/>
                      <a:pt x="2152" y="837"/>
                    </a:cubicBezTo>
                    <a:cubicBezTo>
                      <a:pt x="2152" y="837"/>
                      <a:pt x="2152" y="837"/>
                      <a:pt x="2153" y="838"/>
                    </a:cubicBezTo>
                    <a:cubicBezTo>
                      <a:pt x="2153" y="838"/>
                      <a:pt x="2153" y="838"/>
                      <a:pt x="2153" y="840"/>
                    </a:cubicBezTo>
                    <a:cubicBezTo>
                      <a:pt x="2153" y="840"/>
                      <a:pt x="2153" y="840"/>
                      <a:pt x="2154" y="841"/>
                    </a:cubicBezTo>
                    <a:cubicBezTo>
                      <a:pt x="2154" y="841"/>
                      <a:pt x="2154" y="841"/>
                      <a:pt x="2155" y="843"/>
                    </a:cubicBezTo>
                    <a:cubicBezTo>
                      <a:pt x="2155" y="843"/>
                      <a:pt x="2155" y="843"/>
                      <a:pt x="2155" y="844"/>
                    </a:cubicBezTo>
                    <a:cubicBezTo>
                      <a:pt x="2155" y="844"/>
                      <a:pt x="2155" y="844"/>
                      <a:pt x="2155" y="845"/>
                    </a:cubicBezTo>
                    <a:cubicBezTo>
                      <a:pt x="2155" y="845"/>
                      <a:pt x="2155" y="845"/>
                      <a:pt x="2156" y="845"/>
                    </a:cubicBezTo>
                    <a:cubicBezTo>
                      <a:pt x="2156" y="845"/>
                      <a:pt x="2156" y="845"/>
                      <a:pt x="2157" y="845"/>
                    </a:cubicBezTo>
                    <a:cubicBezTo>
                      <a:pt x="2157" y="845"/>
                      <a:pt x="2157" y="845"/>
                      <a:pt x="2159" y="845"/>
                    </a:cubicBezTo>
                    <a:cubicBezTo>
                      <a:pt x="2159" y="845"/>
                      <a:pt x="2159" y="845"/>
                      <a:pt x="2159" y="844"/>
                    </a:cubicBezTo>
                    <a:cubicBezTo>
                      <a:pt x="2159" y="844"/>
                      <a:pt x="2159" y="844"/>
                      <a:pt x="2160" y="844"/>
                    </a:cubicBezTo>
                    <a:cubicBezTo>
                      <a:pt x="2160" y="844"/>
                      <a:pt x="2160" y="844"/>
                      <a:pt x="2160" y="842"/>
                    </a:cubicBezTo>
                    <a:cubicBezTo>
                      <a:pt x="2160" y="842"/>
                      <a:pt x="2160" y="842"/>
                      <a:pt x="2159" y="841"/>
                    </a:cubicBezTo>
                    <a:cubicBezTo>
                      <a:pt x="2159" y="841"/>
                      <a:pt x="2159" y="841"/>
                      <a:pt x="2157" y="839"/>
                    </a:cubicBezTo>
                    <a:close/>
                    <a:moveTo>
                      <a:pt x="2145" y="877"/>
                    </a:moveTo>
                    <a:cubicBezTo>
                      <a:pt x="2144" y="877"/>
                      <a:pt x="2144" y="877"/>
                      <a:pt x="2144" y="877"/>
                    </a:cubicBezTo>
                    <a:cubicBezTo>
                      <a:pt x="2143" y="877"/>
                      <a:pt x="2143" y="877"/>
                      <a:pt x="2143" y="877"/>
                    </a:cubicBezTo>
                    <a:cubicBezTo>
                      <a:pt x="2144" y="878"/>
                      <a:pt x="2144" y="878"/>
                      <a:pt x="2144" y="878"/>
                    </a:cubicBezTo>
                    <a:cubicBezTo>
                      <a:pt x="2145" y="877"/>
                      <a:pt x="2145" y="877"/>
                      <a:pt x="2145" y="877"/>
                    </a:cubicBezTo>
                    <a:close/>
                    <a:moveTo>
                      <a:pt x="2146" y="876"/>
                    </a:moveTo>
                    <a:cubicBezTo>
                      <a:pt x="2146" y="876"/>
                      <a:pt x="2146" y="876"/>
                      <a:pt x="2147" y="876"/>
                    </a:cubicBezTo>
                    <a:cubicBezTo>
                      <a:pt x="2147" y="876"/>
                      <a:pt x="2147" y="876"/>
                      <a:pt x="2148" y="876"/>
                    </a:cubicBezTo>
                    <a:cubicBezTo>
                      <a:pt x="2148" y="876"/>
                      <a:pt x="2148" y="876"/>
                      <a:pt x="2148" y="875"/>
                    </a:cubicBezTo>
                    <a:cubicBezTo>
                      <a:pt x="2148" y="875"/>
                      <a:pt x="2148" y="875"/>
                      <a:pt x="2147" y="875"/>
                    </a:cubicBezTo>
                    <a:cubicBezTo>
                      <a:pt x="2147" y="875"/>
                      <a:pt x="2147" y="875"/>
                      <a:pt x="2146" y="876"/>
                    </a:cubicBezTo>
                    <a:close/>
                    <a:moveTo>
                      <a:pt x="2136" y="837"/>
                    </a:moveTo>
                    <a:cubicBezTo>
                      <a:pt x="2137" y="835"/>
                      <a:pt x="2137" y="835"/>
                      <a:pt x="2137" y="835"/>
                    </a:cubicBezTo>
                    <a:cubicBezTo>
                      <a:pt x="2135" y="834"/>
                      <a:pt x="2135" y="834"/>
                      <a:pt x="2135" y="834"/>
                    </a:cubicBezTo>
                    <a:cubicBezTo>
                      <a:pt x="2135" y="833"/>
                      <a:pt x="2135" y="833"/>
                      <a:pt x="2135" y="833"/>
                    </a:cubicBezTo>
                    <a:cubicBezTo>
                      <a:pt x="2136" y="833"/>
                      <a:pt x="2136" y="833"/>
                      <a:pt x="2136" y="833"/>
                    </a:cubicBezTo>
                    <a:cubicBezTo>
                      <a:pt x="2137" y="833"/>
                      <a:pt x="2137" y="833"/>
                      <a:pt x="2137" y="833"/>
                    </a:cubicBezTo>
                    <a:cubicBezTo>
                      <a:pt x="2138" y="832"/>
                      <a:pt x="2138" y="832"/>
                      <a:pt x="2138" y="832"/>
                    </a:cubicBezTo>
                    <a:cubicBezTo>
                      <a:pt x="2138" y="829"/>
                      <a:pt x="2138" y="829"/>
                      <a:pt x="2138" y="829"/>
                    </a:cubicBezTo>
                    <a:cubicBezTo>
                      <a:pt x="2137" y="828"/>
                      <a:pt x="2137" y="828"/>
                      <a:pt x="2137" y="828"/>
                    </a:cubicBezTo>
                    <a:cubicBezTo>
                      <a:pt x="2136" y="828"/>
                      <a:pt x="2136" y="828"/>
                      <a:pt x="2136" y="828"/>
                    </a:cubicBezTo>
                    <a:cubicBezTo>
                      <a:pt x="2136" y="829"/>
                      <a:pt x="2136" y="829"/>
                      <a:pt x="2136" y="829"/>
                    </a:cubicBezTo>
                    <a:cubicBezTo>
                      <a:pt x="2135" y="828"/>
                      <a:pt x="2135" y="828"/>
                      <a:pt x="2135" y="828"/>
                    </a:cubicBezTo>
                    <a:cubicBezTo>
                      <a:pt x="2133" y="828"/>
                      <a:pt x="2133" y="828"/>
                      <a:pt x="2133" y="828"/>
                    </a:cubicBezTo>
                    <a:cubicBezTo>
                      <a:pt x="2133" y="829"/>
                      <a:pt x="2133" y="829"/>
                      <a:pt x="2133" y="829"/>
                    </a:cubicBezTo>
                    <a:cubicBezTo>
                      <a:pt x="2133" y="832"/>
                      <a:pt x="2133" y="832"/>
                      <a:pt x="2133" y="832"/>
                    </a:cubicBezTo>
                    <a:cubicBezTo>
                      <a:pt x="2134" y="832"/>
                      <a:pt x="2134" y="832"/>
                      <a:pt x="2134" y="832"/>
                    </a:cubicBezTo>
                    <a:cubicBezTo>
                      <a:pt x="2133" y="833"/>
                      <a:pt x="2133" y="833"/>
                      <a:pt x="2133" y="833"/>
                    </a:cubicBezTo>
                    <a:cubicBezTo>
                      <a:pt x="2132" y="833"/>
                      <a:pt x="2132" y="833"/>
                      <a:pt x="2132" y="833"/>
                    </a:cubicBezTo>
                    <a:cubicBezTo>
                      <a:pt x="2130" y="835"/>
                      <a:pt x="2130" y="835"/>
                      <a:pt x="2130" y="835"/>
                    </a:cubicBezTo>
                    <a:cubicBezTo>
                      <a:pt x="2129" y="836"/>
                      <a:pt x="2129" y="836"/>
                      <a:pt x="2129" y="836"/>
                    </a:cubicBezTo>
                    <a:cubicBezTo>
                      <a:pt x="2128" y="837"/>
                      <a:pt x="2128" y="837"/>
                      <a:pt x="2128" y="837"/>
                    </a:cubicBezTo>
                    <a:cubicBezTo>
                      <a:pt x="2128" y="836"/>
                      <a:pt x="2128" y="836"/>
                      <a:pt x="2128" y="836"/>
                    </a:cubicBezTo>
                    <a:cubicBezTo>
                      <a:pt x="2127" y="837"/>
                      <a:pt x="2127" y="837"/>
                      <a:pt x="2127" y="837"/>
                    </a:cubicBezTo>
                    <a:cubicBezTo>
                      <a:pt x="2126" y="836"/>
                      <a:pt x="2126" y="836"/>
                      <a:pt x="2126" y="836"/>
                    </a:cubicBezTo>
                    <a:cubicBezTo>
                      <a:pt x="2125" y="836"/>
                      <a:pt x="2125" y="836"/>
                      <a:pt x="2125" y="836"/>
                    </a:cubicBezTo>
                    <a:cubicBezTo>
                      <a:pt x="2124" y="837"/>
                      <a:pt x="2124" y="837"/>
                      <a:pt x="2124" y="837"/>
                    </a:cubicBezTo>
                    <a:cubicBezTo>
                      <a:pt x="2123" y="837"/>
                      <a:pt x="2123" y="837"/>
                      <a:pt x="2123" y="837"/>
                    </a:cubicBezTo>
                    <a:cubicBezTo>
                      <a:pt x="2123" y="836"/>
                      <a:pt x="2123" y="836"/>
                      <a:pt x="2123" y="836"/>
                    </a:cubicBezTo>
                    <a:cubicBezTo>
                      <a:pt x="2123" y="835"/>
                      <a:pt x="2123" y="835"/>
                      <a:pt x="2123" y="835"/>
                    </a:cubicBezTo>
                    <a:cubicBezTo>
                      <a:pt x="2122" y="834"/>
                      <a:pt x="2122" y="834"/>
                      <a:pt x="2122" y="834"/>
                    </a:cubicBezTo>
                    <a:cubicBezTo>
                      <a:pt x="2122" y="835"/>
                      <a:pt x="2122" y="835"/>
                      <a:pt x="2122" y="835"/>
                    </a:cubicBezTo>
                    <a:cubicBezTo>
                      <a:pt x="2122" y="836"/>
                      <a:pt x="2122" y="836"/>
                      <a:pt x="2122" y="836"/>
                    </a:cubicBezTo>
                    <a:cubicBezTo>
                      <a:pt x="2121" y="836"/>
                      <a:pt x="2121" y="836"/>
                      <a:pt x="2121" y="836"/>
                    </a:cubicBezTo>
                    <a:cubicBezTo>
                      <a:pt x="2120" y="836"/>
                      <a:pt x="2120" y="836"/>
                      <a:pt x="2120" y="836"/>
                    </a:cubicBezTo>
                    <a:cubicBezTo>
                      <a:pt x="2118" y="837"/>
                      <a:pt x="2118" y="837"/>
                      <a:pt x="2118" y="837"/>
                    </a:cubicBezTo>
                    <a:cubicBezTo>
                      <a:pt x="2117" y="837"/>
                      <a:pt x="2117" y="837"/>
                      <a:pt x="2117" y="837"/>
                    </a:cubicBezTo>
                    <a:cubicBezTo>
                      <a:pt x="2116" y="836"/>
                      <a:pt x="2116" y="836"/>
                      <a:pt x="2116" y="836"/>
                    </a:cubicBezTo>
                    <a:cubicBezTo>
                      <a:pt x="2115" y="836"/>
                      <a:pt x="2115" y="836"/>
                      <a:pt x="2115" y="836"/>
                    </a:cubicBezTo>
                    <a:cubicBezTo>
                      <a:pt x="2114" y="836"/>
                      <a:pt x="2114" y="836"/>
                      <a:pt x="2114" y="836"/>
                    </a:cubicBezTo>
                    <a:cubicBezTo>
                      <a:pt x="2112" y="836"/>
                      <a:pt x="2112" y="836"/>
                      <a:pt x="2112" y="836"/>
                    </a:cubicBezTo>
                    <a:cubicBezTo>
                      <a:pt x="2112" y="837"/>
                      <a:pt x="2112" y="837"/>
                      <a:pt x="2112" y="837"/>
                    </a:cubicBezTo>
                    <a:cubicBezTo>
                      <a:pt x="2113" y="839"/>
                      <a:pt x="2113" y="839"/>
                      <a:pt x="2113" y="839"/>
                    </a:cubicBezTo>
                    <a:cubicBezTo>
                      <a:pt x="2114" y="839"/>
                      <a:pt x="2114" y="839"/>
                      <a:pt x="2114" y="839"/>
                    </a:cubicBezTo>
                    <a:cubicBezTo>
                      <a:pt x="2116" y="840"/>
                      <a:pt x="2116" y="840"/>
                      <a:pt x="2116" y="840"/>
                    </a:cubicBezTo>
                    <a:cubicBezTo>
                      <a:pt x="2116" y="841"/>
                      <a:pt x="2116" y="841"/>
                      <a:pt x="2116" y="841"/>
                    </a:cubicBezTo>
                    <a:cubicBezTo>
                      <a:pt x="2117" y="841"/>
                      <a:pt x="2117" y="841"/>
                      <a:pt x="2117" y="841"/>
                    </a:cubicBezTo>
                    <a:cubicBezTo>
                      <a:pt x="2119" y="841"/>
                      <a:pt x="2119" y="841"/>
                      <a:pt x="2119" y="841"/>
                    </a:cubicBezTo>
                    <a:cubicBezTo>
                      <a:pt x="2120" y="842"/>
                      <a:pt x="2120" y="842"/>
                      <a:pt x="2120" y="842"/>
                    </a:cubicBezTo>
                    <a:cubicBezTo>
                      <a:pt x="2121" y="842"/>
                      <a:pt x="2121" y="842"/>
                      <a:pt x="2121" y="842"/>
                    </a:cubicBezTo>
                    <a:cubicBezTo>
                      <a:pt x="2122" y="842"/>
                      <a:pt x="2122" y="842"/>
                      <a:pt x="2122" y="842"/>
                    </a:cubicBezTo>
                    <a:cubicBezTo>
                      <a:pt x="2125" y="841"/>
                      <a:pt x="2125" y="841"/>
                      <a:pt x="2125" y="841"/>
                    </a:cubicBezTo>
                    <a:cubicBezTo>
                      <a:pt x="2126" y="842"/>
                      <a:pt x="2126" y="842"/>
                      <a:pt x="2126" y="842"/>
                    </a:cubicBezTo>
                    <a:cubicBezTo>
                      <a:pt x="2127" y="841"/>
                      <a:pt x="2127" y="841"/>
                      <a:pt x="2127" y="841"/>
                    </a:cubicBezTo>
                    <a:cubicBezTo>
                      <a:pt x="2128" y="842"/>
                      <a:pt x="2128" y="842"/>
                      <a:pt x="2128" y="842"/>
                    </a:cubicBezTo>
                    <a:cubicBezTo>
                      <a:pt x="2129" y="841"/>
                      <a:pt x="2129" y="841"/>
                      <a:pt x="2129" y="841"/>
                    </a:cubicBezTo>
                    <a:cubicBezTo>
                      <a:pt x="2129" y="840"/>
                      <a:pt x="2129" y="840"/>
                      <a:pt x="2129" y="840"/>
                    </a:cubicBezTo>
                    <a:cubicBezTo>
                      <a:pt x="2131" y="840"/>
                      <a:pt x="2131" y="840"/>
                      <a:pt x="2131" y="840"/>
                    </a:cubicBezTo>
                    <a:cubicBezTo>
                      <a:pt x="2133" y="838"/>
                      <a:pt x="2133" y="838"/>
                      <a:pt x="2133" y="838"/>
                    </a:cubicBezTo>
                    <a:cubicBezTo>
                      <a:pt x="2133" y="837"/>
                      <a:pt x="2133" y="837"/>
                      <a:pt x="2133" y="837"/>
                    </a:cubicBezTo>
                    <a:cubicBezTo>
                      <a:pt x="2134" y="836"/>
                      <a:pt x="2134" y="836"/>
                      <a:pt x="2134" y="836"/>
                    </a:cubicBezTo>
                    <a:cubicBezTo>
                      <a:pt x="2134" y="837"/>
                      <a:pt x="2134" y="837"/>
                      <a:pt x="2134" y="837"/>
                    </a:cubicBezTo>
                    <a:cubicBezTo>
                      <a:pt x="2136" y="837"/>
                      <a:pt x="2136" y="837"/>
                      <a:pt x="2136" y="837"/>
                    </a:cubicBezTo>
                    <a:close/>
                    <a:moveTo>
                      <a:pt x="2140" y="831"/>
                    </a:moveTo>
                    <a:cubicBezTo>
                      <a:pt x="2140" y="831"/>
                      <a:pt x="2140" y="831"/>
                      <a:pt x="2142" y="832"/>
                    </a:cubicBezTo>
                    <a:cubicBezTo>
                      <a:pt x="2142" y="832"/>
                      <a:pt x="2142" y="832"/>
                      <a:pt x="2142" y="831"/>
                    </a:cubicBezTo>
                    <a:cubicBezTo>
                      <a:pt x="2142" y="831"/>
                      <a:pt x="2142" y="831"/>
                      <a:pt x="2143" y="830"/>
                    </a:cubicBezTo>
                    <a:cubicBezTo>
                      <a:pt x="2143" y="830"/>
                      <a:pt x="2143" y="830"/>
                      <a:pt x="2143" y="829"/>
                    </a:cubicBezTo>
                    <a:cubicBezTo>
                      <a:pt x="2143" y="829"/>
                      <a:pt x="2143" y="829"/>
                      <a:pt x="2142" y="828"/>
                    </a:cubicBezTo>
                    <a:cubicBezTo>
                      <a:pt x="2142" y="828"/>
                      <a:pt x="2142" y="828"/>
                      <a:pt x="2141" y="826"/>
                    </a:cubicBezTo>
                    <a:cubicBezTo>
                      <a:pt x="2141" y="826"/>
                      <a:pt x="2141" y="826"/>
                      <a:pt x="2140" y="826"/>
                    </a:cubicBezTo>
                    <a:cubicBezTo>
                      <a:pt x="2140" y="826"/>
                      <a:pt x="2140" y="826"/>
                      <a:pt x="2139" y="824"/>
                    </a:cubicBezTo>
                    <a:cubicBezTo>
                      <a:pt x="2139" y="824"/>
                      <a:pt x="2139" y="824"/>
                      <a:pt x="2138" y="823"/>
                    </a:cubicBezTo>
                    <a:cubicBezTo>
                      <a:pt x="2138" y="823"/>
                      <a:pt x="2138" y="823"/>
                      <a:pt x="2137" y="822"/>
                    </a:cubicBezTo>
                    <a:cubicBezTo>
                      <a:pt x="2137" y="822"/>
                      <a:pt x="2137" y="822"/>
                      <a:pt x="2135" y="822"/>
                    </a:cubicBezTo>
                    <a:cubicBezTo>
                      <a:pt x="2135" y="822"/>
                      <a:pt x="2135" y="822"/>
                      <a:pt x="2133" y="820"/>
                    </a:cubicBezTo>
                    <a:cubicBezTo>
                      <a:pt x="2133" y="820"/>
                      <a:pt x="2133" y="820"/>
                      <a:pt x="2131" y="819"/>
                    </a:cubicBezTo>
                    <a:cubicBezTo>
                      <a:pt x="2131" y="819"/>
                      <a:pt x="2131" y="819"/>
                      <a:pt x="2128" y="818"/>
                    </a:cubicBezTo>
                    <a:cubicBezTo>
                      <a:pt x="2128" y="818"/>
                      <a:pt x="2128" y="818"/>
                      <a:pt x="2129" y="819"/>
                    </a:cubicBezTo>
                    <a:cubicBezTo>
                      <a:pt x="2129" y="819"/>
                      <a:pt x="2129" y="819"/>
                      <a:pt x="2133" y="822"/>
                    </a:cubicBezTo>
                    <a:cubicBezTo>
                      <a:pt x="2133" y="822"/>
                      <a:pt x="2133" y="822"/>
                      <a:pt x="2136" y="823"/>
                    </a:cubicBezTo>
                    <a:cubicBezTo>
                      <a:pt x="2136" y="823"/>
                      <a:pt x="2136" y="823"/>
                      <a:pt x="2137" y="823"/>
                    </a:cubicBezTo>
                    <a:cubicBezTo>
                      <a:pt x="2137" y="823"/>
                      <a:pt x="2137" y="823"/>
                      <a:pt x="2139" y="825"/>
                    </a:cubicBezTo>
                    <a:cubicBezTo>
                      <a:pt x="2139" y="825"/>
                      <a:pt x="2139" y="825"/>
                      <a:pt x="2140" y="829"/>
                    </a:cubicBezTo>
                    <a:cubicBezTo>
                      <a:pt x="2140" y="829"/>
                      <a:pt x="2140" y="829"/>
                      <a:pt x="2140" y="830"/>
                    </a:cubicBezTo>
                    <a:cubicBezTo>
                      <a:pt x="2140" y="830"/>
                      <a:pt x="2140" y="830"/>
                      <a:pt x="2140" y="831"/>
                    </a:cubicBezTo>
                    <a:close/>
                    <a:moveTo>
                      <a:pt x="2123" y="832"/>
                    </a:moveTo>
                    <a:cubicBezTo>
                      <a:pt x="2123" y="833"/>
                      <a:pt x="2123" y="833"/>
                      <a:pt x="2123" y="833"/>
                    </a:cubicBezTo>
                    <a:cubicBezTo>
                      <a:pt x="2124" y="834"/>
                      <a:pt x="2124" y="834"/>
                      <a:pt x="2124" y="834"/>
                    </a:cubicBezTo>
                    <a:cubicBezTo>
                      <a:pt x="2125" y="833"/>
                      <a:pt x="2125" y="833"/>
                      <a:pt x="2125" y="833"/>
                    </a:cubicBezTo>
                    <a:cubicBezTo>
                      <a:pt x="2124" y="832"/>
                      <a:pt x="2124" y="832"/>
                      <a:pt x="2124" y="832"/>
                    </a:cubicBezTo>
                    <a:cubicBezTo>
                      <a:pt x="2123" y="832"/>
                      <a:pt x="2123" y="832"/>
                      <a:pt x="2123" y="832"/>
                    </a:cubicBezTo>
                    <a:close/>
                    <a:moveTo>
                      <a:pt x="2126" y="817"/>
                    </a:moveTo>
                    <a:cubicBezTo>
                      <a:pt x="2126" y="817"/>
                      <a:pt x="2126" y="817"/>
                      <a:pt x="2125" y="817"/>
                    </a:cubicBezTo>
                    <a:cubicBezTo>
                      <a:pt x="2125" y="817"/>
                      <a:pt x="2125" y="817"/>
                      <a:pt x="2123" y="817"/>
                    </a:cubicBezTo>
                    <a:cubicBezTo>
                      <a:pt x="2123" y="817"/>
                      <a:pt x="2123" y="817"/>
                      <a:pt x="2123" y="818"/>
                    </a:cubicBezTo>
                    <a:cubicBezTo>
                      <a:pt x="2123" y="818"/>
                      <a:pt x="2123" y="818"/>
                      <a:pt x="2124" y="819"/>
                    </a:cubicBezTo>
                    <a:cubicBezTo>
                      <a:pt x="2124" y="819"/>
                      <a:pt x="2124" y="819"/>
                      <a:pt x="2126" y="819"/>
                    </a:cubicBezTo>
                    <a:cubicBezTo>
                      <a:pt x="2126" y="819"/>
                      <a:pt x="2126" y="819"/>
                      <a:pt x="2126" y="817"/>
                    </a:cubicBezTo>
                    <a:close/>
                    <a:moveTo>
                      <a:pt x="2106" y="814"/>
                    </a:moveTo>
                    <a:cubicBezTo>
                      <a:pt x="2106" y="814"/>
                      <a:pt x="2106" y="814"/>
                      <a:pt x="2106" y="813"/>
                    </a:cubicBezTo>
                    <a:cubicBezTo>
                      <a:pt x="2106" y="813"/>
                      <a:pt x="2106" y="813"/>
                      <a:pt x="2105" y="814"/>
                    </a:cubicBezTo>
                    <a:cubicBezTo>
                      <a:pt x="2105" y="814"/>
                      <a:pt x="2105" y="814"/>
                      <a:pt x="2104" y="813"/>
                    </a:cubicBezTo>
                    <a:cubicBezTo>
                      <a:pt x="2104" y="813"/>
                      <a:pt x="2104" y="813"/>
                      <a:pt x="2103" y="813"/>
                    </a:cubicBezTo>
                    <a:cubicBezTo>
                      <a:pt x="2103" y="813"/>
                      <a:pt x="2103" y="813"/>
                      <a:pt x="2102" y="813"/>
                    </a:cubicBezTo>
                    <a:cubicBezTo>
                      <a:pt x="2102" y="813"/>
                      <a:pt x="2102" y="813"/>
                      <a:pt x="2102" y="814"/>
                    </a:cubicBezTo>
                    <a:cubicBezTo>
                      <a:pt x="2102" y="815"/>
                      <a:pt x="2102" y="815"/>
                      <a:pt x="2102" y="815"/>
                    </a:cubicBezTo>
                    <a:cubicBezTo>
                      <a:pt x="2102" y="815"/>
                      <a:pt x="2102" y="815"/>
                      <a:pt x="2103" y="815"/>
                    </a:cubicBezTo>
                    <a:cubicBezTo>
                      <a:pt x="2103" y="815"/>
                      <a:pt x="2103" y="815"/>
                      <a:pt x="2104" y="815"/>
                    </a:cubicBezTo>
                    <a:cubicBezTo>
                      <a:pt x="2104" y="815"/>
                      <a:pt x="2104" y="815"/>
                      <a:pt x="2105" y="815"/>
                    </a:cubicBezTo>
                    <a:cubicBezTo>
                      <a:pt x="2105" y="815"/>
                      <a:pt x="2105" y="815"/>
                      <a:pt x="2106" y="814"/>
                    </a:cubicBezTo>
                    <a:close/>
                    <a:moveTo>
                      <a:pt x="2097" y="831"/>
                    </a:moveTo>
                    <a:cubicBezTo>
                      <a:pt x="2097" y="832"/>
                      <a:pt x="2097" y="832"/>
                      <a:pt x="2097" y="832"/>
                    </a:cubicBezTo>
                    <a:cubicBezTo>
                      <a:pt x="2098" y="831"/>
                      <a:pt x="2098" y="831"/>
                      <a:pt x="2098" y="831"/>
                    </a:cubicBezTo>
                    <a:cubicBezTo>
                      <a:pt x="2098" y="830"/>
                      <a:pt x="2098" y="830"/>
                      <a:pt x="2098" y="830"/>
                    </a:cubicBezTo>
                    <a:cubicBezTo>
                      <a:pt x="2097" y="831"/>
                      <a:pt x="2097" y="831"/>
                      <a:pt x="2097" y="831"/>
                    </a:cubicBezTo>
                    <a:close/>
                    <a:moveTo>
                      <a:pt x="2121" y="810"/>
                    </a:moveTo>
                    <a:cubicBezTo>
                      <a:pt x="2121" y="810"/>
                      <a:pt x="2121" y="810"/>
                      <a:pt x="2121" y="809"/>
                    </a:cubicBezTo>
                    <a:cubicBezTo>
                      <a:pt x="2121" y="809"/>
                      <a:pt x="2121" y="809"/>
                      <a:pt x="2121" y="808"/>
                    </a:cubicBezTo>
                    <a:cubicBezTo>
                      <a:pt x="2121" y="808"/>
                      <a:pt x="2121" y="808"/>
                      <a:pt x="2120" y="808"/>
                    </a:cubicBezTo>
                    <a:cubicBezTo>
                      <a:pt x="2120" y="808"/>
                      <a:pt x="2120" y="808"/>
                      <a:pt x="2120" y="809"/>
                    </a:cubicBezTo>
                    <a:cubicBezTo>
                      <a:pt x="2120" y="809"/>
                      <a:pt x="2120" y="809"/>
                      <a:pt x="2121" y="810"/>
                    </a:cubicBezTo>
                    <a:close/>
                    <a:moveTo>
                      <a:pt x="2110" y="839"/>
                    </a:moveTo>
                    <a:cubicBezTo>
                      <a:pt x="2110" y="839"/>
                      <a:pt x="2110" y="839"/>
                      <a:pt x="2110" y="838"/>
                    </a:cubicBezTo>
                    <a:cubicBezTo>
                      <a:pt x="2110" y="838"/>
                      <a:pt x="2110" y="838"/>
                      <a:pt x="2110" y="837"/>
                    </a:cubicBezTo>
                    <a:cubicBezTo>
                      <a:pt x="2110" y="837"/>
                      <a:pt x="2110" y="837"/>
                      <a:pt x="2109" y="836"/>
                    </a:cubicBezTo>
                    <a:cubicBezTo>
                      <a:pt x="2109" y="836"/>
                      <a:pt x="2109" y="836"/>
                      <a:pt x="2108" y="837"/>
                    </a:cubicBezTo>
                    <a:cubicBezTo>
                      <a:pt x="2108" y="837"/>
                      <a:pt x="2108" y="837"/>
                      <a:pt x="2109" y="838"/>
                    </a:cubicBezTo>
                    <a:cubicBezTo>
                      <a:pt x="2109" y="838"/>
                      <a:pt x="2109" y="838"/>
                      <a:pt x="2110" y="839"/>
                    </a:cubicBezTo>
                    <a:close/>
                    <a:moveTo>
                      <a:pt x="2104" y="836"/>
                    </a:moveTo>
                    <a:cubicBezTo>
                      <a:pt x="2105" y="836"/>
                      <a:pt x="2105" y="836"/>
                      <a:pt x="2105" y="836"/>
                    </a:cubicBezTo>
                    <a:cubicBezTo>
                      <a:pt x="2105" y="835"/>
                      <a:pt x="2105" y="835"/>
                      <a:pt x="2105" y="835"/>
                    </a:cubicBezTo>
                    <a:cubicBezTo>
                      <a:pt x="2104" y="835"/>
                      <a:pt x="2104" y="835"/>
                      <a:pt x="2104" y="835"/>
                    </a:cubicBezTo>
                    <a:cubicBezTo>
                      <a:pt x="2104" y="836"/>
                      <a:pt x="2104" y="836"/>
                      <a:pt x="2104" y="836"/>
                    </a:cubicBezTo>
                    <a:close/>
                    <a:moveTo>
                      <a:pt x="2086" y="852"/>
                    </a:moveTo>
                    <a:cubicBezTo>
                      <a:pt x="2087" y="852"/>
                      <a:pt x="2087" y="852"/>
                      <a:pt x="2087" y="852"/>
                    </a:cubicBezTo>
                    <a:cubicBezTo>
                      <a:pt x="2087" y="851"/>
                      <a:pt x="2087" y="851"/>
                      <a:pt x="2087" y="851"/>
                    </a:cubicBezTo>
                    <a:cubicBezTo>
                      <a:pt x="2086" y="851"/>
                      <a:pt x="2086" y="851"/>
                      <a:pt x="2086" y="851"/>
                    </a:cubicBezTo>
                    <a:cubicBezTo>
                      <a:pt x="2086" y="852"/>
                      <a:pt x="2086" y="852"/>
                      <a:pt x="2086" y="852"/>
                    </a:cubicBezTo>
                    <a:close/>
                    <a:moveTo>
                      <a:pt x="1929" y="724"/>
                    </a:moveTo>
                    <a:cubicBezTo>
                      <a:pt x="1929" y="724"/>
                      <a:pt x="1929" y="724"/>
                      <a:pt x="1930" y="724"/>
                    </a:cubicBezTo>
                    <a:cubicBezTo>
                      <a:pt x="1930" y="724"/>
                      <a:pt x="1930" y="724"/>
                      <a:pt x="1930" y="723"/>
                    </a:cubicBezTo>
                    <a:cubicBezTo>
                      <a:pt x="1930" y="723"/>
                      <a:pt x="1930" y="723"/>
                      <a:pt x="1931" y="723"/>
                    </a:cubicBezTo>
                    <a:cubicBezTo>
                      <a:pt x="1931" y="723"/>
                      <a:pt x="1931" y="723"/>
                      <a:pt x="1930" y="722"/>
                    </a:cubicBezTo>
                    <a:cubicBezTo>
                      <a:pt x="1930" y="722"/>
                      <a:pt x="1930" y="722"/>
                      <a:pt x="1929" y="722"/>
                    </a:cubicBezTo>
                    <a:cubicBezTo>
                      <a:pt x="1929" y="722"/>
                      <a:pt x="1929" y="722"/>
                      <a:pt x="1929" y="724"/>
                    </a:cubicBezTo>
                    <a:close/>
                    <a:moveTo>
                      <a:pt x="1929" y="719"/>
                    </a:moveTo>
                    <a:cubicBezTo>
                      <a:pt x="1929" y="719"/>
                      <a:pt x="1929" y="719"/>
                      <a:pt x="1929" y="720"/>
                    </a:cubicBezTo>
                    <a:cubicBezTo>
                      <a:pt x="1929" y="720"/>
                      <a:pt x="1929" y="720"/>
                      <a:pt x="1930" y="721"/>
                    </a:cubicBezTo>
                    <a:cubicBezTo>
                      <a:pt x="1930" y="721"/>
                      <a:pt x="1930" y="721"/>
                      <a:pt x="1931" y="721"/>
                    </a:cubicBezTo>
                    <a:cubicBezTo>
                      <a:pt x="1931" y="721"/>
                      <a:pt x="1931" y="721"/>
                      <a:pt x="1932" y="722"/>
                    </a:cubicBezTo>
                    <a:cubicBezTo>
                      <a:pt x="1932" y="722"/>
                      <a:pt x="1932" y="722"/>
                      <a:pt x="1932" y="721"/>
                    </a:cubicBezTo>
                    <a:cubicBezTo>
                      <a:pt x="1932" y="721"/>
                      <a:pt x="1932" y="721"/>
                      <a:pt x="1932" y="720"/>
                    </a:cubicBezTo>
                    <a:cubicBezTo>
                      <a:pt x="1932" y="720"/>
                      <a:pt x="1932" y="720"/>
                      <a:pt x="1931" y="720"/>
                    </a:cubicBezTo>
                    <a:cubicBezTo>
                      <a:pt x="1931" y="720"/>
                      <a:pt x="1931" y="720"/>
                      <a:pt x="1930" y="719"/>
                    </a:cubicBezTo>
                    <a:cubicBezTo>
                      <a:pt x="1930" y="719"/>
                      <a:pt x="1930" y="719"/>
                      <a:pt x="1929" y="719"/>
                    </a:cubicBezTo>
                    <a:close/>
                    <a:moveTo>
                      <a:pt x="1930" y="732"/>
                    </a:moveTo>
                    <a:cubicBezTo>
                      <a:pt x="1930" y="732"/>
                      <a:pt x="1930" y="732"/>
                      <a:pt x="1931" y="732"/>
                    </a:cubicBezTo>
                    <a:cubicBezTo>
                      <a:pt x="1931" y="732"/>
                      <a:pt x="1931" y="732"/>
                      <a:pt x="1931" y="731"/>
                    </a:cubicBezTo>
                    <a:cubicBezTo>
                      <a:pt x="1931" y="731"/>
                      <a:pt x="1931" y="731"/>
                      <a:pt x="1930" y="730"/>
                    </a:cubicBezTo>
                    <a:cubicBezTo>
                      <a:pt x="1930" y="730"/>
                      <a:pt x="1930" y="730"/>
                      <a:pt x="1930" y="731"/>
                    </a:cubicBezTo>
                    <a:cubicBezTo>
                      <a:pt x="1930" y="731"/>
                      <a:pt x="1930" y="731"/>
                      <a:pt x="1929" y="732"/>
                    </a:cubicBezTo>
                    <a:cubicBezTo>
                      <a:pt x="1929" y="732"/>
                      <a:pt x="1929" y="732"/>
                      <a:pt x="1930" y="732"/>
                    </a:cubicBezTo>
                    <a:close/>
                    <a:moveTo>
                      <a:pt x="1951" y="721"/>
                    </a:moveTo>
                    <a:cubicBezTo>
                      <a:pt x="1951" y="722"/>
                      <a:pt x="1951" y="722"/>
                      <a:pt x="1951" y="722"/>
                    </a:cubicBezTo>
                    <a:cubicBezTo>
                      <a:pt x="1952" y="720"/>
                      <a:pt x="1952" y="720"/>
                      <a:pt x="1952" y="720"/>
                    </a:cubicBezTo>
                    <a:cubicBezTo>
                      <a:pt x="1951" y="720"/>
                      <a:pt x="1951" y="720"/>
                      <a:pt x="1951" y="720"/>
                    </a:cubicBezTo>
                    <a:cubicBezTo>
                      <a:pt x="1951" y="721"/>
                      <a:pt x="1951" y="721"/>
                      <a:pt x="1951" y="721"/>
                    </a:cubicBezTo>
                    <a:close/>
                    <a:moveTo>
                      <a:pt x="1934" y="673"/>
                    </a:moveTo>
                    <a:cubicBezTo>
                      <a:pt x="1934" y="673"/>
                      <a:pt x="1934" y="673"/>
                      <a:pt x="1935" y="672"/>
                    </a:cubicBezTo>
                    <a:cubicBezTo>
                      <a:pt x="1935" y="672"/>
                      <a:pt x="1935" y="672"/>
                      <a:pt x="1934" y="672"/>
                    </a:cubicBezTo>
                    <a:cubicBezTo>
                      <a:pt x="1934" y="672"/>
                      <a:pt x="1934" y="672"/>
                      <a:pt x="1934" y="673"/>
                    </a:cubicBezTo>
                    <a:close/>
                    <a:moveTo>
                      <a:pt x="1930" y="709"/>
                    </a:moveTo>
                    <a:cubicBezTo>
                      <a:pt x="1932" y="710"/>
                      <a:pt x="1932" y="710"/>
                      <a:pt x="1932" y="710"/>
                    </a:cubicBezTo>
                    <a:cubicBezTo>
                      <a:pt x="1931" y="709"/>
                      <a:pt x="1931" y="709"/>
                      <a:pt x="1931" y="709"/>
                    </a:cubicBezTo>
                    <a:cubicBezTo>
                      <a:pt x="1930" y="709"/>
                      <a:pt x="1930" y="709"/>
                      <a:pt x="1930" y="709"/>
                    </a:cubicBezTo>
                    <a:close/>
                    <a:moveTo>
                      <a:pt x="1948" y="718"/>
                    </a:moveTo>
                    <a:cubicBezTo>
                      <a:pt x="1947" y="718"/>
                      <a:pt x="1947" y="718"/>
                      <a:pt x="1947" y="718"/>
                    </a:cubicBezTo>
                    <a:cubicBezTo>
                      <a:pt x="1947" y="719"/>
                      <a:pt x="1947" y="719"/>
                      <a:pt x="1947" y="719"/>
                    </a:cubicBezTo>
                    <a:cubicBezTo>
                      <a:pt x="1948" y="719"/>
                      <a:pt x="1948" y="719"/>
                      <a:pt x="1948" y="719"/>
                    </a:cubicBezTo>
                    <a:cubicBezTo>
                      <a:pt x="1948" y="718"/>
                      <a:pt x="1948" y="718"/>
                      <a:pt x="1948" y="718"/>
                    </a:cubicBezTo>
                    <a:close/>
                    <a:moveTo>
                      <a:pt x="1944" y="721"/>
                    </a:moveTo>
                    <a:cubicBezTo>
                      <a:pt x="1944" y="720"/>
                      <a:pt x="1944" y="720"/>
                      <a:pt x="1944" y="720"/>
                    </a:cubicBezTo>
                    <a:cubicBezTo>
                      <a:pt x="1945" y="719"/>
                      <a:pt x="1945" y="719"/>
                      <a:pt x="1945" y="719"/>
                    </a:cubicBezTo>
                    <a:cubicBezTo>
                      <a:pt x="1944" y="718"/>
                      <a:pt x="1944" y="718"/>
                      <a:pt x="1944" y="718"/>
                    </a:cubicBezTo>
                    <a:cubicBezTo>
                      <a:pt x="1943" y="719"/>
                      <a:pt x="1943" y="719"/>
                      <a:pt x="1943" y="719"/>
                    </a:cubicBezTo>
                    <a:cubicBezTo>
                      <a:pt x="1944" y="721"/>
                      <a:pt x="1944" y="721"/>
                      <a:pt x="1944" y="721"/>
                    </a:cubicBezTo>
                    <a:close/>
                    <a:moveTo>
                      <a:pt x="1912" y="748"/>
                    </a:moveTo>
                    <a:cubicBezTo>
                      <a:pt x="1912" y="749"/>
                      <a:pt x="1912" y="749"/>
                      <a:pt x="1912" y="749"/>
                    </a:cubicBezTo>
                    <a:cubicBezTo>
                      <a:pt x="1913" y="750"/>
                      <a:pt x="1913" y="750"/>
                      <a:pt x="1913" y="750"/>
                    </a:cubicBezTo>
                    <a:cubicBezTo>
                      <a:pt x="1914" y="750"/>
                      <a:pt x="1914" y="750"/>
                      <a:pt x="1914" y="750"/>
                    </a:cubicBezTo>
                    <a:cubicBezTo>
                      <a:pt x="1914" y="748"/>
                      <a:pt x="1914" y="748"/>
                      <a:pt x="1914" y="748"/>
                    </a:cubicBezTo>
                    <a:cubicBezTo>
                      <a:pt x="1913" y="747"/>
                      <a:pt x="1913" y="747"/>
                      <a:pt x="1913" y="747"/>
                    </a:cubicBezTo>
                    <a:cubicBezTo>
                      <a:pt x="1912" y="748"/>
                      <a:pt x="1912" y="748"/>
                      <a:pt x="1912" y="748"/>
                    </a:cubicBezTo>
                    <a:close/>
                    <a:moveTo>
                      <a:pt x="1944" y="717"/>
                    </a:moveTo>
                    <a:cubicBezTo>
                      <a:pt x="1944" y="718"/>
                      <a:pt x="1944" y="718"/>
                      <a:pt x="1944" y="718"/>
                    </a:cubicBezTo>
                    <a:cubicBezTo>
                      <a:pt x="1945" y="716"/>
                      <a:pt x="1945" y="716"/>
                      <a:pt x="1945" y="716"/>
                    </a:cubicBezTo>
                    <a:cubicBezTo>
                      <a:pt x="1944" y="717"/>
                      <a:pt x="1944" y="717"/>
                      <a:pt x="1944" y="717"/>
                    </a:cubicBezTo>
                    <a:close/>
                    <a:moveTo>
                      <a:pt x="1944" y="723"/>
                    </a:moveTo>
                    <a:cubicBezTo>
                      <a:pt x="1944" y="723"/>
                      <a:pt x="1944" y="723"/>
                      <a:pt x="1944" y="725"/>
                    </a:cubicBezTo>
                    <a:cubicBezTo>
                      <a:pt x="1944" y="725"/>
                      <a:pt x="1944" y="725"/>
                      <a:pt x="1944" y="726"/>
                    </a:cubicBezTo>
                    <a:cubicBezTo>
                      <a:pt x="1944" y="726"/>
                      <a:pt x="1944" y="726"/>
                      <a:pt x="1944" y="728"/>
                    </a:cubicBezTo>
                    <a:cubicBezTo>
                      <a:pt x="1944" y="728"/>
                      <a:pt x="1944" y="728"/>
                      <a:pt x="1944" y="729"/>
                    </a:cubicBezTo>
                    <a:cubicBezTo>
                      <a:pt x="1944" y="729"/>
                      <a:pt x="1944" y="729"/>
                      <a:pt x="1944" y="732"/>
                    </a:cubicBezTo>
                    <a:cubicBezTo>
                      <a:pt x="1944" y="732"/>
                      <a:pt x="1944" y="732"/>
                      <a:pt x="1945" y="731"/>
                    </a:cubicBezTo>
                    <a:cubicBezTo>
                      <a:pt x="1945" y="731"/>
                      <a:pt x="1945" y="731"/>
                      <a:pt x="1947" y="730"/>
                    </a:cubicBezTo>
                    <a:cubicBezTo>
                      <a:pt x="1947" y="732"/>
                      <a:pt x="1947" y="732"/>
                      <a:pt x="1947" y="732"/>
                    </a:cubicBezTo>
                    <a:cubicBezTo>
                      <a:pt x="1948" y="732"/>
                      <a:pt x="1948" y="732"/>
                      <a:pt x="1948" y="732"/>
                    </a:cubicBezTo>
                    <a:cubicBezTo>
                      <a:pt x="1949" y="731"/>
                      <a:pt x="1949" y="731"/>
                      <a:pt x="1949" y="731"/>
                    </a:cubicBezTo>
                    <a:cubicBezTo>
                      <a:pt x="1949" y="730"/>
                      <a:pt x="1949" y="730"/>
                      <a:pt x="1949" y="730"/>
                    </a:cubicBezTo>
                    <a:cubicBezTo>
                      <a:pt x="1948" y="730"/>
                      <a:pt x="1948" y="730"/>
                      <a:pt x="1948" y="730"/>
                    </a:cubicBezTo>
                    <a:cubicBezTo>
                      <a:pt x="1948" y="730"/>
                      <a:pt x="1948" y="730"/>
                      <a:pt x="1949" y="729"/>
                    </a:cubicBezTo>
                    <a:cubicBezTo>
                      <a:pt x="1949" y="729"/>
                      <a:pt x="1949" y="729"/>
                      <a:pt x="1950" y="727"/>
                    </a:cubicBezTo>
                    <a:cubicBezTo>
                      <a:pt x="1950" y="727"/>
                      <a:pt x="1950" y="727"/>
                      <a:pt x="1951" y="726"/>
                    </a:cubicBezTo>
                    <a:cubicBezTo>
                      <a:pt x="1951" y="726"/>
                      <a:pt x="1951" y="726"/>
                      <a:pt x="1952" y="725"/>
                    </a:cubicBezTo>
                    <a:cubicBezTo>
                      <a:pt x="1952" y="725"/>
                      <a:pt x="1952" y="725"/>
                      <a:pt x="1951" y="724"/>
                    </a:cubicBezTo>
                    <a:cubicBezTo>
                      <a:pt x="1951" y="724"/>
                      <a:pt x="1951" y="724"/>
                      <a:pt x="1950" y="724"/>
                    </a:cubicBezTo>
                    <a:cubicBezTo>
                      <a:pt x="1950" y="724"/>
                      <a:pt x="1950" y="724"/>
                      <a:pt x="1950" y="725"/>
                    </a:cubicBezTo>
                    <a:cubicBezTo>
                      <a:pt x="1950" y="725"/>
                      <a:pt x="1950" y="725"/>
                      <a:pt x="1949" y="724"/>
                    </a:cubicBezTo>
                    <a:cubicBezTo>
                      <a:pt x="1949" y="724"/>
                      <a:pt x="1949" y="724"/>
                      <a:pt x="1948" y="724"/>
                    </a:cubicBezTo>
                    <a:cubicBezTo>
                      <a:pt x="1948" y="724"/>
                      <a:pt x="1948" y="724"/>
                      <a:pt x="1947" y="724"/>
                    </a:cubicBezTo>
                    <a:cubicBezTo>
                      <a:pt x="1947" y="724"/>
                      <a:pt x="1947" y="724"/>
                      <a:pt x="1946" y="724"/>
                    </a:cubicBezTo>
                    <a:cubicBezTo>
                      <a:pt x="1946" y="724"/>
                      <a:pt x="1946" y="724"/>
                      <a:pt x="1946" y="723"/>
                    </a:cubicBezTo>
                    <a:cubicBezTo>
                      <a:pt x="1946" y="723"/>
                      <a:pt x="1946" y="723"/>
                      <a:pt x="1945" y="723"/>
                    </a:cubicBezTo>
                    <a:cubicBezTo>
                      <a:pt x="1945" y="723"/>
                      <a:pt x="1945" y="723"/>
                      <a:pt x="1944" y="722"/>
                    </a:cubicBezTo>
                    <a:cubicBezTo>
                      <a:pt x="1944" y="722"/>
                      <a:pt x="1944" y="722"/>
                      <a:pt x="1943" y="722"/>
                    </a:cubicBezTo>
                    <a:cubicBezTo>
                      <a:pt x="1943" y="722"/>
                      <a:pt x="1943" y="722"/>
                      <a:pt x="1942" y="723"/>
                    </a:cubicBezTo>
                    <a:cubicBezTo>
                      <a:pt x="1942" y="723"/>
                      <a:pt x="1942" y="723"/>
                      <a:pt x="1944" y="723"/>
                    </a:cubicBezTo>
                    <a:close/>
                    <a:moveTo>
                      <a:pt x="1942" y="710"/>
                    </a:moveTo>
                    <a:cubicBezTo>
                      <a:pt x="1942" y="711"/>
                      <a:pt x="1942" y="711"/>
                      <a:pt x="1942" y="711"/>
                    </a:cubicBezTo>
                    <a:cubicBezTo>
                      <a:pt x="1942" y="712"/>
                      <a:pt x="1942" y="712"/>
                      <a:pt x="1942" y="712"/>
                    </a:cubicBezTo>
                    <a:cubicBezTo>
                      <a:pt x="1943" y="713"/>
                      <a:pt x="1943" y="713"/>
                      <a:pt x="1943" y="713"/>
                    </a:cubicBezTo>
                    <a:cubicBezTo>
                      <a:pt x="1943" y="712"/>
                      <a:pt x="1943" y="712"/>
                      <a:pt x="1943" y="712"/>
                    </a:cubicBezTo>
                    <a:cubicBezTo>
                      <a:pt x="1944" y="712"/>
                      <a:pt x="1944" y="712"/>
                      <a:pt x="1944" y="712"/>
                    </a:cubicBezTo>
                    <a:cubicBezTo>
                      <a:pt x="1943" y="711"/>
                      <a:pt x="1943" y="711"/>
                      <a:pt x="1943" y="711"/>
                    </a:cubicBezTo>
                    <a:cubicBezTo>
                      <a:pt x="1942" y="710"/>
                      <a:pt x="1942" y="710"/>
                      <a:pt x="1942" y="710"/>
                    </a:cubicBezTo>
                    <a:close/>
                    <a:moveTo>
                      <a:pt x="1959" y="731"/>
                    </a:moveTo>
                    <a:cubicBezTo>
                      <a:pt x="1959" y="731"/>
                      <a:pt x="1959" y="731"/>
                      <a:pt x="1959" y="730"/>
                    </a:cubicBezTo>
                    <a:cubicBezTo>
                      <a:pt x="1959" y="730"/>
                      <a:pt x="1959" y="730"/>
                      <a:pt x="1958" y="730"/>
                    </a:cubicBezTo>
                    <a:cubicBezTo>
                      <a:pt x="1958" y="730"/>
                      <a:pt x="1958" y="730"/>
                      <a:pt x="1959" y="731"/>
                    </a:cubicBezTo>
                    <a:close/>
                    <a:moveTo>
                      <a:pt x="1954" y="740"/>
                    </a:moveTo>
                    <a:cubicBezTo>
                      <a:pt x="1954" y="740"/>
                      <a:pt x="1954" y="740"/>
                      <a:pt x="1955" y="741"/>
                    </a:cubicBezTo>
                    <a:cubicBezTo>
                      <a:pt x="1955" y="741"/>
                      <a:pt x="1955" y="741"/>
                      <a:pt x="1956" y="741"/>
                    </a:cubicBezTo>
                    <a:cubicBezTo>
                      <a:pt x="1956" y="741"/>
                      <a:pt x="1956" y="741"/>
                      <a:pt x="1956" y="740"/>
                    </a:cubicBezTo>
                    <a:cubicBezTo>
                      <a:pt x="1956" y="740"/>
                      <a:pt x="1956" y="740"/>
                      <a:pt x="1955" y="739"/>
                    </a:cubicBezTo>
                    <a:cubicBezTo>
                      <a:pt x="1955" y="739"/>
                      <a:pt x="1955" y="739"/>
                      <a:pt x="1954" y="740"/>
                    </a:cubicBezTo>
                    <a:close/>
                    <a:moveTo>
                      <a:pt x="1949" y="714"/>
                    </a:moveTo>
                    <a:cubicBezTo>
                      <a:pt x="1951" y="716"/>
                      <a:pt x="1951" y="716"/>
                      <a:pt x="1951" y="716"/>
                    </a:cubicBezTo>
                    <a:cubicBezTo>
                      <a:pt x="1951" y="715"/>
                      <a:pt x="1951" y="715"/>
                      <a:pt x="1951" y="715"/>
                    </a:cubicBezTo>
                    <a:cubicBezTo>
                      <a:pt x="1950" y="713"/>
                      <a:pt x="1950" y="713"/>
                      <a:pt x="1950" y="713"/>
                    </a:cubicBezTo>
                    <a:cubicBezTo>
                      <a:pt x="1949" y="714"/>
                      <a:pt x="1949" y="714"/>
                      <a:pt x="1949" y="714"/>
                    </a:cubicBezTo>
                    <a:close/>
                    <a:moveTo>
                      <a:pt x="1953" y="731"/>
                    </a:moveTo>
                    <a:cubicBezTo>
                      <a:pt x="1954" y="730"/>
                      <a:pt x="1954" y="730"/>
                      <a:pt x="1954" y="730"/>
                    </a:cubicBezTo>
                    <a:cubicBezTo>
                      <a:pt x="1954" y="729"/>
                      <a:pt x="1954" y="729"/>
                      <a:pt x="1954" y="729"/>
                    </a:cubicBezTo>
                    <a:cubicBezTo>
                      <a:pt x="1953" y="728"/>
                      <a:pt x="1953" y="728"/>
                      <a:pt x="1953" y="728"/>
                    </a:cubicBezTo>
                    <a:cubicBezTo>
                      <a:pt x="1952" y="729"/>
                      <a:pt x="1952" y="729"/>
                      <a:pt x="1952" y="729"/>
                    </a:cubicBezTo>
                    <a:cubicBezTo>
                      <a:pt x="1952" y="728"/>
                      <a:pt x="1952" y="728"/>
                      <a:pt x="1952" y="728"/>
                    </a:cubicBezTo>
                    <a:cubicBezTo>
                      <a:pt x="1951" y="729"/>
                      <a:pt x="1951" y="729"/>
                      <a:pt x="1951" y="729"/>
                    </a:cubicBezTo>
                    <a:cubicBezTo>
                      <a:pt x="1951" y="730"/>
                      <a:pt x="1951" y="730"/>
                      <a:pt x="1951" y="730"/>
                    </a:cubicBezTo>
                    <a:cubicBezTo>
                      <a:pt x="1950" y="731"/>
                      <a:pt x="1950" y="731"/>
                      <a:pt x="1950" y="731"/>
                    </a:cubicBezTo>
                    <a:cubicBezTo>
                      <a:pt x="1950" y="733"/>
                      <a:pt x="1950" y="733"/>
                      <a:pt x="1950" y="733"/>
                    </a:cubicBezTo>
                    <a:cubicBezTo>
                      <a:pt x="1949" y="735"/>
                      <a:pt x="1949" y="735"/>
                      <a:pt x="1949" y="735"/>
                    </a:cubicBezTo>
                    <a:cubicBezTo>
                      <a:pt x="1947" y="735"/>
                      <a:pt x="1947" y="735"/>
                      <a:pt x="1947" y="735"/>
                    </a:cubicBezTo>
                    <a:cubicBezTo>
                      <a:pt x="1947" y="736"/>
                      <a:pt x="1947" y="736"/>
                      <a:pt x="1947" y="736"/>
                    </a:cubicBezTo>
                    <a:cubicBezTo>
                      <a:pt x="1947" y="738"/>
                      <a:pt x="1947" y="738"/>
                      <a:pt x="1947" y="738"/>
                    </a:cubicBezTo>
                    <a:cubicBezTo>
                      <a:pt x="1948" y="738"/>
                      <a:pt x="1948" y="738"/>
                      <a:pt x="1948" y="738"/>
                    </a:cubicBezTo>
                    <a:cubicBezTo>
                      <a:pt x="1949" y="739"/>
                      <a:pt x="1949" y="739"/>
                      <a:pt x="1949" y="739"/>
                    </a:cubicBezTo>
                    <a:cubicBezTo>
                      <a:pt x="1951" y="739"/>
                      <a:pt x="1951" y="739"/>
                      <a:pt x="1951" y="739"/>
                    </a:cubicBezTo>
                    <a:cubicBezTo>
                      <a:pt x="1951" y="740"/>
                      <a:pt x="1951" y="740"/>
                      <a:pt x="1951" y="740"/>
                    </a:cubicBezTo>
                    <a:cubicBezTo>
                      <a:pt x="1952" y="741"/>
                      <a:pt x="1952" y="741"/>
                      <a:pt x="1952" y="741"/>
                    </a:cubicBezTo>
                    <a:cubicBezTo>
                      <a:pt x="1953" y="740"/>
                      <a:pt x="1953" y="740"/>
                      <a:pt x="1953" y="740"/>
                    </a:cubicBezTo>
                    <a:cubicBezTo>
                      <a:pt x="1953" y="739"/>
                      <a:pt x="1953" y="739"/>
                      <a:pt x="1953" y="739"/>
                    </a:cubicBezTo>
                    <a:cubicBezTo>
                      <a:pt x="1952" y="737"/>
                      <a:pt x="1952" y="737"/>
                      <a:pt x="1952" y="737"/>
                    </a:cubicBezTo>
                    <a:cubicBezTo>
                      <a:pt x="1952" y="735"/>
                      <a:pt x="1952" y="735"/>
                      <a:pt x="1952" y="735"/>
                    </a:cubicBezTo>
                    <a:cubicBezTo>
                      <a:pt x="1953" y="731"/>
                      <a:pt x="1953" y="731"/>
                      <a:pt x="1953" y="731"/>
                    </a:cubicBezTo>
                    <a:close/>
                    <a:moveTo>
                      <a:pt x="1944" y="758"/>
                    </a:moveTo>
                    <a:cubicBezTo>
                      <a:pt x="1945" y="759"/>
                      <a:pt x="1945" y="759"/>
                      <a:pt x="1945" y="759"/>
                    </a:cubicBezTo>
                    <a:cubicBezTo>
                      <a:pt x="1946" y="759"/>
                      <a:pt x="1946" y="759"/>
                      <a:pt x="1946" y="759"/>
                    </a:cubicBezTo>
                    <a:cubicBezTo>
                      <a:pt x="1947" y="758"/>
                      <a:pt x="1947" y="758"/>
                      <a:pt x="1947" y="758"/>
                    </a:cubicBezTo>
                    <a:cubicBezTo>
                      <a:pt x="1947" y="757"/>
                      <a:pt x="1947" y="757"/>
                      <a:pt x="1947" y="757"/>
                    </a:cubicBezTo>
                    <a:cubicBezTo>
                      <a:pt x="1946" y="757"/>
                      <a:pt x="1946" y="757"/>
                      <a:pt x="1946" y="757"/>
                    </a:cubicBezTo>
                    <a:cubicBezTo>
                      <a:pt x="1945" y="757"/>
                      <a:pt x="1945" y="757"/>
                      <a:pt x="1945" y="757"/>
                    </a:cubicBezTo>
                    <a:cubicBezTo>
                      <a:pt x="1944" y="757"/>
                      <a:pt x="1944" y="757"/>
                      <a:pt x="1944" y="757"/>
                    </a:cubicBezTo>
                    <a:cubicBezTo>
                      <a:pt x="1944" y="758"/>
                      <a:pt x="1944" y="758"/>
                      <a:pt x="1944" y="758"/>
                    </a:cubicBezTo>
                    <a:close/>
                    <a:moveTo>
                      <a:pt x="1970" y="737"/>
                    </a:moveTo>
                    <a:cubicBezTo>
                      <a:pt x="1969" y="737"/>
                      <a:pt x="1969" y="737"/>
                      <a:pt x="1969" y="737"/>
                    </a:cubicBezTo>
                    <a:cubicBezTo>
                      <a:pt x="1970" y="738"/>
                      <a:pt x="1970" y="738"/>
                      <a:pt x="1970" y="738"/>
                    </a:cubicBezTo>
                    <a:cubicBezTo>
                      <a:pt x="1970" y="737"/>
                      <a:pt x="1970" y="737"/>
                      <a:pt x="1970" y="737"/>
                    </a:cubicBezTo>
                    <a:close/>
                    <a:moveTo>
                      <a:pt x="1968" y="729"/>
                    </a:moveTo>
                    <a:cubicBezTo>
                      <a:pt x="1969" y="729"/>
                      <a:pt x="1969" y="729"/>
                      <a:pt x="1969" y="729"/>
                    </a:cubicBezTo>
                    <a:cubicBezTo>
                      <a:pt x="1968" y="728"/>
                      <a:pt x="1968" y="728"/>
                      <a:pt x="1968" y="728"/>
                    </a:cubicBezTo>
                    <a:cubicBezTo>
                      <a:pt x="1968" y="729"/>
                      <a:pt x="1968" y="729"/>
                      <a:pt x="1968" y="729"/>
                    </a:cubicBezTo>
                    <a:close/>
                    <a:moveTo>
                      <a:pt x="1935" y="675"/>
                    </a:moveTo>
                    <a:cubicBezTo>
                      <a:pt x="1935" y="675"/>
                      <a:pt x="1935" y="675"/>
                      <a:pt x="1936" y="674"/>
                    </a:cubicBezTo>
                    <a:cubicBezTo>
                      <a:pt x="1936" y="674"/>
                      <a:pt x="1936" y="674"/>
                      <a:pt x="1935" y="674"/>
                    </a:cubicBezTo>
                    <a:cubicBezTo>
                      <a:pt x="1935" y="674"/>
                      <a:pt x="1935" y="674"/>
                      <a:pt x="1935" y="675"/>
                    </a:cubicBezTo>
                    <a:close/>
                    <a:moveTo>
                      <a:pt x="1956" y="736"/>
                    </a:moveTo>
                    <a:cubicBezTo>
                      <a:pt x="1956" y="736"/>
                      <a:pt x="1956" y="736"/>
                      <a:pt x="1957" y="737"/>
                    </a:cubicBezTo>
                    <a:cubicBezTo>
                      <a:pt x="1957" y="737"/>
                      <a:pt x="1957" y="737"/>
                      <a:pt x="1958" y="737"/>
                    </a:cubicBezTo>
                    <a:cubicBezTo>
                      <a:pt x="1958" y="737"/>
                      <a:pt x="1958" y="737"/>
                      <a:pt x="1960" y="736"/>
                    </a:cubicBezTo>
                    <a:cubicBezTo>
                      <a:pt x="1960" y="736"/>
                      <a:pt x="1960" y="736"/>
                      <a:pt x="1961" y="736"/>
                    </a:cubicBezTo>
                    <a:cubicBezTo>
                      <a:pt x="1961" y="736"/>
                      <a:pt x="1961" y="736"/>
                      <a:pt x="1961" y="734"/>
                    </a:cubicBezTo>
                    <a:cubicBezTo>
                      <a:pt x="1961" y="734"/>
                      <a:pt x="1961" y="734"/>
                      <a:pt x="1960" y="734"/>
                    </a:cubicBezTo>
                    <a:cubicBezTo>
                      <a:pt x="1960" y="734"/>
                      <a:pt x="1960" y="734"/>
                      <a:pt x="1959" y="734"/>
                    </a:cubicBezTo>
                    <a:cubicBezTo>
                      <a:pt x="1959" y="734"/>
                      <a:pt x="1959" y="734"/>
                      <a:pt x="1957" y="735"/>
                    </a:cubicBezTo>
                    <a:cubicBezTo>
                      <a:pt x="1957" y="735"/>
                      <a:pt x="1957" y="735"/>
                      <a:pt x="1956" y="736"/>
                    </a:cubicBezTo>
                    <a:close/>
                    <a:moveTo>
                      <a:pt x="1936" y="711"/>
                    </a:moveTo>
                    <a:cubicBezTo>
                      <a:pt x="1935" y="711"/>
                      <a:pt x="1935" y="711"/>
                      <a:pt x="1935" y="711"/>
                    </a:cubicBezTo>
                    <a:cubicBezTo>
                      <a:pt x="1933" y="711"/>
                      <a:pt x="1933" y="711"/>
                      <a:pt x="1933" y="711"/>
                    </a:cubicBezTo>
                    <a:cubicBezTo>
                      <a:pt x="1932" y="711"/>
                      <a:pt x="1932" y="711"/>
                      <a:pt x="1932" y="711"/>
                    </a:cubicBezTo>
                    <a:cubicBezTo>
                      <a:pt x="1932" y="712"/>
                      <a:pt x="1932" y="712"/>
                      <a:pt x="1932" y="712"/>
                    </a:cubicBezTo>
                    <a:cubicBezTo>
                      <a:pt x="1933" y="712"/>
                      <a:pt x="1933" y="712"/>
                      <a:pt x="1933" y="712"/>
                    </a:cubicBezTo>
                    <a:cubicBezTo>
                      <a:pt x="1933" y="713"/>
                      <a:pt x="1933" y="713"/>
                      <a:pt x="1933" y="713"/>
                    </a:cubicBezTo>
                    <a:cubicBezTo>
                      <a:pt x="1934" y="714"/>
                      <a:pt x="1934" y="714"/>
                      <a:pt x="1934" y="714"/>
                    </a:cubicBezTo>
                    <a:cubicBezTo>
                      <a:pt x="1935" y="715"/>
                      <a:pt x="1935" y="715"/>
                      <a:pt x="1935" y="715"/>
                    </a:cubicBezTo>
                    <a:cubicBezTo>
                      <a:pt x="1935" y="717"/>
                      <a:pt x="1935" y="717"/>
                      <a:pt x="1935" y="717"/>
                    </a:cubicBezTo>
                    <a:cubicBezTo>
                      <a:pt x="1936" y="717"/>
                      <a:pt x="1936" y="717"/>
                      <a:pt x="1936" y="717"/>
                    </a:cubicBezTo>
                    <a:cubicBezTo>
                      <a:pt x="1936" y="718"/>
                      <a:pt x="1936" y="718"/>
                      <a:pt x="1936" y="718"/>
                    </a:cubicBezTo>
                    <a:cubicBezTo>
                      <a:pt x="1937" y="720"/>
                      <a:pt x="1937" y="720"/>
                      <a:pt x="1937" y="720"/>
                    </a:cubicBezTo>
                    <a:cubicBezTo>
                      <a:pt x="1938" y="720"/>
                      <a:pt x="1938" y="720"/>
                      <a:pt x="1938" y="720"/>
                    </a:cubicBezTo>
                    <a:cubicBezTo>
                      <a:pt x="1940" y="719"/>
                      <a:pt x="1940" y="719"/>
                      <a:pt x="1940" y="719"/>
                    </a:cubicBezTo>
                    <a:cubicBezTo>
                      <a:pt x="1940" y="718"/>
                      <a:pt x="1940" y="718"/>
                      <a:pt x="1940" y="718"/>
                    </a:cubicBezTo>
                    <a:cubicBezTo>
                      <a:pt x="1940" y="717"/>
                      <a:pt x="1940" y="717"/>
                      <a:pt x="1940" y="717"/>
                    </a:cubicBezTo>
                    <a:cubicBezTo>
                      <a:pt x="1940" y="716"/>
                      <a:pt x="1940" y="716"/>
                      <a:pt x="1940" y="716"/>
                    </a:cubicBezTo>
                    <a:cubicBezTo>
                      <a:pt x="1940" y="715"/>
                      <a:pt x="1940" y="715"/>
                      <a:pt x="1940" y="715"/>
                    </a:cubicBezTo>
                    <a:cubicBezTo>
                      <a:pt x="1940" y="714"/>
                      <a:pt x="1940" y="714"/>
                      <a:pt x="1940" y="714"/>
                    </a:cubicBezTo>
                    <a:cubicBezTo>
                      <a:pt x="1939" y="713"/>
                      <a:pt x="1939" y="713"/>
                      <a:pt x="1939" y="713"/>
                    </a:cubicBezTo>
                    <a:cubicBezTo>
                      <a:pt x="1936" y="711"/>
                      <a:pt x="1936" y="711"/>
                      <a:pt x="1936" y="711"/>
                    </a:cubicBezTo>
                    <a:close/>
                    <a:moveTo>
                      <a:pt x="1962" y="726"/>
                    </a:moveTo>
                    <a:cubicBezTo>
                      <a:pt x="1961" y="726"/>
                      <a:pt x="1961" y="726"/>
                      <a:pt x="1961" y="726"/>
                    </a:cubicBezTo>
                    <a:cubicBezTo>
                      <a:pt x="1960" y="726"/>
                      <a:pt x="1960" y="726"/>
                      <a:pt x="1960" y="726"/>
                    </a:cubicBezTo>
                    <a:cubicBezTo>
                      <a:pt x="1959" y="726"/>
                      <a:pt x="1959" y="726"/>
                      <a:pt x="1959" y="726"/>
                    </a:cubicBezTo>
                    <a:cubicBezTo>
                      <a:pt x="1959" y="727"/>
                      <a:pt x="1959" y="727"/>
                      <a:pt x="1959" y="727"/>
                    </a:cubicBezTo>
                    <a:cubicBezTo>
                      <a:pt x="1959" y="728"/>
                      <a:pt x="1959" y="728"/>
                      <a:pt x="1959" y="728"/>
                    </a:cubicBezTo>
                    <a:cubicBezTo>
                      <a:pt x="1960" y="729"/>
                      <a:pt x="1960" y="729"/>
                      <a:pt x="1960" y="729"/>
                    </a:cubicBezTo>
                    <a:cubicBezTo>
                      <a:pt x="1961" y="728"/>
                      <a:pt x="1961" y="728"/>
                      <a:pt x="1961" y="728"/>
                    </a:cubicBezTo>
                    <a:cubicBezTo>
                      <a:pt x="1961" y="729"/>
                      <a:pt x="1961" y="729"/>
                      <a:pt x="1961" y="729"/>
                    </a:cubicBezTo>
                    <a:cubicBezTo>
                      <a:pt x="1961" y="731"/>
                      <a:pt x="1961" y="731"/>
                      <a:pt x="1961" y="731"/>
                    </a:cubicBezTo>
                    <a:cubicBezTo>
                      <a:pt x="1962" y="732"/>
                      <a:pt x="1962" y="732"/>
                      <a:pt x="1962" y="732"/>
                    </a:cubicBezTo>
                    <a:cubicBezTo>
                      <a:pt x="1962" y="734"/>
                      <a:pt x="1962" y="734"/>
                      <a:pt x="1962" y="734"/>
                    </a:cubicBezTo>
                    <a:cubicBezTo>
                      <a:pt x="1963" y="734"/>
                      <a:pt x="1963" y="734"/>
                      <a:pt x="1963" y="734"/>
                    </a:cubicBezTo>
                    <a:cubicBezTo>
                      <a:pt x="1963" y="733"/>
                      <a:pt x="1963" y="733"/>
                      <a:pt x="1963" y="733"/>
                    </a:cubicBezTo>
                    <a:cubicBezTo>
                      <a:pt x="1964" y="734"/>
                      <a:pt x="1964" y="734"/>
                      <a:pt x="1964" y="734"/>
                    </a:cubicBezTo>
                    <a:cubicBezTo>
                      <a:pt x="1965" y="733"/>
                      <a:pt x="1965" y="733"/>
                      <a:pt x="1965" y="733"/>
                    </a:cubicBezTo>
                    <a:cubicBezTo>
                      <a:pt x="1965" y="732"/>
                      <a:pt x="1965" y="732"/>
                      <a:pt x="1965" y="732"/>
                    </a:cubicBezTo>
                    <a:cubicBezTo>
                      <a:pt x="1964" y="730"/>
                      <a:pt x="1964" y="730"/>
                      <a:pt x="1964" y="730"/>
                    </a:cubicBezTo>
                    <a:cubicBezTo>
                      <a:pt x="1963" y="730"/>
                      <a:pt x="1963" y="730"/>
                      <a:pt x="1963" y="730"/>
                    </a:cubicBezTo>
                    <a:cubicBezTo>
                      <a:pt x="1963" y="728"/>
                      <a:pt x="1963" y="728"/>
                      <a:pt x="1963" y="728"/>
                    </a:cubicBezTo>
                    <a:cubicBezTo>
                      <a:pt x="1962" y="726"/>
                      <a:pt x="1962" y="726"/>
                      <a:pt x="1962" y="726"/>
                    </a:cubicBezTo>
                    <a:close/>
                    <a:moveTo>
                      <a:pt x="1955" y="719"/>
                    </a:moveTo>
                    <a:cubicBezTo>
                      <a:pt x="1954" y="717"/>
                      <a:pt x="1954" y="717"/>
                      <a:pt x="1954" y="717"/>
                    </a:cubicBezTo>
                    <a:cubicBezTo>
                      <a:pt x="1953" y="717"/>
                      <a:pt x="1953" y="717"/>
                      <a:pt x="1953" y="717"/>
                    </a:cubicBezTo>
                    <a:cubicBezTo>
                      <a:pt x="1954" y="718"/>
                      <a:pt x="1954" y="718"/>
                      <a:pt x="1954" y="718"/>
                    </a:cubicBezTo>
                    <a:cubicBezTo>
                      <a:pt x="1955" y="719"/>
                      <a:pt x="1955" y="719"/>
                      <a:pt x="1955" y="719"/>
                    </a:cubicBezTo>
                    <a:close/>
                    <a:moveTo>
                      <a:pt x="1971" y="735"/>
                    </a:moveTo>
                    <a:cubicBezTo>
                      <a:pt x="1970" y="734"/>
                      <a:pt x="1970" y="734"/>
                      <a:pt x="1970" y="734"/>
                    </a:cubicBezTo>
                    <a:cubicBezTo>
                      <a:pt x="1970" y="735"/>
                      <a:pt x="1970" y="735"/>
                      <a:pt x="1970" y="735"/>
                    </a:cubicBezTo>
                    <a:cubicBezTo>
                      <a:pt x="1970" y="736"/>
                      <a:pt x="1970" y="736"/>
                      <a:pt x="1970" y="736"/>
                    </a:cubicBezTo>
                    <a:cubicBezTo>
                      <a:pt x="1971" y="736"/>
                      <a:pt x="1971" y="736"/>
                      <a:pt x="1971" y="736"/>
                    </a:cubicBezTo>
                    <a:cubicBezTo>
                      <a:pt x="1971" y="735"/>
                      <a:pt x="1971" y="735"/>
                      <a:pt x="1971" y="735"/>
                    </a:cubicBezTo>
                    <a:close/>
                    <a:moveTo>
                      <a:pt x="1961" y="740"/>
                    </a:moveTo>
                    <a:cubicBezTo>
                      <a:pt x="1961" y="740"/>
                      <a:pt x="1961" y="740"/>
                      <a:pt x="1962" y="741"/>
                    </a:cubicBezTo>
                    <a:cubicBezTo>
                      <a:pt x="1962" y="741"/>
                      <a:pt x="1962" y="741"/>
                      <a:pt x="1962" y="740"/>
                    </a:cubicBezTo>
                    <a:cubicBezTo>
                      <a:pt x="1962" y="740"/>
                      <a:pt x="1962" y="740"/>
                      <a:pt x="1961" y="739"/>
                    </a:cubicBezTo>
                    <a:cubicBezTo>
                      <a:pt x="1961" y="739"/>
                      <a:pt x="1961" y="739"/>
                      <a:pt x="1961" y="740"/>
                    </a:cubicBezTo>
                    <a:close/>
                    <a:moveTo>
                      <a:pt x="1952" y="718"/>
                    </a:moveTo>
                    <a:cubicBezTo>
                      <a:pt x="1951" y="717"/>
                      <a:pt x="1951" y="717"/>
                      <a:pt x="1951" y="717"/>
                    </a:cubicBezTo>
                    <a:cubicBezTo>
                      <a:pt x="1951" y="719"/>
                      <a:pt x="1951" y="719"/>
                      <a:pt x="1951" y="719"/>
                    </a:cubicBezTo>
                    <a:cubicBezTo>
                      <a:pt x="1952" y="720"/>
                      <a:pt x="1952" y="720"/>
                      <a:pt x="1952" y="720"/>
                    </a:cubicBezTo>
                    <a:cubicBezTo>
                      <a:pt x="1953" y="720"/>
                      <a:pt x="1953" y="720"/>
                      <a:pt x="1953" y="720"/>
                    </a:cubicBezTo>
                    <a:cubicBezTo>
                      <a:pt x="1955" y="722"/>
                      <a:pt x="1955" y="722"/>
                      <a:pt x="1955" y="722"/>
                    </a:cubicBezTo>
                    <a:cubicBezTo>
                      <a:pt x="1956" y="722"/>
                      <a:pt x="1956" y="722"/>
                      <a:pt x="1956" y="722"/>
                    </a:cubicBezTo>
                    <a:cubicBezTo>
                      <a:pt x="1957" y="722"/>
                      <a:pt x="1957" y="722"/>
                      <a:pt x="1957" y="722"/>
                    </a:cubicBezTo>
                    <a:cubicBezTo>
                      <a:pt x="1957" y="721"/>
                      <a:pt x="1957" y="721"/>
                      <a:pt x="1957" y="721"/>
                    </a:cubicBezTo>
                    <a:cubicBezTo>
                      <a:pt x="1956" y="720"/>
                      <a:pt x="1956" y="720"/>
                      <a:pt x="1956" y="720"/>
                    </a:cubicBezTo>
                    <a:cubicBezTo>
                      <a:pt x="1954" y="719"/>
                      <a:pt x="1954" y="719"/>
                      <a:pt x="1954" y="719"/>
                    </a:cubicBezTo>
                    <a:cubicBezTo>
                      <a:pt x="1953" y="718"/>
                      <a:pt x="1953" y="718"/>
                      <a:pt x="1953" y="718"/>
                    </a:cubicBezTo>
                    <a:cubicBezTo>
                      <a:pt x="1952" y="718"/>
                      <a:pt x="1952" y="718"/>
                      <a:pt x="1952" y="718"/>
                    </a:cubicBezTo>
                    <a:close/>
                    <a:moveTo>
                      <a:pt x="1957" y="731"/>
                    </a:moveTo>
                    <a:cubicBezTo>
                      <a:pt x="1957" y="730"/>
                      <a:pt x="1957" y="730"/>
                      <a:pt x="1957" y="730"/>
                    </a:cubicBezTo>
                    <a:cubicBezTo>
                      <a:pt x="1957" y="729"/>
                      <a:pt x="1957" y="729"/>
                      <a:pt x="1957" y="729"/>
                    </a:cubicBezTo>
                    <a:cubicBezTo>
                      <a:pt x="1957" y="727"/>
                      <a:pt x="1957" y="727"/>
                      <a:pt x="1957" y="727"/>
                    </a:cubicBezTo>
                    <a:cubicBezTo>
                      <a:pt x="1956" y="727"/>
                      <a:pt x="1956" y="727"/>
                      <a:pt x="1956" y="727"/>
                    </a:cubicBezTo>
                    <a:cubicBezTo>
                      <a:pt x="1956" y="729"/>
                      <a:pt x="1956" y="729"/>
                      <a:pt x="1956" y="729"/>
                    </a:cubicBezTo>
                    <a:cubicBezTo>
                      <a:pt x="1955" y="731"/>
                      <a:pt x="1955" y="731"/>
                      <a:pt x="1955" y="731"/>
                    </a:cubicBezTo>
                    <a:cubicBezTo>
                      <a:pt x="1955" y="733"/>
                      <a:pt x="1955" y="733"/>
                      <a:pt x="1955" y="733"/>
                    </a:cubicBezTo>
                    <a:cubicBezTo>
                      <a:pt x="1954" y="734"/>
                      <a:pt x="1954" y="734"/>
                      <a:pt x="1954" y="734"/>
                    </a:cubicBezTo>
                    <a:cubicBezTo>
                      <a:pt x="1953" y="736"/>
                      <a:pt x="1953" y="736"/>
                      <a:pt x="1953" y="736"/>
                    </a:cubicBezTo>
                    <a:cubicBezTo>
                      <a:pt x="1953" y="737"/>
                      <a:pt x="1953" y="737"/>
                      <a:pt x="1953" y="737"/>
                    </a:cubicBezTo>
                    <a:cubicBezTo>
                      <a:pt x="1953" y="738"/>
                      <a:pt x="1953" y="738"/>
                      <a:pt x="1953" y="738"/>
                    </a:cubicBezTo>
                    <a:cubicBezTo>
                      <a:pt x="1954" y="737"/>
                      <a:pt x="1954" y="737"/>
                      <a:pt x="1954" y="737"/>
                    </a:cubicBezTo>
                    <a:cubicBezTo>
                      <a:pt x="1955" y="734"/>
                      <a:pt x="1955" y="734"/>
                      <a:pt x="1955" y="734"/>
                    </a:cubicBezTo>
                    <a:cubicBezTo>
                      <a:pt x="1957" y="732"/>
                      <a:pt x="1957" y="732"/>
                      <a:pt x="1957" y="732"/>
                    </a:cubicBezTo>
                    <a:cubicBezTo>
                      <a:pt x="1957" y="731"/>
                      <a:pt x="1957" y="731"/>
                      <a:pt x="1957" y="731"/>
                    </a:cubicBezTo>
                    <a:close/>
                    <a:moveTo>
                      <a:pt x="1958" y="725"/>
                    </a:moveTo>
                    <a:cubicBezTo>
                      <a:pt x="1958" y="725"/>
                      <a:pt x="1958" y="725"/>
                      <a:pt x="1959" y="725"/>
                    </a:cubicBezTo>
                    <a:cubicBezTo>
                      <a:pt x="1959" y="725"/>
                      <a:pt x="1959" y="725"/>
                      <a:pt x="1960" y="725"/>
                    </a:cubicBezTo>
                    <a:cubicBezTo>
                      <a:pt x="1960" y="725"/>
                      <a:pt x="1960" y="725"/>
                      <a:pt x="1960" y="724"/>
                    </a:cubicBezTo>
                    <a:cubicBezTo>
                      <a:pt x="1960" y="724"/>
                      <a:pt x="1960" y="724"/>
                      <a:pt x="1959" y="724"/>
                    </a:cubicBezTo>
                    <a:cubicBezTo>
                      <a:pt x="1959" y="724"/>
                      <a:pt x="1959" y="724"/>
                      <a:pt x="1958" y="725"/>
                    </a:cubicBezTo>
                    <a:close/>
                    <a:moveTo>
                      <a:pt x="1972" y="759"/>
                    </a:moveTo>
                    <a:cubicBezTo>
                      <a:pt x="1972" y="759"/>
                      <a:pt x="1972" y="759"/>
                      <a:pt x="1973" y="760"/>
                    </a:cubicBezTo>
                    <a:cubicBezTo>
                      <a:pt x="1973" y="760"/>
                      <a:pt x="1973" y="760"/>
                      <a:pt x="1973" y="759"/>
                    </a:cubicBezTo>
                    <a:cubicBezTo>
                      <a:pt x="1973" y="759"/>
                      <a:pt x="1973" y="759"/>
                      <a:pt x="1973" y="758"/>
                    </a:cubicBezTo>
                    <a:cubicBezTo>
                      <a:pt x="1973" y="758"/>
                      <a:pt x="1973" y="758"/>
                      <a:pt x="1972" y="756"/>
                    </a:cubicBezTo>
                    <a:cubicBezTo>
                      <a:pt x="1972" y="756"/>
                      <a:pt x="1972" y="756"/>
                      <a:pt x="1972" y="757"/>
                    </a:cubicBezTo>
                    <a:cubicBezTo>
                      <a:pt x="1972" y="757"/>
                      <a:pt x="1972" y="757"/>
                      <a:pt x="1972" y="759"/>
                    </a:cubicBezTo>
                    <a:close/>
                    <a:moveTo>
                      <a:pt x="1957" y="709"/>
                    </a:moveTo>
                    <a:cubicBezTo>
                      <a:pt x="1956" y="710"/>
                      <a:pt x="1956" y="710"/>
                      <a:pt x="1956" y="710"/>
                    </a:cubicBezTo>
                    <a:cubicBezTo>
                      <a:pt x="1956" y="711"/>
                      <a:pt x="1956" y="711"/>
                      <a:pt x="1956" y="711"/>
                    </a:cubicBezTo>
                    <a:cubicBezTo>
                      <a:pt x="1958" y="710"/>
                      <a:pt x="1958" y="710"/>
                      <a:pt x="1958" y="710"/>
                    </a:cubicBezTo>
                    <a:cubicBezTo>
                      <a:pt x="1958" y="709"/>
                      <a:pt x="1958" y="709"/>
                      <a:pt x="1958" y="709"/>
                    </a:cubicBezTo>
                    <a:cubicBezTo>
                      <a:pt x="1958" y="708"/>
                      <a:pt x="1958" y="708"/>
                      <a:pt x="1958" y="708"/>
                    </a:cubicBezTo>
                    <a:cubicBezTo>
                      <a:pt x="1957" y="707"/>
                      <a:pt x="1957" y="707"/>
                      <a:pt x="1957" y="707"/>
                    </a:cubicBezTo>
                    <a:cubicBezTo>
                      <a:pt x="1956" y="707"/>
                      <a:pt x="1956" y="707"/>
                      <a:pt x="1956" y="707"/>
                    </a:cubicBezTo>
                    <a:cubicBezTo>
                      <a:pt x="1957" y="709"/>
                      <a:pt x="1957" y="709"/>
                      <a:pt x="1957" y="709"/>
                    </a:cubicBezTo>
                    <a:close/>
                    <a:moveTo>
                      <a:pt x="1963" y="717"/>
                    </a:moveTo>
                    <a:cubicBezTo>
                      <a:pt x="1962" y="717"/>
                      <a:pt x="1962" y="717"/>
                      <a:pt x="1962" y="717"/>
                    </a:cubicBezTo>
                    <a:cubicBezTo>
                      <a:pt x="1961" y="717"/>
                      <a:pt x="1961" y="717"/>
                      <a:pt x="1961" y="717"/>
                    </a:cubicBezTo>
                    <a:cubicBezTo>
                      <a:pt x="1961" y="718"/>
                      <a:pt x="1961" y="718"/>
                      <a:pt x="1961" y="718"/>
                    </a:cubicBezTo>
                    <a:cubicBezTo>
                      <a:pt x="1960" y="718"/>
                      <a:pt x="1960" y="718"/>
                      <a:pt x="1960" y="718"/>
                    </a:cubicBezTo>
                    <a:cubicBezTo>
                      <a:pt x="1959" y="718"/>
                      <a:pt x="1959" y="718"/>
                      <a:pt x="1959" y="718"/>
                    </a:cubicBezTo>
                    <a:cubicBezTo>
                      <a:pt x="1958" y="717"/>
                      <a:pt x="1958" y="717"/>
                      <a:pt x="1958" y="717"/>
                    </a:cubicBezTo>
                    <a:cubicBezTo>
                      <a:pt x="1958" y="718"/>
                      <a:pt x="1958" y="718"/>
                      <a:pt x="1958" y="718"/>
                    </a:cubicBezTo>
                    <a:cubicBezTo>
                      <a:pt x="1959" y="720"/>
                      <a:pt x="1959" y="720"/>
                      <a:pt x="1959" y="720"/>
                    </a:cubicBezTo>
                    <a:cubicBezTo>
                      <a:pt x="1961" y="721"/>
                      <a:pt x="1961" y="721"/>
                      <a:pt x="1961" y="721"/>
                    </a:cubicBezTo>
                    <a:cubicBezTo>
                      <a:pt x="1962" y="723"/>
                      <a:pt x="1962" y="723"/>
                      <a:pt x="1962" y="723"/>
                    </a:cubicBezTo>
                    <a:cubicBezTo>
                      <a:pt x="1963" y="724"/>
                      <a:pt x="1963" y="724"/>
                      <a:pt x="1963" y="724"/>
                    </a:cubicBezTo>
                    <a:cubicBezTo>
                      <a:pt x="1962" y="725"/>
                      <a:pt x="1962" y="725"/>
                      <a:pt x="1962" y="725"/>
                    </a:cubicBezTo>
                    <a:cubicBezTo>
                      <a:pt x="1963" y="725"/>
                      <a:pt x="1963" y="725"/>
                      <a:pt x="1963" y="725"/>
                    </a:cubicBezTo>
                    <a:cubicBezTo>
                      <a:pt x="1963" y="726"/>
                      <a:pt x="1963" y="726"/>
                      <a:pt x="1963" y="726"/>
                    </a:cubicBezTo>
                    <a:cubicBezTo>
                      <a:pt x="1964" y="726"/>
                      <a:pt x="1964" y="726"/>
                      <a:pt x="1964" y="726"/>
                    </a:cubicBezTo>
                    <a:cubicBezTo>
                      <a:pt x="1964" y="727"/>
                      <a:pt x="1964" y="727"/>
                      <a:pt x="1964" y="727"/>
                    </a:cubicBezTo>
                    <a:cubicBezTo>
                      <a:pt x="1966" y="727"/>
                      <a:pt x="1966" y="727"/>
                      <a:pt x="1966" y="727"/>
                    </a:cubicBezTo>
                    <a:cubicBezTo>
                      <a:pt x="1967" y="727"/>
                      <a:pt x="1967" y="727"/>
                      <a:pt x="1967" y="727"/>
                    </a:cubicBezTo>
                    <a:cubicBezTo>
                      <a:pt x="1967" y="725"/>
                      <a:pt x="1967" y="725"/>
                      <a:pt x="1967" y="725"/>
                    </a:cubicBezTo>
                    <a:cubicBezTo>
                      <a:pt x="1966" y="725"/>
                      <a:pt x="1966" y="725"/>
                      <a:pt x="1966" y="725"/>
                    </a:cubicBezTo>
                    <a:cubicBezTo>
                      <a:pt x="1966" y="723"/>
                      <a:pt x="1966" y="723"/>
                      <a:pt x="1966" y="723"/>
                    </a:cubicBezTo>
                    <a:cubicBezTo>
                      <a:pt x="1966" y="721"/>
                      <a:pt x="1966" y="721"/>
                      <a:pt x="1966" y="721"/>
                    </a:cubicBezTo>
                    <a:cubicBezTo>
                      <a:pt x="1966" y="720"/>
                      <a:pt x="1966" y="720"/>
                      <a:pt x="1966" y="720"/>
                    </a:cubicBezTo>
                    <a:cubicBezTo>
                      <a:pt x="1965" y="720"/>
                      <a:pt x="1965" y="720"/>
                      <a:pt x="1965" y="720"/>
                    </a:cubicBezTo>
                    <a:cubicBezTo>
                      <a:pt x="1964" y="718"/>
                      <a:pt x="1964" y="718"/>
                      <a:pt x="1964" y="718"/>
                    </a:cubicBezTo>
                    <a:cubicBezTo>
                      <a:pt x="1964" y="717"/>
                      <a:pt x="1964" y="717"/>
                      <a:pt x="1964" y="717"/>
                    </a:cubicBezTo>
                    <a:cubicBezTo>
                      <a:pt x="1963" y="717"/>
                      <a:pt x="1963" y="717"/>
                      <a:pt x="1963" y="717"/>
                    </a:cubicBezTo>
                    <a:close/>
                    <a:moveTo>
                      <a:pt x="1967" y="735"/>
                    </a:moveTo>
                    <a:cubicBezTo>
                      <a:pt x="1968" y="736"/>
                      <a:pt x="1968" y="736"/>
                      <a:pt x="1968" y="736"/>
                    </a:cubicBezTo>
                    <a:cubicBezTo>
                      <a:pt x="1968" y="735"/>
                      <a:pt x="1968" y="735"/>
                      <a:pt x="1968" y="735"/>
                    </a:cubicBezTo>
                    <a:cubicBezTo>
                      <a:pt x="1967" y="735"/>
                      <a:pt x="1967" y="735"/>
                      <a:pt x="1967" y="735"/>
                    </a:cubicBezTo>
                    <a:close/>
                    <a:moveTo>
                      <a:pt x="1968" y="733"/>
                    </a:moveTo>
                    <a:cubicBezTo>
                      <a:pt x="1968" y="732"/>
                      <a:pt x="1968" y="732"/>
                      <a:pt x="1968" y="732"/>
                    </a:cubicBezTo>
                    <a:cubicBezTo>
                      <a:pt x="1967" y="732"/>
                      <a:pt x="1967" y="732"/>
                      <a:pt x="1967" y="732"/>
                    </a:cubicBezTo>
                    <a:cubicBezTo>
                      <a:pt x="1967" y="733"/>
                      <a:pt x="1967" y="733"/>
                      <a:pt x="1967" y="733"/>
                    </a:cubicBezTo>
                    <a:cubicBezTo>
                      <a:pt x="1968" y="735"/>
                      <a:pt x="1968" y="735"/>
                      <a:pt x="1968" y="735"/>
                    </a:cubicBezTo>
                    <a:cubicBezTo>
                      <a:pt x="1968" y="734"/>
                      <a:pt x="1968" y="734"/>
                      <a:pt x="1968" y="734"/>
                    </a:cubicBezTo>
                    <a:cubicBezTo>
                      <a:pt x="1968" y="733"/>
                      <a:pt x="1968" y="733"/>
                      <a:pt x="1968" y="733"/>
                    </a:cubicBezTo>
                    <a:close/>
                    <a:moveTo>
                      <a:pt x="1942" y="705"/>
                    </a:moveTo>
                    <a:cubicBezTo>
                      <a:pt x="1942" y="706"/>
                      <a:pt x="1942" y="706"/>
                      <a:pt x="1942" y="706"/>
                    </a:cubicBezTo>
                    <a:cubicBezTo>
                      <a:pt x="1943" y="707"/>
                      <a:pt x="1943" y="707"/>
                      <a:pt x="1943" y="707"/>
                    </a:cubicBezTo>
                    <a:cubicBezTo>
                      <a:pt x="1943" y="706"/>
                      <a:pt x="1943" y="706"/>
                      <a:pt x="1943" y="706"/>
                    </a:cubicBezTo>
                    <a:cubicBezTo>
                      <a:pt x="1942" y="705"/>
                      <a:pt x="1942" y="705"/>
                      <a:pt x="1942" y="705"/>
                    </a:cubicBezTo>
                    <a:close/>
                    <a:moveTo>
                      <a:pt x="1972" y="742"/>
                    </a:moveTo>
                    <a:cubicBezTo>
                      <a:pt x="1972" y="742"/>
                      <a:pt x="1972" y="742"/>
                      <a:pt x="1972" y="740"/>
                    </a:cubicBezTo>
                    <a:cubicBezTo>
                      <a:pt x="1972" y="740"/>
                      <a:pt x="1972" y="740"/>
                      <a:pt x="1972" y="739"/>
                    </a:cubicBezTo>
                    <a:cubicBezTo>
                      <a:pt x="1972" y="739"/>
                      <a:pt x="1972" y="739"/>
                      <a:pt x="1971" y="740"/>
                    </a:cubicBezTo>
                    <a:cubicBezTo>
                      <a:pt x="1971" y="740"/>
                      <a:pt x="1971" y="740"/>
                      <a:pt x="1970" y="739"/>
                    </a:cubicBezTo>
                    <a:cubicBezTo>
                      <a:pt x="1970" y="739"/>
                      <a:pt x="1970" y="739"/>
                      <a:pt x="1968" y="737"/>
                    </a:cubicBezTo>
                    <a:cubicBezTo>
                      <a:pt x="1968" y="737"/>
                      <a:pt x="1968" y="737"/>
                      <a:pt x="1968" y="736"/>
                    </a:cubicBezTo>
                    <a:cubicBezTo>
                      <a:pt x="1968" y="736"/>
                      <a:pt x="1968" y="736"/>
                      <a:pt x="1967" y="736"/>
                    </a:cubicBezTo>
                    <a:cubicBezTo>
                      <a:pt x="1967" y="736"/>
                      <a:pt x="1967" y="736"/>
                      <a:pt x="1966" y="736"/>
                    </a:cubicBezTo>
                    <a:cubicBezTo>
                      <a:pt x="1966" y="736"/>
                      <a:pt x="1966" y="736"/>
                      <a:pt x="1966" y="738"/>
                    </a:cubicBezTo>
                    <a:cubicBezTo>
                      <a:pt x="1966" y="738"/>
                      <a:pt x="1966" y="738"/>
                      <a:pt x="1967" y="740"/>
                    </a:cubicBezTo>
                    <a:cubicBezTo>
                      <a:pt x="1967" y="740"/>
                      <a:pt x="1967" y="740"/>
                      <a:pt x="1967" y="741"/>
                    </a:cubicBezTo>
                    <a:cubicBezTo>
                      <a:pt x="1967" y="741"/>
                      <a:pt x="1967" y="741"/>
                      <a:pt x="1966" y="740"/>
                    </a:cubicBezTo>
                    <a:cubicBezTo>
                      <a:pt x="1966" y="740"/>
                      <a:pt x="1966" y="740"/>
                      <a:pt x="1965" y="740"/>
                    </a:cubicBezTo>
                    <a:cubicBezTo>
                      <a:pt x="1965" y="740"/>
                      <a:pt x="1965" y="740"/>
                      <a:pt x="1965" y="742"/>
                    </a:cubicBezTo>
                    <a:cubicBezTo>
                      <a:pt x="1965" y="742"/>
                      <a:pt x="1965" y="742"/>
                      <a:pt x="1964" y="742"/>
                    </a:cubicBezTo>
                    <a:cubicBezTo>
                      <a:pt x="1964" y="742"/>
                      <a:pt x="1964" y="742"/>
                      <a:pt x="1963" y="741"/>
                    </a:cubicBezTo>
                    <a:cubicBezTo>
                      <a:pt x="1963" y="741"/>
                      <a:pt x="1963" y="741"/>
                      <a:pt x="1962" y="744"/>
                    </a:cubicBezTo>
                    <a:cubicBezTo>
                      <a:pt x="1962" y="744"/>
                      <a:pt x="1962" y="744"/>
                      <a:pt x="1963" y="744"/>
                    </a:cubicBezTo>
                    <a:cubicBezTo>
                      <a:pt x="1963" y="744"/>
                      <a:pt x="1963" y="744"/>
                      <a:pt x="1962" y="745"/>
                    </a:cubicBezTo>
                    <a:cubicBezTo>
                      <a:pt x="1962" y="745"/>
                      <a:pt x="1962" y="745"/>
                      <a:pt x="1961" y="744"/>
                    </a:cubicBezTo>
                    <a:cubicBezTo>
                      <a:pt x="1961" y="744"/>
                      <a:pt x="1961" y="744"/>
                      <a:pt x="1960" y="744"/>
                    </a:cubicBezTo>
                    <a:cubicBezTo>
                      <a:pt x="1960" y="744"/>
                      <a:pt x="1960" y="744"/>
                      <a:pt x="1959" y="747"/>
                    </a:cubicBezTo>
                    <a:cubicBezTo>
                      <a:pt x="1959" y="747"/>
                      <a:pt x="1959" y="747"/>
                      <a:pt x="1958" y="747"/>
                    </a:cubicBezTo>
                    <a:cubicBezTo>
                      <a:pt x="1958" y="747"/>
                      <a:pt x="1958" y="747"/>
                      <a:pt x="1956" y="748"/>
                    </a:cubicBezTo>
                    <a:cubicBezTo>
                      <a:pt x="1957" y="747"/>
                      <a:pt x="1957" y="747"/>
                      <a:pt x="1957" y="747"/>
                    </a:cubicBezTo>
                    <a:cubicBezTo>
                      <a:pt x="1957" y="747"/>
                      <a:pt x="1957" y="747"/>
                      <a:pt x="1957" y="745"/>
                    </a:cubicBezTo>
                    <a:cubicBezTo>
                      <a:pt x="1957" y="745"/>
                      <a:pt x="1957" y="745"/>
                      <a:pt x="1955" y="743"/>
                    </a:cubicBezTo>
                    <a:cubicBezTo>
                      <a:pt x="1955" y="743"/>
                      <a:pt x="1955" y="743"/>
                      <a:pt x="1954" y="743"/>
                    </a:cubicBezTo>
                    <a:cubicBezTo>
                      <a:pt x="1954" y="743"/>
                      <a:pt x="1954" y="743"/>
                      <a:pt x="1953" y="744"/>
                    </a:cubicBezTo>
                    <a:cubicBezTo>
                      <a:pt x="1953" y="744"/>
                      <a:pt x="1953" y="744"/>
                      <a:pt x="1952" y="745"/>
                    </a:cubicBezTo>
                    <a:cubicBezTo>
                      <a:pt x="1952" y="745"/>
                      <a:pt x="1952" y="745"/>
                      <a:pt x="1951" y="746"/>
                    </a:cubicBezTo>
                    <a:cubicBezTo>
                      <a:pt x="1951" y="746"/>
                      <a:pt x="1951" y="746"/>
                      <a:pt x="1952" y="747"/>
                    </a:cubicBezTo>
                    <a:cubicBezTo>
                      <a:pt x="1952" y="747"/>
                      <a:pt x="1952" y="747"/>
                      <a:pt x="1950" y="748"/>
                    </a:cubicBezTo>
                    <a:cubicBezTo>
                      <a:pt x="1950" y="748"/>
                      <a:pt x="1950" y="748"/>
                      <a:pt x="1949" y="747"/>
                    </a:cubicBezTo>
                    <a:cubicBezTo>
                      <a:pt x="1949" y="747"/>
                      <a:pt x="1949" y="747"/>
                      <a:pt x="1948" y="748"/>
                    </a:cubicBezTo>
                    <a:cubicBezTo>
                      <a:pt x="1948" y="748"/>
                      <a:pt x="1948" y="748"/>
                      <a:pt x="1947" y="749"/>
                    </a:cubicBezTo>
                    <a:cubicBezTo>
                      <a:pt x="1947" y="749"/>
                      <a:pt x="1947" y="749"/>
                      <a:pt x="1945" y="750"/>
                    </a:cubicBezTo>
                    <a:cubicBezTo>
                      <a:pt x="1945" y="750"/>
                      <a:pt x="1945" y="750"/>
                      <a:pt x="1946" y="751"/>
                    </a:cubicBezTo>
                    <a:cubicBezTo>
                      <a:pt x="1946" y="751"/>
                      <a:pt x="1946" y="751"/>
                      <a:pt x="1945" y="753"/>
                    </a:cubicBezTo>
                    <a:cubicBezTo>
                      <a:pt x="1945" y="753"/>
                      <a:pt x="1945" y="753"/>
                      <a:pt x="1945" y="754"/>
                    </a:cubicBezTo>
                    <a:cubicBezTo>
                      <a:pt x="1945" y="754"/>
                      <a:pt x="1945" y="754"/>
                      <a:pt x="1946" y="756"/>
                    </a:cubicBezTo>
                    <a:cubicBezTo>
                      <a:pt x="1946" y="756"/>
                      <a:pt x="1946" y="756"/>
                      <a:pt x="1946" y="755"/>
                    </a:cubicBezTo>
                    <a:cubicBezTo>
                      <a:pt x="1946" y="755"/>
                      <a:pt x="1946" y="755"/>
                      <a:pt x="1947" y="752"/>
                    </a:cubicBezTo>
                    <a:cubicBezTo>
                      <a:pt x="1947" y="752"/>
                      <a:pt x="1947" y="752"/>
                      <a:pt x="1948" y="752"/>
                    </a:cubicBezTo>
                    <a:cubicBezTo>
                      <a:pt x="1948" y="752"/>
                      <a:pt x="1948" y="752"/>
                      <a:pt x="1949" y="750"/>
                    </a:cubicBezTo>
                    <a:cubicBezTo>
                      <a:pt x="1949" y="750"/>
                      <a:pt x="1949" y="750"/>
                      <a:pt x="1950" y="751"/>
                    </a:cubicBezTo>
                    <a:cubicBezTo>
                      <a:pt x="1950" y="751"/>
                      <a:pt x="1950" y="751"/>
                      <a:pt x="1950" y="752"/>
                    </a:cubicBezTo>
                    <a:cubicBezTo>
                      <a:pt x="1950" y="752"/>
                      <a:pt x="1950" y="752"/>
                      <a:pt x="1951" y="752"/>
                    </a:cubicBezTo>
                    <a:cubicBezTo>
                      <a:pt x="1951" y="752"/>
                      <a:pt x="1951" y="752"/>
                      <a:pt x="1952" y="752"/>
                    </a:cubicBezTo>
                    <a:cubicBezTo>
                      <a:pt x="1952" y="752"/>
                      <a:pt x="1952" y="752"/>
                      <a:pt x="1952" y="751"/>
                    </a:cubicBezTo>
                    <a:cubicBezTo>
                      <a:pt x="1952" y="751"/>
                      <a:pt x="1952" y="751"/>
                      <a:pt x="1953" y="751"/>
                    </a:cubicBezTo>
                    <a:cubicBezTo>
                      <a:pt x="1953" y="751"/>
                      <a:pt x="1953" y="751"/>
                      <a:pt x="1953" y="752"/>
                    </a:cubicBezTo>
                    <a:cubicBezTo>
                      <a:pt x="1953" y="752"/>
                      <a:pt x="1953" y="752"/>
                      <a:pt x="1954" y="752"/>
                    </a:cubicBezTo>
                    <a:cubicBezTo>
                      <a:pt x="1954" y="752"/>
                      <a:pt x="1954" y="752"/>
                      <a:pt x="1954" y="751"/>
                    </a:cubicBezTo>
                    <a:cubicBezTo>
                      <a:pt x="1954" y="751"/>
                      <a:pt x="1954" y="751"/>
                      <a:pt x="1954" y="750"/>
                    </a:cubicBezTo>
                    <a:cubicBezTo>
                      <a:pt x="1954" y="750"/>
                      <a:pt x="1954" y="750"/>
                      <a:pt x="1955" y="750"/>
                    </a:cubicBezTo>
                    <a:cubicBezTo>
                      <a:pt x="1955" y="750"/>
                      <a:pt x="1955" y="750"/>
                      <a:pt x="1956" y="751"/>
                    </a:cubicBezTo>
                    <a:cubicBezTo>
                      <a:pt x="1956" y="751"/>
                      <a:pt x="1956" y="751"/>
                      <a:pt x="1957" y="751"/>
                    </a:cubicBezTo>
                    <a:cubicBezTo>
                      <a:pt x="1957" y="751"/>
                      <a:pt x="1957" y="751"/>
                      <a:pt x="1959" y="752"/>
                    </a:cubicBezTo>
                    <a:cubicBezTo>
                      <a:pt x="1959" y="752"/>
                      <a:pt x="1959" y="752"/>
                      <a:pt x="1959" y="753"/>
                    </a:cubicBezTo>
                    <a:cubicBezTo>
                      <a:pt x="1959" y="753"/>
                      <a:pt x="1959" y="753"/>
                      <a:pt x="1960" y="754"/>
                    </a:cubicBezTo>
                    <a:cubicBezTo>
                      <a:pt x="1960" y="754"/>
                      <a:pt x="1960" y="754"/>
                      <a:pt x="1959" y="754"/>
                    </a:cubicBezTo>
                    <a:cubicBezTo>
                      <a:pt x="1959" y="754"/>
                      <a:pt x="1959" y="754"/>
                      <a:pt x="1958" y="754"/>
                    </a:cubicBezTo>
                    <a:cubicBezTo>
                      <a:pt x="1958" y="754"/>
                      <a:pt x="1958" y="754"/>
                      <a:pt x="1958" y="755"/>
                    </a:cubicBezTo>
                    <a:cubicBezTo>
                      <a:pt x="1958" y="755"/>
                      <a:pt x="1958" y="755"/>
                      <a:pt x="1958" y="756"/>
                    </a:cubicBezTo>
                    <a:cubicBezTo>
                      <a:pt x="1958" y="756"/>
                      <a:pt x="1958" y="756"/>
                      <a:pt x="1959" y="757"/>
                    </a:cubicBezTo>
                    <a:cubicBezTo>
                      <a:pt x="1959" y="757"/>
                      <a:pt x="1959" y="757"/>
                      <a:pt x="1958" y="758"/>
                    </a:cubicBezTo>
                    <a:cubicBezTo>
                      <a:pt x="1958" y="758"/>
                      <a:pt x="1958" y="758"/>
                      <a:pt x="1959" y="759"/>
                    </a:cubicBezTo>
                    <a:cubicBezTo>
                      <a:pt x="1959" y="759"/>
                      <a:pt x="1959" y="759"/>
                      <a:pt x="1959" y="760"/>
                    </a:cubicBezTo>
                    <a:cubicBezTo>
                      <a:pt x="1959" y="760"/>
                      <a:pt x="1959" y="760"/>
                      <a:pt x="1961" y="761"/>
                    </a:cubicBezTo>
                    <a:cubicBezTo>
                      <a:pt x="1961" y="761"/>
                      <a:pt x="1961" y="761"/>
                      <a:pt x="1962" y="761"/>
                    </a:cubicBezTo>
                    <a:cubicBezTo>
                      <a:pt x="1962" y="761"/>
                      <a:pt x="1962" y="761"/>
                      <a:pt x="1963" y="762"/>
                    </a:cubicBezTo>
                    <a:cubicBezTo>
                      <a:pt x="1963" y="762"/>
                      <a:pt x="1963" y="762"/>
                      <a:pt x="1964" y="763"/>
                    </a:cubicBezTo>
                    <a:cubicBezTo>
                      <a:pt x="1964" y="763"/>
                      <a:pt x="1964" y="763"/>
                      <a:pt x="1965" y="762"/>
                    </a:cubicBezTo>
                    <a:cubicBezTo>
                      <a:pt x="1965" y="762"/>
                      <a:pt x="1965" y="762"/>
                      <a:pt x="1966" y="762"/>
                    </a:cubicBezTo>
                    <a:cubicBezTo>
                      <a:pt x="1966" y="762"/>
                      <a:pt x="1966" y="762"/>
                      <a:pt x="1966" y="761"/>
                    </a:cubicBezTo>
                    <a:cubicBezTo>
                      <a:pt x="1966" y="761"/>
                      <a:pt x="1966" y="761"/>
                      <a:pt x="1967" y="762"/>
                    </a:cubicBezTo>
                    <a:cubicBezTo>
                      <a:pt x="1967" y="762"/>
                      <a:pt x="1967" y="762"/>
                      <a:pt x="1966" y="763"/>
                    </a:cubicBezTo>
                    <a:cubicBezTo>
                      <a:pt x="1966" y="763"/>
                      <a:pt x="1966" y="763"/>
                      <a:pt x="1967" y="764"/>
                    </a:cubicBezTo>
                    <a:cubicBezTo>
                      <a:pt x="1967" y="764"/>
                      <a:pt x="1967" y="764"/>
                      <a:pt x="1968" y="764"/>
                    </a:cubicBezTo>
                    <a:cubicBezTo>
                      <a:pt x="1968" y="764"/>
                      <a:pt x="1968" y="764"/>
                      <a:pt x="1970" y="761"/>
                    </a:cubicBezTo>
                    <a:cubicBezTo>
                      <a:pt x="1970" y="761"/>
                      <a:pt x="1970" y="761"/>
                      <a:pt x="1970" y="760"/>
                    </a:cubicBezTo>
                    <a:cubicBezTo>
                      <a:pt x="1970" y="760"/>
                      <a:pt x="1970" y="760"/>
                      <a:pt x="1969" y="759"/>
                    </a:cubicBezTo>
                    <a:cubicBezTo>
                      <a:pt x="1969" y="759"/>
                      <a:pt x="1969" y="759"/>
                      <a:pt x="1968" y="758"/>
                    </a:cubicBezTo>
                    <a:cubicBezTo>
                      <a:pt x="1968" y="758"/>
                      <a:pt x="1968" y="758"/>
                      <a:pt x="1967" y="757"/>
                    </a:cubicBezTo>
                    <a:cubicBezTo>
                      <a:pt x="1967" y="757"/>
                      <a:pt x="1967" y="757"/>
                      <a:pt x="1967" y="756"/>
                    </a:cubicBezTo>
                    <a:cubicBezTo>
                      <a:pt x="1967" y="756"/>
                      <a:pt x="1967" y="756"/>
                      <a:pt x="1969" y="753"/>
                    </a:cubicBezTo>
                    <a:cubicBezTo>
                      <a:pt x="1969" y="753"/>
                      <a:pt x="1969" y="753"/>
                      <a:pt x="1970" y="753"/>
                    </a:cubicBezTo>
                    <a:cubicBezTo>
                      <a:pt x="1970" y="753"/>
                      <a:pt x="1970" y="753"/>
                      <a:pt x="1971" y="754"/>
                    </a:cubicBezTo>
                    <a:cubicBezTo>
                      <a:pt x="1971" y="754"/>
                      <a:pt x="1971" y="754"/>
                      <a:pt x="1971" y="755"/>
                    </a:cubicBezTo>
                    <a:cubicBezTo>
                      <a:pt x="1971" y="755"/>
                      <a:pt x="1971" y="755"/>
                      <a:pt x="1972" y="756"/>
                    </a:cubicBezTo>
                    <a:cubicBezTo>
                      <a:pt x="1972" y="756"/>
                      <a:pt x="1972" y="756"/>
                      <a:pt x="1973" y="755"/>
                    </a:cubicBezTo>
                    <a:cubicBezTo>
                      <a:pt x="1973" y="755"/>
                      <a:pt x="1973" y="755"/>
                      <a:pt x="1974" y="756"/>
                    </a:cubicBezTo>
                    <a:cubicBezTo>
                      <a:pt x="1974" y="756"/>
                      <a:pt x="1974" y="756"/>
                      <a:pt x="1974" y="755"/>
                    </a:cubicBezTo>
                    <a:cubicBezTo>
                      <a:pt x="1974" y="755"/>
                      <a:pt x="1974" y="755"/>
                      <a:pt x="1975" y="753"/>
                    </a:cubicBezTo>
                    <a:cubicBezTo>
                      <a:pt x="1975" y="753"/>
                      <a:pt x="1975" y="753"/>
                      <a:pt x="1975" y="751"/>
                    </a:cubicBezTo>
                    <a:cubicBezTo>
                      <a:pt x="1975" y="751"/>
                      <a:pt x="1975" y="751"/>
                      <a:pt x="1974" y="750"/>
                    </a:cubicBezTo>
                    <a:cubicBezTo>
                      <a:pt x="1974" y="750"/>
                      <a:pt x="1974" y="750"/>
                      <a:pt x="1973" y="749"/>
                    </a:cubicBezTo>
                    <a:cubicBezTo>
                      <a:pt x="1973" y="749"/>
                      <a:pt x="1973" y="749"/>
                      <a:pt x="1973" y="748"/>
                    </a:cubicBezTo>
                    <a:cubicBezTo>
                      <a:pt x="1973" y="748"/>
                      <a:pt x="1973" y="748"/>
                      <a:pt x="1973" y="747"/>
                    </a:cubicBezTo>
                    <a:cubicBezTo>
                      <a:pt x="1973" y="747"/>
                      <a:pt x="1973" y="747"/>
                      <a:pt x="1972" y="745"/>
                    </a:cubicBezTo>
                    <a:cubicBezTo>
                      <a:pt x="1972" y="745"/>
                      <a:pt x="1972" y="745"/>
                      <a:pt x="1971" y="744"/>
                    </a:cubicBezTo>
                    <a:cubicBezTo>
                      <a:pt x="1971" y="744"/>
                      <a:pt x="1971" y="744"/>
                      <a:pt x="1972" y="743"/>
                    </a:cubicBezTo>
                    <a:cubicBezTo>
                      <a:pt x="1972" y="743"/>
                      <a:pt x="1972" y="743"/>
                      <a:pt x="1972" y="742"/>
                    </a:cubicBezTo>
                    <a:close/>
                    <a:moveTo>
                      <a:pt x="1942" y="704"/>
                    </a:moveTo>
                    <a:cubicBezTo>
                      <a:pt x="1943" y="703"/>
                      <a:pt x="1943" y="703"/>
                      <a:pt x="1943" y="703"/>
                    </a:cubicBezTo>
                    <a:cubicBezTo>
                      <a:pt x="1943" y="701"/>
                      <a:pt x="1943" y="701"/>
                      <a:pt x="1943" y="701"/>
                    </a:cubicBezTo>
                    <a:cubicBezTo>
                      <a:pt x="1943" y="700"/>
                      <a:pt x="1943" y="700"/>
                      <a:pt x="1943" y="700"/>
                    </a:cubicBezTo>
                    <a:cubicBezTo>
                      <a:pt x="1942" y="700"/>
                      <a:pt x="1942" y="700"/>
                      <a:pt x="1942" y="700"/>
                    </a:cubicBezTo>
                    <a:cubicBezTo>
                      <a:pt x="1941" y="701"/>
                      <a:pt x="1941" y="701"/>
                      <a:pt x="1941" y="701"/>
                    </a:cubicBezTo>
                    <a:cubicBezTo>
                      <a:pt x="1942" y="702"/>
                      <a:pt x="1942" y="702"/>
                      <a:pt x="1942" y="702"/>
                    </a:cubicBezTo>
                    <a:cubicBezTo>
                      <a:pt x="1941" y="703"/>
                      <a:pt x="1941" y="703"/>
                      <a:pt x="1941" y="703"/>
                    </a:cubicBezTo>
                    <a:cubicBezTo>
                      <a:pt x="1942" y="704"/>
                      <a:pt x="1942" y="704"/>
                      <a:pt x="1942" y="704"/>
                    </a:cubicBezTo>
                    <a:close/>
                    <a:moveTo>
                      <a:pt x="1917" y="742"/>
                    </a:moveTo>
                    <a:cubicBezTo>
                      <a:pt x="1916" y="742"/>
                      <a:pt x="1916" y="742"/>
                      <a:pt x="1916" y="742"/>
                    </a:cubicBezTo>
                    <a:cubicBezTo>
                      <a:pt x="1915" y="744"/>
                      <a:pt x="1915" y="744"/>
                      <a:pt x="1915" y="744"/>
                    </a:cubicBezTo>
                    <a:cubicBezTo>
                      <a:pt x="1914" y="745"/>
                      <a:pt x="1914" y="745"/>
                      <a:pt x="1914" y="745"/>
                    </a:cubicBezTo>
                    <a:cubicBezTo>
                      <a:pt x="1916" y="744"/>
                      <a:pt x="1916" y="744"/>
                      <a:pt x="1916" y="744"/>
                    </a:cubicBezTo>
                    <a:cubicBezTo>
                      <a:pt x="1917" y="743"/>
                      <a:pt x="1917" y="743"/>
                      <a:pt x="1917" y="743"/>
                    </a:cubicBezTo>
                    <a:cubicBezTo>
                      <a:pt x="1919" y="743"/>
                      <a:pt x="1919" y="743"/>
                      <a:pt x="1919" y="743"/>
                    </a:cubicBezTo>
                    <a:cubicBezTo>
                      <a:pt x="1920" y="741"/>
                      <a:pt x="1920" y="741"/>
                      <a:pt x="1920" y="741"/>
                    </a:cubicBezTo>
                    <a:cubicBezTo>
                      <a:pt x="1921" y="740"/>
                      <a:pt x="1921" y="740"/>
                      <a:pt x="1921" y="740"/>
                    </a:cubicBezTo>
                    <a:cubicBezTo>
                      <a:pt x="1922" y="739"/>
                      <a:pt x="1922" y="739"/>
                      <a:pt x="1922" y="739"/>
                    </a:cubicBezTo>
                    <a:cubicBezTo>
                      <a:pt x="1923" y="739"/>
                      <a:pt x="1923" y="739"/>
                      <a:pt x="1923" y="739"/>
                    </a:cubicBezTo>
                    <a:cubicBezTo>
                      <a:pt x="1923" y="738"/>
                      <a:pt x="1923" y="738"/>
                      <a:pt x="1923" y="738"/>
                    </a:cubicBezTo>
                    <a:cubicBezTo>
                      <a:pt x="1923" y="736"/>
                      <a:pt x="1923" y="736"/>
                      <a:pt x="1923" y="736"/>
                    </a:cubicBezTo>
                    <a:cubicBezTo>
                      <a:pt x="1924" y="735"/>
                      <a:pt x="1924" y="735"/>
                      <a:pt x="1924" y="735"/>
                    </a:cubicBezTo>
                    <a:cubicBezTo>
                      <a:pt x="1926" y="735"/>
                      <a:pt x="1926" y="735"/>
                      <a:pt x="1926" y="735"/>
                    </a:cubicBezTo>
                    <a:cubicBezTo>
                      <a:pt x="1926" y="733"/>
                      <a:pt x="1926" y="733"/>
                      <a:pt x="1926" y="733"/>
                    </a:cubicBezTo>
                    <a:cubicBezTo>
                      <a:pt x="1927" y="732"/>
                      <a:pt x="1927" y="732"/>
                      <a:pt x="1927" y="732"/>
                    </a:cubicBezTo>
                    <a:cubicBezTo>
                      <a:pt x="1928" y="732"/>
                      <a:pt x="1928" y="732"/>
                      <a:pt x="1928" y="732"/>
                    </a:cubicBezTo>
                    <a:cubicBezTo>
                      <a:pt x="1929" y="731"/>
                      <a:pt x="1929" y="731"/>
                      <a:pt x="1929" y="731"/>
                    </a:cubicBezTo>
                    <a:cubicBezTo>
                      <a:pt x="1928" y="730"/>
                      <a:pt x="1928" y="730"/>
                      <a:pt x="1928" y="730"/>
                    </a:cubicBezTo>
                    <a:cubicBezTo>
                      <a:pt x="1927" y="729"/>
                      <a:pt x="1927" y="729"/>
                      <a:pt x="1927" y="729"/>
                    </a:cubicBezTo>
                    <a:cubicBezTo>
                      <a:pt x="1927" y="727"/>
                      <a:pt x="1927" y="727"/>
                      <a:pt x="1927" y="727"/>
                    </a:cubicBezTo>
                    <a:cubicBezTo>
                      <a:pt x="1927" y="726"/>
                      <a:pt x="1927" y="726"/>
                      <a:pt x="1927" y="726"/>
                    </a:cubicBezTo>
                    <a:cubicBezTo>
                      <a:pt x="1926" y="728"/>
                      <a:pt x="1926" y="728"/>
                      <a:pt x="1926" y="728"/>
                    </a:cubicBezTo>
                    <a:cubicBezTo>
                      <a:pt x="1927" y="730"/>
                      <a:pt x="1927" y="730"/>
                      <a:pt x="1927" y="730"/>
                    </a:cubicBezTo>
                    <a:cubicBezTo>
                      <a:pt x="1926" y="729"/>
                      <a:pt x="1926" y="729"/>
                      <a:pt x="1926" y="729"/>
                    </a:cubicBezTo>
                    <a:cubicBezTo>
                      <a:pt x="1926" y="730"/>
                      <a:pt x="1926" y="730"/>
                      <a:pt x="1926" y="730"/>
                    </a:cubicBezTo>
                    <a:cubicBezTo>
                      <a:pt x="1926" y="731"/>
                      <a:pt x="1926" y="731"/>
                      <a:pt x="1926" y="731"/>
                    </a:cubicBezTo>
                    <a:cubicBezTo>
                      <a:pt x="1925" y="732"/>
                      <a:pt x="1925" y="732"/>
                      <a:pt x="1925" y="732"/>
                    </a:cubicBezTo>
                    <a:cubicBezTo>
                      <a:pt x="1923" y="734"/>
                      <a:pt x="1923" y="734"/>
                      <a:pt x="1923" y="734"/>
                    </a:cubicBezTo>
                    <a:cubicBezTo>
                      <a:pt x="1922" y="735"/>
                      <a:pt x="1922" y="735"/>
                      <a:pt x="1922" y="735"/>
                    </a:cubicBezTo>
                    <a:cubicBezTo>
                      <a:pt x="1921" y="738"/>
                      <a:pt x="1921" y="738"/>
                      <a:pt x="1921" y="738"/>
                    </a:cubicBezTo>
                    <a:cubicBezTo>
                      <a:pt x="1919" y="740"/>
                      <a:pt x="1919" y="740"/>
                      <a:pt x="1919" y="740"/>
                    </a:cubicBezTo>
                    <a:cubicBezTo>
                      <a:pt x="1918" y="740"/>
                      <a:pt x="1918" y="740"/>
                      <a:pt x="1918" y="740"/>
                    </a:cubicBezTo>
                    <a:cubicBezTo>
                      <a:pt x="1917" y="742"/>
                      <a:pt x="1917" y="742"/>
                      <a:pt x="1917" y="742"/>
                    </a:cubicBezTo>
                    <a:close/>
                    <a:moveTo>
                      <a:pt x="1939" y="673"/>
                    </a:moveTo>
                    <a:cubicBezTo>
                      <a:pt x="1938" y="674"/>
                      <a:pt x="1938" y="674"/>
                      <a:pt x="1938" y="674"/>
                    </a:cubicBezTo>
                    <a:cubicBezTo>
                      <a:pt x="1939" y="675"/>
                      <a:pt x="1939" y="675"/>
                      <a:pt x="1939" y="675"/>
                    </a:cubicBezTo>
                    <a:cubicBezTo>
                      <a:pt x="1940" y="674"/>
                      <a:pt x="1940" y="674"/>
                      <a:pt x="1940" y="674"/>
                    </a:cubicBezTo>
                    <a:lnTo>
                      <a:pt x="1939" y="673"/>
                    </a:lnTo>
                    <a:close/>
                    <a:moveTo>
                      <a:pt x="1937" y="678"/>
                    </a:moveTo>
                    <a:cubicBezTo>
                      <a:pt x="1937" y="678"/>
                      <a:pt x="1937" y="678"/>
                      <a:pt x="1936" y="677"/>
                    </a:cubicBezTo>
                    <a:cubicBezTo>
                      <a:pt x="1936" y="677"/>
                      <a:pt x="1936" y="677"/>
                      <a:pt x="1933" y="676"/>
                    </a:cubicBezTo>
                    <a:cubicBezTo>
                      <a:pt x="1933" y="676"/>
                      <a:pt x="1933" y="676"/>
                      <a:pt x="1931" y="677"/>
                    </a:cubicBezTo>
                    <a:cubicBezTo>
                      <a:pt x="1931" y="677"/>
                      <a:pt x="1931" y="677"/>
                      <a:pt x="1931" y="678"/>
                    </a:cubicBezTo>
                    <a:cubicBezTo>
                      <a:pt x="1931" y="678"/>
                      <a:pt x="1931" y="678"/>
                      <a:pt x="1930" y="681"/>
                    </a:cubicBezTo>
                    <a:cubicBezTo>
                      <a:pt x="1930" y="681"/>
                      <a:pt x="1930" y="681"/>
                      <a:pt x="1930" y="682"/>
                    </a:cubicBezTo>
                    <a:cubicBezTo>
                      <a:pt x="1930" y="682"/>
                      <a:pt x="1930" y="682"/>
                      <a:pt x="1930" y="685"/>
                    </a:cubicBezTo>
                    <a:cubicBezTo>
                      <a:pt x="1930" y="685"/>
                      <a:pt x="1930" y="685"/>
                      <a:pt x="1930" y="688"/>
                    </a:cubicBezTo>
                    <a:cubicBezTo>
                      <a:pt x="1930" y="688"/>
                      <a:pt x="1930" y="688"/>
                      <a:pt x="1929" y="689"/>
                    </a:cubicBezTo>
                    <a:cubicBezTo>
                      <a:pt x="1929" y="689"/>
                      <a:pt x="1929" y="689"/>
                      <a:pt x="1930" y="692"/>
                    </a:cubicBezTo>
                    <a:cubicBezTo>
                      <a:pt x="1930" y="692"/>
                      <a:pt x="1930" y="692"/>
                      <a:pt x="1929" y="693"/>
                    </a:cubicBezTo>
                    <a:cubicBezTo>
                      <a:pt x="1929" y="693"/>
                      <a:pt x="1929" y="693"/>
                      <a:pt x="1928" y="693"/>
                    </a:cubicBezTo>
                    <a:cubicBezTo>
                      <a:pt x="1928" y="693"/>
                      <a:pt x="1928" y="693"/>
                      <a:pt x="1927" y="692"/>
                    </a:cubicBezTo>
                    <a:cubicBezTo>
                      <a:pt x="1927" y="692"/>
                      <a:pt x="1927" y="692"/>
                      <a:pt x="1927" y="693"/>
                    </a:cubicBezTo>
                    <a:cubicBezTo>
                      <a:pt x="1927" y="693"/>
                      <a:pt x="1927" y="693"/>
                      <a:pt x="1927" y="695"/>
                    </a:cubicBezTo>
                    <a:cubicBezTo>
                      <a:pt x="1927" y="695"/>
                      <a:pt x="1927" y="695"/>
                      <a:pt x="1928" y="695"/>
                    </a:cubicBezTo>
                    <a:cubicBezTo>
                      <a:pt x="1928" y="695"/>
                      <a:pt x="1928" y="695"/>
                      <a:pt x="1928" y="696"/>
                    </a:cubicBezTo>
                    <a:cubicBezTo>
                      <a:pt x="1928" y="696"/>
                      <a:pt x="1928" y="696"/>
                      <a:pt x="1928" y="698"/>
                    </a:cubicBezTo>
                    <a:cubicBezTo>
                      <a:pt x="1928" y="698"/>
                      <a:pt x="1928" y="698"/>
                      <a:pt x="1929" y="699"/>
                    </a:cubicBezTo>
                    <a:cubicBezTo>
                      <a:pt x="1929" y="699"/>
                      <a:pt x="1929" y="699"/>
                      <a:pt x="1929" y="702"/>
                    </a:cubicBezTo>
                    <a:cubicBezTo>
                      <a:pt x="1929" y="702"/>
                      <a:pt x="1929" y="702"/>
                      <a:pt x="1930" y="702"/>
                    </a:cubicBezTo>
                    <a:cubicBezTo>
                      <a:pt x="1930" y="702"/>
                      <a:pt x="1930" y="702"/>
                      <a:pt x="1931" y="702"/>
                    </a:cubicBezTo>
                    <a:cubicBezTo>
                      <a:pt x="1931" y="702"/>
                      <a:pt x="1931" y="702"/>
                      <a:pt x="1931" y="703"/>
                    </a:cubicBezTo>
                    <a:cubicBezTo>
                      <a:pt x="1931" y="703"/>
                      <a:pt x="1931" y="703"/>
                      <a:pt x="1932" y="705"/>
                    </a:cubicBezTo>
                    <a:cubicBezTo>
                      <a:pt x="1932" y="705"/>
                      <a:pt x="1932" y="705"/>
                      <a:pt x="1933" y="705"/>
                    </a:cubicBezTo>
                    <a:cubicBezTo>
                      <a:pt x="1933" y="705"/>
                      <a:pt x="1933" y="705"/>
                      <a:pt x="1933" y="704"/>
                    </a:cubicBezTo>
                    <a:cubicBezTo>
                      <a:pt x="1933" y="704"/>
                      <a:pt x="1933" y="704"/>
                      <a:pt x="1933" y="703"/>
                    </a:cubicBezTo>
                    <a:cubicBezTo>
                      <a:pt x="1933" y="703"/>
                      <a:pt x="1933" y="703"/>
                      <a:pt x="1933" y="702"/>
                    </a:cubicBezTo>
                    <a:cubicBezTo>
                      <a:pt x="1933" y="702"/>
                      <a:pt x="1933" y="702"/>
                      <a:pt x="1934" y="703"/>
                    </a:cubicBezTo>
                    <a:cubicBezTo>
                      <a:pt x="1934" y="703"/>
                      <a:pt x="1934" y="703"/>
                      <a:pt x="1935" y="703"/>
                    </a:cubicBezTo>
                    <a:cubicBezTo>
                      <a:pt x="1935" y="703"/>
                      <a:pt x="1935" y="703"/>
                      <a:pt x="1934" y="705"/>
                    </a:cubicBezTo>
                    <a:cubicBezTo>
                      <a:pt x="1934" y="705"/>
                      <a:pt x="1934" y="705"/>
                      <a:pt x="1933" y="706"/>
                    </a:cubicBezTo>
                    <a:cubicBezTo>
                      <a:pt x="1933" y="706"/>
                      <a:pt x="1933" y="706"/>
                      <a:pt x="1933" y="707"/>
                    </a:cubicBezTo>
                    <a:cubicBezTo>
                      <a:pt x="1933" y="707"/>
                      <a:pt x="1933" y="707"/>
                      <a:pt x="1933" y="708"/>
                    </a:cubicBezTo>
                    <a:cubicBezTo>
                      <a:pt x="1933" y="708"/>
                      <a:pt x="1933" y="708"/>
                      <a:pt x="1934" y="710"/>
                    </a:cubicBezTo>
                    <a:cubicBezTo>
                      <a:pt x="1934" y="710"/>
                      <a:pt x="1934" y="710"/>
                      <a:pt x="1934" y="708"/>
                    </a:cubicBezTo>
                    <a:cubicBezTo>
                      <a:pt x="1934" y="708"/>
                      <a:pt x="1934" y="708"/>
                      <a:pt x="1935" y="708"/>
                    </a:cubicBezTo>
                    <a:cubicBezTo>
                      <a:pt x="1935" y="708"/>
                      <a:pt x="1935" y="708"/>
                      <a:pt x="1936" y="709"/>
                    </a:cubicBezTo>
                    <a:cubicBezTo>
                      <a:pt x="1936" y="709"/>
                      <a:pt x="1936" y="709"/>
                      <a:pt x="1935" y="710"/>
                    </a:cubicBezTo>
                    <a:cubicBezTo>
                      <a:pt x="1935" y="710"/>
                      <a:pt x="1935" y="710"/>
                      <a:pt x="1936" y="710"/>
                    </a:cubicBezTo>
                    <a:cubicBezTo>
                      <a:pt x="1936" y="710"/>
                      <a:pt x="1936" y="710"/>
                      <a:pt x="1937" y="709"/>
                    </a:cubicBezTo>
                    <a:cubicBezTo>
                      <a:pt x="1937" y="709"/>
                      <a:pt x="1937" y="709"/>
                      <a:pt x="1938" y="711"/>
                    </a:cubicBezTo>
                    <a:cubicBezTo>
                      <a:pt x="1938" y="711"/>
                      <a:pt x="1938" y="711"/>
                      <a:pt x="1940" y="710"/>
                    </a:cubicBezTo>
                    <a:cubicBezTo>
                      <a:pt x="1940" y="710"/>
                      <a:pt x="1940" y="710"/>
                      <a:pt x="1939" y="709"/>
                    </a:cubicBezTo>
                    <a:cubicBezTo>
                      <a:pt x="1939" y="709"/>
                      <a:pt x="1939" y="709"/>
                      <a:pt x="1940" y="708"/>
                    </a:cubicBezTo>
                    <a:cubicBezTo>
                      <a:pt x="1940" y="708"/>
                      <a:pt x="1940" y="708"/>
                      <a:pt x="1941" y="708"/>
                    </a:cubicBezTo>
                    <a:cubicBezTo>
                      <a:pt x="1941" y="708"/>
                      <a:pt x="1941" y="708"/>
                      <a:pt x="1944" y="709"/>
                    </a:cubicBezTo>
                    <a:cubicBezTo>
                      <a:pt x="1944" y="709"/>
                      <a:pt x="1944" y="709"/>
                      <a:pt x="1944" y="710"/>
                    </a:cubicBezTo>
                    <a:cubicBezTo>
                      <a:pt x="1944" y="710"/>
                      <a:pt x="1944" y="710"/>
                      <a:pt x="1946" y="711"/>
                    </a:cubicBezTo>
                    <a:cubicBezTo>
                      <a:pt x="1946" y="711"/>
                      <a:pt x="1946" y="711"/>
                      <a:pt x="1947" y="713"/>
                    </a:cubicBezTo>
                    <a:cubicBezTo>
                      <a:pt x="1947" y="713"/>
                      <a:pt x="1947" y="713"/>
                      <a:pt x="1947" y="711"/>
                    </a:cubicBezTo>
                    <a:cubicBezTo>
                      <a:pt x="1947" y="711"/>
                      <a:pt x="1947" y="711"/>
                      <a:pt x="1946" y="709"/>
                    </a:cubicBezTo>
                    <a:cubicBezTo>
                      <a:pt x="1946" y="709"/>
                      <a:pt x="1946" y="709"/>
                      <a:pt x="1946" y="708"/>
                    </a:cubicBezTo>
                    <a:cubicBezTo>
                      <a:pt x="1946" y="708"/>
                      <a:pt x="1946" y="708"/>
                      <a:pt x="1947" y="708"/>
                    </a:cubicBezTo>
                    <a:cubicBezTo>
                      <a:pt x="1947" y="708"/>
                      <a:pt x="1947" y="708"/>
                      <a:pt x="1947" y="709"/>
                    </a:cubicBezTo>
                    <a:cubicBezTo>
                      <a:pt x="1947" y="709"/>
                      <a:pt x="1947" y="709"/>
                      <a:pt x="1948" y="709"/>
                    </a:cubicBezTo>
                    <a:cubicBezTo>
                      <a:pt x="1948" y="709"/>
                      <a:pt x="1948" y="709"/>
                      <a:pt x="1949" y="711"/>
                    </a:cubicBezTo>
                    <a:cubicBezTo>
                      <a:pt x="1949" y="711"/>
                      <a:pt x="1949" y="711"/>
                      <a:pt x="1951" y="711"/>
                    </a:cubicBezTo>
                    <a:cubicBezTo>
                      <a:pt x="1951" y="711"/>
                      <a:pt x="1951" y="711"/>
                      <a:pt x="1951" y="713"/>
                    </a:cubicBezTo>
                    <a:cubicBezTo>
                      <a:pt x="1951" y="713"/>
                      <a:pt x="1951" y="713"/>
                      <a:pt x="1951" y="714"/>
                    </a:cubicBezTo>
                    <a:cubicBezTo>
                      <a:pt x="1951" y="714"/>
                      <a:pt x="1951" y="714"/>
                      <a:pt x="1952" y="714"/>
                    </a:cubicBezTo>
                    <a:cubicBezTo>
                      <a:pt x="1952" y="714"/>
                      <a:pt x="1952" y="714"/>
                      <a:pt x="1954" y="716"/>
                    </a:cubicBezTo>
                    <a:cubicBezTo>
                      <a:pt x="1954" y="716"/>
                      <a:pt x="1954" y="716"/>
                      <a:pt x="1955" y="716"/>
                    </a:cubicBezTo>
                    <a:cubicBezTo>
                      <a:pt x="1955" y="716"/>
                      <a:pt x="1955" y="716"/>
                      <a:pt x="1955" y="715"/>
                    </a:cubicBezTo>
                    <a:cubicBezTo>
                      <a:pt x="1955" y="715"/>
                      <a:pt x="1955" y="715"/>
                      <a:pt x="1956" y="715"/>
                    </a:cubicBezTo>
                    <a:cubicBezTo>
                      <a:pt x="1956" y="715"/>
                      <a:pt x="1956" y="715"/>
                      <a:pt x="1956" y="716"/>
                    </a:cubicBezTo>
                    <a:cubicBezTo>
                      <a:pt x="1956" y="716"/>
                      <a:pt x="1956" y="716"/>
                      <a:pt x="1955" y="717"/>
                    </a:cubicBezTo>
                    <a:cubicBezTo>
                      <a:pt x="1955" y="717"/>
                      <a:pt x="1955" y="717"/>
                      <a:pt x="1956" y="718"/>
                    </a:cubicBezTo>
                    <a:cubicBezTo>
                      <a:pt x="1956" y="718"/>
                      <a:pt x="1956" y="718"/>
                      <a:pt x="1957" y="718"/>
                    </a:cubicBezTo>
                    <a:cubicBezTo>
                      <a:pt x="1957" y="718"/>
                      <a:pt x="1957" y="718"/>
                      <a:pt x="1957" y="716"/>
                    </a:cubicBezTo>
                    <a:cubicBezTo>
                      <a:pt x="1957" y="716"/>
                      <a:pt x="1957" y="716"/>
                      <a:pt x="1958" y="715"/>
                    </a:cubicBezTo>
                    <a:cubicBezTo>
                      <a:pt x="1958" y="715"/>
                      <a:pt x="1958" y="715"/>
                      <a:pt x="1957" y="714"/>
                    </a:cubicBezTo>
                    <a:cubicBezTo>
                      <a:pt x="1957" y="714"/>
                      <a:pt x="1957" y="714"/>
                      <a:pt x="1956" y="714"/>
                    </a:cubicBezTo>
                    <a:cubicBezTo>
                      <a:pt x="1956" y="714"/>
                      <a:pt x="1956" y="714"/>
                      <a:pt x="1955" y="714"/>
                    </a:cubicBezTo>
                    <a:cubicBezTo>
                      <a:pt x="1955" y="714"/>
                      <a:pt x="1955" y="714"/>
                      <a:pt x="1954" y="714"/>
                    </a:cubicBezTo>
                    <a:cubicBezTo>
                      <a:pt x="1954" y="714"/>
                      <a:pt x="1954" y="714"/>
                      <a:pt x="1954" y="713"/>
                    </a:cubicBezTo>
                    <a:cubicBezTo>
                      <a:pt x="1954" y="713"/>
                      <a:pt x="1954" y="713"/>
                      <a:pt x="1953" y="711"/>
                    </a:cubicBezTo>
                    <a:cubicBezTo>
                      <a:pt x="1953" y="711"/>
                      <a:pt x="1953" y="711"/>
                      <a:pt x="1953" y="710"/>
                    </a:cubicBezTo>
                    <a:cubicBezTo>
                      <a:pt x="1953" y="710"/>
                      <a:pt x="1953" y="710"/>
                      <a:pt x="1953" y="709"/>
                    </a:cubicBezTo>
                    <a:cubicBezTo>
                      <a:pt x="1953" y="709"/>
                      <a:pt x="1953" y="709"/>
                      <a:pt x="1954" y="710"/>
                    </a:cubicBezTo>
                    <a:cubicBezTo>
                      <a:pt x="1954" y="710"/>
                      <a:pt x="1954" y="710"/>
                      <a:pt x="1955" y="710"/>
                    </a:cubicBezTo>
                    <a:cubicBezTo>
                      <a:pt x="1955" y="710"/>
                      <a:pt x="1955" y="710"/>
                      <a:pt x="1955" y="709"/>
                    </a:cubicBezTo>
                    <a:cubicBezTo>
                      <a:pt x="1955" y="709"/>
                      <a:pt x="1955" y="709"/>
                      <a:pt x="1953" y="708"/>
                    </a:cubicBezTo>
                    <a:cubicBezTo>
                      <a:pt x="1953" y="708"/>
                      <a:pt x="1953" y="708"/>
                      <a:pt x="1952" y="708"/>
                    </a:cubicBezTo>
                    <a:cubicBezTo>
                      <a:pt x="1952" y="708"/>
                      <a:pt x="1952" y="708"/>
                      <a:pt x="1951" y="707"/>
                    </a:cubicBezTo>
                    <a:cubicBezTo>
                      <a:pt x="1951" y="707"/>
                      <a:pt x="1951" y="707"/>
                      <a:pt x="1951" y="708"/>
                    </a:cubicBezTo>
                    <a:cubicBezTo>
                      <a:pt x="1951" y="708"/>
                      <a:pt x="1951" y="708"/>
                      <a:pt x="1951" y="709"/>
                    </a:cubicBezTo>
                    <a:cubicBezTo>
                      <a:pt x="1951" y="709"/>
                      <a:pt x="1951" y="709"/>
                      <a:pt x="1950" y="709"/>
                    </a:cubicBezTo>
                    <a:cubicBezTo>
                      <a:pt x="1950" y="709"/>
                      <a:pt x="1950" y="709"/>
                      <a:pt x="1949" y="709"/>
                    </a:cubicBezTo>
                    <a:cubicBezTo>
                      <a:pt x="1949" y="709"/>
                      <a:pt x="1949" y="709"/>
                      <a:pt x="1950" y="707"/>
                    </a:cubicBezTo>
                    <a:cubicBezTo>
                      <a:pt x="1950" y="707"/>
                      <a:pt x="1950" y="707"/>
                      <a:pt x="1949" y="706"/>
                    </a:cubicBezTo>
                    <a:cubicBezTo>
                      <a:pt x="1949" y="706"/>
                      <a:pt x="1949" y="706"/>
                      <a:pt x="1947" y="705"/>
                    </a:cubicBezTo>
                    <a:cubicBezTo>
                      <a:pt x="1947" y="705"/>
                      <a:pt x="1947" y="705"/>
                      <a:pt x="1946" y="705"/>
                    </a:cubicBezTo>
                    <a:cubicBezTo>
                      <a:pt x="1946" y="705"/>
                      <a:pt x="1946" y="705"/>
                      <a:pt x="1944" y="706"/>
                    </a:cubicBezTo>
                    <a:cubicBezTo>
                      <a:pt x="1944" y="706"/>
                      <a:pt x="1944" y="706"/>
                      <a:pt x="1944" y="707"/>
                    </a:cubicBezTo>
                    <a:cubicBezTo>
                      <a:pt x="1944" y="707"/>
                      <a:pt x="1944" y="707"/>
                      <a:pt x="1943" y="707"/>
                    </a:cubicBezTo>
                    <a:cubicBezTo>
                      <a:pt x="1943" y="707"/>
                      <a:pt x="1943" y="707"/>
                      <a:pt x="1941" y="707"/>
                    </a:cubicBezTo>
                    <a:cubicBezTo>
                      <a:pt x="1941" y="707"/>
                      <a:pt x="1941" y="707"/>
                      <a:pt x="1941" y="706"/>
                    </a:cubicBezTo>
                    <a:cubicBezTo>
                      <a:pt x="1941" y="706"/>
                      <a:pt x="1941" y="706"/>
                      <a:pt x="1940" y="705"/>
                    </a:cubicBezTo>
                    <a:cubicBezTo>
                      <a:pt x="1940" y="705"/>
                      <a:pt x="1940" y="705"/>
                      <a:pt x="1940" y="704"/>
                    </a:cubicBezTo>
                    <a:cubicBezTo>
                      <a:pt x="1940" y="704"/>
                      <a:pt x="1940" y="704"/>
                      <a:pt x="1940" y="703"/>
                    </a:cubicBezTo>
                    <a:cubicBezTo>
                      <a:pt x="1940" y="703"/>
                      <a:pt x="1940" y="703"/>
                      <a:pt x="1939" y="702"/>
                    </a:cubicBezTo>
                    <a:cubicBezTo>
                      <a:pt x="1939" y="702"/>
                      <a:pt x="1939" y="702"/>
                      <a:pt x="1939" y="700"/>
                    </a:cubicBezTo>
                    <a:cubicBezTo>
                      <a:pt x="1939" y="700"/>
                      <a:pt x="1939" y="700"/>
                      <a:pt x="1938" y="700"/>
                    </a:cubicBezTo>
                    <a:cubicBezTo>
                      <a:pt x="1938" y="700"/>
                      <a:pt x="1938" y="700"/>
                      <a:pt x="1938" y="698"/>
                    </a:cubicBezTo>
                    <a:cubicBezTo>
                      <a:pt x="1938" y="698"/>
                      <a:pt x="1938" y="698"/>
                      <a:pt x="1939" y="697"/>
                    </a:cubicBezTo>
                    <a:cubicBezTo>
                      <a:pt x="1939" y="697"/>
                      <a:pt x="1939" y="697"/>
                      <a:pt x="1939" y="696"/>
                    </a:cubicBezTo>
                    <a:cubicBezTo>
                      <a:pt x="1939" y="696"/>
                      <a:pt x="1939" y="696"/>
                      <a:pt x="1939" y="695"/>
                    </a:cubicBezTo>
                    <a:cubicBezTo>
                      <a:pt x="1939" y="695"/>
                      <a:pt x="1939" y="695"/>
                      <a:pt x="1941" y="693"/>
                    </a:cubicBezTo>
                    <a:cubicBezTo>
                      <a:pt x="1941" y="693"/>
                      <a:pt x="1941" y="693"/>
                      <a:pt x="1942" y="692"/>
                    </a:cubicBezTo>
                    <a:cubicBezTo>
                      <a:pt x="1942" y="692"/>
                      <a:pt x="1942" y="692"/>
                      <a:pt x="1942" y="693"/>
                    </a:cubicBezTo>
                    <a:cubicBezTo>
                      <a:pt x="1942" y="693"/>
                      <a:pt x="1942" y="693"/>
                      <a:pt x="1942" y="694"/>
                    </a:cubicBezTo>
                    <a:cubicBezTo>
                      <a:pt x="1942" y="694"/>
                      <a:pt x="1942" y="694"/>
                      <a:pt x="1943" y="692"/>
                    </a:cubicBezTo>
                    <a:cubicBezTo>
                      <a:pt x="1943" y="692"/>
                      <a:pt x="1943" y="692"/>
                      <a:pt x="1942" y="691"/>
                    </a:cubicBezTo>
                    <a:cubicBezTo>
                      <a:pt x="1942" y="691"/>
                      <a:pt x="1942" y="691"/>
                      <a:pt x="1943" y="689"/>
                    </a:cubicBezTo>
                    <a:cubicBezTo>
                      <a:pt x="1943" y="689"/>
                      <a:pt x="1943" y="689"/>
                      <a:pt x="1944" y="686"/>
                    </a:cubicBezTo>
                    <a:cubicBezTo>
                      <a:pt x="1944" y="686"/>
                      <a:pt x="1944" y="686"/>
                      <a:pt x="1943" y="685"/>
                    </a:cubicBezTo>
                    <a:cubicBezTo>
                      <a:pt x="1943" y="685"/>
                      <a:pt x="1943" y="685"/>
                      <a:pt x="1943" y="684"/>
                    </a:cubicBezTo>
                    <a:cubicBezTo>
                      <a:pt x="1943" y="684"/>
                      <a:pt x="1943" y="684"/>
                      <a:pt x="1942" y="683"/>
                    </a:cubicBezTo>
                    <a:cubicBezTo>
                      <a:pt x="1942" y="683"/>
                      <a:pt x="1942" y="683"/>
                      <a:pt x="1941" y="682"/>
                    </a:cubicBezTo>
                    <a:cubicBezTo>
                      <a:pt x="1941" y="682"/>
                      <a:pt x="1941" y="682"/>
                      <a:pt x="1941" y="679"/>
                    </a:cubicBezTo>
                    <a:cubicBezTo>
                      <a:pt x="1941" y="679"/>
                      <a:pt x="1941" y="679"/>
                      <a:pt x="1942" y="678"/>
                    </a:cubicBezTo>
                    <a:cubicBezTo>
                      <a:pt x="1942" y="678"/>
                      <a:pt x="1942" y="678"/>
                      <a:pt x="1942" y="677"/>
                    </a:cubicBezTo>
                    <a:cubicBezTo>
                      <a:pt x="1942" y="677"/>
                      <a:pt x="1942" y="677"/>
                      <a:pt x="1941" y="676"/>
                    </a:cubicBezTo>
                    <a:cubicBezTo>
                      <a:pt x="1941" y="676"/>
                      <a:pt x="1941" y="676"/>
                      <a:pt x="1940" y="677"/>
                    </a:cubicBezTo>
                    <a:cubicBezTo>
                      <a:pt x="1940" y="677"/>
                      <a:pt x="1940" y="677"/>
                      <a:pt x="1940" y="678"/>
                    </a:cubicBezTo>
                    <a:cubicBezTo>
                      <a:pt x="1940" y="678"/>
                      <a:pt x="1940" y="678"/>
                      <a:pt x="1938" y="678"/>
                    </a:cubicBezTo>
                    <a:cubicBezTo>
                      <a:pt x="1938" y="678"/>
                      <a:pt x="1938" y="678"/>
                      <a:pt x="1937" y="678"/>
                    </a:cubicBezTo>
                    <a:close/>
                    <a:moveTo>
                      <a:pt x="1836" y="806"/>
                    </a:moveTo>
                    <a:cubicBezTo>
                      <a:pt x="1837" y="806"/>
                      <a:pt x="1837" y="806"/>
                      <a:pt x="1837" y="806"/>
                    </a:cubicBezTo>
                    <a:cubicBezTo>
                      <a:pt x="1837" y="805"/>
                      <a:pt x="1837" y="805"/>
                      <a:pt x="1837" y="805"/>
                    </a:cubicBezTo>
                    <a:cubicBezTo>
                      <a:pt x="1836" y="805"/>
                      <a:pt x="1836" y="805"/>
                      <a:pt x="1836" y="805"/>
                    </a:cubicBezTo>
                    <a:cubicBezTo>
                      <a:pt x="1835" y="806"/>
                      <a:pt x="1835" y="806"/>
                      <a:pt x="1835" y="806"/>
                    </a:cubicBezTo>
                    <a:cubicBezTo>
                      <a:pt x="1836" y="806"/>
                      <a:pt x="1836" y="806"/>
                      <a:pt x="1836" y="806"/>
                    </a:cubicBezTo>
                    <a:close/>
                    <a:moveTo>
                      <a:pt x="1837" y="793"/>
                    </a:moveTo>
                    <a:cubicBezTo>
                      <a:pt x="1836" y="793"/>
                      <a:pt x="1836" y="793"/>
                      <a:pt x="1836" y="793"/>
                    </a:cubicBezTo>
                    <a:cubicBezTo>
                      <a:pt x="1835" y="793"/>
                      <a:pt x="1835" y="793"/>
                      <a:pt x="1835" y="793"/>
                    </a:cubicBezTo>
                    <a:cubicBezTo>
                      <a:pt x="1835" y="795"/>
                      <a:pt x="1835" y="795"/>
                      <a:pt x="1835" y="795"/>
                    </a:cubicBezTo>
                    <a:cubicBezTo>
                      <a:pt x="1836" y="795"/>
                      <a:pt x="1836" y="795"/>
                      <a:pt x="1836" y="795"/>
                    </a:cubicBezTo>
                    <a:cubicBezTo>
                      <a:pt x="1837" y="797"/>
                      <a:pt x="1837" y="797"/>
                      <a:pt x="1837" y="797"/>
                    </a:cubicBezTo>
                    <a:cubicBezTo>
                      <a:pt x="1837" y="796"/>
                      <a:pt x="1837" y="796"/>
                      <a:pt x="1837" y="796"/>
                    </a:cubicBezTo>
                    <a:cubicBezTo>
                      <a:pt x="1838" y="794"/>
                      <a:pt x="1838" y="794"/>
                      <a:pt x="1838" y="794"/>
                    </a:cubicBezTo>
                    <a:cubicBezTo>
                      <a:pt x="1837" y="794"/>
                      <a:pt x="1837" y="794"/>
                      <a:pt x="1837" y="794"/>
                    </a:cubicBezTo>
                    <a:cubicBezTo>
                      <a:pt x="1838" y="793"/>
                      <a:pt x="1838" y="793"/>
                      <a:pt x="1838" y="793"/>
                    </a:cubicBezTo>
                    <a:cubicBezTo>
                      <a:pt x="1837" y="793"/>
                      <a:pt x="1837" y="793"/>
                      <a:pt x="1837" y="793"/>
                    </a:cubicBezTo>
                    <a:close/>
                    <a:moveTo>
                      <a:pt x="1838" y="804"/>
                    </a:moveTo>
                    <a:cubicBezTo>
                      <a:pt x="1839" y="804"/>
                      <a:pt x="1839" y="804"/>
                      <a:pt x="1839" y="804"/>
                    </a:cubicBezTo>
                    <a:cubicBezTo>
                      <a:pt x="1840" y="804"/>
                      <a:pt x="1840" y="804"/>
                      <a:pt x="1840" y="804"/>
                    </a:cubicBezTo>
                    <a:cubicBezTo>
                      <a:pt x="1838" y="802"/>
                      <a:pt x="1838" y="802"/>
                      <a:pt x="1838" y="802"/>
                    </a:cubicBezTo>
                    <a:cubicBezTo>
                      <a:pt x="1837" y="802"/>
                      <a:pt x="1837" y="802"/>
                      <a:pt x="1837" y="802"/>
                    </a:cubicBezTo>
                    <a:cubicBezTo>
                      <a:pt x="1836" y="803"/>
                      <a:pt x="1836" y="803"/>
                      <a:pt x="1836" y="803"/>
                    </a:cubicBezTo>
                    <a:cubicBezTo>
                      <a:pt x="1837" y="804"/>
                      <a:pt x="1837" y="804"/>
                      <a:pt x="1837" y="804"/>
                    </a:cubicBezTo>
                    <a:cubicBezTo>
                      <a:pt x="1838" y="804"/>
                      <a:pt x="1838" y="804"/>
                      <a:pt x="1838" y="804"/>
                    </a:cubicBezTo>
                    <a:close/>
                    <a:moveTo>
                      <a:pt x="1826" y="797"/>
                    </a:moveTo>
                    <a:cubicBezTo>
                      <a:pt x="1827" y="797"/>
                      <a:pt x="1827" y="797"/>
                      <a:pt x="1827" y="797"/>
                    </a:cubicBezTo>
                    <a:cubicBezTo>
                      <a:pt x="1828" y="797"/>
                      <a:pt x="1828" y="797"/>
                      <a:pt x="1828" y="797"/>
                    </a:cubicBezTo>
                    <a:cubicBezTo>
                      <a:pt x="1827" y="795"/>
                      <a:pt x="1827" y="795"/>
                      <a:pt x="1827" y="795"/>
                    </a:cubicBezTo>
                    <a:cubicBezTo>
                      <a:pt x="1826" y="794"/>
                      <a:pt x="1826" y="794"/>
                      <a:pt x="1826" y="794"/>
                    </a:cubicBezTo>
                    <a:cubicBezTo>
                      <a:pt x="1824" y="794"/>
                      <a:pt x="1824" y="794"/>
                      <a:pt x="1824" y="794"/>
                    </a:cubicBezTo>
                    <a:cubicBezTo>
                      <a:pt x="1823" y="795"/>
                      <a:pt x="1823" y="795"/>
                      <a:pt x="1823" y="795"/>
                    </a:cubicBezTo>
                    <a:cubicBezTo>
                      <a:pt x="1824" y="796"/>
                      <a:pt x="1824" y="796"/>
                      <a:pt x="1824" y="796"/>
                    </a:cubicBezTo>
                    <a:cubicBezTo>
                      <a:pt x="1826" y="797"/>
                      <a:pt x="1826" y="797"/>
                      <a:pt x="1826" y="797"/>
                    </a:cubicBezTo>
                    <a:close/>
                    <a:moveTo>
                      <a:pt x="1847" y="778"/>
                    </a:moveTo>
                    <a:cubicBezTo>
                      <a:pt x="1847" y="779"/>
                      <a:pt x="1847" y="779"/>
                      <a:pt x="1847" y="779"/>
                    </a:cubicBezTo>
                    <a:cubicBezTo>
                      <a:pt x="1848" y="778"/>
                      <a:pt x="1848" y="778"/>
                      <a:pt x="1848" y="778"/>
                    </a:cubicBezTo>
                    <a:cubicBezTo>
                      <a:pt x="1847" y="778"/>
                      <a:pt x="1847" y="778"/>
                      <a:pt x="1847" y="778"/>
                    </a:cubicBezTo>
                    <a:close/>
                    <a:moveTo>
                      <a:pt x="1834" y="795"/>
                    </a:moveTo>
                    <a:cubicBezTo>
                      <a:pt x="1834" y="794"/>
                      <a:pt x="1834" y="794"/>
                      <a:pt x="1834" y="794"/>
                    </a:cubicBezTo>
                    <a:cubicBezTo>
                      <a:pt x="1834" y="793"/>
                      <a:pt x="1834" y="793"/>
                      <a:pt x="1834" y="793"/>
                    </a:cubicBezTo>
                    <a:cubicBezTo>
                      <a:pt x="1832" y="795"/>
                      <a:pt x="1832" y="795"/>
                      <a:pt x="1832" y="795"/>
                    </a:cubicBezTo>
                    <a:cubicBezTo>
                      <a:pt x="1834" y="795"/>
                      <a:pt x="1834" y="795"/>
                      <a:pt x="1834" y="795"/>
                    </a:cubicBezTo>
                    <a:close/>
                    <a:moveTo>
                      <a:pt x="1847" y="783"/>
                    </a:moveTo>
                    <a:cubicBezTo>
                      <a:pt x="1848" y="782"/>
                      <a:pt x="1848" y="782"/>
                      <a:pt x="1848" y="782"/>
                    </a:cubicBezTo>
                    <a:cubicBezTo>
                      <a:pt x="1847" y="782"/>
                      <a:pt x="1847" y="782"/>
                      <a:pt x="1847" y="782"/>
                    </a:cubicBezTo>
                    <a:cubicBezTo>
                      <a:pt x="1847" y="783"/>
                      <a:pt x="1847" y="783"/>
                      <a:pt x="1847" y="783"/>
                    </a:cubicBezTo>
                    <a:close/>
                    <a:moveTo>
                      <a:pt x="1852" y="821"/>
                    </a:moveTo>
                    <a:cubicBezTo>
                      <a:pt x="1851" y="820"/>
                      <a:pt x="1851" y="820"/>
                      <a:pt x="1851" y="820"/>
                    </a:cubicBezTo>
                    <a:cubicBezTo>
                      <a:pt x="1851" y="821"/>
                      <a:pt x="1851" y="821"/>
                      <a:pt x="1851" y="821"/>
                    </a:cubicBezTo>
                    <a:cubicBezTo>
                      <a:pt x="1852" y="821"/>
                      <a:pt x="1852" y="821"/>
                      <a:pt x="1852" y="821"/>
                    </a:cubicBezTo>
                    <a:close/>
                    <a:moveTo>
                      <a:pt x="1823" y="792"/>
                    </a:moveTo>
                    <a:cubicBezTo>
                      <a:pt x="1823" y="792"/>
                      <a:pt x="1823" y="792"/>
                      <a:pt x="1821" y="792"/>
                    </a:cubicBezTo>
                    <a:cubicBezTo>
                      <a:pt x="1821" y="792"/>
                      <a:pt x="1821" y="792"/>
                      <a:pt x="1822" y="794"/>
                    </a:cubicBezTo>
                    <a:cubicBezTo>
                      <a:pt x="1822" y="794"/>
                      <a:pt x="1822" y="794"/>
                      <a:pt x="1823" y="794"/>
                    </a:cubicBezTo>
                    <a:cubicBezTo>
                      <a:pt x="1823" y="794"/>
                      <a:pt x="1823" y="794"/>
                      <a:pt x="1824" y="793"/>
                    </a:cubicBezTo>
                    <a:cubicBezTo>
                      <a:pt x="1824" y="793"/>
                      <a:pt x="1824" y="793"/>
                      <a:pt x="1823" y="792"/>
                    </a:cubicBezTo>
                    <a:close/>
                    <a:moveTo>
                      <a:pt x="1856" y="823"/>
                    </a:moveTo>
                    <a:cubicBezTo>
                      <a:pt x="1857" y="821"/>
                      <a:pt x="1857" y="821"/>
                      <a:pt x="1857" y="821"/>
                    </a:cubicBezTo>
                    <a:cubicBezTo>
                      <a:pt x="1858" y="822"/>
                      <a:pt x="1858" y="822"/>
                      <a:pt x="1858" y="822"/>
                    </a:cubicBezTo>
                    <a:cubicBezTo>
                      <a:pt x="1859" y="822"/>
                      <a:pt x="1859" y="822"/>
                      <a:pt x="1859" y="822"/>
                    </a:cubicBezTo>
                    <a:cubicBezTo>
                      <a:pt x="1859" y="821"/>
                      <a:pt x="1859" y="821"/>
                      <a:pt x="1859" y="821"/>
                    </a:cubicBezTo>
                    <a:cubicBezTo>
                      <a:pt x="1860" y="821"/>
                      <a:pt x="1860" y="821"/>
                      <a:pt x="1860" y="821"/>
                    </a:cubicBezTo>
                    <a:cubicBezTo>
                      <a:pt x="1860" y="820"/>
                      <a:pt x="1860" y="820"/>
                      <a:pt x="1860" y="820"/>
                    </a:cubicBezTo>
                    <a:cubicBezTo>
                      <a:pt x="1858" y="818"/>
                      <a:pt x="1858" y="818"/>
                      <a:pt x="1858" y="818"/>
                    </a:cubicBezTo>
                    <a:cubicBezTo>
                      <a:pt x="1856" y="818"/>
                      <a:pt x="1856" y="818"/>
                      <a:pt x="1856" y="818"/>
                    </a:cubicBezTo>
                    <a:cubicBezTo>
                      <a:pt x="1855" y="818"/>
                      <a:pt x="1855" y="818"/>
                      <a:pt x="1855" y="818"/>
                    </a:cubicBezTo>
                    <a:cubicBezTo>
                      <a:pt x="1855" y="819"/>
                      <a:pt x="1855" y="819"/>
                      <a:pt x="1855" y="819"/>
                    </a:cubicBezTo>
                    <a:cubicBezTo>
                      <a:pt x="1855" y="820"/>
                      <a:pt x="1855" y="820"/>
                      <a:pt x="1855" y="820"/>
                    </a:cubicBezTo>
                    <a:cubicBezTo>
                      <a:pt x="1854" y="820"/>
                      <a:pt x="1854" y="820"/>
                      <a:pt x="1854" y="820"/>
                    </a:cubicBezTo>
                    <a:cubicBezTo>
                      <a:pt x="1854" y="821"/>
                      <a:pt x="1854" y="821"/>
                      <a:pt x="1854" y="821"/>
                    </a:cubicBezTo>
                    <a:cubicBezTo>
                      <a:pt x="1855" y="821"/>
                      <a:pt x="1855" y="821"/>
                      <a:pt x="1855" y="821"/>
                    </a:cubicBezTo>
                    <a:cubicBezTo>
                      <a:pt x="1855" y="822"/>
                      <a:pt x="1855" y="822"/>
                      <a:pt x="1855" y="822"/>
                    </a:cubicBezTo>
                    <a:cubicBezTo>
                      <a:pt x="1856" y="823"/>
                      <a:pt x="1856" y="823"/>
                      <a:pt x="1856" y="823"/>
                    </a:cubicBezTo>
                    <a:close/>
                    <a:moveTo>
                      <a:pt x="1860" y="774"/>
                    </a:moveTo>
                    <a:cubicBezTo>
                      <a:pt x="1859" y="772"/>
                      <a:pt x="1859" y="772"/>
                      <a:pt x="1859" y="772"/>
                    </a:cubicBezTo>
                    <a:cubicBezTo>
                      <a:pt x="1858" y="773"/>
                      <a:pt x="1858" y="773"/>
                      <a:pt x="1858" y="773"/>
                    </a:cubicBezTo>
                    <a:cubicBezTo>
                      <a:pt x="1857" y="774"/>
                      <a:pt x="1857" y="774"/>
                      <a:pt x="1857" y="774"/>
                    </a:cubicBezTo>
                    <a:cubicBezTo>
                      <a:pt x="1859" y="775"/>
                      <a:pt x="1859" y="775"/>
                      <a:pt x="1859" y="775"/>
                    </a:cubicBezTo>
                    <a:cubicBezTo>
                      <a:pt x="1859" y="776"/>
                      <a:pt x="1859" y="776"/>
                      <a:pt x="1859" y="776"/>
                    </a:cubicBezTo>
                    <a:cubicBezTo>
                      <a:pt x="1860" y="776"/>
                      <a:pt x="1860" y="776"/>
                      <a:pt x="1860" y="776"/>
                    </a:cubicBezTo>
                    <a:cubicBezTo>
                      <a:pt x="1860" y="774"/>
                      <a:pt x="1860" y="774"/>
                      <a:pt x="1860" y="774"/>
                    </a:cubicBezTo>
                    <a:close/>
                    <a:moveTo>
                      <a:pt x="1848" y="818"/>
                    </a:moveTo>
                    <a:cubicBezTo>
                      <a:pt x="1847" y="816"/>
                      <a:pt x="1847" y="816"/>
                      <a:pt x="1847" y="816"/>
                    </a:cubicBezTo>
                    <a:cubicBezTo>
                      <a:pt x="1846" y="813"/>
                      <a:pt x="1846" y="813"/>
                      <a:pt x="1846" y="813"/>
                    </a:cubicBezTo>
                    <a:cubicBezTo>
                      <a:pt x="1845" y="812"/>
                      <a:pt x="1845" y="812"/>
                      <a:pt x="1845" y="812"/>
                    </a:cubicBezTo>
                    <a:cubicBezTo>
                      <a:pt x="1844" y="812"/>
                      <a:pt x="1844" y="812"/>
                      <a:pt x="1844" y="812"/>
                    </a:cubicBezTo>
                    <a:cubicBezTo>
                      <a:pt x="1844" y="813"/>
                      <a:pt x="1844" y="813"/>
                      <a:pt x="1844" y="813"/>
                    </a:cubicBezTo>
                    <a:cubicBezTo>
                      <a:pt x="1843" y="813"/>
                      <a:pt x="1843" y="813"/>
                      <a:pt x="1843" y="813"/>
                    </a:cubicBezTo>
                    <a:cubicBezTo>
                      <a:pt x="1842" y="812"/>
                      <a:pt x="1842" y="812"/>
                      <a:pt x="1842" y="812"/>
                    </a:cubicBezTo>
                    <a:cubicBezTo>
                      <a:pt x="1842" y="813"/>
                      <a:pt x="1842" y="813"/>
                      <a:pt x="1842" y="813"/>
                    </a:cubicBezTo>
                    <a:cubicBezTo>
                      <a:pt x="1841" y="814"/>
                      <a:pt x="1841" y="814"/>
                      <a:pt x="1841" y="814"/>
                    </a:cubicBezTo>
                    <a:cubicBezTo>
                      <a:pt x="1842" y="815"/>
                      <a:pt x="1842" y="815"/>
                      <a:pt x="1842" y="815"/>
                    </a:cubicBezTo>
                    <a:cubicBezTo>
                      <a:pt x="1844" y="816"/>
                      <a:pt x="1844" y="816"/>
                      <a:pt x="1844" y="816"/>
                    </a:cubicBezTo>
                    <a:cubicBezTo>
                      <a:pt x="1844" y="817"/>
                      <a:pt x="1844" y="817"/>
                      <a:pt x="1844" y="817"/>
                    </a:cubicBezTo>
                    <a:cubicBezTo>
                      <a:pt x="1845" y="818"/>
                      <a:pt x="1845" y="818"/>
                      <a:pt x="1845" y="818"/>
                    </a:cubicBezTo>
                    <a:cubicBezTo>
                      <a:pt x="1846" y="819"/>
                      <a:pt x="1846" y="819"/>
                      <a:pt x="1846" y="819"/>
                    </a:cubicBezTo>
                    <a:cubicBezTo>
                      <a:pt x="1847" y="820"/>
                      <a:pt x="1847" y="820"/>
                      <a:pt x="1847" y="820"/>
                    </a:cubicBezTo>
                    <a:cubicBezTo>
                      <a:pt x="1848" y="820"/>
                      <a:pt x="1848" y="820"/>
                      <a:pt x="1848" y="820"/>
                    </a:cubicBezTo>
                    <a:cubicBezTo>
                      <a:pt x="1849" y="821"/>
                      <a:pt x="1849" y="821"/>
                      <a:pt x="1849" y="821"/>
                    </a:cubicBezTo>
                    <a:cubicBezTo>
                      <a:pt x="1849" y="822"/>
                      <a:pt x="1849" y="822"/>
                      <a:pt x="1849" y="822"/>
                    </a:cubicBezTo>
                    <a:cubicBezTo>
                      <a:pt x="1850" y="821"/>
                      <a:pt x="1850" y="821"/>
                      <a:pt x="1850" y="821"/>
                    </a:cubicBezTo>
                    <a:cubicBezTo>
                      <a:pt x="1849" y="820"/>
                      <a:pt x="1849" y="820"/>
                      <a:pt x="1849" y="820"/>
                    </a:cubicBezTo>
                    <a:cubicBezTo>
                      <a:pt x="1850" y="818"/>
                      <a:pt x="1850" y="818"/>
                      <a:pt x="1850" y="818"/>
                    </a:cubicBezTo>
                    <a:cubicBezTo>
                      <a:pt x="1848" y="818"/>
                      <a:pt x="1848" y="818"/>
                      <a:pt x="1848" y="818"/>
                    </a:cubicBezTo>
                    <a:close/>
                    <a:moveTo>
                      <a:pt x="1800" y="808"/>
                    </a:moveTo>
                    <a:cubicBezTo>
                      <a:pt x="1798" y="809"/>
                      <a:pt x="1798" y="809"/>
                      <a:pt x="1798" y="809"/>
                    </a:cubicBezTo>
                    <a:cubicBezTo>
                      <a:pt x="1798" y="810"/>
                      <a:pt x="1798" y="810"/>
                      <a:pt x="1798" y="810"/>
                    </a:cubicBezTo>
                    <a:cubicBezTo>
                      <a:pt x="1800" y="810"/>
                      <a:pt x="1800" y="810"/>
                      <a:pt x="1800" y="810"/>
                    </a:cubicBezTo>
                    <a:cubicBezTo>
                      <a:pt x="1801" y="813"/>
                      <a:pt x="1801" y="813"/>
                      <a:pt x="1801" y="813"/>
                    </a:cubicBezTo>
                    <a:cubicBezTo>
                      <a:pt x="1803" y="813"/>
                      <a:pt x="1803" y="813"/>
                      <a:pt x="1803" y="813"/>
                    </a:cubicBezTo>
                    <a:cubicBezTo>
                      <a:pt x="1803" y="811"/>
                      <a:pt x="1803" y="811"/>
                      <a:pt x="1803" y="811"/>
                    </a:cubicBezTo>
                    <a:cubicBezTo>
                      <a:pt x="1801" y="808"/>
                      <a:pt x="1801" y="808"/>
                      <a:pt x="1801" y="808"/>
                    </a:cubicBezTo>
                    <a:cubicBezTo>
                      <a:pt x="1800" y="808"/>
                      <a:pt x="1800" y="808"/>
                      <a:pt x="1800" y="808"/>
                    </a:cubicBezTo>
                    <a:close/>
                    <a:moveTo>
                      <a:pt x="1845" y="781"/>
                    </a:moveTo>
                    <a:cubicBezTo>
                      <a:pt x="1844" y="781"/>
                      <a:pt x="1844" y="781"/>
                      <a:pt x="1844" y="781"/>
                    </a:cubicBezTo>
                    <a:cubicBezTo>
                      <a:pt x="1843" y="781"/>
                      <a:pt x="1843" y="781"/>
                      <a:pt x="1843" y="781"/>
                    </a:cubicBezTo>
                    <a:cubicBezTo>
                      <a:pt x="1843" y="782"/>
                      <a:pt x="1843" y="782"/>
                      <a:pt x="1843" y="782"/>
                    </a:cubicBezTo>
                    <a:cubicBezTo>
                      <a:pt x="1844" y="782"/>
                      <a:pt x="1844" y="782"/>
                      <a:pt x="1844" y="782"/>
                    </a:cubicBezTo>
                    <a:cubicBezTo>
                      <a:pt x="1845" y="781"/>
                      <a:pt x="1845" y="781"/>
                      <a:pt x="1845" y="781"/>
                    </a:cubicBezTo>
                    <a:close/>
                    <a:moveTo>
                      <a:pt x="2026" y="838"/>
                    </a:moveTo>
                    <a:cubicBezTo>
                      <a:pt x="2026" y="837"/>
                      <a:pt x="2026" y="837"/>
                      <a:pt x="2026" y="837"/>
                    </a:cubicBezTo>
                    <a:cubicBezTo>
                      <a:pt x="2025" y="836"/>
                      <a:pt x="2025" y="836"/>
                      <a:pt x="2025" y="836"/>
                    </a:cubicBezTo>
                    <a:cubicBezTo>
                      <a:pt x="2025" y="837"/>
                      <a:pt x="2025" y="837"/>
                      <a:pt x="2025" y="837"/>
                    </a:cubicBezTo>
                    <a:cubicBezTo>
                      <a:pt x="2024" y="837"/>
                      <a:pt x="2024" y="837"/>
                      <a:pt x="2024" y="837"/>
                    </a:cubicBezTo>
                    <a:cubicBezTo>
                      <a:pt x="2023" y="838"/>
                      <a:pt x="2023" y="838"/>
                      <a:pt x="2023" y="838"/>
                    </a:cubicBezTo>
                    <a:cubicBezTo>
                      <a:pt x="2024" y="838"/>
                      <a:pt x="2024" y="838"/>
                      <a:pt x="2024" y="838"/>
                    </a:cubicBezTo>
                    <a:cubicBezTo>
                      <a:pt x="2023" y="839"/>
                      <a:pt x="2023" y="839"/>
                      <a:pt x="2023" y="839"/>
                    </a:cubicBezTo>
                    <a:cubicBezTo>
                      <a:pt x="2023" y="840"/>
                      <a:pt x="2023" y="840"/>
                      <a:pt x="2023" y="840"/>
                    </a:cubicBezTo>
                    <a:cubicBezTo>
                      <a:pt x="2024" y="840"/>
                      <a:pt x="2024" y="840"/>
                      <a:pt x="2024" y="840"/>
                    </a:cubicBezTo>
                    <a:cubicBezTo>
                      <a:pt x="2025" y="839"/>
                      <a:pt x="2025" y="839"/>
                      <a:pt x="2025" y="839"/>
                    </a:cubicBezTo>
                    <a:cubicBezTo>
                      <a:pt x="2026" y="838"/>
                      <a:pt x="2026" y="838"/>
                      <a:pt x="2026" y="838"/>
                    </a:cubicBezTo>
                    <a:close/>
                    <a:moveTo>
                      <a:pt x="1809" y="820"/>
                    </a:moveTo>
                    <a:cubicBezTo>
                      <a:pt x="1808" y="821"/>
                      <a:pt x="1808" y="821"/>
                      <a:pt x="1808" y="821"/>
                    </a:cubicBezTo>
                    <a:cubicBezTo>
                      <a:pt x="1811" y="823"/>
                      <a:pt x="1811" y="823"/>
                      <a:pt x="1811" y="823"/>
                    </a:cubicBezTo>
                    <a:cubicBezTo>
                      <a:pt x="1810" y="822"/>
                      <a:pt x="1810" y="822"/>
                      <a:pt x="1810" y="822"/>
                    </a:cubicBezTo>
                    <a:cubicBezTo>
                      <a:pt x="1811" y="821"/>
                      <a:pt x="1811" y="821"/>
                      <a:pt x="1811" y="821"/>
                    </a:cubicBezTo>
                    <a:cubicBezTo>
                      <a:pt x="1809" y="820"/>
                      <a:pt x="1809" y="820"/>
                      <a:pt x="1809" y="820"/>
                    </a:cubicBezTo>
                    <a:close/>
                    <a:moveTo>
                      <a:pt x="1780" y="783"/>
                    </a:moveTo>
                    <a:cubicBezTo>
                      <a:pt x="1781" y="784"/>
                      <a:pt x="1781" y="784"/>
                      <a:pt x="1781" y="784"/>
                    </a:cubicBezTo>
                    <a:cubicBezTo>
                      <a:pt x="1782" y="784"/>
                      <a:pt x="1782" y="784"/>
                      <a:pt x="1782" y="784"/>
                    </a:cubicBezTo>
                    <a:cubicBezTo>
                      <a:pt x="1782" y="783"/>
                      <a:pt x="1782" y="783"/>
                      <a:pt x="1782" y="783"/>
                    </a:cubicBezTo>
                    <a:cubicBezTo>
                      <a:pt x="1781" y="782"/>
                      <a:pt x="1781" y="782"/>
                      <a:pt x="1781" y="782"/>
                    </a:cubicBezTo>
                    <a:cubicBezTo>
                      <a:pt x="1780" y="783"/>
                      <a:pt x="1780" y="783"/>
                      <a:pt x="1780" y="783"/>
                    </a:cubicBezTo>
                    <a:close/>
                    <a:moveTo>
                      <a:pt x="1800" y="800"/>
                    </a:moveTo>
                    <a:cubicBezTo>
                      <a:pt x="1799" y="800"/>
                      <a:pt x="1799" y="800"/>
                      <a:pt x="1799" y="800"/>
                    </a:cubicBezTo>
                    <a:cubicBezTo>
                      <a:pt x="1798" y="801"/>
                      <a:pt x="1798" y="801"/>
                      <a:pt x="1798" y="801"/>
                    </a:cubicBezTo>
                    <a:cubicBezTo>
                      <a:pt x="1800" y="801"/>
                      <a:pt x="1800" y="801"/>
                      <a:pt x="1800" y="801"/>
                    </a:cubicBezTo>
                    <a:cubicBezTo>
                      <a:pt x="1800" y="800"/>
                      <a:pt x="1800" y="800"/>
                      <a:pt x="1800" y="800"/>
                    </a:cubicBezTo>
                    <a:close/>
                    <a:moveTo>
                      <a:pt x="1822" y="837"/>
                    </a:moveTo>
                    <a:cubicBezTo>
                      <a:pt x="1822" y="836"/>
                      <a:pt x="1822" y="836"/>
                      <a:pt x="1822" y="836"/>
                    </a:cubicBezTo>
                    <a:cubicBezTo>
                      <a:pt x="1822" y="835"/>
                      <a:pt x="1822" y="835"/>
                      <a:pt x="1822" y="835"/>
                    </a:cubicBezTo>
                    <a:cubicBezTo>
                      <a:pt x="1821" y="836"/>
                      <a:pt x="1821" y="836"/>
                      <a:pt x="1821" y="836"/>
                    </a:cubicBezTo>
                    <a:cubicBezTo>
                      <a:pt x="1822" y="837"/>
                      <a:pt x="1822" y="837"/>
                      <a:pt x="1822" y="837"/>
                    </a:cubicBezTo>
                    <a:close/>
                    <a:moveTo>
                      <a:pt x="1798" y="805"/>
                    </a:moveTo>
                    <a:cubicBezTo>
                      <a:pt x="1797" y="804"/>
                      <a:pt x="1797" y="804"/>
                      <a:pt x="1797" y="804"/>
                    </a:cubicBezTo>
                    <a:cubicBezTo>
                      <a:pt x="1797" y="806"/>
                      <a:pt x="1797" y="806"/>
                      <a:pt x="1797" y="806"/>
                    </a:cubicBezTo>
                    <a:cubicBezTo>
                      <a:pt x="1798" y="806"/>
                      <a:pt x="1798" y="806"/>
                      <a:pt x="1798" y="806"/>
                    </a:cubicBezTo>
                    <a:cubicBezTo>
                      <a:pt x="1798" y="805"/>
                      <a:pt x="1798" y="805"/>
                      <a:pt x="1798" y="805"/>
                    </a:cubicBezTo>
                    <a:close/>
                    <a:moveTo>
                      <a:pt x="1953" y="836"/>
                    </a:moveTo>
                    <a:cubicBezTo>
                      <a:pt x="1953" y="836"/>
                      <a:pt x="1953" y="836"/>
                      <a:pt x="1953" y="835"/>
                    </a:cubicBezTo>
                    <a:cubicBezTo>
                      <a:pt x="1953" y="835"/>
                      <a:pt x="1953" y="835"/>
                      <a:pt x="1952" y="835"/>
                    </a:cubicBezTo>
                    <a:cubicBezTo>
                      <a:pt x="1952" y="835"/>
                      <a:pt x="1952" y="835"/>
                      <a:pt x="1951" y="834"/>
                    </a:cubicBezTo>
                    <a:cubicBezTo>
                      <a:pt x="1951" y="835"/>
                      <a:pt x="1951" y="835"/>
                      <a:pt x="1951" y="835"/>
                    </a:cubicBezTo>
                    <a:cubicBezTo>
                      <a:pt x="1951" y="835"/>
                      <a:pt x="1951" y="835"/>
                      <a:pt x="1950" y="836"/>
                    </a:cubicBezTo>
                    <a:cubicBezTo>
                      <a:pt x="1950" y="836"/>
                      <a:pt x="1950" y="836"/>
                      <a:pt x="1949" y="837"/>
                    </a:cubicBezTo>
                    <a:cubicBezTo>
                      <a:pt x="1949" y="837"/>
                      <a:pt x="1949" y="837"/>
                      <a:pt x="1950" y="838"/>
                    </a:cubicBezTo>
                    <a:cubicBezTo>
                      <a:pt x="1950" y="838"/>
                      <a:pt x="1950" y="838"/>
                      <a:pt x="1951" y="837"/>
                    </a:cubicBezTo>
                    <a:cubicBezTo>
                      <a:pt x="1951" y="837"/>
                      <a:pt x="1951" y="837"/>
                      <a:pt x="1952" y="836"/>
                    </a:cubicBezTo>
                    <a:cubicBezTo>
                      <a:pt x="1952" y="836"/>
                      <a:pt x="1952" y="836"/>
                      <a:pt x="1953" y="836"/>
                    </a:cubicBezTo>
                    <a:close/>
                    <a:moveTo>
                      <a:pt x="1790" y="787"/>
                    </a:moveTo>
                    <a:cubicBezTo>
                      <a:pt x="1789" y="788"/>
                      <a:pt x="1789" y="788"/>
                      <a:pt x="1789" y="788"/>
                    </a:cubicBezTo>
                    <a:cubicBezTo>
                      <a:pt x="1791" y="788"/>
                      <a:pt x="1791" y="788"/>
                      <a:pt x="1791" y="788"/>
                    </a:cubicBezTo>
                    <a:cubicBezTo>
                      <a:pt x="1790" y="787"/>
                      <a:pt x="1790" y="787"/>
                      <a:pt x="1790" y="787"/>
                    </a:cubicBezTo>
                    <a:close/>
                    <a:moveTo>
                      <a:pt x="1792" y="792"/>
                    </a:moveTo>
                    <a:cubicBezTo>
                      <a:pt x="1792" y="792"/>
                      <a:pt x="1792" y="792"/>
                      <a:pt x="1791" y="792"/>
                    </a:cubicBezTo>
                    <a:cubicBezTo>
                      <a:pt x="1791" y="792"/>
                      <a:pt x="1791" y="792"/>
                      <a:pt x="1790" y="792"/>
                    </a:cubicBezTo>
                    <a:cubicBezTo>
                      <a:pt x="1790" y="792"/>
                      <a:pt x="1790" y="792"/>
                      <a:pt x="1789" y="792"/>
                    </a:cubicBezTo>
                    <a:cubicBezTo>
                      <a:pt x="1789" y="792"/>
                      <a:pt x="1789" y="792"/>
                      <a:pt x="1791" y="794"/>
                    </a:cubicBezTo>
                    <a:cubicBezTo>
                      <a:pt x="1791" y="794"/>
                      <a:pt x="1791" y="794"/>
                      <a:pt x="1791" y="795"/>
                    </a:cubicBezTo>
                    <a:cubicBezTo>
                      <a:pt x="1791" y="795"/>
                      <a:pt x="1791" y="795"/>
                      <a:pt x="1792" y="795"/>
                    </a:cubicBezTo>
                    <a:cubicBezTo>
                      <a:pt x="1792" y="795"/>
                      <a:pt x="1792" y="795"/>
                      <a:pt x="1793" y="798"/>
                    </a:cubicBezTo>
                    <a:cubicBezTo>
                      <a:pt x="1793" y="798"/>
                      <a:pt x="1793" y="798"/>
                      <a:pt x="1794" y="797"/>
                    </a:cubicBezTo>
                    <a:cubicBezTo>
                      <a:pt x="1794" y="797"/>
                      <a:pt x="1794" y="797"/>
                      <a:pt x="1794" y="796"/>
                    </a:cubicBezTo>
                    <a:cubicBezTo>
                      <a:pt x="1794" y="796"/>
                      <a:pt x="1794" y="796"/>
                      <a:pt x="1794" y="795"/>
                    </a:cubicBezTo>
                    <a:cubicBezTo>
                      <a:pt x="1794" y="795"/>
                      <a:pt x="1794" y="795"/>
                      <a:pt x="1793" y="794"/>
                    </a:cubicBezTo>
                    <a:cubicBezTo>
                      <a:pt x="1793" y="794"/>
                      <a:pt x="1793" y="794"/>
                      <a:pt x="1792" y="792"/>
                    </a:cubicBezTo>
                    <a:close/>
                    <a:moveTo>
                      <a:pt x="1818" y="790"/>
                    </a:moveTo>
                    <a:cubicBezTo>
                      <a:pt x="1819" y="789"/>
                      <a:pt x="1819" y="789"/>
                      <a:pt x="1819" y="789"/>
                    </a:cubicBezTo>
                    <a:cubicBezTo>
                      <a:pt x="1818" y="788"/>
                      <a:pt x="1818" y="788"/>
                      <a:pt x="1818" y="788"/>
                    </a:cubicBezTo>
                    <a:cubicBezTo>
                      <a:pt x="1816" y="789"/>
                      <a:pt x="1816" y="789"/>
                      <a:pt x="1816" y="789"/>
                    </a:cubicBezTo>
                    <a:cubicBezTo>
                      <a:pt x="1817" y="790"/>
                      <a:pt x="1817" y="790"/>
                      <a:pt x="1817" y="790"/>
                    </a:cubicBezTo>
                    <a:cubicBezTo>
                      <a:pt x="1818" y="790"/>
                      <a:pt x="1818" y="790"/>
                      <a:pt x="1818" y="790"/>
                    </a:cubicBezTo>
                    <a:close/>
                    <a:moveTo>
                      <a:pt x="1878" y="855"/>
                    </a:moveTo>
                    <a:cubicBezTo>
                      <a:pt x="1878" y="855"/>
                      <a:pt x="1878" y="855"/>
                      <a:pt x="1880" y="856"/>
                    </a:cubicBezTo>
                    <a:cubicBezTo>
                      <a:pt x="1880" y="856"/>
                      <a:pt x="1880" y="856"/>
                      <a:pt x="1881" y="855"/>
                    </a:cubicBezTo>
                    <a:cubicBezTo>
                      <a:pt x="1881" y="855"/>
                      <a:pt x="1881" y="855"/>
                      <a:pt x="1883" y="855"/>
                    </a:cubicBezTo>
                    <a:cubicBezTo>
                      <a:pt x="1883" y="855"/>
                      <a:pt x="1883" y="855"/>
                      <a:pt x="1885" y="856"/>
                    </a:cubicBezTo>
                    <a:cubicBezTo>
                      <a:pt x="1885" y="856"/>
                      <a:pt x="1885" y="856"/>
                      <a:pt x="1887" y="856"/>
                    </a:cubicBezTo>
                    <a:cubicBezTo>
                      <a:pt x="1887" y="856"/>
                      <a:pt x="1887" y="856"/>
                      <a:pt x="1889" y="855"/>
                    </a:cubicBezTo>
                    <a:cubicBezTo>
                      <a:pt x="1889" y="855"/>
                      <a:pt x="1889" y="855"/>
                      <a:pt x="1891" y="856"/>
                    </a:cubicBezTo>
                    <a:cubicBezTo>
                      <a:pt x="1891" y="856"/>
                      <a:pt x="1891" y="856"/>
                      <a:pt x="1892" y="856"/>
                    </a:cubicBezTo>
                    <a:cubicBezTo>
                      <a:pt x="1892" y="856"/>
                      <a:pt x="1892" y="856"/>
                      <a:pt x="1894" y="858"/>
                    </a:cubicBezTo>
                    <a:cubicBezTo>
                      <a:pt x="1894" y="858"/>
                      <a:pt x="1894" y="858"/>
                      <a:pt x="1895" y="858"/>
                    </a:cubicBezTo>
                    <a:cubicBezTo>
                      <a:pt x="1895" y="858"/>
                      <a:pt x="1895" y="858"/>
                      <a:pt x="1896" y="859"/>
                    </a:cubicBezTo>
                    <a:cubicBezTo>
                      <a:pt x="1896" y="859"/>
                      <a:pt x="1896" y="859"/>
                      <a:pt x="1897" y="858"/>
                    </a:cubicBezTo>
                    <a:cubicBezTo>
                      <a:pt x="1897" y="858"/>
                      <a:pt x="1897" y="858"/>
                      <a:pt x="1896" y="856"/>
                    </a:cubicBezTo>
                    <a:cubicBezTo>
                      <a:pt x="1896" y="856"/>
                      <a:pt x="1896" y="856"/>
                      <a:pt x="1896" y="855"/>
                    </a:cubicBezTo>
                    <a:cubicBezTo>
                      <a:pt x="1896" y="855"/>
                      <a:pt x="1896" y="855"/>
                      <a:pt x="1897" y="852"/>
                    </a:cubicBezTo>
                    <a:cubicBezTo>
                      <a:pt x="1897" y="852"/>
                      <a:pt x="1897" y="852"/>
                      <a:pt x="1896" y="852"/>
                    </a:cubicBezTo>
                    <a:cubicBezTo>
                      <a:pt x="1896" y="852"/>
                      <a:pt x="1896" y="852"/>
                      <a:pt x="1895" y="852"/>
                    </a:cubicBezTo>
                    <a:cubicBezTo>
                      <a:pt x="1895" y="852"/>
                      <a:pt x="1895" y="852"/>
                      <a:pt x="1895" y="851"/>
                    </a:cubicBezTo>
                    <a:cubicBezTo>
                      <a:pt x="1895" y="851"/>
                      <a:pt x="1895" y="851"/>
                      <a:pt x="1893" y="851"/>
                    </a:cubicBezTo>
                    <a:cubicBezTo>
                      <a:pt x="1893" y="851"/>
                      <a:pt x="1893" y="851"/>
                      <a:pt x="1893" y="852"/>
                    </a:cubicBezTo>
                    <a:cubicBezTo>
                      <a:pt x="1893" y="852"/>
                      <a:pt x="1893" y="852"/>
                      <a:pt x="1892" y="852"/>
                    </a:cubicBezTo>
                    <a:cubicBezTo>
                      <a:pt x="1892" y="852"/>
                      <a:pt x="1892" y="852"/>
                      <a:pt x="1891" y="851"/>
                    </a:cubicBezTo>
                    <a:cubicBezTo>
                      <a:pt x="1891" y="851"/>
                      <a:pt x="1891" y="851"/>
                      <a:pt x="1889" y="852"/>
                    </a:cubicBezTo>
                    <a:cubicBezTo>
                      <a:pt x="1889" y="852"/>
                      <a:pt x="1889" y="852"/>
                      <a:pt x="1888" y="851"/>
                    </a:cubicBezTo>
                    <a:cubicBezTo>
                      <a:pt x="1888" y="851"/>
                      <a:pt x="1888" y="851"/>
                      <a:pt x="1887" y="850"/>
                    </a:cubicBezTo>
                    <a:cubicBezTo>
                      <a:pt x="1887" y="850"/>
                      <a:pt x="1887" y="850"/>
                      <a:pt x="1887" y="849"/>
                    </a:cubicBezTo>
                    <a:cubicBezTo>
                      <a:pt x="1887" y="849"/>
                      <a:pt x="1887" y="849"/>
                      <a:pt x="1886" y="847"/>
                    </a:cubicBezTo>
                    <a:cubicBezTo>
                      <a:pt x="1886" y="847"/>
                      <a:pt x="1886" y="847"/>
                      <a:pt x="1886" y="846"/>
                    </a:cubicBezTo>
                    <a:cubicBezTo>
                      <a:pt x="1886" y="846"/>
                      <a:pt x="1886" y="846"/>
                      <a:pt x="1884" y="846"/>
                    </a:cubicBezTo>
                    <a:cubicBezTo>
                      <a:pt x="1884" y="846"/>
                      <a:pt x="1884" y="846"/>
                      <a:pt x="1883" y="846"/>
                    </a:cubicBezTo>
                    <a:cubicBezTo>
                      <a:pt x="1883" y="846"/>
                      <a:pt x="1883" y="846"/>
                      <a:pt x="1882" y="845"/>
                    </a:cubicBezTo>
                    <a:cubicBezTo>
                      <a:pt x="1882" y="845"/>
                      <a:pt x="1882" y="845"/>
                      <a:pt x="1881" y="845"/>
                    </a:cubicBezTo>
                    <a:cubicBezTo>
                      <a:pt x="1881" y="845"/>
                      <a:pt x="1881" y="845"/>
                      <a:pt x="1880" y="844"/>
                    </a:cubicBezTo>
                    <a:cubicBezTo>
                      <a:pt x="1880" y="844"/>
                      <a:pt x="1880" y="844"/>
                      <a:pt x="1879" y="844"/>
                    </a:cubicBezTo>
                    <a:cubicBezTo>
                      <a:pt x="1879" y="844"/>
                      <a:pt x="1879" y="844"/>
                      <a:pt x="1878" y="844"/>
                    </a:cubicBezTo>
                    <a:cubicBezTo>
                      <a:pt x="1878" y="844"/>
                      <a:pt x="1878" y="844"/>
                      <a:pt x="1877" y="844"/>
                    </a:cubicBezTo>
                    <a:cubicBezTo>
                      <a:pt x="1877" y="844"/>
                      <a:pt x="1877" y="844"/>
                      <a:pt x="1875" y="842"/>
                    </a:cubicBezTo>
                    <a:cubicBezTo>
                      <a:pt x="1875" y="842"/>
                      <a:pt x="1875" y="842"/>
                      <a:pt x="1874" y="842"/>
                    </a:cubicBezTo>
                    <a:cubicBezTo>
                      <a:pt x="1874" y="842"/>
                      <a:pt x="1874" y="842"/>
                      <a:pt x="1874" y="845"/>
                    </a:cubicBezTo>
                    <a:cubicBezTo>
                      <a:pt x="1874" y="845"/>
                      <a:pt x="1874" y="845"/>
                      <a:pt x="1873" y="846"/>
                    </a:cubicBezTo>
                    <a:cubicBezTo>
                      <a:pt x="1873" y="846"/>
                      <a:pt x="1873" y="846"/>
                      <a:pt x="1870" y="846"/>
                    </a:cubicBezTo>
                    <a:cubicBezTo>
                      <a:pt x="1870" y="846"/>
                      <a:pt x="1870" y="846"/>
                      <a:pt x="1867" y="846"/>
                    </a:cubicBezTo>
                    <a:cubicBezTo>
                      <a:pt x="1867" y="846"/>
                      <a:pt x="1867" y="846"/>
                      <a:pt x="1863" y="846"/>
                    </a:cubicBezTo>
                    <a:cubicBezTo>
                      <a:pt x="1863" y="846"/>
                      <a:pt x="1863" y="846"/>
                      <a:pt x="1861" y="845"/>
                    </a:cubicBezTo>
                    <a:cubicBezTo>
                      <a:pt x="1861" y="845"/>
                      <a:pt x="1861" y="845"/>
                      <a:pt x="1860" y="844"/>
                    </a:cubicBezTo>
                    <a:cubicBezTo>
                      <a:pt x="1860" y="844"/>
                      <a:pt x="1860" y="844"/>
                      <a:pt x="1861" y="843"/>
                    </a:cubicBezTo>
                    <a:cubicBezTo>
                      <a:pt x="1861" y="843"/>
                      <a:pt x="1861" y="843"/>
                      <a:pt x="1860" y="842"/>
                    </a:cubicBezTo>
                    <a:cubicBezTo>
                      <a:pt x="1860" y="842"/>
                      <a:pt x="1860" y="842"/>
                      <a:pt x="1857" y="841"/>
                    </a:cubicBezTo>
                    <a:cubicBezTo>
                      <a:pt x="1857" y="841"/>
                      <a:pt x="1857" y="841"/>
                      <a:pt x="1855" y="841"/>
                    </a:cubicBezTo>
                    <a:cubicBezTo>
                      <a:pt x="1855" y="841"/>
                      <a:pt x="1855" y="841"/>
                      <a:pt x="1854" y="840"/>
                    </a:cubicBezTo>
                    <a:cubicBezTo>
                      <a:pt x="1854" y="840"/>
                      <a:pt x="1854" y="840"/>
                      <a:pt x="1852" y="840"/>
                    </a:cubicBezTo>
                    <a:cubicBezTo>
                      <a:pt x="1852" y="840"/>
                      <a:pt x="1852" y="840"/>
                      <a:pt x="1851" y="840"/>
                    </a:cubicBezTo>
                    <a:cubicBezTo>
                      <a:pt x="1851" y="840"/>
                      <a:pt x="1851" y="840"/>
                      <a:pt x="1851" y="841"/>
                    </a:cubicBezTo>
                    <a:cubicBezTo>
                      <a:pt x="1851" y="841"/>
                      <a:pt x="1851" y="841"/>
                      <a:pt x="1850" y="840"/>
                    </a:cubicBezTo>
                    <a:cubicBezTo>
                      <a:pt x="1850" y="840"/>
                      <a:pt x="1850" y="840"/>
                      <a:pt x="1848" y="840"/>
                    </a:cubicBezTo>
                    <a:cubicBezTo>
                      <a:pt x="1848" y="840"/>
                      <a:pt x="1848" y="840"/>
                      <a:pt x="1846" y="840"/>
                    </a:cubicBezTo>
                    <a:cubicBezTo>
                      <a:pt x="1846" y="840"/>
                      <a:pt x="1846" y="840"/>
                      <a:pt x="1846" y="839"/>
                    </a:cubicBezTo>
                    <a:cubicBezTo>
                      <a:pt x="1846" y="839"/>
                      <a:pt x="1846" y="839"/>
                      <a:pt x="1844" y="841"/>
                    </a:cubicBezTo>
                    <a:cubicBezTo>
                      <a:pt x="1844" y="841"/>
                      <a:pt x="1844" y="841"/>
                      <a:pt x="1845" y="842"/>
                    </a:cubicBezTo>
                    <a:cubicBezTo>
                      <a:pt x="1845" y="842"/>
                      <a:pt x="1845" y="842"/>
                      <a:pt x="1844" y="843"/>
                    </a:cubicBezTo>
                    <a:cubicBezTo>
                      <a:pt x="1844" y="843"/>
                      <a:pt x="1844" y="843"/>
                      <a:pt x="1843" y="843"/>
                    </a:cubicBezTo>
                    <a:cubicBezTo>
                      <a:pt x="1843" y="843"/>
                      <a:pt x="1843" y="843"/>
                      <a:pt x="1842" y="845"/>
                    </a:cubicBezTo>
                    <a:cubicBezTo>
                      <a:pt x="1842" y="845"/>
                      <a:pt x="1842" y="845"/>
                      <a:pt x="1841" y="845"/>
                    </a:cubicBezTo>
                    <a:cubicBezTo>
                      <a:pt x="1841" y="845"/>
                      <a:pt x="1841" y="845"/>
                      <a:pt x="1841" y="846"/>
                    </a:cubicBezTo>
                    <a:cubicBezTo>
                      <a:pt x="1841" y="846"/>
                      <a:pt x="1841" y="846"/>
                      <a:pt x="1844" y="846"/>
                    </a:cubicBezTo>
                    <a:cubicBezTo>
                      <a:pt x="1844" y="846"/>
                      <a:pt x="1844" y="846"/>
                      <a:pt x="1845" y="845"/>
                    </a:cubicBezTo>
                    <a:cubicBezTo>
                      <a:pt x="1845" y="845"/>
                      <a:pt x="1845" y="845"/>
                      <a:pt x="1846" y="846"/>
                    </a:cubicBezTo>
                    <a:cubicBezTo>
                      <a:pt x="1846" y="846"/>
                      <a:pt x="1846" y="846"/>
                      <a:pt x="1847" y="847"/>
                    </a:cubicBezTo>
                    <a:cubicBezTo>
                      <a:pt x="1847" y="847"/>
                      <a:pt x="1847" y="847"/>
                      <a:pt x="1848" y="847"/>
                    </a:cubicBezTo>
                    <a:cubicBezTo>
                      <a:pt x="1848" y="847"/>
                      <a:pt x="1848" y="847"/>
                      <a:pt x="1847" y="849"/>
                    </a:cubicBezTo>
                    <a:cubicBezTo>
                      <a:pt x="1847" y="849"/>
                      <a:pt x="1847" y="849"/>
                      <a:pt x="1848" y="849"/>
                    </a:cubicBezTo>
                    <a:cubicBezTo>
                      <a:pt x="1848" y="849"/>
                      <a:pt x="1848" y="849"/>
                      <a:pt x="1849" y="850"/>
                    </a:cubicBezTo>
                    <a:cubicBezTo>
                      <a:pt x="1849" y="850"/>
                      <a:pt x="1849" y="850"/>
                      <a:pt x="1851" y="850"/>
                    </a:cubicBezTo>
                    <a:cubicBezTo>
                      <a:pt x="1851" y="850"/>
                      <a:pt x="1851" y="850"/>
                      <a:pt x="1852" y="849"/>
                    </a:cubicBezTo>
                    <a:cubicBezTo>
                      <a:pt x="1852" y="849"/>
                      <a:pt x="1852" y="849"/>
                      <a:pt x="1853" y="850"/>
                    </a:cubicBezTo>
                    <a:cubicBezTo>
                      <a:pt x="1853" y="850"/>
                      <a:pt x="1853" y="850"/>
                      <a:pt x="1855" y="850"/>
                    </a:cubicBezTo>
                    <a:cubicBezTo>
                      <a:pt x="1855" y="850"/>
                      <a:pt x="1855" y="850"/>
                      <a:pt x="1857" y="851"/>
                    </a:cubicBezTo>
                    <a:cubicBezTo>
                      <a:pt x="1857" y="851"/>
                      <a:pt x="1857" y="851"/>
                      <a:pt x="1859" y="852"/>
                    </a:cubicBezTo>
                    <a:cubicBezTo>
                      <a:pt x="1859" y="852"/>
                      <a:pt x="1859" y="852"/>
                      <a:pt x="1860" y="851"/>
                    </a:cubicBezTo>
                    <a:cubicBezTo>
                      <a:pt x="1860" y="851"/>
                      <a:pt x="1860" y="851"/>
                      <a:pt x="1861" y="851"/>
                    </a:cubicBezTo>
                    <a:cubicBezTo>
                      <a:pt x="1861" y="851"/>
                      <a:pt x="1861" y="851"/>
                      <a:pt x="1862" y="852"/>
                    </a:cubicBezTo>
                    <a:cubicBezTo>
                      <a:pt x="1862" y="852"/>
                      <a:pt x="1862" y="852"/>
                      <a:pt x="1863" y="852"/>
                    </a:cubicBezTo>
                    <a:cubicBezTo>
                      <a:pt x="1863" y="852"/>
                      <a:pt x="1863" y="852"/>
                      <a:pt x="1864" y="851"/>
                    </a:cubicBezTo>
                    <a:cubicBezTo>
                      <a:pt x="1864" y="851"/>
                      <a:pt x="1864" y="851"/>
                      <a:pt x="1865" y="851"/>
                    </a:cubicBezTo>
                    <a:cubicBezTo>
                      <a:pt x="1865" y="851"/>
                      <a:pt x="1865" y="851"/>
                      <a:pt x="1867" y="852"/>
                    </a:cubicBezTo>
                    <a:cubicBezTo>
                      <a:pt x="1867" y="852"/>
                      <a:pt x="1867" y="852"/>
                      <a:pt x="1869" y="852"/>
                    </a:cubicBezTo>
                    <a:cubicBezTo>
                      <a:pt x="1869" y="852"/>
                      <a:pt x="1869" y="852"/>
                      <a:pt x="1872" y="854"/>
                    </a:cubicBezTo>
                    <a:cubicBezTo>
                      <a:pt x="1872" y="854"/>
                      <a:pt x="1872" y="854"/>
                      <a:pt x="1875" y="855"/>
                    </a:cubicBezTo>
                    <a:cubicBezTo>
                      <a:pt x="1875" y="855"/>
                      <a:pt x="1875" y="855"/>
                      <a:pt x="1876" y="855"/>
                    </a:cubicBezTo>
                    <a:cubicBezTo>
                      <a:pt x="1876" y="855"/>
                      <a:pt x="1876" y="855"/>
                      <a:pt x="1878" y="855"/>
                    </a:cubicBezTo>
                    <a:close/>
                    <a:moveTo>
                      <a:pt x="1843" y="838"/>
                    </a:moveTo>
                    <a:cubicBezTo>
                      <a:pt x="1843" y="839"/>
                      <a:pt x="1843" y="839"/>
                      <a:pt x="1843" y="839"/>
                    </a:cubicBezTo>
                    <a:cubicBezTo>
                      <a:pt x="1844" y="838"/>
                      <a:pt x="1844" y="838"/>
                      <a:pt x="1844" y="838"/>
                    </a:cubicBezTo>
                    <a:cubicBezTo>
                      <a:pt x="1844" y="835"/>
                      <a:pt x="1844" y="835"/>
                      <a:pt x="1844" y="835"/>
                    </a:cubicBezTo>
                    <a:cubicBezTo>
                      <a:pt x="1845" y="832"/>
                      <a:pt x="1845" y="832"/>
                      <a:pt x="1845" y="832"/>
                    </a:cubicBezTo>
                    <a:cubicBezTo>
                      <a:pt x="1844" y="829"/>
                      <a:pt x="1844" y="829"/>
                      <a:pt x="1844" y="829"/>
                    </a:cubicBezTo>
                    <a:cubicBezTo>
                      <a:pt x="1845" y="827"/>
                      <a:pt x="1845" y="827"/>
                      <a:pt x="1845" y="827"/>
                    </a:cubicBezTo>
                    <a:cubicBezTo>
                      <a:pt x="1844" y="826"/>
                      <a:pt x="1844" y="826"/>
                      <a:pt x="1844" y="826"/>
                    </a:cubicBezTo>
                    <a:cubicBezTo>
                      <a:pt x="1845" y="824"/>
                      <a:pt x="1845" y="824"/>
                      <a:pt x="1845" y="824"/>
                    </a:cubicBezTo>
                    <a:cubicBezTo>
                      <a:pt x="1846" y="823"/>
                      <a:pt x="1846" y="823"/>
                      <a:pt x="1846" y="823"/>
                    </a:cubicBezTo>
                    <a:cubicBezTo>
                      <a:pt x="1846" y="822"/>
                      <a:pt x="1846" y="822"/>
                      <a:pt x="1846" y="822"/>
                    </a:cubicBezTo>
                    <a:cubicBezTo>
                      <a:pt x="1846" y="821"/>
                      <a:pt x="1846" y="821"/>
                      <a:pt x="1846" y="821"/>
                    </a:cubicBezTo>
                    <a:cubicBezTo>
                      <a:pt x="1845" y="821"/>
                      <a:pt x="1845" y="821"/>
                      <a:pt x="1845" y="821"/>
                    </a:cubicBezTo>
                    <a:cubicBezTo>
                      <a:pt x="1844" y="820"/>
                      <a:pt x="1844" y="820"/>
                      <a:pt x="1844" y="820"/>
                    </a:cubicBezTo>
                    <a:cubicBezTo>
                      <a:pt x="1843" y="818"/>
                      <a:pt x="1843" y="818"/>
                      <a:pt x="1843" y="818"/>
                    </a:cubicBezTo>
                    <a:cubicBezTo>
                      <a:pt x="1842" y="817"/>
                      <a:pt x="1842" y="817"/>
                      <a:pt x="1842" y="817"/>
                    </a:cubicBezTo>
                    <a:cubicBezTo>
                      <a:pt x="1841" y="817"/>
                      <a:pt x="1841" y="817"/>
                      <a:pt x="1841" y="817"/>
                    </a:cubicBezTo>
                    <a:cubicBezTo>
                      <a:pt x="1839" y="817"/>
                      <a:pt x="1839" y="817"/>
                      <a:pt x="1839" y="817"/>
                    </a:cubicBezTo>
                    <a:cubicBezTo>
                      <a:pt x="1838" y="817"/>
                      <a:pt x="1838" y="817"/>
                      <a:pt x="1838" y="817"/>
                    </a:cubicBezTo>
                    <a:cubicBezTo>
                      <a:pt x="1838" y="815"/>
                      <a:pt x="1838" y="815"/>
                      <a:pt x="1838" y="815"/>
                    </a:cubicBezTo>
                    <a:cubicBezTo>
                      <a:pt x="1837" y="814"/>
                      <a:pt x="1837" y="814"/>
                      <a:pt x="1837" y="814"/>
                    </a:cubicBezTo>
                    <a:cubicBezTo>
                      <a:pt x="1836" y="814"/>
                      <a:pt x="1836" y="814"/>
                      <a:pt x="1836" y="814"/>
                    </a:cubicBezTo>
                    <a:cubicBezTo>
                      <a:pt x="1837" y="813"/>
                      <a:pt x="1837" y="813"/>
                      <a:pt x="1837" y="813"/>
                    </a:cubicBezTo>
                    <a:cubicBezTo>
                      <a:pt x="1836" y="811"/>
                      <a:pt x="1836" y="811"/>
                      <a:pt x="1836" y="811"/>
                    </a:cubicBezTo>
                    <a:cubicBezTo>
                      <a:pt x="1836" y="808"/>
                      <a:pt x="1836" y="808"/>
                      <a:pt x="1836" y="808"/>
                    </a:cubicBezTo>
                    <a:cubicBezTo>
                      <a:pt x="1835" y="809"/>
                      <a:pt x="1835" y="809"/>
                      <a:pt x="1835" y="809"/>
                    </a:cubicBezTo>
                    <a:cubicBezTo>
                      <a:pt x="1834" y="808"/>
                      <a:pt x="1834" y="808"/>
                      <a:pt x="1834" y="808"/>
                    </a:cubicBezTo>
                    <a:cubicBezTo>
                      <a:pt x="1831" y="808"/>
                      <a:pt x="1831" y="808"/>
                      <a:pt x="1831" y="808"/>
                    </a:cubicBezTo>
                    <a:cubicBezTo>
                      <a:pt x="1829" y="807"/>
                      <a:pt x="1829" y="807"/>
                      <a:pt x="1829" y="807"/>
                    </a:cubicBezTo>
                    <a:cubicBezTo>
                      <a:pt x="1829" y="806"/>
                      <a:pt x="1829" y="806"/>
                      <a:pt x="1829" y="806"/>
                    </a:cubicBezTo>
                    <a:cubicBezTo>
                      <a:pt x="1831" y="805"/>
                      <a:pt x="1831" y="805"/>
                      <a:pt x="1831" y="805"/>
                    </a:cubicBezTo>
                    <a:cubicBezTo>
                      <a:pt x="1832" y="804"/>
                      <a:pt x="1832" y="804"/>
                      <a:pt x="1832" y="804"/>
                    </a:cubicBezTo>
                    <a:cubicBezTo>
                      <a:pt x="1831" y="804"/>
                      <a:pt x="1831" y="804"/>
                      <a:pt x="1831" y="804"/>
                    </a:cubicBezTo>
                    <a:cubicBezTo>
                      <a:pt x="1830" y="804"/>
                      <a:pt x="1830" y="804"/>
                      <a:pt x="1830" y="804"/>
                    </a:cubicBezTo>
                    <a:cubicBezTo>
                      <a:pt x="1829" y="804"/>
                      <a:pt x="1829" y="804"/>
                      <a:pt x="1829" y="804"/>
                    </a:cubicBezTo>
                    <a:cubicBezTo>
                      <a:pt x="1828" y="804"/>
                      <a:pt x="1828" y="804"/>
                      <a:pt x="1828" y="804"/>
                    </a:cubicBezTo>
                    <a:cubicBezTo>
                      <a:pt x="1829" y="803"/>
                      <a:pt x="1829" y="803"/>
                      <a:pt x="1829" y="803"/>
                    </a:cubicBezTo>
                    <a:cubicBezTo>
                      <a:pt x="1830" y="802"/>
                      <a:pt x="1830" y="802"/>
                      <a:pt x="1830" y="802"/>
                    </a:cubicBezTo>
                    <a:cubicBezTo>
                      <a:pt x="1832" y="802"/>
                      <a:pt x="1832" y="802"/>
                      <a:pt x="1832" y="802"/>
                    </a:cubicBezTo>
                    <a:cubicBezTo>
                      <a:pt x="1832" y="801"/>
                      <a:pt x="1832" y="801"/>
                      <a:pt x="1832" y="801"/>
                    </a:cubicBezTo>
                    <a:cubicBezTo>
                      <a:pt x="1830" y="799"/>
                      <a:pt x="1830" y="799"/>
                      <a:pt x="1830" y="799"/>
                    </a:cubicBezTo>
                    <a:cubicBezTo>
                      <a:pt x="1829" y="799"/>
                      <a:pt x="1829" y="799"/>
                      <a:pt x="1829" y="799"/>
                    </a:cubicBezTo>
                    <a:cubicBezTo>
                      <a:pt x="1827" y="799"/>
                      <a:pt x="1827" y="799"/>
                      <a:pt x="1827" y="799"/>
                    </a:cubicBezTo>
                    <a:cubicBezTo>
                      <a:pt x="1826" y="800"/>
                      <a:pt x="1826" y="800"/>
                      <a:pt x="1826" y="800"/>
                    </a:cubicBezTo>
                    <a:cubicBezTo>
                      <a:pt x="1826" y="799"/>
                      <a:pt x="1826" y="799"/>
                      <a:pt x="1826" y="799"/>
                    </a:cubicBezTo>
                    <a:cubicBezTo>
                      <a:pt x="1827" y="799"/>
                      <a:pt x="1827" y="799"/>
                      <a:pt x="1827" y="799"/>
                    </a:cubicBezTo>
                    <a:cubicBezTo>
                      <a:pt x="1827" y="798"/>
                      <a:pt x="1827" y="798"/>
                      <a:pt x="1827" y="798"/>
                    </a:cubicBezTo>
                    <a:cubicBezTo>
                      <a:pt x="1825" y="797"/>
                      <a:pt x="1825" y="797"/>
                      <a:pt x="1825" y="797"/>
                    </a:cubicBezTo>
                    <a:cubicBezTo>
                      <a:pt x="1823" y="797"/>
                      <a:pt x="1823" y="797"/>
                      <a:pt x="1823" y="797"/>
                    </a:cubicBezTo>
                    <a:cubicBezTo>
                      <a:pt x="1821" y="796"/>
                      <a:pt x="1821" y="796"/>
                      <a:pt x="1821" y="796"/>
                    </a:cubicBezTo>
                    <a:cubicBezTo>
                      <a:pt x="1821" y="795"/>
                      <a:pt x="1821" y="795"/>
                      <a:pt x="1821" y="795"/>
                    </a:cubicBezTo>
                    <a:cubicBezTo>
                      <a:pt x="1821" y="793"/>
                      <a:pt x="1821" y="793"/>
                      <a:pt x="1821" y="793"/>
                    </a:cubicBezTo>
                    <a:cubicBezTo>
                      <a:pt x="1819" y="791"/>
                      <a:pt x="1819" y="791"/>
                      <a:pt x="1819" y="791"/>
                    </a:cubicBezTo>
                    <a:cubicBezTo>
                      <a:pt x="1818" y="791"/>
                      <a:pt x="1818" y="791"/>
                      <a:pt x="1818" y="791"/>
                    </a:cubicBezTo>
                    <a:cubicBezTo>
                      <a:pt x="1817" y="791"/>
                      <a:pt x="1817" y="791"/>
                      <a:pt x="1817" y="791"/>
                    </a:cubicBezTo>
                    <a:cubicBezTo>
                      <a:pt x="1816" y="790"/>
                      <a:pt x="1816" y="790"/>
                      <a:pt x="1816" y="790"/>
                    </a:cubicBezTo>
                    <a:cubicBezTo>
                      <a:pt x="1816" y="789"/>
                      <a:pt x="1816" y="789"/>
                      <a:pt x="1816" y="789"/>
                    </a:cubicBezTo>
                    <a:cubicBezTo>
                      <a:pt x="1816" y="788"/>
                      <a:pt x="1816" y="788"/>
                      <a:pt x="1816" y="788"/>
                    </a:cubicBezTo>
                    <a:cubicBezTo>
                      <a:pt x="1814" y="786"/>
                      <a:pt x="1814" y="786"/>
                      <a:pt x="1814" y="786"/>
                    </a:cubicBezTo>
                    <a:cubicBezTo>
                      <a:pt x="1812" y="785"/>
                      <a:pt x="1812" y="785"/>
                      <a:pt x="1812" y="785"/>
                    </a:cubicBezTo>
                    <a:cubicBezTo>
                      <a:pt x="1810" y="785"/>
                      <a:pt x="1810" y="785"/>
                      <a:pt x="1810" y="785"/>
                    </a:cubicBezTo>
                    <a:cubicBezTo>
                      <a:pt x="1809" y="785"/>
                      <a:pt x="1809" y="785"/>
                      <a:pt x="1809" y="785"/>
                    </a:cubicBezTo>
                    <a:cubicBezTo>
                      <a:pt x="1809" y="783"/>
                      <a:pt x="1809" y="783"/>
                      <a:pt x="1809" y="783"/>
                    </a:cubicBezTo>
                    <a:cubicBezTo>
                      <a:pt x="1808" y="784"/>
                      <a:pt x="1808" y="784"/>
                      <a:pt x="1808" y="784"/>
                    </a:cubicBezTo>
                    <a:cubicBezTo>
                      <a:pt x="1807" y="783"/>
                      <a:pt x="1807" y="783"/>
                      <a:pt x="1807" y="783"/>
                    </a:cubicBezTo>
                    <a:cubicBezTo>
                      <a:pt x="1807" y="781"/>
                      <a:pt x="1807" y="781"/>
                      <a:pt x="1807" y="781"/>
                    </a:cubicBezTo>
                    <a:cubicBezTo>
                      <a:pt x="1806" y="780"/>
                      <a:pt x="1806" y="780"/>
                      <a:pt x="1806" y="780"/>
                    </a:cubicBezTo>
                    <a:cubicBezTo>
                      <a:pt x="1805" y="779"/>
                      <a:pt x="1805" y="779"/>
                      <a:pt x="1805" y="779"/>
                    </a:cubicBezTo>
                    <a:cubicBezTo>
                      <a:pt x="1804" y="779"/>
                      <a:pt x="1804" y="779"/>
                      <a:pt x="1804" y="779"/>
                    </a:cubicBezTo>
                    <a:cubicBezTo>
                      <a:pt x="1800" y="776"/>
                      <a:pt x="1800" y="776"/>
                      <a:pt x="1800" y="776"/>
                    </a:cubicBezTo>
                    <a:cubicBezTo>
                      <a:pt x="1799" y="776"/>
                      <a:pt x="1799" y="776"/>
                      <a:pt x="1799" y="776"/>
                    </a:cubicBezTo>
                    <a:cubicBezTo>
                      <a:pt x="1798" y="774"/>
                      <a:pt x="1798" y="774"/>
                      <a:pt x="1798" y="774"/>
                    </a:cubicBezTo>
                    <a:cubicBezTo>
                      <a:pt x="1796" y="774"/>
                      <a:pt x="1796" y="774"/>
                      <a:pt x="1796" y="774"/>
                    </a:cubicBezTo>
                    <a:cubicBezTo>
                      <a:pt x="1796" y="773"/>
                      <a:pt x="1796" y="773"/>
                      <a:pt x="1796" y="773"/>
                    </a:cubicBezTo>
                    <a:cubicBezTo>
                      <a:pt x="1795" y="771"/>
                      <a:pt x="1795" y="771"/>
                      <a:pt x="1795" y="771"/>
                    </a:cubicBezTo>
                    <a:cubicBezTo>
                      <a:pt x="1794" y="770"/>
                      <a:pt x="1794" y="770"/>
                      <a:pt x="1794" y="770"/>
                    </a:cubicBezTo>
                    <a:cubicBezTo>
                      <a:pt x="1793" y="769"/>
                      <a:pt x="1793" y="769"/>
                      <a:pt x="1793" y="769"/>
                    </a:cubicBezTo>
                    <a:cubicBezTo>
                      <a:pt x="1792" y="767"/>
                      <a:pt x="1792" y="767"/>
                      <a:pt x="1792" y="767"/>
                    </a:cubicBezTo>
                    <a:cubicBezTo>
                      <a:pt x="1791" y="767"/>
                      <a:pt x="1791" y="767"/>
                      <a:pt x="1791" y="767"/>
                    </a:cubicBezTo>
                    <a:cubicBezTo>
                      <a:pt x="1789" y="767"/>
                      <a:pt x="1789" y="767"/>
                      <a:pt x="1789" y="767"/>
                    </a:cubicBezTo>
                    <a:cubicBezTo>
                      <a:pt x="1788" y="767"/>
                      <a:pt x="1788" y="767"/>
                      <a:pt x="1788" y="767"/>
                    </a:cubicBezTo>
                    <a:cubicBezTo>
                      <a:pt x="1788" y="766"/>
                      <a:pt x="1788" y="766"/>
                      <a:pt x="1788" y="766"/>
                    </a:cubicBezTo>
                    <a:cubicBezTo>
                      <a:pt x="1786" y="766"/>
                      <a:pt x="1786" y="766"/>
                      <a:pt x="1786" y="766"/>
                    </a:cubicBezTo>
                    <a:cubicBezTo>
                      <a:pt x="1784" y="767"/>
                      <a:pt x="1784" y="767"/>
                      <a:pt x="1784" y="767"/>
                    </a:cubicBezTo>
                    <a:cubicBezTo>
                      <a:pt x="1783" y="766"/>
                      <a:pt x="1783" y="766"/>
                      <a:pt x="1783" y="766"/>
                    </a:cubicBezTo>
                    <a:cubicBezTo>
                      <a:pt x="1781" y="764"/>
                      <a:pt x="1781" y="764"/>
                      <a:pt x="1781" y="764"/>
                    </a:cubicBezTo>
                    <a:cubicBezTo>
                      <a:pt x="1778" y="764"/>
                      <a:pt x="1778" y="764"/>
                      <a:pt x="1778" y="764"/>
                    </a:cubicBezTo>
                    <a:cubicBezTo>
                      <a:pt x="1777" y="764"/>
                      <a:pt x="1777" y="764"/>
                      <a:pt x="1777" y="764"/>
                    </a:cubicBezTo>
                    <a:cubicBezTo>
                      <a:pt x="1777" y="765"/>
                      <a:pt x="1777" y="765"/>
                      <a:pt x="1777" y="765"/>
                    </a:cubicBezTo>
                    <a:cubicBezTo>
                      <a:pt x="1777" y="767"/>
                      <a:pt x="1777" y="767"/>
                      <a:pt x="1777" y="767"/>
                    </a:cubicBezTo>
                    <a:cubicBezTo>
                      <a:pt x="1779" y="770"/>
                      <a:pt x="1779" y="770"/>
                      <a:pt x="1779" y="770"/>
                    </a:cubicBezTo>
                    <a:cubicBezTo>
                      <a:pt x="1780" y="771"/>
                      <a:pt x="1780" y="771"/>
                      <a:pt x="1780" y="771"/>
                    </a:cubicBezTo>
                    <a:cubicBezTo>
                      <a:pt x="1782" y="774"/>
                      <a:pt x="1782" y="774"/>
                      <a:pt x="1782" y="774"/>
                    </a:cubicBezTo>
                    <a:cubicBezTo>
                      <a:pt x="1783" y="774"/>
                      <a:pt x="1783" y="774"/>
                      <a:pt x="1783" y="774"/>
                    </a:cubicBezTo>
                    <a:cubicBezTo>
                      <a:pt x="1785" y="776"/>
                      <a:pt x="1785" y="776"/>
                      <a:pt x="1785" y="776"/>
                    </a:cubicBezTo>
                    <a:cubicBezTo>
                      <a:pt x="1786" y="776"/>
                      <a:pt x="1786" y="776"/>
                      <a:pt x="1786" y="776"/>
                    </a:cubicBezTo>
                    <a:cubicBezTo>
                      <a:pt x="1787" y="776"/>
                      <a:pt x="1787" y="776"/>
                      <a:pt x="1787" y="776"/>
                    </a:cubicBezTo>
                    <a:cubicBezTo>
                      <a:pt x="1789" y="778"/>
                      <a:pt x="1789" y="778"/>
                      <a:pt x="1789" y="778"/>
                    </a:cubicBezTo>
                    <a:cubicBezTo>
                      <a:pt x="1791" y="781"/>
                      <a:pt x="1791" y="781"/>
                      <a:pt x="1791" y="781"/>
                    </a:cubicBezTo>
                    <a:cubicBezTo>
                      <a:pt x="1793" y="783"/>
                      <a:pt x="1793" y="783"/>
                      <a:pt x="1793" y="783"/>
                    </a:cubicBezTo>
                    <a:cubicBezTo>
                      <a:pt x="1794" y="783"/>
                      <a:pt x="1794" y="783"/>
                      <a:pt x="1794" y="783"/>
                    </a:cubicBezTo>
                    <a:cubicBezTo>
                      <a:pt x="1794" y="785"/>
                      <a:pt x="1794" y="785"/>
                      <a:pt x="1794" y="785"/>
                    </a:cubicBezTo>
                    <a:cubicBezTo>
                      <a:pt x="1795" y="787"/>
                      <a:pt x="1795" y="787"/>
                      <a:pt x="1795" y="787"/>
                    </a:cubicBezTo>
                    <a:cubicBezTo>
                      <a:pt x="1795" y="788"/>
                      <a:pt x="1795" y="788"/>
                      <a:pt x="1795" y="788"/>
                    </a:cubicBezTo>
                    <a:cubicBezTo>
                      <a:pt x="1797" y="788"/>
                      <a:pt x="1797" y="788"/>
                      <a:pt x="1797" y="788"/>
                    </a:cubicBezTo>
                    <a:cubicBezTo>
                      <a:pt x="1798" y="790"/>
                      <a:pt x="1798" y="790"/>
                      <a:pt x="1798" y="790"/>
                    </a:cubicBezTo>
                    <a:cubicBezTo>
                      <a:pt x="1799" y="790"/>
                      <a:pt x="1799" y="790"/>
                      <a:pt x="1799" y="790"/>
                    </a:cubicBezTo>
                    <a:cubicBezTo>
                      <a:pt x="1800" y="790"/>
                      <a:pt x="1800" y="790"/>
                      <a:pt x="1800" y="790"/>
                    </a:cubicBezTo>
                    <a:cubicBezTo>
                      <a:pt x="1800" y="791"/>
                      <a:pt x="1800" y="791"/>
                      <a:pt x="1800" y="791"/>
                    </a:cubicBezTo>
                    <a:cubicBezTo>
                      <a:pt x="1800" y="792"/>
                      <a:pt x="1800" y="792"/>
                      <a:pt x="1800" y="792"/>
                    </a:cubicBezTo>
                    <a:cubicBezTo>
                      <a:pt x="1800" y="793"/>
                      <a:pt x="1800" y="793"/>
                      <a:pt x="1800" y="793"/>
                    </a:cubicBezTo>
                    <a:cubicBezTo>
                      <a:pt x="1801" y="794"/>
                      <a:pt x="1801" y="794"/>
                      <a:pt x="1801" y="794"/>
                    </a:cubicBezTo>
                    <a:cubicBezTo>
                      <a:pt x="1801" y="795"/>
                      <a:pt x="1801" y="795"/>
                      <a:pt x="1801" y="795"/>
                    </a:cubicBezTo>
                    <a:cubicBezTo>
                      <a:pt x="1802" y="798"/>
                      <a:pt x="1802" y="798"/>
                      <a:pt x="1802" y="798"/>
                    </a:cubicBezTo>
                    <a:cubicBezTo>
                      <a:pt x="1803" y="800"/>
                      <a:pt x="1803" y="800"/>
                      <a:pt x="1803" y="800"/>
                    </a:cubicBezTo>
                    <a:cubicBezTo>
                      <a:pt x="1804" y="800"/>
                      <a:pt x="1804" y="800"/>
                      <a:pt x="1804" y="800"/>
                    </a:cubicBezTo>
                    <a:cubicBezTo>
                      <a:pt x="1806" y="802"/>
                      <a:pt x="1806" y="802"/>
                      <a:pt x="1806" y="802"/>
                    </a:cubicBezTo>
                    <a:cubicBezTo>
                      <a:pt x="1806" y="803"/>
                      <a:pt x="1806" y="803"/>
                      <a:pt x="1806" y="803"/>
                    </a:cubicBezTo>
                    <a:cubicBezTo>
                      <a:pt x="1808" y="805"/>
                      <a:pt x="1808" y="805"/>
                      <a:pt x="1808" y="805"/>
                    </a:cubicBezTo>
                    <a:cubicBezTo>
                      <a:pt x="1809" y="806"/>
                      <a:pt x="1809" y="806"/>
                      <a:pt x="1809" y="806"/>
                    </a:cubicBezTo>
                    <a:cubicBezTo>
                      <a:pt x="1810" y="810"/>
                      <a:pt x="1810" y="810"/>
                      <a:pt x="1810" y="810"/>
                    </a:cubicBezTo>
                    <a:cubicBezTo>
                      <a:pt x="1812" y="814"/>
                      <a:pt x="1812" y="814"/>
                      <a:pt x="1812" y="814"/>
                    </a:cubicBezTo>
                    <a:cubicBezTo>
                      <a:pt x="1812" y="816"/>
                      <a:pt x="1812" y="816"/>
                      <a:pt x="1812" y="816"/>
                    </a:cubicBezTo>
                    <a:cubicBezTo>
                      <a:pt x="1812" y="817"/>
                      <a:pt x="1812" y="817"/>
                      <a:pt x="1812" y="817"/>
                    </a:cubicBezTo>
                    <a:cubicBezTo>
                      <a:pt x="1815" y="819"/>
                      <a:pt x="1815" y="819"/>
                      <a:pt x="1815" y="819"/>
                    </a:cubicBezTo>
                    <a:cubicBezTo>
                      <a:pt x="1817" y="822"/>
                      <a:pt x="1817" y="822"/>
                      <a:pt x="1817" y="822"/>
                    </a:cubicBezTo>
                    <a:cubicBezTo>
                      <a:pt x="1818" y="823"/>
                      <a:pt x="1818" y="823"/>
                      <a:pt x="1818" y="823"/>
                    </a:cubicBezTo>
                    <a:cubicBezTo>
                      <a:pt x="1819" y="824"/>
                      <a:pt x="1819" y="824"/>
                      <a:pt x="1819" y="824"/>
                    </a:cubicBezTo>
                    <a:cubicBezTo>
                      <a:pt x="1820" y="824"/>
                      <a:pt x="1820" y="824"/>
                      <a:pt x="1820" y="824"/>
                    </a:cubicBezTo>
                    <a:cubicBezTo>
                      <a:pt x="1822" y="825"/>
                      <a:pt x="1822" y="825"/>
                      <a:pt x="1822" y="825"/>
                    </a:cubicBezTo>
                    <a:cubicBezTo>
                      <a:pt x="1822" y="827"/>
                      <a:pt x="1822" y="827"/>
                      <a:pt x="1822" y="827"/>
                    </a:cubicBezTo>
                    <a:cubicBezTo>
                      <a:pt x="1823" y="828"/>
                      <a:pt x="1823" y="828"/>
                      <a:pt x="1823" y="828"/>
                    </a:cubicBezTo>
                    <a:cubicBezTo>
                      <a:pt x="1825" y="830"/>
                      <a:pt x="1825" y="830"/>
                      <a:pt x="1825" y="830"/>
                    </a:cubicBezTo>
                    <a:cubicBezTo>
                      <a:pt x="1828" y="832"/>
                      <a:pt x="1828" y="832"/>
                      <a:pt x="1828" y="832"/>
                    </a:cubicBezTo>
                    <a:cubicBezTo>
                      <a:pt x="1828" y="833"/>
                      <a:pt x="1828" y="833"/>
                      <a:pt x="1828" y="833"/>
                    </a:cubicBezTo>
                    <a:cubicBezTo>
                      <a:pt x="1830" y="833"/>
                      <a:pt x="1830" y="833"/>
                      <a:pt x="1830" y="833"/>
                    </a:cubicBezTo>
                    <a:cubicBezTo>
                      <a:pt x="1834" y="837"/>
                      <a:pt x="1834" y="837"/>
                      <a:pt x="1834" y="837"/>
                    </a:cubicBezTo>
                    <a:cubicBezTo>
                      <a:pt x="1834" y="838"/>
                      <a:pt x="1834" y="838"/>
                      <a:pt x="1834" y="838"/>
                    </a:cubicBezTo>
                    <a:cubicBezTo>
                      <a:pt x="1835" y="838"/>
                      <a:pt x="1835" y="838"/>
                      <a:pt x="1835" y="838"/>
                    </a:cubicBezTo>
                    <a:cubicBezTo>
                      <a:pt x="1836" y="840"/>
                      <a:pt x="1836" y="840"/>
                      <a:pt x="1836" y="840"/>
                    </a:cubicBezTo>
                    <a:cubicBezTo>
                      <a:pt x="1836" y="839"/>
                      <a:pt x="1836" y="839"/>
                      <a:pt x="1836" y="839"/>
                    </a:cubicBezTo>
                    <a:cubicBezTo>
                      <a:pt x="1836" y="838"/>
                      <a:pt x="1836" y="838"/>
                      <a:pt x="1836" y="838"/>
                    </a:cubicBezTo>
                    <a:cubicBezTo>
                      <a:pt x="1836" y="837"/>
                      <a:pt x="1836" y="837"/>
                      <a:pt x="1836" y="837"/>
                    </a:cubicBezTo>
                    <a:cubicBezTo>
                      <a:pt x="1837" y="837"/>
                      <a:pt x="1837" y="837"/>
                      <a:pt x="1837" y="837"/>
                    </a:cubicBezTo>
                    <a:cubicBezTo>
                      <a:pt x="1839" y="839"/>
                      <a:pt x="1839" y="839"/>
                      <a:pt x="1839" y="839"/>
                    </a:cubicBezTo>
                    <a:cubicBezTo>
                      <a:pt x="1840" y="839"/>
                      <a:pt x="1840" y="839"/>
                      <a:pt x="1840" y="839"/>
                    </a:cubicBezTo>
                    <a:cubicBezTo>
                      <a:pt x="1840" y="837"/>
                      <a:pt x="1840" y="837"/>
                      <a:pt x="1840" y="837"/>
                    </a:cubicBezTo>
                    <a:cubicBezTo>
                      <a:pt x="1840" y="836"/>
                      <a:pt x="1840" y="836"/>
                      <a:pt x="1840" y="836"/>
                    </a:cubicBezTo>
                    <a:cubicBezTo>
                      <a:pt x="1841" y="837"/>
                      <a:pt x="1841" y="837"/>
                      <a:pt x="1841" y="837"/>
                    </a:cubicBezTo>
                    <a:cubicBezTo>
                      <a:pt x="1843" y="838"/>
                      <a:pt x="1843" y="838"/>
                      <a:pt x="1843" y="838"/>
                    </a:cubicBezTo>
                    <a:close/>
                    <a:moveTo>
                      <a:pt x="2006" y="851"/>
                    </a:moveTo>
                    <a:cubicBezTo>
                      <a:pt x="2006" y="850"/>
                      <a:pt x="2006" y="850"/>
                      <a:pt x="2006" y="850"/>
                    </a:cubicBezTo>
                    <a:cubicBezTo>
                      <a:pt x="2006" y="849"/>
                      <a:pt x="2006" y="849"/>
                      <a:pt x="2006" y="849"/>
                    </a:cubicBezTo>
                    <a:cubicBezTo>
                      <a:pt x="2006" y="848"/>
                      <a:pt x="2006" y="848"/>
                      <a:pt x="2006" y="848"/>
                    </a:cubicBezTo>
                    <a:cubicBezTo>
                      <a:pt x="2005" y="848"/>
                      <a:pt x="2005" y="848"/>
                      <a:pt x="2005" y="848"/>
                    </a:cubicBezTo>
                    <a:cubicBezTo>
                      <a:pt x="2003" y="850"/>
                      <a:pt x="2003" y="850"/>
                      <a:pt x="2003" y="850"/>
                    </a:cubicBezTo>
                    <a:cubicBezTo>
                      <a:pt x="2003" y="851"/>
                      <a:pt x="2003" y="851"/>
                      <a:pt x="2003" y="851"/>
                    </a:cubicBezTo>
                    <a:cubicBezTo>
                      <a:pt x="2003" y="852"/>
                      <a:pt x="2003" y="852"/>
                      <a:pt x="2003" y="852"/>
                    </a:cubicBezTo>
                    <a:cubicBezTo>
                      <a:pt x="2003" y="853"/>
                      <a:pt x="2003" y="853"/>
                      <a:pt x="2003" y="853"/>
                    </a:cubicBezTo>
                    <a:cubicBezTo>
                      <a:pt x="2004" y="853"/>
                      <a:pt x="2004" y="853"/>
                      <a:pt x="2004" y="853"/>
                    </a:cubicBezTo>
                    <a:cubicBezTo>
                      <a:pt x="2006" y="851"/>
                      <a:pt x="2006" y="851"/>
                      <a:pt x="2006" y="851"/>
                    </a:cubicBezTo>
                    <a:close/>
                    <a:moveTo>
                      <a:pt x="1805" y="815"/>
                    </a:moveTo>
                    <a:cubicBezTo>
                      <a:pt x="1804" y="815"/>
                      <a:pt x="1804" y="815"/>
                      <a:pt x="1804" y="815"/>
                    </a:cubicBezTo>
                    <a:cubicBezTo>
                      <a:pt x="1805" y="816"/>
                      <a:pt x="1805" y="816"/>
                      <a:pt x="1805" y="816"/>
                    </a:cubicBezTo>
                    <a:cubicBezTo>
                      <a:pt x="1807" y="817"/>
                      <a:pt x="1807" y="817"/>
                      <a:pt x="1807" y="817"/>
                    </a:cubicBezTo>
                    <a:cubicBezTo>
                      <a:pt x="1805" y="815"/>
                      <a:pt x="1805" y="815"/>
                      <a:pt x="1805" y="815"/>
                    </a:cubicBezTo>
                    <a:close/>
                    <a:moveTo>
                      <a:pt x="2026" y="807"/>
                    </a:moveTo>
                    <a:cubicBezTo>
                      <a:pt x="2027" y="808"/>
                      <a:pt x="2027" y="808"/>
                      <a:pt x="2027" y="808"/>
                    </a:cubicBezTo>
                    <a:cubicBezTo>
                      <a:pt x="2028" y="808"/>
                      <a:pt x="2028" y="808"/>
                      <a:pt x="2028" y="808"/>
                    </a:cubicBezTo>
                    <a:cubicBezTo>
                      <a:pt x="2027" y="807"/>
                      <a:pt x="2027" y="807"/>
                      <a:pt x="2027" y="807"/>
                    </a:cubicBezTo>
                    <a:cubicBezTo>
                      <a:pt x="2026" y="807"/>
                      <a:pt x="2026" y="807"/>
                      <a:pt x="2026" y="807"/>
                    </a:cubicBezTo>
                    <a:close/>
                    <a:moveTo>
                      <a:pt x="1996" y="813"/>
                    </a:moveTo>
                    <a:cubicBezTo>
                      <a:pt x="1995" y="813"/>
                      <a:pt x="1995" y="813"/>
                      <a:pt x="1995" y="813"/>
                    </a:cubicBezTo>
                    <a:cubicBezTo>
                      <a:pt x="1995" y="814"/>
                      <a:pt x="1995" y="814"/>
                      <a:pt x="1995" y="814"/>
                    </a:cubicBezTo>
                    <a:cubicBezTo>
                      <a:pt x="1997" y="815"/>
                      <a:pt x="1997" y="815"/>
                      <a:pt x="1997" y="815"/>
                    </a:cubicBezTo>
                    <a:cubicBezTo>
                      <a:pt x="1999" y="814"/>
                      <a:pt x="1999" y="814"/>
                      <a:pt x="1999" y="814"/>
                    </a:cubicBezTo>
                    <a:cubicBezTo>
                      <a:pt x="1998" y="813"/>
                      <a:pt x="1998" y="813"/>
                      <a:pt x="1998" y="813"/>
                    </a:cubicBezTo>
                    <a:cubicBezTo>
                      <a:pt x="1998" y="812"/>
                      <a:pt x="1998" y="812"/>
                      <a:pt x="1998" y="812"/>
                    </a:cubicBezTo>
                    <a:cubicBezTo>
                      <a:pt x="1996" y="813"/>
                      <a:pt x="1996" y="813"/>
                      <a:pt x="1996" y="813"/>
                    </a:cubicBezTo>
                    <a:close/>
                    <a:moveTo>
                      <a:pt x="2004" y="803"/>
                    </a:moveTo>
                    <a:cubicBezTo>
                      <a:pt x="2005" y="804"/>
                      <a:pt x="2005" y="804"/>
                      <a:pt x="2005" y="804"/>
                    </a:cubicBezTo>
                    <a:cubicBezTo>
                      <a:pt x="2006" y="803"/>
                      <a:pt x="2006" y="803"/>
                      <a:pt x="2006" y="803"/>
                    </a:cubicBezTo>
                    <a:cubicBezTo>
                      <a:pt x="2005" y="802"/>
                      <a:pt x="2005" y="802"/>
                      <a:pt x="2005" y="802"/>
                    </a:cubicBezTo>
                    <a:cubicBezTo>
                      <a:pt x="2004" y="801"/>
                      <a:pt x="2004" y="801"/>
                      <a:pt x="2004" y="801"/>
                    </a:cubicBezTo>
                    <a:cubicBezTo>
                      <a:pt x="2002" y="801"/>
                      <a:pt x="2002" y="801"/>
                      <a:pt x="2002" y="801"/>
                    </a:cubicBezTo>
                    <a:cubicBezTo>
                      <a:pt x="2001" y="802"/>
                      <a:pt x="2001" y="802"/>
                      <a:pt x="2001" y="802"/>
                    </a:cubicBezTo>
                    <a:cubicBezTo>
                      <a:pt x="2000" y="802"/>
                      <a:pt x="2000" y="802"/>
                      <a:pt x="2000" y="802"/>
                    </a:cubicBezTo>
                    <a:cubicBezTo>
                      <a:pt x="1999" y="802"/>
                      <a:pt x="1999" y="802"/>
                      <a:pt x="1999" y="802"/>
                    </a:cubicBezTo>
                    <a:cubicBezTo>
                      <a:pt x="2000" y="803"/>
                      <a:pt x="2000" y="803"/>
                      <a:pt x="2000" y="803"/>
                    </a:cubicBezTo>
                    <a:cubicBezTo>
                      <a:pt x="2001" y="803"/>
                      <a:pt x="2001" y="803"/>
                      <a:pt x="2001" y="803"/>
                    </a:cubicBezTo>
                    <a:cubicBezTo>
                      <a:pt x="2002" y="804"/>
                      <a:pt x="2002" y="804"/>
                      <a:pt x="2002" y="804"/>
                    </a:cubicBezTo>
                    <a:cubicBezTo>
                      <a:pt x="2003" y="804"/>
                      <a:pt x="2003" y="804"/>
                      <a:pt x="2003" y="804"/>
                    </a:cubicBezTo>
                    <a:cubicBezTo>
                      <a:pt x="2003" y="803"/>
                      <a:pt x="2003" y="803"/>
                      <a:pt x="2003" y="803"/>
                    </a:cubicBezTo>
                    <a:cubicBezTo>
                      <a:pt x="2002" y="803"/>
                      <a:pt x="2002" y="803"/>
                      <a:pt x="2002" y="803"/>
                    </a:cubicBezTo>
                    <a:cubicBezTo>
                      <a:pt x="2002" y="802"/>
                      <a:pt x="2002" y="802"/>
                      <a:pt x="2002" y="802"/>
                    </a:cubicBezTo>
                    <a:cubicBezTo>
                      <a:pt x="2004" y="803"/>
                      <a:pt x="2004" y="803"/>
                      <a:pt x="2004" y="803"/>
                    </a:cubicBezTo>
                    <a:close/>
                    <a:moveTo>
                      <a:pt x="2002" y="807"/>
                    </a:moveTo>
                    <a:cubicBezTo>
                      <a:pt x="2002" y="807"/>
                      <a:pt x="2002" y="807"/>
                      <a:pt x="2003" y="806"/>
                    </a:cubicBezTo>
                    <a:cubicBezTo>
                      <a:pt x="2003" y="806"/>
                      <a:pt x="2003" y="806"/>
                      <a:pt x="2002" y="806"/>
                    </a:cubicBezTo>
                    <a:cubicBezTo>
                      <a:pt x="2002" y="806"/>
                      <a:pt x="2002" y="806"/>
                      <a:pt x="2002" y="807"/>
                    </a:cubicBezTo>
                    <a:close/>
                    <a:moveTo>
                      <a:pt x="1992" y="802"/>
                    </a:moveTo>
                    <a:cubicBezTo>
                      <a:pt x="1992" y="802"/>
                      <a:pt x="1992" y="802"/>
                      <a:pt x="1994" y="803"/>
                    </a:cubicBezTo>
                    <a:cubicBezTo>
                      <a:pt x="1994" y="803"/>
                      <a:pt x="1994" y="803"/>
                      <a:pt x="1994" y="802"/>
                    </a:cubicBezTo>
                    <a:cubicBezTo>
                      <a:pt x="1994" y="802"/>
                      <a:pt x="1994" y="802"/>
                      <a:pt x="1991" y="801"/>
                    </a:cubicBezTo>
                    <a:cubicBezTo>
                      <a:pt x="1991" y="801"/>
                      <a:pt x="1991" y="801"/>
                      <a:pt x="1992" y="802"/>
                    </a:cubicBezTo>
                    <a:close/>
                    <a:moveTo>
                      <a:pt x="1988" y="795"/>
                    </a:moveTo>
                    <a:cubicBezTo>
                      <a:pt x="1988" y="795"/>
                      <a:pt x="1988" y="795"/>
                      <a:pt x="1989" y="792"/>
                    </a:cubicBezTo>
                    <a:cubicBezTo>
                      <a:pt x="1989" y="792"/>
                      <a:pt x="1989" y="792"/>
                      <a:pt x="1989" y="791"/>
                    </a:cubicBezTo>
                    <a:cubicBezTo>
                      <a:pt x="1989" y="791"/>
                      <a:pt x="1989" y="791"/>
                      <a:pt x="1987" y="791"/>
                    </a:cubicBezTo>
                    <a:cubicBezTo>
                      <a:pt x="1987" y="791"/>
                      <a:pt x="1987" y="791"/>
                      <a:pt x="1985" y="792"/>
                    </a:cubicBezTo>
                    <a:cubicBezTo>
                      <a:pt x="1985" y="792"/>
                      <a:pt x="1985" y="792"/>
                      <a:pt x="1985" y="793"/>
                    </a:cubicBezTo>
                    <a:cubicBezTo>
                      <a:pt x="1985" y="793"/>
                      <a:pt x="1985" y="793"/>
                      <a:pt x="1985" y="794"/>
                    </a:cubicBezTo>
                    <a:cubicBezTo>
                      <a:pt x="1985" y="794"/>
                      <a:pt x="1985" y="794"/>
                      <a:pt x="1984" y="794"/>
                    </a:cubicBezTo>
                    <a:cubicBezTo>
                      <a:pt x="1984" y="794"/>
                      <a:pt x="1984" y="794"/>
                      <a:pt x="1983" y="795"/>
                    </a:cubicBezTo>
                    <a:cubicBezTo>
                      <a:pt x="1983" y="795"/>
                      <a:pt x="1983" y="795"/>
                      <a:pt x="1982" y="796"/>
                    </a:cubicBezTo>
                    <a:cubicBezTo>
                      <a:pt x="1982" y="796"/>
                      <a:pt x="1982" y="796"/>
                      <a:pt x="1982" y="794"/>
                    </a:cubicBezTo>
                    <a:cubicBezTo>
                      <a:pt x="1982" y="794"/>
                      <a:pt x="1982" y="794"/>
                      <a:pt x="1983" y="794"/>
                    </a:cubicBezTo>
                    <a:cubicBezTo>
                      <a:pt x="1983" y="794"/>
                      <a:pt x="1983" y="794"/>
                      <a:pt x="1984" y="794"/>
                    </a:cubicBezTo>
                    <a:cubicBezTo>
                      <a:pt x="1984" y="794"/>
                      <a:pt x="1984" y="794"/>
                      <a:pt x="1984" y="792"/>
                    </a:cubicBezTo>
                    <a:cubicBezTo>
                      <a:pt x="1984" y="792"/>
                      <a:pt x="1984" y="792"/>
                      <a:pt x="1984" y="790"/>
                    </a:cubicBezTo>
                    <a:cubicBezTo>
                      <a:pt x="1984" y="790"/>
                      <a:pt x="1984" y="790"/>
                      <a:pt x="1983" y="790"/>
                    </a:cubicBezTo>
                    <a:cubicBezTo>
                      <a:pt x="1983" y="790"/>
                      <a:pt x="1983" y="790"/>
                      <a:pt x="1983" y="789"/>
                    </a:cubicBezTo>
                    <a:cubicBezTo>
                      <a:pt x="1983" y="789"/>
                      <a:pt x="1983" y="789"/>
                      <a:pt x="1984" y="788"/>
                    </a:cubicBezTo>
                    <a:cubicBezTo>
                      <a:pt x="1984" y="788"/>
                      <a:pt x="1984" y="788"/>
                      <a:pt x="1984" y="787"/>
                    </a:cubicBezTo>
                    <a:cubicBezTo>
                      <a:pt x="1984" y="787"/>
                      <a:pt x="1984" y="787"/>
                      <a:pt x="1983" y="787"/>
                    </a:cubicBezTo>
                    <a:cubicBezTo>
                      <a:pt x="1983" y="787"/>
                      <a:pt x="1983" y="787"/>
                      <a:pt x="1982" y="789"/>
                    </a:cubicBezTo>
                    <a:cubicBezTo>
                      <a:pt x="1982" y="789"/>
                      <a:pt x="1982" y="789"/>
                      <a:pt x="1981" y="791"/>
                    </a:cubicBezTo>
                    <a:cubicBezTo>
                      <a:pt x="1981" y="791"/>
                      <a:pt x="1981" y="791"/>
                      <a:pt x="1981" y="792"/>
                    </a:cubicBezTo>
                    <a:cubicBezTo>
                      <a:pt x="1981" y="792"/>
                      <a:pt x="1981" y="792"/>
                      <a:pt x="1980" y="793"/>
                    </a:cubicBezTo>
                    <a:cubicBezTo>
                      <a:pt x="1980" y="793"/>
                      <a:pt x="1980" y="793"/>
                      <a:pt x="1980" y="794"/>
                    </a:cubicBezTo>
                    <a:cubicBezTo>
                      <a:pt x="1980" y="794"/>
                      <a:pt x="1980" y="794"/>
                      <a:pt x="1981" y="795"/>
                    </a:cubicBezTo>
                    <a:cubicBezTo>
                      <a:pt x="1981" y="795"/>
                      <a:pt x="1981" y="795"/>
                      <a:pt x="1981" y="797"/>
                    </a:cubicBezTo>
                    <a:cubicBezTo>
                      <a:pt x="1981" y="797"/>
                      <a:pt x="1981" y="797"/>
                      <a:pt x="1981" y="799"/>
                    </a:cubicBezTo>
                    <a:cubicBezTo>
                      <a:pt x="1981" y="799"/>
                      <a:pt x="1981" y="799"/>
                      <a:pt x="1982" y="800"/>
                    </a:cubicBezTo>
                    <a:cubicBezTo>
                      <a:pt x="1982" y="800"/>
                      <a:pt x="1982" y="800"/>
                      <a:pt x="1982" y="801"/>
                    </a:cubicBezTo>
                    <a:cubicBezTo>
                      <a:pt x="1982" y="801"/>
                      <a:pt x="1982" y="801"/>
                      <a:pt x="1981" y="802"/>
                    </a:cubicBezTo>
                    <a:cubicBezTo>
                      <a:pt x="1981" y="802"/>
                      <a:pt x="1981" y="802"/>
                      <a:pt x="1982" y="804"/>
                    </a:cubicBezTo>
                    <a:cubicBezTo>
                      <a:pt x="1982" y="804"/>
                      <a:pt x="1982" y="804"/>
                      <a:pt x="1984" y="805"/>
                    </a:cubicBezTo>
                    <a:cubicBezTo>
                      <a:pt x="1984" y="805"/>
                      <a:pt x="1984" y="805"/>
                      <a:pt x="1985" y="807"/>
                    </a:cubicBezTo>
                    <a:cubicBezTo>
                      <a:pt x="1985" y="807"/>
                      <a:pt x="1985" y="807"/>
                      <a:pt x="1986" y="807"/>
                    </a:cubicBezTo>
                    <a:cubicBezTo>
                      <a:pt x="1986" y="807"/>
                      <a:pt x="1986" y="807"/>
                      <a:pt x="1985" y="805"/>
                    </a:cubicBezTo>
                    <a:cubicBezTo>
                      <a:pt x="1985" y="805"/>
                      <a:pt x="1985" y="805"/>
                      <a:pt x="1984" y="803"/>
                    </a:cubicBezTo>
                    <a:cubicBezTo>
                      <a:pt x="1984" y="803"/>
                      <a:pt x="1984" y="803"/>
                      <a:pt x="1983" y="801"/>
                    </a:cubicBezTo>
                    <a:cubicBezTo>
                      <a:pt x="1983" y="801"/>
                      <a:pt x="1983" y="801"/>
                      <a:pt x="1983" y="799"/>
                    </a:cubicBezTo>
                    <a:cubicBezTo>
                      <a:pt x="1983" y="799"/>
                      <a:pt x="1983" y="799"/>
                      <a:pt x="1984" y="799"/>
                    </a:cubicBezTo>
                    <a:cubicBezTo>
                      <a:pt x="1984" y="799"/>
                      <a:pt x="1984" y="799"/>
                      <a:pt x="1985" y="799"/>
                    </a:cubicBezTo>
                    <a:cubicBezTo>
                      <a:pt x="1985" y="799"/>
                      <a:pt x="1985" y="799"/>
                      <a:pt x="1987" y="799"/>
                    </a:cubicBezTo>
                    <a:cubicBezTo>
                      <a:pt x="1987" y="799"/>
                      <a:pt x="1987" y="799"/>
                      <a:pt x="1988" y="800"/>
                    </a:cubicBezTo>
                    <a:cubicBezTo>
                      <a:pt x="1988" y="800"/>
                      <a:pt x="1988" y="800"/>
                      <a:pt x="1989" y="800"/>
                    </a:cubicBezTo>
                    <a:cubicBezTo>
                      <a:pt x="1989" y="800"/>
                      <a:pt x="1989" y="800"/>
                      <a:pt x="1988" y="799"/>
                    </a:cubicBezTo>
                    <a:cubicBezTo>
                      <a:pt x="1988" y="799"/>
                      <a:pt x="1988" y="799"/>
                      <a:pt x="1988" y="798"/>
                    </a:cubicBezTo>
                    <a:cubicBezTo>
                      <a:pt x="1988" y="798"/>
                      <a:pt x="1988" y="798"/>
                      <a:pt x="1987" y="797"/>
                    </a:cubicBezTo>
                    <a:cubicBezTo>
                      <a:pt x="1987" y="797"/>
                      <a:pt x="1987" y="797"/>
                      <a:pt x="1986" y="797"/>
                    </a:cubicBezTo>
                    <a:cubicBezTo>
                      <a:pt x="1986" y="797"/>
                      <a:pt x="1986" y="797"/>
                      <a:pt x="1985" y="796"/>
                    </a:cubicBezTo>
                    <a:cubicBezTo>
                      <a:pt x="1985" y="796"/>
                      <a:pt x="1985" y="796"/>
                      <a:pt x="1986" y="795"/>
                    </a:cubicBezTo>
                    <a:cubicBezTo>
                      <a:pt x="1986" y="795"/>
                      <a:pt x="1986" y="795"/>
                      <a:pt x="1988" y="795"/>
                    </a:cubicBezTo>
                    <a:close/>
                    <a:moveTo>
                      <a:pt x="1980" y="854"/>
                    </a:moveTo>
                    <a:cubicBezTo>
                      <a:pt x="1980" y="854"/>
                      <a:pt x="1980" y="854"/>
                      <a:pt x="1979" y="855"/>
                    </a:cubicBezTo>
                    <a:cubicBezTo>
                      <a:pt x="1979" y="855"/>
                      <a:pt x="1979" y="855"/>
                      <a:pt x="1980" y="855"/>
                    </a:cubicBezTo>
                    <a:cubicBezTo>
                      <a:pt x="1980" y="855"/>
                      <a:pt x="1980" y="855"/>
                      <a:pt x="1980" y="854"/>
                    </a:cubicBezTo>
                    <a:close/>
                    <a:moveTo>
                      <a:pt x="1957" y="868"/>
                    </a:moveTo>
                    <a:cubicBezTo>
                      <a:pt x="1958" y="868"/>
                      <a:pt x="1958" y="868"/>
                      <a:pt x="1958" y="868"/>
                    </a:cubicBezTo>
                    <a:cubicBezTo>
                      <a:pt x="1959" y="868"/>
                      <a:pt x="1959" y="868"/>
                      <a:pt x="1959" y="868"/>
                    </a:cubicBezTo>
                    <a:cubicBezTo>
                      <a:pt x="1961" y="867"/>
                      <a:pt x="1961" y="867"/>
                      <a:pt x="1961" y="867"/>
                    </a:cubicBezTo>
                    <a:cubicBezTo>
                      <a:pt x="1961" y="866"/>
                      <a:pt x="1961" y="866"/>
                      <a:pt x="1961" y="866"/>
                    </a:cubicBezTo>
                    <a:cubicBezTo>
                      <a:pt x="1964" y="864"/>
                      <a:pt x="1964" y="864"/>
                      <a:pt x="1964" y="864"/>
                    </a:cubicBezTo>
                    <a:cubicBezTo>
                      <a:pt x="1964" y="863"/>
                      <a:pt x="1964" y="863"/>
                      <a:pt x="1964" y="863"/>
                    </a:cubicBezTo>
                    <a:cubicBezTo>
                      <a:pt x="1965" y="863"/>
                      <a:pt x="1965" y="863"/>
                      <a:pt x="1965" y="863"/>
                    </a:cubicBezTo>
                    <a:cubicBezTo>
                      <a:pt x="1966" y="862"/>
                      <a:pt x="1966" y="862"/>
                      <a:pt x="1966" y="862"/>
                    </a:cubicBezTo>
                    <a:cubicBezTo>
                      <a:pt x="1967" y="861"/>
                      <a:pt x="1967" y="861"/>
                      <a:pt x="1967" y="861"/>
                    </a:cubicBezTo>
                    <a:cubicBezTo>
                      <a:pt x="1968" y="861"/>
                      <a:pt x="1968" y="861"/>
                      <a:pt x="1968" y="861"/>
                    </a:cubicBezTo>
                    <a:cubicBezTo>
                      <a:pt x="1971" y="861"/>
                      <a:pt x="1971" y="861"/>
                      <a:pt x="1971" y="861"/>
                    </a:cubicBezTo>
                    <a:cubicBezTo>
                      <a:pt x="1973" y="860"/>
                      <a:pt x="1973" y="860"/>
                      <a:pt x="1973" y="860"/>
                    </a:cubicBezTo>
                    <a:cubicBezTo>
                      <a:pt x="1975" y="859"/>
                      <a:pt x="1975" y="859"/>
                      <a:pt x="1975" y="859"/>
                    </a:cubicBezTo>
                    <a:cubicBezTo>
                      <a:pt x="1976" y="859"/>
                      <a:pt x="1976" y="859"/>
                      <a:pt x="1976" y="859"/>
                    </a:cubicBezTo>
                    <a:cubicBezTo>
                      <a:pt x="1977" y="858"/>
                      <a:pt x="1977" y="858"/>
                      <a:pt x="1977" y="858"/>
                    </a:cubicBezTo>
                    <a:cubicBezTo>
                      <a:pt x="1977" y="857"/>
                      <a:pt x="1977" y="857"/>
                      <a:pt x="1977" y="857"/>
                    </a:cubicBezTo>
                    <a:cubicBezTo>
                      <a:pt x="1976" y="857"/>
                      <a:pt x="1976" y="857"/>
                      <a:pt x="1976" y="857"/>
                    </a:cubicBezTo>
                    <a:cubicBezTo>
                      <a:pt x="1974" y="857"/>
                      <a:pt x="1974" y="857"/>
                      <a:pt x="1974" y="857"/>
                    </a:cubicBezTo>
                    <a:cubicBezTo>
                      <a:pt x="1973" y="857"/>
                      <a:pt x="1973" y="857"/>
                      <a:pt x="1973" y="857"/>
                    </a:cubicBezTo>
                    <a:cubicBezTo>
                      <a:pt x="1971" y="857"/>
                      <a:pt x="1971" y="857"/>
                      <a:pt x="1971" y="857"/>
                    </a:cubicBezTo>
                    <a:cubicBezTo>
                      <a:pt x="1970" y="857"/>
                      <a:pt x="1970" y="857"/>
                      <a:pt x="1970" y="857"/>
                    </a:cubicBezTo>
                    <a:cubicBezTo>
                      <a:pt x="1968" y="858"/>
                      <a:pt x="1968" y="858"/>
                      <a:pt x="1968" y="858"/>
                    </a:cubicBezTo>
                    <a:cubicBezTo>
                      <a:pt x="1966" y="858"/>
                      <a:pt x="1966" y="858"/>
                      <a:pt x="1966" y="858"/>
                    </a:cubicBezTo>
                    <a:cubicBezTo>
                      <a:pt x="1964" y="859"/>
                      <a:pt x="1964" y="859"/>
                      <a:pt x="1964" y="859"/>
                    </a:cubicBezTo>
                    <a:cubicBezTo>
                      <a:pt x="1962" y="860"/>
                      <a:pt x="1962" y="860"/>
                      <a:pt x="1962" y="860"/>
                    </a:cubicBezTo>
                    <a:cubicBezTo>
                      <a:pt x="1960" y="861"/>
                      <a:pt x="1960" y="861"/>
                      <a:pt x="1960" y="861"/>
                    </a:cubicBezTo>
                    <a:cubicBezTo>
                      <a:pt x="1958" y="861"/>
                      <a:pt x="1958" y="861"/>
                      <a:pt x="1958" y="861"/>
                    </a:cubicBezTo>
                    <a:cubicBezTo>
                      <a:pt x="1957" y="862"/>
                      <a:pt x="1957" y="862"/>
                      <a:pt x="1957" y="862"/>
                    </a:cubicBezTo>
                    <a:cubicBezTo>
                      <a:pt x="1955" y="863"/>
                      <a:pt x="1955" y="863"/>
                      <a:pt x="1955" y="863"/>
                    </a:cubicBezTo>
                    <a:cubicBezTo>
                      <a:pt x="1955" y="864"/>
                      <a:pt x="1955" y="864"/>
                      <a:pt x="1955" y="864"/>
                    </a:cubicBezTo>
                    <a:cubicBezTo>
                      <a:pt x="1954" y="866"/>
                      <a:pt x="1954" y="866"/>
                      <a:pt x="1954" y="866"/>
                    </a:cubicBezTo>
                    <a:cubicBezTo>
                      <a:pt x="1954" y="867"/>
                      <a:pt x="1954" y="867"/>
                      <a:pt x="1954" y="867"/>
                    </a:cubicBezTo>
                    <a:cubicBezTo>
                      <a:pt x="1954" y="868"/>
                      <a:pt x="1954" y="868"/>
                      <a:pt x="1954" y="868"/>
                    </a:cubicBezTo>
                    <a:cubicBezTo>
                      <a:pt x="1953" y="867"/>
                      <a:pt x="1953" y="867"/>
                      <a:pt x="1953" y="867"/>
                    </a:cubicBezTo>
                    <a:cubicBezTo>
                      <a:pt x="1953" y="869"/>
                      <a:pt x="1953" y="869"/>
                      <a:pt x="1953" y="869"/>
                    </a:cubicBezTo>
                    <a:cubicBezTo>
                      <a:pt x="1955" y="869"/>
                      <a:pt x="1955" y="869"/>
                      <a:pt x="1955" y="869"/>
                    </a:cubicBezTo>
                    <a:cubicBezTo>
                      <a:pt x="1957" y="868"/>
                      <a:pt x="1957" y="868"/>
                      <a:pt x="1957" y="868"/>
                    </a:cubicBezTo>
                    <a:close/>
                    <a:moveTo>
                      <a:pt x="1952" y="855"/>
                    </a:moveTo>
                    <a:cubicBezTo>
                      <a:pt x="1952" y="856"/>
                      <a:pt x="1952" y="856"/>
                      <a:pt x="1952" y="856"/>
                    </a:cubicBezTo>
                    <a:cubicBezTo>
                      <a:pt x="1953" y="855"/>
                      <a:pt x="1953" y="855"/>
                      <a:pt x="1953" y="855"/>
                    </a:cubicBezTo>
                    <a:cubicBezTo>
                      <a:pt x="1952" y="855"/>
                      <a:pt x="1952" y="855"/>
                      <a:pt x="1952" y="855"/>
                    </a:cubicBezTo>
                    <a:close/>
                    <a:moveTo>
                      <a:pt x="1978" y="849"/>
                    </a:moveTo>
                    <a:cubicBezTo>
                      <a:pt x="1978" y="850"/>
                      <a:pt x="1978" y="850"/>
                      <a:pt x="1978" y="850"/>
                    </a:cubicBezTo>
                    <a:cubicBezTo>
                      <a:pt x="1978" y="851"/>
                      <a:pt x="1978" y="851"/>
                      <a:pt x="1978" y="851"/>
                    </a:cubicBezTo>
                    <a:cubicBezTo>
                      <a:pt x="1979" y="850"/>
                      <a:pt x="1979" y="850"/>
                      <a:pt x="1979" y="850"/>
                    </a:cubicBezTo>
                    <a:cubicBezTo>
                      <a:pt x="1978" y="849"/>
                      <a:pt x="1978" y="849"/>
                      <a:pt x="1978" y="849"/>
                    </a:cubicBezTo>
                    <a:close/>
                    <a:moveTo>
                      <a:pt x="2037" y="808"/>
                    </a:moveTo>
                    <a:cubicBezTo>
                      <a:pt x="2036" y="808"/>
                      <a:pt x="2036" y="808"/>
                      <a:pt x="2036" y="808"/>
                    </a:cubicBezTo>
                    <a:cubicBezTo>
                      <a:pt x="2035" y="807"/>
                      <a:pt x="2035" y="807"/>
                      <a:pt x="2035" y="807"/>
                    </a:cubicBezTo>
                    <a:cubicBezTo>
                      <a:pt x="2034" y="806"/>
                      <a:pt x="2034" y="806"/>
                      <a:pt x="2034" y="806"/>
                    </a:cubicBezTo>
                    <a:cubicBezTo>
                      <a:pt x="2033" y="805"/>
                      <a:pt x="2033" y="805"/>
                      <a:pt x="2033" y="805"/>
                    </a:cubicBezTo>
                    <a:cubicBezTo>
                      <a:pt x="2032" y="805"/>
                      <a:pt x="2032" y="805"/>
                      <a:pt x="2032" y="805"/>
                    </a:cubicBezTo>
                    <a:cubicBezTo>
                      <a:pt x="2031" y="805"/>
                      <a:pt x="2031" y="805"/>
                      <a:pt x="2031" y="805"/>
                    </a:cubicBezTo>
                    <a:cubicBezTo>
                      <a:pt x="2031" y="806"/>
                      <a:pt x="2031" y="806"/>
                      <a:pt x="2031" y="806"/>
                    </a:cubicBezTo>
                    <a:cubicBezTo>
                      <a:pt x="2032" y="807"/>
                      <a:pt x="2032" y="807"/>
                      <a:pt x="2032" y="807"/>
                    </a:cubicBezTo>
                    <a:cubicBezTo>
                      <a:pt x="2032" y="806"/>
                      <a:pt x="2032" y="806"/>
                      <a:pt x="2032" y="806"/>
                    </a:cubicBezTo>
                    <a:cubicBezTo>
                      <a:pt x="2033" y="807"/>
                      <a:pt x="2033" y="807"/>
                      <a:pt x="2033" y="807"/>
                    </a:cubicBezTo>
                    <a:cubicBezTo>
                      <a:pt x="2033" y="808"/>
                      <a:pt x="2033" y="808"/>
                      <a:pt x="2033" y="808"/>
                    </a:cubicBezTo>
                    <a:cubicBezTo>
                      <a:pt x="2034" y="808"/>
                      <a:pt x="2034" y="808"/>
                      <a:pt x="2034" y="808"/>
                    </a:cubicBezTo>
                    <a:cubicBezTo>
                      <a:pt x="2035" y="808"/>
                      <a:pt x="2035" y="808"/>
                      <a:pt x="2035" y="808"/>
                    </a:cubicBezTo>
                    <a:cubicBezTo>
                      <a:pt x="2035" y="809"/>
                      <a:pt x="2035" y="809"/>
                      <a:pt x="2035" y="809"/>
                    </a:cubicBezTo>
                    <a:cubicBezTo>
                      <a:pt x="2037" y="808"/>
                      <a:pt x="2037" y="808"/>
                      <a:pt x="2037" y="808"/>
                    </a:cubicBezTo>
                    <a:close/>
                    <a:moveTo>
                      <a:pt x="1981" y="804"/>
                    </a:moveTo>
                    <a:cubicBezTo>
                      <a:pt x="1980" y="804"/>
                      <a:pt x="1980" y="804"/>
                      <a:pt x="1980" y="804"/>
                    </a:cubicBezTo>
                    <a:cubicBezTo>
                      <a:pt x="1980" y="805"/>
                      <a:pt x="1980" y="805"/>
                      <a:pt x="1980" y="805"/>
                    </a:cubicBezTo>
                    <a:cubicBezTo>
                      <a:pt x="1980" y="806"/>
                      <a:pt x="1980" y="806"/>
                      <a:pt x="1980" y="806"/>
                    </a:cubicBezTo>
                    <a:cubicBezTo>
                      <a:pt x="1980" y="807"/>
                      <a:pt x="1980" y="807"/>
                      <a:pt x="1980" y="807"/>
                    </a:cubicBezTo>
                    <a:cubicBezTo>
                      <a:pt x="1981" y="807"/>
                      <a:pt x="1981" y="807"/>
                      <a:pt x="1981" y="807"/>
                    </a:cubicBezTo>
                    <a:cubicBezTo>
                      <a:pt x="1982" y="807"/>
                      <a:pt x="1982" y="807"/>
                      <a:pt x="1982" y="807"/>
                    </a:cubicBezTo>
                    <a:cubicBezTo>
                      <a:pt x="1983" y="807"/>
                      <a:pt x="1983" y="807"/>
                      <a:pt x="1983" y="807"/>
                    </a:cubicBezTo>
                    <a:cubicBezTo>
                      <a:pt x="1982" y="806"/>
                      <a:pt x="1982" y="806"/>
                      <a:pt x="1982" y="806"/>
                    </a:cubicBezTo>
                    <a:cubicBezTo>
                      <a:pt x="1981" y="806"/>
                      <a:pt x="1981" y="806"/>
                      <a:pt x="1981" y="806"/>
                    </a:cubicBezTo>
                    <a:cubicBezTo>
                      <a:pt x="1982" y="805"/>
                      <a:pt x="1982" y="805"/>
                      <a:pt x="1982" y="805"/>
                    </a:cubicBezTo>
                    <a:cubicBezTo>
                      <a:pt x="1981" y="804"/>
                      <a:pt x="1981" y="804"/>
                      <a:pt x="1981" y="804"/>
                    </a:cubicBezTo>
                    <a:close/>
                    <a:moveTo>
                      <a:pt x="2033" y="813"/>
                    </a:moveTo>
                    <a:cubicBezTo>
                      <a:pt x="2036" y="813"/>
                      <a:pt x="2036" y="813"/>
                      <a:pt x="2036" y="813"/>
                    </a:cubicBezTo>
                    <a:cubicBezTo>
                      <a:pt x="2039" y="813"/>
                      <a:pt x="2039" y="813"/>
                      <a:pt x="2039" y="813"/>
                    </a:cubicBezTo>
                    <a:cubicBezTo>
                      <a:pt x="2039" y="812"/>
                      <a:pt x="2039" y="812"/>
                      <a:pt x="2039" y="812"/>
                    </a:cubicBezTo>
                    <a:cubicBezTo>
                      <a:pt x="2037" y="812"/>
                      <a:pt x="2037" y="812"/>
                      <a:pt x="2037" y="812"/>
                    </a:cubicBezTo>
                    <a:cubicBezTo>
                      <a:pt x="2036" y="812"/>
                      <a:pt x="2036" y="812"/>
                      <a:pt x="2036" y="812"/>
                    </a:cubicBezTo>
                    <a:cubicBezTo>
                      <a:pt x="2034" y="812"/>
                      <a:pt x="2034" y="812"/>
                      <a:pt x="2034" y="812"/>
                    </a:cubicBezTo>
                    <a:cubicBezTo>
                      <a:pt x="2033" y="812"/>
                      <a:pt x="2033" y="812"/>
                      <a:pt x="2033" y="812"/>
                    </a:cubicBezTo>
                    <a:cubicBezTo>
                      <a:pt x="2031" y="812"/>
                      <a:pt x="2031" y="812"/>
                      <a:pt x="2031" y="812"/>
                    </a:cubicBezTo>
                    <a:cubicBezTo>
                      <a:pt x="2033" y="813"/>
                      <a:pt x="2033" y="813"/>
                      <a:pt x="2033" y="813"/>
                    </a:cubicBezTo>
                    <a:close/>
                    <a:moveTo>
                      <a:pt x="2001" y="854"/>
                    </a:moveTo>
                    <a:cubicBezTo>
                      <a:pt x="2001" y="855"/>
                      <a:pt x="2001" y="855"/>
                      <a:pt x="2001" y="855"/>
                    </a:cubicBezTo>
                    <a:cubicBezTo>
                      <a:pt x="2002" y="855"/>
                      <a:pt x="2002" y="855"/>
                      <a:pt x="2002" y="855"/>
                    </a:cubicBezTo>
                    <a:cubicBezTo>
                      <a:pt x="2003" y="854"/>
                      <a:pt x="2003" y="854"/>
                      <a:pt x="2003" y="854"/>
                    </a:cubicBezTo>
                    <a:cubicBezTo>
                      <a:pt x="2002" y="854"/>
                      <a:pt x="2002" y="854"/>
                      <a:pt x="2002" y="854"/>
                    </a:cubicBezTo>
                    <a:cubicBezTo>
                      <a:pt x="2001" y="854"/>
                      <a:pt x="2001" y="854"/>
                      <a:pt x="2001" y="854"/>
                    </a:cubicBezTo>
                    <a:close/>
                    <a:moveTo>
                      <a:pt x="1984" y="855"/>
                    </a:moveTo>
                    <a:cubicBezTo>
                      <a:pt x="1984" y="855"/>
                      <a:pt x="1984" y="855"/>
                      <a:pt x="1984" y="854"/>
                    </a:cubicBezTo>
                    <a:cubicBezTo>
                      <a:pt x="1984" y="854"/>
                      <a:pt x="1984" y="854"/>
                      <a:pt x="1983" y="854"/>
                    </a:cubicBezTo>
                    <a:cubicBezTo>
                      <a:pt x="1983" y="854"/>
                      <a:pt x="1983" y="854"/>
                      <a:pt x="1981" y="854"/>
                    </a:cubicBezTo>
                    <a:cubicBezTo>
                      <a:pt x="1981" y="854"/>
                      <a:pt x="1981" y="854"/>
                      <a:pt x="1981" y="855"/>
                    </a:cubicBezTo>
                    <a:cubicBezTo>
                      <a:pt x="1981" y="855"/>
                      <a:pt x="1981" y="855"/>
                      <a:pt x="1983" y="855"/>
                    </a:cubicBezTo>
                    <a:cubicBezTo>
                      <a:pt x="1983" y="855"/>
                      <a:pt x="1983" y="855"/>
                      <a:pt x="1984" y="855"/>
                    </a:cubicBezTo>
                    <a:close/>
                    <a:moveTo>
                      <a:pt x="1983" y="821"/>
                    </a:moveTo>
                    <a:cubicBezTo>
                      <a:pt x="1984" y="820"/>
                      <a:pt x="1984" y="820"/>
                      <a:pt x="1984" y="820"/>
                    </a:cubicBezTo>
                    <a:cubicBezTo>
                      <a:pt x="1982" y="820"/>
                      <a:pt x="1982" y="820"/>
                      <a:pt x="1982" y="820"/>
                    </a:cubicBezTo>
                    <a:cubicBezTo>
                      <a:pt x="1983" y="821"/>
                      <a:pt x="1983" y="821"/>
                      <a:pt x="1983" y="821"/>
                    </a:cubicBezTo>
                    <a:close/>
                    <a:moveTo>
                      <a:pt x="1919" y="775"/>
                    </a:moveTo>
                    <a:cubicBezTo>
                      <a:pt x="1919" y="774"/>
                      <a:pt x="1919" y="774"/>
                      <a:pt x="1919" y="774"/>
                    </a:cubicBezTo>
                    <a:cubicBezTo>
                      <a:pt x="1918" y="774"/>
                      <a:pt x="1918" y="774"/>
                      <a:pt x="1918" y="774"/>
                    </a:cubicBezTo>
                    <a:cubicBezTo>
                      <a:pt x="1919" y="775"/>
                      <a:pt x="1919" y="775"/>
                      <a:pt x="1919" y="775"/>
                    </a:cubicBezTo>
                    <a:close/>
                    <a:moveTo>
                      <a:pt x="1985" y="825"/>
                    </a:moveTo>
                    <a:cubicBezTo>
                      <a:pt x="1985" y="825"/>
                      <a:pt x="1985" y="825"/>
                      <a:pt x="1985" y="824"/>
                    </a:cubicBezTo>
                    <a:cubicBezTo>
                      <a:pt x="1985" y="824"/>
                      <a:pt x="1985" y="824"/>
                      <a:pt x="1984" y="825"/>
                    </a:cubicBezTo>
                    <a:cubicBezTo>
                      <a:pt x="1984" y="825"/>
                      <a:pt x="1984" y="825"/>
                      <a:pt x="1985" y="826"/>
                    </a:cubicBezTo>
                    <a:cubicBezTo>
                      <a:pt x="1985" y="826"/>
                      <a:pt x="1985" y="826"/>
                      <a:pt x="1985" y="825"/>
                    </a:cubicBezTo>
                    <a:close/>
                    <a:moveTo>
                      <a:pt x="1984" y="825"/>
                    </a:moveTo>
                    <a:cubicBezTo>
                      <a:pt x="1984" y="825"/>
                      <a:pt x="1984" y="825"/>
                      <a:pt x="1983" y="825"/>
                    </a:cubicBezTo>
                    <a:cubicBezTo>
                      <a:pt x="1983" y="825"/>
                      <a:pt x="1983" y="825"/>
                      <a:pt x="1984" y="826"/>
                    </a:cubicBezTo>
                    <a:cubicBezTo>
                      <a:pt x="1984" y="826"/>
                      <a:pt x="1984" y="826"/>
                      <a:pt x="1984" y="825"/>
                    </a:cubicBezTo>
                    <a:close/>
                    <a:moveTo>
                      <a:pt x="1987" y="788"/>
                    </a:moveTo>
                    <a:cubicBezTo>
                      <a:pt x="1988" y="787"/>
                      <a:pt x="1988" y="787"/>
                      <a:pt x="1988" y="787"/>
                    </a:cubicBezTo>
                    <a:cubicBezTo>
                      <a:pt x="1988" y="786"/>
                      <a:pt x="1988" y="786"/>
                      <a:pt x="1988" y="786"/>
                    </a:cubicBezTo>
                    <a:cubicBezTo>
                      <a:pt x="1987" y="786"/>
                      <a:pt x="1987" y="786"/>
                      <a:pt x="1987" y="786"/>
                    </a:cubicBezTo>
                    <a:cubicBezTo>
                      <a:pt x="1986" y="786"/>
                      <a:pt x="1986" y="786"/>
                      <a:pt x="1986" y="786"/>
                    </a:cubicBezTo>
                    <a:cubicBezTo>
                      <a:pt x="1985" y="787"/>
                      <a:pt x="1985" y="787"/>
                      <a:pt x="1985" y="787"/>
                    </a:cubicBezTo>
                    <a:cubicBezTo>
                      <a:pt x="1986" y="789"/>
                      <a:pt x="1986" y="789"/>
                      <a:pt x="1986" y="789"/>
                    </a:cubicBezTo>
                    <a:cubicBezTo>
                      <a:pt x="1986" y="788"/>
                      <a:pt x="1986" y="788"/>
                      <a:pt x="1986" y="788"/>
                    </a:cubicBezTo>
                    <a:cubicBezTo>
                      <a:pt x="1987" y="788"/>
                      <a:pt x="1987" y="788"/>
                      <a:pt x="1987" y="788"/>
                    </a:cubicBezTo>
                    <a:close/>
                    <a:moveTo>
                      <a:pt x="2001" y="849"/>
                    </a:moveTo>
                    <a:cubicBezTo>
                      <a:pt x="2002" y="850"/>
                      <a:pt x="2002" y="850"/>
                      <a:pt x="2002" y="850"/>
                    </a:cubicBezTo>
                    <a:cubicBezTo>
                      <a:pt x="2003" y="849"/>
                      <a:pt x="2003" y="849"/>
                      <a:pt x="2003" y="849"/>
                    </a:cubicBezTo>
                    <a:cubicBezTo>
                      <a:pt x="2001" y="849"/>
                      <a:pt x="2001" y="849"/>
                      <a:pt x="2001" y="849"/>
                    </a:cubicBezTo>
                    <a:close/>
                    <a:moveTo>
                      <a:pt x="1952" y="868"/>
                    </a:moveTo>
                    <a:cubicBezTo>
                      <a:pt x="1951" y="869"/>
                      <a:pt x="1951" y="869"/>
                      <a:pt x="1951" y="869"/>
                    </a:cubicBezTo>
                    <a:cubicBezTo>
                      <a:pt x="1952" y="869"/>
                      <a:pt x="1952" y="869"/>
                      <a:pt x="1952" y="869"/>
                    </a:cubicBezTo>
                    <a:cubicBezTo>
                      <a:pt x="1952" y="868"/>
                      <a:pt x="1952" y="868"/>
                      <a:pt x="1952" y="868"/>
                    </a:cubicBezTo>
                    <a:close/>
                    <a:moveTo>
                      <a:pt x="1953" y="833"/>
                    </a:moveTo>
                    <a:cubicBezTo>
                      <a:pt x="1953" y="833"/>
                      <a:pt x="1953" y="833"/>
                      <a:pt x="1953" y="832"/>
                    </a:cubicBezTo>
                    <a:cubicBezTo>
                      <a:pt x="1953" y="832"/>
                      <a:pt x="1953" y="832"/>
                      <a:pt x="1953" y="831"/>
                    </a:cubicBezTo>
                    <a:cubicBezTo>
                      <a:pt x="1953" y="831"/>
                      <a:pt x="1953" y="831"/>
                      <a:pt x="1953" y="830"/>
                    </a:cubicBezTo>
                    <a:cubicBezTo>
                      <a:pt x="1953" y="830"/>
                      <a:pt x="1953" y="830"/>
                      <a:pt x="1952" y="830"/>
                    </a:cubicBezTo>
                    <a:cubicBezTo>
                      <a:pt x="1952" y="830"/>
                      <a:pt x="1952" y="830"/>
                      <a:pt x="1951" y="831"/>
                    </a:cubicBezTo>
                    <a:cubicBezTo>
                      <a:pt x="1951" y="831"/>
                      <a:pt x="1951" y="831"/>
                      <a:pt x="1951" y="833"/>
                    </a:cubicBezTo>
                    <a:cubicBezTo>
                      <a:pt x="1951" y="833"/>
                      <a:pt x="1951" y="833"/>
                      <a:pt x="1951" y="834"/>
                    </a:cubicBezTo>
                    <a:cubicBezTo>
                      <a:pt x="1951" y="834"/>
                      <a:pt x="1951" y="834"/>
                      <a:pt x="1952" y="833"/>
                    </a:cubicBezTo>
                    <a:cubicBezTo>
                      <a:pt x="1952" y="833"/>
                      <a:pt x="1952" y="833"/>
                      <a:pt x="1953" y="833"/>
                    </a:cubicBezTo>
                    <a:close/>
                    <a:moveTo>
                      <a:pt x="1983" y="813"/>
                    </a:moveTo>
                    <a:cubicBezTo>
                      <a:pt x="1983" y="813"/>
                      <a:pt x="1983" y="813"/>
                      <a:pt x="1984" y="813"/>
                    </a:cubicBezTo>
                    <a:cubicBezTo>
                      <a:pt x="1984" y="813"/>
                      <a:pt x="1984" y="813"/>
                      <a:pt x="1985" y="812"/>
                    </a:cubicBezTo>
                    <a:cubicBezTo>
                      <a:pt x="1985" y="812"/>
                      <a:pt x="1985" y="812"/>
                      <a:pt x="1983" y="810"/>
                    </a:cubicBezTo>
                    <a:cubicBezTo>
                      <a:pt x="1983" y="810"/>
                      <a:pt x="1983" y="810"/>
                      <a:pt x="1982" y="810"/>
                    </a:cubicBezTo>
                    <a:cubicBezTo>
                      <a:pt x="1982" y="810"/>
                      <a:pt x="1982" y="810"/>
                      <a:pt x="1980" y="812"/>
                    </a:cubicBezTo>
                    <a:cubicBezTo>
                      <a:pt x="1980" y="812"/>
                      <a:pt x="1980" y="812"/>
                      <a:pt x="1982" y="813"/>
                    </a:cubicBezTo>
                    <a:cubicBezTo>
                      <a:pt x="1982" y="813"/>
                      <a:pt x="1982" y="813"/>
                      <a:pt x="1983" y="813"/>
                    </a:cubicBezTo>
                    <a:close/>
                    <a:moveTo>
                      <a:pt x="1952" y="871"/>
                    </a:moveTo>
                    <a:cubicBezTo>
                      <a:pt x="1952" y="870"/>
                      <a:pt x="1952" y="870"/>
                      <a:pt x="1952" y="870"/>
                    </a:cubicBezTo>
                    <a:cubicBezTo>
                      <a:pt x="1951" y="870"/>
                      <a:pt x="1951" y="870"/>
                      <a:pt x="1951" y="870"/>
                    </a:cubicBezTo>
                    <a:cubicBezTo>
                      <a:pt x="1951" y="871"/>
                      <a:pt x="1951" y="871"/>
                      <a:pt x="1951" y="871"/>
                    </a:cubicBezTo>
                    <a:cubicBezTo>
                      <a:pt x="1949" y="871"/>
                      <a:pt x="1949" y="871"/>
                      <a:pt x="1949" y="871"/>
                    </a:cubicBezTo>
                    <a:cubicBezTo>
                      <a:pt x="1948" y="872"/>
                      <a:pt x="1948" y="872"/>
                      <a:pt x="1948" y="872"/>
                    </a:cubicBezTo>
                    <a:cubicBezTo>
                      <a:pt x="1949" y="873"/>
                      <a:pt x="1949" y="873"/>
                      <a:pt x="1949" y="873"/>
                    </a:cubicBezTo>
                    <a:cubicBezTo>
                      <a:pt x="1952" y="871"/>
                      <a:pt x="1952" y="871"/>
                      <a:pt x="1952" y="871"/>
                    </a:cubicBezTo>
                    <a:close/>
                    <a:moveTo>
                      <a:pt x="1927" y="865"/>
                    </a:moveTo>
                    <a:cubicBezTo>
                      <a:pt x="1927" y="865"/>
                      <a:pt x="1927" y="865"/>
                      <a:pt x="1929" y="865"/>
                    </a:cubicBezTo>
                    <a:cubicBezTo>
                      <a:pt x="1929" y="865"/>
                      <a:pt x="1929" y="865"/>
                      <a:pt x="1930" y="866"/>
                    </a:cubicBezTo>
                    <a:cubicBezTo>
                      <a:pt x="1930" y="866"/>
                      <a:pt x="1930" y="866"/>
                      <a:pt x="1931" y="866"/>
                    </a:cubicBezTo>
                    <a:cubicBezTo>
                      <a:pt x="1931" y="866"/>
                      <a:pt x="1931" y="866"/>
                      <a:pt x="1932" y="868"/>
                    </a:cubicBezTo>
                    <a:cubicBezTo>
                      <a:pt x="1932" y="868"/>
                      <a:pt x="1932" y="868"/>
                      <a:pt x="1933" y="868"/>
                    </a:cubicBezTo>
                    <a:cubicBezTo>
                      <a:pt x="1933" y="868"/>
                      <a:pt x="1933" y="868"/>
                      <a:pt x="1935" y="868"/>
                    </a:cubicBezTo>
                    <a:cubicBezTo>
                      <a:pt x="1935" y="868"/>
                      <a:pt x="1935" y="868"/>
                      <a:pt x="1936" y="867"/>
                    </a:cubicBezTo>
                    <a:cubicBezTo>
                      <a:pt x="1936" y="867"/>
                      <a:pt x="1936" y="867"/>
                      <a:pt x="1936" y="866"/>
                    </a:cubicBezTo>
                    <a:cubicBezTo>
                      <a:pt x="1936" y="866"/>
                      <a:pt x="1936" y="866"/>
                      <a:pt x="1935" y="866"/>
                    </a:cubicBezTo>
                    <a:cubicBezTo>
                      <a:pt x="1935" y="866"/>
                      <a:pt x="1935" y="866"/>
                      <a:pt x="1934" y="864"/>
                    </a:cubicBezTo>
                    <a:cubicBezTo>
                      <a:pt x="1934" y="864"/>
                      <a:pt x="1934" y="864"/>
                      <a:pt x="1933" y="864"/>
                    </a:cubicBezTo>
                    <a:cubicBezTo>
                      <a:pt x="1933" y="864"/>
                      <a:pt x="1933" y="864"/>
                      <a:pt x="1933" y="863"/>
                    </a:cubicBezTo>
                    <a:cubicBezTo>
                      <a:pt x="1933" y="863"/>
                      <a:pt x="1933" y="863"/>
                      <a:pt x="1931" y="862"/>
                    </a:cubicBezTo>
                    <a:cubicBezTo>
                      <a:pt x="1931" y="862"/>
                      <a:pt x="1931" y="862"/>
                      <a:pt x="1930" y="863"/>
                    </a:cubicBezTo>
                    <a:cubicBezTo>
                      <a:pt x="1930" y="863"/>
                      <a:pt x="1930" y="863"/>
                      <a:pt x="1929" y="863"/>
                    </a:cubicBezTo>
                    <a:cubicBezTo>
                      <a:pt x="1929" y="863"/>
                      <a:pt x="1929" y="863"/>
                      <a:pt x="1927" y="861"/>
                    </a:cubicBezTo>
                    <a:cubicBezTo>
                      <a:pt x="1927" y="861"/>
                      <a:pt x="1927" y="861"/>
                      <a:pt x="1925" y="863"/>
                    </a:cubicBezTo>
                    <a:cubicBezTo>
                      <a:pt x="1925" y="863"/>
                      <a:pt x="1925" y="863"/>
                      <a:pt x="1924" y="864"/>
                    </a:cubicBezTo>
                    <a:cubicBezTo>
                      <a:pt x="1924" y="864"/>
                      <a:pt x="1924" y="864"/>
                      <a:pt x="1925" y="865"/>
                    </a:cubicBezTo>
                    <a:cubicBezTo>
                      <a:pt x="1925" y="865"/>
                      <a:pt x="1925" y="865"/>
                      <a:pt x="1927" y="865"/>
                    </a:cubicBezTo>
                    <a:close/>
                    <a:moveTo>
                      <a:pt x="1808" y="819"/>
                    </a:moveTo>
                    <a:cubicBezTo>
                      <a:pt x="1808" y="819"/>
                      <a:pt x="1808" y="819"/>
                      <a:pt x="1807" y="819"/>
                    </a:cubicBezTo>
                    <a:cubicBezTo>
                      <a:pt x="1807" y="819"/>
                      <a:pt x="1807" y="819"/>
                      <a:pt x="1808" y="820"/>
                    </a:cubicBezTo>
                    <a:cubicBezTo>
                      <a:pt x="1808" y="820"/>
                      <a:pt x="1808" y="820"/>
                      <a:pt x="1808" y="819"/>
                    </a:cubicBezTo>
                    <a:close/>
                    <a:moveTo>
                      <a:pt x="1987" y="848"/>
                    </a:moveTo>
                    <a:cubicBezTo>
                      <a:pt x="1987" y="848"/>
                      <a:pt x="1987" y="848"/>
                      <a:pt x="1987" y="847"/>
                    </a:cubicBezTo>
                    <a:cubicBezTo>
                      <a:pt x="1987" y="847"/>
                      <a:pt x="1987" y="847"/>
                      <a:pt x="1986" y="848"/>
                    </a:cubicBezTo>
                    <a:cubicBezTo>
                      <a:pt x="1986" y="848"/>
                      <a:pt x="1986" y="848"/>
                      <a:pt x="1987" y="848"/>
                    </a:cubicBezTo>
                    <a:close/>
                    <a:moveTo>
                      <a:pt x="1979" y="825"/>
                    </a:moveTo>
                    <a:cubicBezTo>
                      <a:pt x="1979" y="825"/>
                      <a:pt x="1979" y="825"/>
                      <a:pt x="1979" y="824"/>
                    </a:cubicBezTo>
                    <a:cubicBezTo>
                      <a:pt x="1979" y="824"/>
                      <a:pt x="1979" y="824"/>
                      <a:pt x="1978" y="823"/>
                    </a:cubicBezTo>
                    <a:cubicBezTo>
                      <a:pt x="1978" y="823"/>
                      <a:pt x="1978" y="823"/>
                      <a:pt x="1978" y="822"/>
                    </a:cubicBezTo>
                    <a:cubicBezTo>
                      <a:pt x="1978" y="822"/>
                      <a:pt x="1978" y="822"/>
                      <a:pt x="1976" y="821"/>
                    </a:cubicBezTo>
                    <a:cubicBezTo>
                      <a:pt x="1976" y="821"/>
                      <a:pt x="1976" y="821"/>
                      <a:pt x="1974" y="821"/>
                    </a:cubicBezTo>
                    <a:cubicBezTo>
                      <a:pt x="1974" y="821"/>
                      <a:pt x="1974" y="821"/>
                      <a:pt x="1973" y="822"/>
                    </a:cubicBezTo>
                    <a:cubicBezTo>
                      <a:pt x="1973" y="822"/>
                      <a:pt x="1973" y="822"/>
                      <a:pt x="1972" y="822"/>
                    </a:cubicBezTo>
                    <a:cubicBezTo>
                      <a:pt x="1972" y="822"/>
                      <a:pt x="1972" y="822"/>
                      <a:pt x="1970" y="822"/>
                    </a:cubicBezTo>
                    <a:cubicBezTo>
                      <a:pt x="1970" y="822"/>
                      <a:pt x="1970" y="822"/>
                      <a:pt x="1970" y="824"/>
                    </a:cubicBezTo>
                    <a:cubicBezTo>
                      <a:pt x="1970" y="824"/>
                      <a:pt x="1970" y="824"/>
                      <a:pt x="1971" y="825"/>
                    </a:cubicBezTo>
                    <a:cubicBezTo>
                      <a:pt x="1971" y="825"/>
                      <a:pt x="1971" y="825"/>
                      <a:pt x="1973" y="826"/>
                    </a:cubicBezTo>
                    <a:cubicBezTo>
                      <a:pt x="1973" y="826"/>
                      <a:pt x="1973" y="826"/>
                      <a:pt x="1974" y="826"/>
                    </a:cubicBezTo>
                    <a:cubicBezTo>
                      <a:pt x="1974" y="826"/>
                      <a:pt x="1974" y="826"/>
                      <a:pt x="1975" y="826"/>
                    </a:cubicBezTo>
                    <a:cubicBezTo>
                      <a:pt x="1975" y="826"/>
                      <a:pt x="1975" y="826"/>
                      <a:pt x="1977" y="826"/>
                    </a:cubicBezTo>
                    <a:cubicBezTo>
                      <a:pt x="1977" y="826"/>
                      <a:pt x="1977" y="826"/>
                      <a:pt x="1978" y="825"/>
                    </a:cubicBezTo>
                    <a:cubicBezTo>
                      <a:pt x="1978" y="825"/>
                      <a:pt x="1978" y="825"/>
                      <a:pt x="1979" y="825"/>
                    </a:cubicBezTo>
                    <a:close/>
                    <a:moveTo>
                      <a:pt x="1957" y="857"/>
                    </a:moveTo>
                    <a:cubicBezTo>
                      <a:pt x="1958" y="857"/>
                      <a:pt x="1958" y="857"/>
                      <a:pt x="1958" y="857"/>
                    </a:cubicBezTo>
                    <a:cubicBezTo>
                      <a:pt x="1959" y="856"/>
                      <a:pt x="1959" y="856"/>
                      <a:pt x="1959" y="856"/>
                    </a:cubicBezTo>
                    <a:cubicBezTo>
                      <a:pt x="1958" y="856"/>
                      <a:pt x="1958" y="856"/>
                      <a:pt x="1958" y="856"/>
                    </a:cubicBezTo>
                    <a:cubicBezTo>
                      <a:pt x="1957" y="856"/>
                      <a:pt x="1957" y="856"/>
                      <a:pt x="1957" y="856"/>
                    </a:cubicBezTo>
                    <a:cubicBezTo>
                      <a:pt x="1957" y="857"/>
                      <a:pt x="1957" y="857"/>
                      <a:pt x="1957" y="857"/>
                    </a:cubicBezTo>
                    <a:close/>
                    <a:moveTo>
                      <a:pt x="1998" y="825"/>
                    </a:moveTo>
                    <a:cubicBezTo>
                      <a:pt x="2000" y="826"/>
                      <a:pt x="2000" y="826"/>
                      <a:pt x="2000" y="826"/>
                    </a:cubicBezTo>
                    <a:cubicBezTo>
                      <a:pt x="2001" y="826"/>
                      <a:pt x="2001" y="826"/>
                      <a:pt x="2001" y="826"/>
                    </a:cubicBezTo>
                    <a:cubicBezTo>
                      <a:pt x="2002" y="825"/>
                      <a:pt x="2002" y="825"/>
                      <a:pt x="2002" y="825"/>
                    </a:cubicBezTo>
                    <a:cubicBezTo>
                      <a:pt x="2001" y="823"/>
                      <a:pt x="2001" y="823"/>
                      <a:pt x="2001" y="823"/>
                    </a:cubicBezTo>
                    <a:cubicBezTo>
                      <a:pt x="1998" y="821"/>
                      <a:pt x="1998" y="821"/>
                      <a:pt x="1998" y="821"/>
                    </a:cubicBezTo>
                    <a:cubicBezTo>
                      <a:pt x="1995" y="821"/>
                      <a:pt x="1995" y="821"/>
                      <a:pt x="1995" y="821"/>
                    </a:cubicBezTo>
                    <a:cubicBezTo>
                      <a:pt x="1994" y="819"/>
                      <a:pt x="1994" y="819"/>
                      <a:pt x="1994" y="819"/>
                    </a:cubicBezTo>
                    <a:cubicBezTo>
                      <a:pt x="1993" y="819"/>
                      <a:pt x="1993" y="819"/>
                      <a:pt x="1993" y="819"/>
                    </a:cubicBezTo>
                    <a:cubicBezTo>
                      <a:pt x="1992" y="820"/>
                      <a:pt x="1992" y="820"/>
                      <a:pt x="1992" y="820"/>
                    </a:cubicBezTo>
                    <a:cubicBezTo>
                      <a:pt x="1990" y="820"/>
                      <a:pt x="1990" y="820"/>
                      <a:pt x="1990" y="820"/>
                    </a:cubicBezTo>
                    <a:cubicBezTo>
                      <a:pt x="1989" y="820"/>
                      <a:pt x="1989" y="820"/>
                      <a:pt x="1989" y="820"/>
                    </a:cubicBezTo>
                    <a:cubicBezTo>
                      <a:pt x="1988" y="820"/>
                      <a:pt x="1988" y="820"/>
                      <a:pt x="1988" y="820"/>
                    </a:cubicBezTo>
                    <a:cubicBezTo>
                      <a:pt x="1985" y="820"/>
                      <a:pt x="1985" y="820"/>
                      <a:pt x="1985" y="820"/>
                    </a:cubicBezTo>
                    <a:cubicBezTo>
                      <a:pt x="1984" y="821"/>
                      <a:pt x="1984" y="821"/>
                      <a:pt x="1984" y="821"/>
                    </a:cubicBezTo>
                    <a:cubicBezTo>
                      <a:pt x="1983" y="822"/>
                      <a:pt x="1983" y="822"/>
                      <a:pt x="1983" y="822"/>
                    </a:cubicBezTo>
                    <a:cubicBezTo>
                      <a:pt x="1983" y="823"/>
                      <a:pt x="1983" y="823"/>
                      <a:pt x="1983" y="823"/>
                    </a:cubicBezTo>
                    <a:cubicBezTo>
                      <a:pt x="1983" y="824"/>
                      <a:pt x="1983" y="824"/>
                      <a:pt x="1983" y="824"/>
                    </a:cubicBezTo>
                    <a:cubicBezTo>
                      <a:pt x="1984" y="824"/>
                      <a:pt x="1984" y="824"/>
                      <a:pt x="1984" y="824"/>
                    </a:cubicBezTo>
                    <a:cubicBezTo>
                      <a:pt x="1985" y="822"/>
                      <a:pt x="1985" y="822"/>
                      <a:pt x="1985" y="822"/>
                    </a:cubicBezTo>
                    <a:cubicBezTo>
                      <a:pt x="1986" y="823"/>
                      <a:pt x="1986" y="823"/>
                      <a:pt x="1986" y="823"/>
                    </a:cubicBezTo>
                    <a:cubicBezTo>
                      <a:pt x="1987" y="824"/>
                      <a:pt x="1987" y="824"/>
                      <a:pt x="1987" y="824"/>
                    </a:cubicBezTo>
                    <a:cubicBezTo>
                      <a:pt x="1988" y="824"/>
                      <a:pt x="1988" y="824"/>
                      <a:pt x="1988" y="824"/>
                    </a:cubicBezTo>
                    <a:cubicBezTo>
                      <a:pt x="1989" y="822"/>
                      <a:pt x="1989" y="822"/>
                      <a:pt x="1989" y="822"/>
                    </a:cubicBezTo>
                    <a:cubicBezTo>
                      <a:pt x="1990" y="822"/>
                      <a:pt x="1990" y="822"/>
                      <a:pt x="1990" y="822"/>
                    </a:cubicBezTo>
                    <a:cubicBezTo>
                      <a:pt x="1990" y="824"/>
                      <a:pt x="1990" y="824"/>
                      <a:pt x="1990" y="824"/>
                    </a:cubicBezTo>
                    <a:cubicBezTo>
                      <a:pt x="1993" y="824"/>
                      <a:pt x="1993" y="824"/>
                      <a:pt x="1993" y="824"/>
                    </a:cubicBezTo>
                    <a:cubicBezTo>
                      <a:pt x="1994" y="823"/>
                      <a:pt x="1994" y="823"/>
                      <a:pt x="1994" y="823"/>
                    </a:cubicBezTo>
                    <a:cubicBezTo>
                      <a:pt x="1995" y="823"/>
                      <a:pt x="1995" y="823"/>
                      <a:pt x="1995" y="823"/>
                    </a:cubicBezTo>
                    <a:cubicBezTo>
                      <a:pt x="1997" y="825"/>
                      <a:pt x="1997" y="825"/>
                      <a:pt x="1997" y="825"/>
                    </a:cubicBezTo>
                    <a:cubicBezTo>
                      <a:pt x="1998" y="825"/>
                      <a:pt x="1998" y="825"/>
                      <a:pt x="1998" y="825"/>
                    </a:cubicBezTo>
                    <a:close/>
                    <a:moveTo>
                      <a:pt x="1979" y="807"/>
                    </a:moveTo>
                    <a:cubicBezTo>
                      <a:pt x="1979" y="807"/>
                      <a:pt x="1979" y="807"/>
                      <a:pt x="1979" y="806"/>
                    </a:cubicBezTo>
                    <a:cubicBezTo>
                      <a:pt x="1979" y="806"/>
                      <a:pt x="1979" y="806"/>
                      <a:pt x="1978" y="807"/>
                    </a:cubicBezTo>
                    <a:cubicBezTo>
                      <a:pt x="1978" y="807"/>
                      <a:pt x="1978" y="807"/>
                      <a:pt x="1979" y="807"/>
                    </a:cubicBezTo>
                    <a:close/>
                    <a:moveTo>
                      <a:pt x="1988" y="825"/>
                    </a:moveTo>
                    <a:cubicBezTo>
                      <a:pt x="1988" y="825"/>
                      <a:pt x="1988" y="825"/>
                      <a:pt x="1988" y="824"/>
                    </a:cubicBezTo>
                    <a:cubicBezTo>
                      <a:pt x="1988" y="824"/>
                      <a:pt x="1988" y="824"/>
                      <a:pt x="1987" y="825"/>
                    </a:cubicBezTo>
                    <a:cubicBezTo>
                      <a:pt x="1987" y="825"/>
                      <a:pt x="1987" y="825"/>
                      <a:pt x="1988" y="825"/>
                    </a:cubicBezTo>
                    <a:close/>
                    <a:moveTo>
                      <a:pt x="1977" y="773"/>
                    </a:moveTo>
                    <a:cubicBezTo>
                      <a:pt x="1977" y="772"/>
                      <a:pt x="1977" y="772"/>
                      <a:pt x="1977" y="772"/>
                    </a:cubicBezTo>
                    <a:cubicBezTo>
                      <a:pt x="1976" y="771"/>
                      <a:pt x="1976" y="771"/>
                      <a:pt x="1976" y="771"/>
                    </a:cubicBezTo>
                    <a:cubicBezTo>
                      <a:pt x="1975" y="772"/>
                      <a:pt x="1975" y="772"/>
                      <a:pt x="1975" y="772"/>
                    </a:cubicBezTo>
                    <a:cubicBezTo>
                      <a:pt x="1976" y="773"/>
                      <a:pt x="1976" y="773"/>
                      <a:pt x="1976" y="773"/>
                    </a:cubicBezTo>
                    <a:cubicBezTo>
                      <a:pt x="1976" y="774"/>
                      <a:pt x="1976" y="774"/>
                      <a:pt x="1976" y="774"/>
                    </a:cubicBezTo>
                    <a:cubicBezTo>
                      <a:pt x="1977" y="773"/>
                      <a:pt x="1977" y="773"/>
                      <a:pt x="1977" y="773"/>
                    </a:cubicBezTo>
                    <a:close/>
                    <a:moveTo>
                      <a:pt x="1942" y="870"/>
                    </a:moveTo>
                    <a:cubicBezTo>
                      <a:pt x="1942" y="870"/>
                      <a:pt x="1942" y="870"/>
                      <a:pt x="1942" y="871"/>
                    </a:cubicBezTo>
                    <a:cubicBezTo>
                      <a:pt x="1942" y="871"/>
                      <a:pt x="1942" y="871"/>
                      <a:pt x="1943" y="871"/>
                    </a:cubicBezTo>
                    <a:cubicBezTo>
                      <a:pt x="1943" y="871"/>
                      <a:pt x="1943" y="871"/>
                      <a:pt x="1944" y="871"/>
                    </a:cubicBezTo>
                    <a:cubicBezTo>
                      <a:pt x="1944" y="871"/>
                      <a:pt x="1944" y="871"/>
                      <a:pt x="1943" y="870"/>
                    </a:cubicBezTo>
                    <a:cubicBezTo>
                      <a:pt x="1943" y="870"/>
                      <a:pt x="1943" y="870"/>
                      <a:pt x="1943" y="869"/>
                    </a:cubicBezTo>
                    <a:cubicBezTo>
                      <a:pt x="1943" y="869"/>
                      <a:pt x="1943" y="869"/>
                      <a:pt x="1942" y="870"/>
                    </a:cubicBezTo>
                    <a:close/>
                    <a:moveTo>
                      <a:pt x="1951" y="857"/>
                    </a:moveTo>
                    <a:cubicBezTo>
                      <a:pt x="1950" y="857"/>
                      <a:pt x="1950" y="857"/>
                      <a:pt x="1950" y="857"/>
                    </a:cubicBezTo>
                    <a:cubicBezTo>
                      <a:pt x="1950" y="858"/>
                      <a:pt x="1950" y="858"/>
                      <a:pt x="1950" y="858"/>
                    </a:cubicBezTo>
                    <a:cubicBezTo>
                      <a:pt x="1951" y="857"/>
                      <a:pt x="1951" y="857"/>
                      <a:pt x="1951" y="857"/>
                    </a:cubicBezTo>
                    <a:close/>
                    <a:moveTo>
                      <a:pt x="1946" y="858"/>
                    </a:moveTo>
                    <a:cubicBezTo>
                      <a:pt x="1946" y="858"/>
                      <a:pt x="1946" y="858"/>
                      <a:pt x="1947" y="858"/>
                    </a:cubicBezTo>
                    <a:cubicBezTo>
                      <a:pt x="1947" y="858"/>
                      <a:pt x="1947" y="858"/>
                      <a:pt x="1949" y="858"/>
                    </a:cubicBezTo>
                    <a:cubicBezTo>
                      <a:pt x="1949" y="858"/>
                      <a:pt x="1949" y="858"/>
                      <a:pt x="1950" y="857"/>
                    </a:cubicBezTo>
                    <a:cubicBezTo>
                      <a:pt x="1950" y="857"/>
                      <a:pt x="1950" y="857"/>
                      <a:pt x="1950" y="856"/>
                    </a:cubicBezTo>
                    <a:cubicBezTo>
                      <a:pt x="1950" y="856"/>
                      <a:pt x="1950" y="856"/>
                      <a:pt x="1951" y="855"/>
                    </a:cubicBezTo>
                    <a:cubicBezTo>
                      <a:pt x="1951" y="855"/>
                      <a:pt x="1951" y="855"/>
                      <a:pt x="1951" y="854"/>
                    </a:cubicBezTo>
                    <a:cubicBezTo>
                      <a:pt x="1951" y="854"/>
                      <a:pt x="1951" y="854"/>
                      <a:pt x="1950" y="853"/>
                    </a:cubicBezTo>
                    <a:cubicBezTo>
                      <a:pt x="1950" y="853"/>
                      <a:pt x="1950" y="853"/>
                      <a:pt x="1949" y="854"/>
                    </a:cubicBezTo>
                    <a:cubicBezTo>
                      <a:pt x="1949" y="854"/>
                      <a:pt x="1949" y="854"/>
                      <a:pt x="1948" y="856"/>
                    </a:cubicBezTo>
                    <a:cubicBezTo>
                      <a:pt x="1948" y="856"/>
                      <a:pt x="1948" y="856"/>
                      <a:pt x="1947" y="856"/>
                    </a:cubicBezTo>
                    <a:cubicBezTo>
                      <a:pt x="1947" y="856"/>
                      <a:pt x="1947" y="856"/>
                      <a:pt x="1946" y="857"/>
                    </a:cubicBezTo>
                    <a:cubicBezTo>
                      <a:pt x="1946" y="857"/>
                      <a:pt x="1946" y="857"/>
                      <a:pt x="1945" y="857"/>
                    </a:cubicBezTo>
                    <a:cubicBezTo>
                      <a:pt x="1945" y="857"/>
                      <a:pt x="1945" y="857"/>
                      <a:pt x="1944" y="856"/>
                    </a:cubicBezTo>
                    <a:cubicBezTo>
                      <a:pt x="1944" y="856"/>
                      <a:pt x="1944" y="856"/>
                      <a:pt x="1942" y="856"/>
                    </a:cubicBezTo>
                    <a:cubicBezTo>
                      <a:pt x="1942" y="856"/>
                      <a:pt x="1942" y="856"/>
                      <a:pt x="1941" y="857"/>
                    </a:cubicBezTo>
                    <a:cubicBezTo>
                      <a:pt x="1941" y="857"/>
                      <a:pt x="1941" y="857"/>
                      <a:pt x="1939" y="856"/>
                    </a:cubicBezTo>
                    <a:cubicBezTo>
                      <a:pt x="1939" y="856"/>
                      <a:pt x="1939" y="856"/>
                      <a:pt x="1938" y="855"/>
                    </a:cubicBezTo>
                    <a:cubicBezTo>
                      <a:pt x="1938" y="855"/>
                      <a:pt x="1938" y="855"/>
                      <a:pt x="1937" y="855"/>
                    </a:cubicBezTo>
                    <a:cubicBezTo>
                      <a:pt x="1937" y="855"/>
                      <a:pt x="1937" y="855"/>
                      <a:pt x="1935" y="855"/>
                    </a:cubicBezTo>
                    <a:cubicBezTo>
                      <a:pt x="1935" y="855"/>
                      <a:pt x="1935" y="855"/>
                      <a:pt x="1932" y="855"/>
                    </a:cubicBezTo>
                    <a:cubicBezTo>
                      <a:pt x="1932" y="855"/>
                      <a:pt x="1932" y="855"/>
                      <a:pt x="1930" y="856"/>
                    </a:cubicBezTo>
                    <a:cubicBezTo>
                      <a:pt x="1930" y="857"/>
                      <a:pt x="1930" y="857"/>
                      <a:pt x="1930" y="857"/>
                    </a:cubicBezTo>
                    <a:cubicBezTo>
                      <a:pt x="1930" y="857"/>
                      <a:pt x="1930" y="857"/>
                      <a:pt x="1930" y="858"/>
                    </a:cubicBezTo>
                    <a:cubicBezTo>
                      <a:pt x="1930" y="859"/>
                      <a:pt x="1930" y="859"/>
                      <a:pt x="1930" y="859"/>
                    </a:cubicBezTo>
                    <a:cubicBezTo>
                      <a:pt x="1930" y="859"/>
                      <a:pt x="1930" y="859"/>
                      <a:pt x="1931" y="859"/>
                    </a:cubicBezTo>
                    <a:cubicBezTo>
                      <a:pt x="1931" y="859"/>
                      <a:pt x="1931" y="859"/>
                      <a:pt x="1932" y="859"/>
                    </a:cubicBezTo>
                    <a:cubicBezTo>
                      <a:pt x="1932" y="859"/>
                      <a:pt x="1932" y="859"/>
                      <a:pt x="1933" y="859"/>
                    </a:cubicBezTo>
                    <a:cubicBezTo>
                      <a:pt x="1933" y="859"/>
                      <a:pt x="1933" y="859"/>
                      <a:pt x="1934" y="859"/>
                    </a:cubicBezTo>
                    <a:cubicBezTo>
                      <a:pt x="1934" y="859"/>
                      <a:pt x="1934" y="859"/>
                      <a:pt x="1935" y="859"/>
                    </a:cubicBezTo>
                    <a:cubicBezTo>
                      <a:pt x="1935" y="859"/>
                      <a:pt x="1935" y="859"/>
                      <a:pt x="1936" y="860"/>
                    </a:cubicBezTo>
                    <a:cubicBezTo>
                      <a:pt x="1936" y="860"/>
                      <a:pt x="1936" y="860"/>
                      <a:pt x="1937" y="859"/>
                    </a:cubicBezTo>
                    <a:cubicBezTo>
                      <a:pt x="1937" y="859"/>
                      <a:pt x="1937" y="859"/>
                      <a:pt x="1938" y="859"/>
                    </a:cubicBezTo>
                    <a:cubicBezTo>
                      <a:pt x="1938" y="859"/>
                      <a:pt x="1938" y="859"/>
                      <a:pt x="1939" y="859"/>
                    </a:cubicBezTo>
                    <a:cubicBezTo>
                      <a:pt x="1939" y="859"/>
                      <a:pt x="1939" y="859"/>
                      <a:pt x="1940" y="859"/>
                    </a:cubicBezTo>
                    <a:cubicBezTo>
                      <a:pt x="1940" y="859"/>
                      <a:pt x="1940" y="859"/>
                      <a:pt x="1942" y="859"/>
                    </a:cubicBezTo>
                    <a:cubicBezTo>
                      <a:pt x="1942" y="859"/>
                      <a:pt x="1942" y="859"/>
                      <a:pt x="1944" y="858"/>
                    </a:cubicBezTo>
                    <a:cubicBezTo>
                      <a:pt x="1944" y="858"/>
                      <a:pt x="1944" y="858"/>
                      <a:pt x="1946" y="858"/>
                    </a:cubicBezTo>
                    <a:close/>
                    <a:moveTo>
                      <a:pt x="1923" y="859"/>
                    </a:moveTo>
                    <a:cubicBezTo>
                      <a:pt x="1925" y="859"/>
                      <a:pt x="1925" y="859"/>
                      <a:pt x="1925" y="859"/>
                    </a:cubicBezTo>
                    <a:cubicBezTo>
                      <a:pt x="1924" y="858"/>
                      <a:pt x="1924" y="858"/>
                      <a:pt x="1924" y="858"/>
                    </a:cubicBezTo>
                    <a:cubicBezTo>
                      <a:pt x="1926" y="858"/>
                      <a:pt x="1926" y="858"/>
                      <a:pt x="1926" y="858"/>
                    </a:cubicBezTo>
                    <a:cubicBezTo>
                      <a:pt x="1925" y="857"/>
                      <a:pt x="1925" y="857"/>
                      <a:pt x="1925" y="857"/>
                    </a:cubicBezTo>
                    <a:cubicBezTo>
                      <a:pt x="1925" y="856"/>
                      <a:pt x="1925" y="856"/>
                      <a:pt x="1925" y="856"/>
                    </a:cubicBezTo>
                    <a:cubicBezTo>
                      <a:pt x="1924" y="855"/>
                      <a:pt x="1924" y="855"/>
                      <a:pt x="1924" y="855"/>
                    </a:cubicBezTo>
                    <a:cubicBezTo>
                      <a:pt x="1922" y="855"/>
                      <a:pt x="1922" y="855"/>
                      <a:pt x="1922" y="855"/>
                    </a:cubicBezTo>
                    <a:cubicBezTo>
                      <a:pt x="1921" y="855"/>
                      <a:pt x="1921" y="855"/>
                      <a:pt x="1921" y="855"/>
                    </a:cubicBezTo>
                    <a:cubicBezTo>
                      <a:pt x="1920" y="854"/>
                      <a:pt x="1920" y="854"/>
                      <a:pt x="1920" y="854"/>
                    </a:cubicBezTo>
                    <a:cubicBezTo>
                      <a:pt x="1919" y="854"/>
                      <a:pt x="1919" y="854"/>
                      <a:pt x="1919" y="854"/>
                    </a:cubicBezTo>
                    <a:cubicBezTo>
                      <a:pt x="1917" y="855"/>
                      <a:pt x="1917" y="855"/>
                      <a:pt x="1917" y="855"/>
                    </a:cubicBezTo>
                    <a:cubicBezTo>
                      <a:pt x="1917" y="856"/>
                      <a:pt x="1917" y="856"/>
                      <a:pt x="1917" y="856"/>
                    </a:cubicBezTo>
                    <a:cubicBezTo>
                      <a:pt x="1920" y="856"/>
                      <a:pt x="1920" y="856"/>
                      <a:pt x="1920" y="856"/>
                    </a:cubicBezTo>
                    <a:cubicBezTo>
                      <a:pt x="1921" y="857"/>
                      <a:pt x="1921" y="857"/>
                      <a:pt x="1921" y="857"/>
                    </a:cubicBezTo>
                    <a:cubicBezTo>
                      <a:pt x="1919" y="858"/>
                      <a:pt x="1919" y="858"/>
                      <a:pt x="1919" y="858"/>
                    </a:cubicBezTo>
                    <a:cubicBezTo>
                      <a:pt x="1918" y="858"/>
                      <a:pt x="1918" y="858"/>
                      <a:pt x="1918" y="858"/>
                    </a:cubicBezTo>
                    <a:cubicBezTo>
                      <a:pt x="1917" y="857"/>
                      <a:pt x="1917" y="857"/>
                      <a:pt x="1917" y="857"/>
                    </a:cubicBezTo>
                    <a:cubicBezTo>
                      <a:pt x="1916" y="856"/>
                      <a:pt x="1916" y="856"/>
                      <a:pt x="1916" y="856"/>
                    </a:cubicBezTo>
                    <a:cubicBezTo>
                      <a:pt x="1915" y="856"/>
                      <a:pt x="1915" y="856"/>
                      <a:pt x="1915" y="856"/>
                    </a:cubicBezTo>
                    <a:cubicBezTo>
                      <a:pt x="1914" y="856"/>
                      <a:pt x="1914" y="856"/>
                      <a:pt x="1914" y="856"/>
                    </a:cubicBezTo>
                    <a:cubicBezTo>
                      <a:pt x="1913" y="856"/>
                      <a:pt x="1913" y="856"/>
                      <a:pt x="1913" y="856"/>
                    </a:cubicBezTo>
                    <a:cubicBezTo>
                      <a:pt x="1912" y="857"/>
                      <a:pt x="1912" y="857"/>
                      <a:pt x="1912" y="857"/>
                    </a:cubicBezTo>
                    <a:cubicBezTo>
                      <a:pt x="1911" y="858"/>
                      <a:pt x="1911" y="858"/>
                      <a:pt x="1911" y="858"/>
                    </a:cubicBezTo>
                    <a:cubicBezTo>
                      <a:pt x="1911" y="859"/>
                      <a:pt x="1911" y="859"/>
                      <a:pt x="1911" y="859"/>
                    </a:cubicBezTo>
                    <a:cubicBezTo>
                      <a:pt x="1911" y="860"/>
                      <a:pt x="1911" y="860"/>
                      <a:pt x="1911" y="860"/>
                    </a:cubicBezTo>
                    <a:cubicBezTo>
                      <a:pt x="1912" y="861"/>
                      <a:pt x="1912" y="861"/>
                      <a:pt x="1912" y="861"/>
                    </a:cubicBezTo>
                    <a:cubicBezTo>
                      <a:pt x="1914" y="860"/>
                      <a:pt x="1914" y="860"/>
                      <a:pt x="1914" y="860"/>
                    </a:cubicBezTo>
                    <a:cubicBezTo>
                      <a:pt x="1915" y="861"/>
                      <a:pt x="1915" y="861"/>
                      <a:pt x="1915" y="861"/>
                    </a:cubicBezTo>
                    <a:cubicBezTo>
                      <a:pt x="1916" y="860"/>
                      <a:pt x="1916" y="860"/>
                      <a:pt x="1916" y="860"/>
                    </a:cubicBezTo>
                    <a:cubicBezTo>
                      <a:pt x="1917" y="859"/>
                      <a:pt x="1917" y="859"/>
                      <a:pt x="1917" y="859"/>
                    </a:cubicBezTo>
                    <a:cubicBezTo>
                      <a:pt x="1918" y="860"/>
                      <a:pt x="1918" y="860"/>
                      <a:pt x="1918" y="860"/>
                    </a:cubicBezTo>
                    <a:cubicBezTo>
                      <a:pt x="1919" y="859"/>
                      <a:pt x="1919" y="859"/>
                      <a:pt x="1919" y="859"/>
                    </a:cubicBezTo>
                    <a:cubicBezTo>
                      <a:pt x="1920" y="859"/>
                      <a:pt x="1920" y="859"/>
                      <a:pt x="1920" y="859"/>
                    </a:cubicBezTo>
                    <a:cubicBezTo>
                      <a:pt x="1922" y="858"/>
                      <a:pt x="1922" y="858"/>
                      <a:pt x="1922" y="858"/>
                    </a:cubicBezTo>
                    <a:cubicBezTo>
                      <a:pt x="1922" y="859"/>
                      <a:pt x="1922" y="859"/>
                      <a:pt x="1922" y="859"/>
                    </a:cubicBezTo>
                    <a:cubicBezTo>
                      <a:pt x="1923" y="859"/>
                      <a:pt x="1923" y="859"/>
                      <a:pt x="1923" y="859"/>
                    </a:cubicBezTo>
                    <a:close/>
                    <a:moveTo>
                      <a:pt x="1977" y="855"/>
                    </a:moveTo>
                    <a:cubicBezTo>
                      <a:pt x="1977" y="855"/>
                      <a:pt x="1977" y="855"/>
                      <a:pt x="1978" y="854"/>
                    </a:cubicBezTo>
                    <a:cubicBezTo>
                      <a:pt x="1978" y="854"/>
                      <a:pt x="1978" y="854"/>
                      <a:pt x="1977" y="854"/>
                    </a:cubicBezTo>
                    <a:cubicBezTo>
                      <a:pt x="1977" y="854"/>
                      <a:pt x="1977" y="854"/>
                      <a:pt x="1977" y="855"/>
                    </a:cubicBezTo>
                    <a:close/>
                    <a:moveTo>
                      <a:pt x="1979" y="804"/>
                    </a:moveTo>
                    <a:cubicBezTo>
                      <a:pt x="1978" y="804"/>
                      <a:pt x="1978" y="804"/>
                      <a:pt x="1978" y="804"/>
                    </a:cubicBezTo>
                    <a:cubicBezTo>
                      <a:pt x="1978" y="805"/>
                      <a:pt x="1978" y="805"/>
                      <a:pt x="1978" y="805"/>
                    </a:cubicBezTo>
                    <a:cubicBezTo>
                      <a:pt x="1979" y="805"/>
                      <a:pt x="1979" y="805"/>
                      <a:pt x="1979" y="805"/>
                    </a:cubicBezTo>
                    <a:cubicBezTo>
                      <a:pt x="1979" y="804"/>
                      <a:pt x="1979" y="804"/>
                      <a:pt x="1979" y="804"/>
                    </a:cubicBezTo>
                    <a:close/>
                    <a:moveTo>
                      <a:pt x="1927" y="858"/>
                    </a:moveTo>
                    <a:cubicBezTo>
                      <a:pt x="1928" y="859"/>
                      <a:pt x="1928" y="859"/>
                      <a:pt x="1928" y="859"/>
                    </a:cubicBezTo>
                    <a:cubicBezTo>
                      <a:pt x="1928" y="857"/>
                      <a:pt x="1928" y="857"/>
                      <a:pt x="1928" y="857"/>
                    </a:cubicBezTo>
                    <a:cubicBezTo>
                      <a:pt x="1929" y="857"/>
                      <a:pt x="1929" y="857"/>
                      <a:pt x="1929" y="857"/>
                    </a:cubicBezTo>
                    <a:cubicBezTo>
                      <a:pt x="1928" y="856"/>
                      <a:pt x="1928" y="856"/>
                      <a:pt x="1928" y="856"/>
                    </a:cubicBezTo>
                    <a:cubicBezTo>
                      <a:pt x="1927" y="858"/>
                      <a:pt x="1927" y="858"/>
                      <a:pt x="1927" y="858"/>
                    </a:cubicBezTo>
                    <a:close/>
                    <a:moveTo>
                      <a:pt x="1929" y="859"/>
                    </a:moveTo>
                    <a:cubicBezTo>
                      <a:pt x="1930" y="858"/>
                      <a:pt x="1930" y="858"/>
                      <a:pt x="1930" y="858"/>
                    </a:cubicBezTo>
                    <a:cubicBezTo>
                      <a:pt x="1929" y="857"/>
                      <a:pt x="1929" y="857"/>
                      <a:pt x="1929" y="857"/>
                    </a:cubicBezTo>
                    <a:cubicBezTo>
                      <a:pt x="1929" y="859"/>
                      <a:pt x="1929" y="859"/>
                      <a:pt x="1929" y="859"/>
                    </a:cubicBezTo>
                    <a:close/>
                    <a:moveTo>
                      <a:pt x="2025" y="842"/>
                    </a:moveTo>
                    <a:cubicBezTo>
                      <a:pt x="2026" y="841"/>
                      <a:pt x="2026" y="841"/>
                      <a:pt x="2026" y="841"/>
                    </a:cubicBezTo>
                    <a:cubicBezTo>
                      <a:pt x="2026" y="840"/>
                      <a:pt x="2026" y="840"/>
                      <a:pt x="2026" y="840"/>
                    </a:cubicBezTo>
                    <a:cubicBezTo>
                      <a:pt x="2025" y="840"/>
                      <a:pt x="2025" y="840"/>
                      <a:pt x="2025" y="840"/>
                    </a:cubicBezTo>
                    <a:cubicBezTo>
                      <a:pt x="2024" y="840"/>
                      <a:pt x="2024" y="840"/>
                      <a:pt x="2024" y="840"/>
                    </a:cubicBezTo>
                    <a:cubicBezTo>
                      <a:pt x="2023" y="841"/>
                      <a:pt x="2023" y="841"/>
                      <a:pt x="2023" y="841"/>
                    </a:cubicBezTo>
                    <a:cubicBezTo>
                      <a:pt x="2025" y="842"/>
                      <a:pt x="2025" y="842"/>
                      <a:pt x="2025" y="842"/>
                    </a:cubicBezTo>
                    <a:close/>
                    <a:moveTo>
                      <a:pt x="1903" y="846"/>
                    </a:moveTo>
                    <a:cubicBezTo>
                      <a:pt x="1902" y="846"/>
                      <a:pt x="1902" y="846"/>
                      <a:pt x="1902" y="846"/>
                    </a:cubicBezTo>
                    <a:cubicBezTo>
                      <a:pt x="1901" y="846"/>
                      <a:pt x="1901" y="846"/>
                      <a:pt x="1901" y="846"/>
                    </a:cubicBezTo>
                    <a:cubicBezTo>
                      <a:pt x="1902" y="847"/>
                      <a:pt x="1902" y="847"/>
                      <a:pt x="1902" y="847"/>
                    </a:cubicBezTo>
                    <a:cubicBezTo>
                      <a:pt x="1903" y="846"/>
                      <a:pt x="1903" y="846"/>
                      <a:pt x="1903" y="846"/>
                    </a:cubicBezTo>
                    <a:close/>
                    <a:moveTo>
                      <a:pt x="1906" y="848"/>
                    </a:moveTo>
                    <a:cubicBezTo>
                      <a:pt x="1906" y="848"/>
                      <a:pt x="1906" y="848"/>
                      <a:pt x="1905" y="848"/>
                    </a:cubicBezTo>
                    <a:cubicBezTo>
                      <a:pt x="1905" y="848"/>
                      <a:pt x="1905" y="848"/>
                      <a:pt x="1905" y="849"/>
                    </a:cubicBezTo>
                    <a:cubicBezTo>
                      <a:pt x="1905" y="849"/>
                      <a:pt x="1905" y="849"/>
                      <a:pt x="1906" y="849"/>
                    </a:cubicBezTo>
                    <a:cubicBezTo>
                      <a:pt x="1906" y="849"/>
                      <a:pt x="1906" y="849"/>
                      <a:pt x="1906" y="848"/>
                    </a:cubicBezTo>
                    <a:close/>
                    <a:moveTo>
                      <a:pt x="1969" y="779"/>
                    </a:moveTo>
                    <a:cubicBezTo>
                      <a:pt x="1969" y="779"/>
                      <a:pt x="1969" y="779"/>
                      <a:pt x="1969" y="778"/>
                    </a:cubicBezTo>
                    <a:cubicBezTo>
                      <a:pt x="1969" y="778"/>
                      <a:pt x="1969" y="778"/>
                      <a:pt x="1967" y="776"/>
                    </a:cubicBezTo>
                    <a:cubicBezTo>
                      <a:pt x="1967" y="776"/>
                      <a:pt x="1967" y="776"/>
                      <a:pt x="1967" y="777"/>
                    </a:cubicBezTo>
                    <a:cubicBezTo>
                      <a:pt x="1967" y="777"/>
                      <a:pt x="1967" y="777"/>
                      <a:pt x="1967" y="779"/>
                    </a:cubicBezTo>
                    <a:cubicBezTo>
                      <a:pt x="1967" y="779"/>
                      <a:pt x="1967" y="779"/>
                      <a:pt x="1969" y="780"/>
                    </a:cubicBezTo>
                    <a:cubicBezTo>
                      <a:pt x="1969" y="780"/>
                      <a:pt x="1969" y="780"/>
                      <a:pt x="1969" y="779"/>
                    </a:cubicBezTo>
                    <a:close/>
                    <a:moveTo>
                      <a:pt x="2026" y="845"/>
                    </a:moveTo>
                    <a:cubicBezTo>
                      <a:pt x="2026" y="844"/>
                      <a:pt x="2026" y="844"/>
                      <a:pt x="2026" y="844"/>
                    </a:cubicBezTo>
                    <a:cubicBezTo>
                      <a:pt x="2025" y="845"/>
                      <a:pt x="2025" y="845"/>
                      <a:pt x="2025" y="845"/>
                    </a:cubicBezTo>
                    <a:cubicBezTo>
                      <a:pt x="2026" y="845"/>
                      <a:pt x="2026" y="845"/>
                      <a:pt x="2026" y="845"/>
                    </a:cubicBezTo>
                    <a:close/>
                    <a:moveTo>
                      <a:pt x="1908" y="828"/>
                    </a:moveTo>
                    <a:cubicBezTo>
                      <a:pt x="1908" y="828"/>
                      <a:pt x="1908" y="828"/>
                      <a:pt x="1909" y="827"/>
                    </a:cubicBezTo>
                    <a:cubicBezTo>
                      <a:pt x="1909" y="827"/>
                      <a:pt x="1909" y="827"/>
                      <a:pt x="1909" y="826"/>
                    </a:cubicBezTo>
                    <a:cubicBezTo>
                      <a:pt x="1909" y="826"/>
                      <a:pt x="1909" y="826"/>
                      <a:pt x="1910" y="826"/>
                    </a:cubicBezTo>
                    <a:cubicBezTo>
                      <a:pt x="1910" y="826"/>
                      <a:pt x="1910" y="826"/>
                      <a:pt x="1910" y="824"/>
                    </a:cubicBezTo>
                    <a:cubicBezTo>
                      <a:pt x="1910" y="824"/>
                      <a:pt x="1910" y="824"/>
                      <a:pt x="1909" y="824"/>
                    </a:cubicBezTo>
                    <a:cubicBezTo>
                      <a:pt x="1909" y="824"/>
                      <a:pt x="1909" y="824"/>
                      <a:pt x="1909" y="823"/>
                    </a:cubicBezTo>
                    <a:cubicBezTo>
                      <a:pt x="1909" y="823"/>
                      <a:pt x="1909" y="823"/>
                      <a:pt x="1908" y="824"/>
                    </a:cubicBezTo>
                    <a:cubicBezTo>
                      <a:pt x="1908" y="824"/>
                      <a:pt x="1908" y="824"/>
                      <a:pt x="1907" y="825"/>
                    </a:cubicBezTo>
                    <a:cubicBezTo>
                      <a:pt x="1907" y="825"/>
                      <a:pt x="1907" y="825"/>
                      <a:pt x="1907" y="827"/>
                    </a:cubicBezTo>
                    <a:cubicBezTo>
                      <a:pt x="1907" y="827"/>
                      <a:pt x="1907" y="827"/>
                      <a:pt x="1908" y="828"/>
                    </a:cubicBezTo>
                    <a:close/>
                    <a:moveTo>
                      <a:pt x="2022" y="838"/>
                    </a:moveTo>
                    <a:cubicBezTo>
                      <a:pt x="2022" y="839"/>
                      <a:pt x="2022" y="839"/>
                      <a:pt x="2022" y="839"/>
                    </a:cubicBezTo>
                    <a:cubicBezTo>
                      <a:pt x="2023" y="839"/>
                      <a:pt x="2023" y="839"/>
                      <a:pt x="2023" y="839"/>
                    </a:cubicBezTo>
                    <a:cubicBezTo>
                      <a:pt x="2023" y="838"/>
                      <a:pt x="2023" y="838"/>
                      <a:pt x="2023" y="838"/>
                    </a:cubicBezTo>
                    <a:cubicBezTo>
                      <a:pt x="2022" y="838"/>
                      <a:pt x="2022" y="838"/>
                      <a:pt x="2022" y="838"/>
                    </a:cubicBezTo>
                    <a:close/>
                    <a:moveTo>
                      <a:pt x="1904" y="846"/>
                    </a:moveTo>
                    <a:cubicBezTo>
                      <a:pt x="1903" y="846"/>
                      <a:pt x="1903" y="846"/>
                      <a:pt x="1903" y="846"/>
                    </a:cubicBezTo>
                    <a:cubicBezTo>
                      <a:pt x="1904" y="847"/>
                      <a:pt x="1904" y="847"/>
                      <a:pt x="1904" y="847"/>
                    </a:cubicBezTo>
                    <a:cubicBezTo>
                      <a:pt x="1904" y="846"/>
                      <a:pt x="1904" y="846"/>
                      <a:pt x="1904" y="846"/>
                    </a:cubicBezTo>
                    <a:close/>
                    <a:moveTo>
                      <a:pt x="1892" y="847"/>
                    </a:moveTo>
                    <a:cubicBezTo>
                      <a:pt x="1891" y="846"/>
                      <a:pt x="1891" y="846"/>
                      <a:pt x="1891" y="846"/>
                    </a:cubicBezTo>
                    <a:cubicBezTo>
                      <a:pt x="1888" y="846"/>
                      <a:pt x="1888" y="846"/>
                      <a:pt x="1888" y="846"/>
                    </a:cubicBezTo>
                    <a:cubicBezTo>
                      <a:pt x="1887" y="846"/>
                      <a:pt x="1887" y="846"/>
                      <a:pt x="1887" y="846"/>
                    </a:cubicBezTo>
                    <a:cubicBezTo>
                      <a:pt x="1887" y="847"/>
                      <a:pt x="1887" y="847"/>
                      <a:pt x="1887" y="847"/>
                    </a:cubicBezTo>
                    <a:cubicBezTo>
                      <a:pt x="1888" y="848"/>
                      <a:pt x="1888" y="848"/>
                      <a:pt x="1888" y="848"/>
                    </a:cubicBezTo>
                    <a:cubicBezTo>
                      <a:pt x="1889" y="848"/>
                      <a:pt x="1889" y="848"/>
                      <a:pt x="1889" y="848"/>
                    </a:cubicBezTo>
                    <a:cubicBezTo>
                      <a:pt x="1890" y="848"/>
                      <a:pt x="1890" y="848"/>
                      <a:pt x="1890" y="848"/>
                    </a:cubicBezTo>
                    <a:cubicBezTo>
                      <a:pt x="1892" y="848"/>
                      <a:pt x="1892" y="848"/>
                      <a:pt x="1892" y="848"/>
                    </a:cubicBezTo>
                    <a:cubicBezTo>
                      <a:pt x="1893" y="848"/>
                      <a:pt x="1893" y="848"/>
                      <a:pt x="1893" y="848"/>
                    </a:cubicBezTo>
                    <a:cubicBezTo>
                      <a:pt x="1894" y="847"/>
                      <a:pt x="1894" y="847"/>
                      <a:pt x="1894" y="847"/>
                    </a:cubicBezTo>
                    <a:cubicBezTo>
                      <a:pt x="1895" y="847"/>
                      <a:pt x="1895" y="847"/>
                      <a:pt x="1895" y="847"/>
                    </a:cubicBezTo>
                    <a:cubicBezTo>
                      <a:pt x="1894" y="846"/>
                      <a:pt x="1894" y="846"/>
                      <a:pt x="1894" y="846"/>
                    </a:cubicBezTo>
                    <a:cubicBezTo>
                      <a:pt x="1892" y="847"/>
                      <a:pt x="1892" y="847"/>
                      <a:pt x="1892" y="847"/>
                    </a:cubicBezTo>
                    <a:close/>
                    <a:moveTo>
                      <a:pt x="1969" y="852"/>
                    </a:moveTo>
                    <a:cubicBezTo>
                      <a:pt x="1969" y="853"/>
                      <a:pt x="1969" y="853"/>
                      <a:pt x="1969" y="853"/>
                    </a:cubicBezTo>
                    <a:cubicBezTo>
                      <a:pt x="1970" y="852"/>
                      <a:pt x="1970" y="852"/>
                      <a:pt x="1970" y="852"/>
                    </a:cubicBezTo>
                    <a:cubicBezTo>
                      <a:pt x="1972" y="852"/>
                      <a:pt x="1972" y="852"/>
                      <a:pt x="1972" y="852"/>
                    </a:cubicBezTo>
                    <a:cubicBezTo>
                      <a:pt x="1973" y="853"/>
                      <a:pt x="1973" y="853"/>
                      <a:pt x="1973" y="853"/>
                    </a:cubicBezTo>
                    <a:cubicBezTo>
                      <a:pt x="1973" y="852"/>
                      <a:pt x="1973" y="852"/>
                      <a:pt x="1973" y="852"/>
                    </a:cubicBezTo>
                    <a:cubicBezTo>
                      <a:pt x="1974" y="852"/>
                      <a:pt x="1974" y="852"/>
                      <a:pt x="1974" y="852"/>
                    </a:cubicBezTo>
                    <a:cubicBezTo>
                      <a:pt x="1975" y="851"/>
                      <a:pt x="1975" y="851"/>
                      <a:pt x="1975" y="851"/>
                    </a:cubicBezTo>
                    <a:cubicBezTo>
                      <a:pt x="1974" y="850"/>
                      <a:pt x="1974" y="850"/>
                      <a:pt x="1974" y="850"/>
                    </a:cubicBezTo>
                    <a:cubicBezTo>
                      <a:pt x="1973" y="851"/>
                      <a:pt x="1973" y="851"/>
                      <a:pt x="1973" y="851"/>
                    </a:cubicBezTo>
                    <a:cubicBezTo>
                      <a:pt x="1971" y="851"/>
                      <a:pt x="1971" y="851"/>
                      <a:pt x="1971" y="851"/>
                    </a:cubicBezTo>
                    <a:cubicBezTo>
                      <a:pt x="1970" y="850"/>
                      <a:pt x="1970" y="850"/>
                      <a:pt x="1970" y="850"/>
                    </a:cubicBezTo>
                    <a:cubicBezTo>
                      <a:pt x="1969" y="851"/>
                      <a:pt x="1969" y="851"/>
                      <a:pt x="1969" y="851"/>
                    </a:cubicBezTo>
                    <a:cubicBezTo>
                      <a:pt x="1969" y="852"/>
                      <a:pt x="1969" y="852"/>
                      <a:pt x="1969" y="852"/>
                    </a:cubicBezTo>
                    <a:close/>
                    <a:moveTo>
                      <a:pt x="1904" y="858"/>
                    </a:moveTo>
                    <a:cubicBezTo>
                      <a:pt x="1904" y="858"/>
                      <a:pt x="1904" y="858"/>
                      <a:pt x="1904" y="857"/>
                    </a:cubicBezTo>
                    <a:cubicBezTo>
                      <a:pt x="1904" y="857"/>
                      <a:pt x="1904" y="857"/>
                      <a:pt x="1903" y="858"/>
                    </a:cubicBezTo>
                    <a:cubicBezTo>
                      <a:pt x="1903" y="858"/>
                      <a:pt x="1903" y="858"/>
                      <a:pt x="1904" y="858"/>
                    </a:cubicBezTo>
                    <a:close/>
                    <a:moveTo>
                      <a:pt x="2025" y="844"/>
                    </a:moveTo>
                    <a:cubicBezTo>
                      <a:pt x="2025" y="843"/>
                      <a:pt x="2025" y="843"/>
                      <a:pt x="2025" y="843"/>
                    </a:cubicBezTo>
                    <a:cubicBezTo>
                      <a:pt x="2024" y="842"/>
                      <a:pt x="2024" y="842"/>
                      <a:pt x="2024" y="842"/>
                    </a:cubicBezTo>
                    <a:cubicBezTo>
                      <a:pt x="2024" y="843"/>
                      <a:pt x="2024" y="843"/>
                      <a:pt x="2024" y="843"/>
                    </a:cubicBezTo>
                    <a:cubicBezTo>
                      <a:pt x="2025" y="844"/>
                      <a:pt x="2025" y="844"/>
                      <a:pt x="2025" y="844"/>
                    </a:cubicBezTo>
                    <a:close/>
                    <a:moveTo>
                      <a:pt x="1863" y="812"/>
                    </a:moveTo>
                    <a:cubicBezTo>
                      <a:pt x="1863" y="813"/>
                      <a:pt x="1863" y="813"/>
                      <a:pt x="1863" y="813"/>
                    </a:cubicBezTo>
                    <a:cubicBezTo>
                      <a:pt x="1864" y="813"/>
                      <a:pt x="1864" y="813"/>
                      <a:pt x="1864" y="813"/>
                    </a:cubicBezTo>
                    <a:cubicBezTo>
                      <a:pt x="1865" y="813"/>
                      <a:pt x="1865" y="813"/>
                      <a:pt x="1865" y="813"/>
                    </a:cubicBezTo>
                    <a:cubicBezTo>
                      <a:pt x="1864" y="812"/>
                      <a:pt x="1864" y="812"/>
                      <a:pt x="1864" y="812"/>
                    </a:cubicBezTo>
                    <a:cubicBezTo>
                      <a:pt x="1863" y="812"/>
                      <a:pt x="1863" y="812"/>
                      <a:pt x="1863" y="812"/>
                    </a:cubicBezTo>
                    <a:close/>
                    <a:moveTo>
                      <a:pt x="1868" y="807"/>
                    </a:moveTo>
                    <a:cubicBezTo>
                      <a:pt x="1868" y="807"/>
                      <a:pt x="1868" y="807"/>
                      <a:pt x="1866" y="807"/>
                    </a:cubicBezTo>
                    <a:cubicBezTo>
                      <a:pt x="1866" y="807"/>
                      <a:pt x="1866" y="807"/>
                      <a:pt x="1867" y="808"/>
                    </a:cubicBezTo>
                    <a:cubicBezTo>
                      <a:pt x="1867" y="808"/>
                      <a:pt x="1867" y="808"/>
                      <a:pt x="1868" y="808"/>
                    </a:cubicBezTo>
                    <a:cubicBezTo>
                      <a:pt x="1868" y="808"/>
                      <a:pt x="1868" y="808"/>
                      <a:pt x="1868" y="807"/>
                    </a:cubicBezTo>
                    <a:close/>
                    <a:moveTo>
                      <a:pt x="1869" y="811"/>
                    </a:moveTo>
                    <a:cubicBezTo>
                      <a:pt x="1869" y="811"/>
                      <a:pt x="1869" y="811"/>
                      <a:pt x="1870" y="809"/>
                    </a:cubicBezTo>
                    <a:cubicBezTo>
                      <a:pt x="1870" y="809"/>
                      <a:pt x="1870" y="809"/>
                      <a:pt x="1869" y="809"/>
                    </a:cubicBezTo>
                    <a:cubicBezTo>
                      <a:pt x="1869" y="809"/>
                      <a:pt x="1869" y="809"/>
                      <a:pt x="1868" y="809"/>
                    </a:cubicBezTo>
                    <a:cubicBezTo>
                      <a:pt x="1868" y="809"/>
                      <a:pt x="1868" y="809"/>
                      <a:pt x="1867" y="810"/>
                    </a:cubicBezTo>
                    <a:cubicBezTo>
                      <a:pt x="1867" y="810"/>
                      <a:pt x="1867" y="810"/>
                      <a:pt x="1868" y="811"/>
                    </a:cubicBezTo>
                    <a:cubicBezTo>
                      <a:pt x="1868" y="811"/>
                      <a:pt x="1868" y="811"/>
                      <a:pt x="1869" y="811"/>
                    </a:cubicBezTo>
                    <a:close/>
                    <a:moveTo>
                      <a:pt x="1962" y="798"/>
                    </a:moveTo>
                    <a:cubicBezTo>
                      <a:pt x="1963" y="796"/>
                      <a:pt x="1963" y="796"/>
                      <a:pt x="1963" y="796"/>
                    </a:cubicBezTo>
                    <a:cubicBezTo>
                      <a:pt x="1964" y="796"/>
                      <a:pt x="1964" y="796"/>
                      <a:pt x="1964" y="796"/>
                    </a:cubicBezTo>
                    <a:cubicBezTo>
                      <a:pt x="1965" y="795"/>
                      <a:pt x="1965" y="795"/>
                      <a:pt x="1965" y="795"/>
                    </a:cubicBezTo>
                    <a:cubicBezTo>
                      <a:pt x="1965" y="794"/>
                      <a:pt x="1965" y="794"/>
                      <a:pt x="1965" y="794"/>
                    </a:cubicBezTo>
                    <a:cubicBezTo>
                      <a:pt x="1966" y="793"/>
                      <a:pt x="1966" y="793"/>
                      <a:pt x="1966" y="793"/>
                    </a:cubicBezTo>
                    <a:cubicBezTo>
                      <a:pt x="1967" y="793"/>
                      <a:pt x="1967" y="793"/>
                      <a:pt x="1967" y="793"/>
                    </a:cubicBezTo>
                    <a:cubicBezTo>
                      <a:pt x="1966" y="792"/>
                      <a:pt x="1966" y="792"/>
                      <a:pt x="1966" y="792"/>
                    </a:cubicBezTo>
                    <a:cubicBezTo>
                      <a:pt x="1966" y="791"/>
                      <a:pt x="1966" y="791"/>
                      <a:pt x="1966" y="791"/>
                    </a:cubicBezTo>
                    <a:cubicBezTo>
                      <a:pt x="1964" y="791"/>
                      <a:pt x="1964" y="791"/>
                      <a:pt x="1964" y="791"/>
                    </a:cubicBezTo>
                    <a:cubicBezTo>
                      <a:pt x="1963" y="791"/>
                      <a:pt x="1963" y="791"/>
                      <a:pt x="1963" y="791"/>
                    </a:cubicBezTo>
                    <a:cubicBezTo>
                      <a:pt x="1963" y="792"/>
                      <a:pt x="1963" y="792"/>
                      <a:pt x="1963" y="792"/>
                    </a:cubicBezTo>
                    <a:cubicBezTo>
                      <a:pt x="1962" y="793"/>
                      <a:pt x="1962" y="793"/>
                      <a:pt x="1962" y="793"/>
                    </a:cubicBezTo>
                    <a:cubicBezTo>
                      <a:pt x="1962" y="794"/>
                      <a:pt x="1962" y="794"/>
                      <a:pt x="1962" y="794"/>
                    </a:cubicBezTo>
                    <a:cubicBezTo>
                      <a:pt x="1960" y="795"/>
                      <a:pt x="1960" y="795"/>
                      <a:pt x="1960" y="795"/>
                    </a:cubicBezTo>
                    <a:cubicBezTo>
                      <a:pt x="1959" y="795"/>
                      <a:pt x="1959" y="795"/>
                      <a:pt x="1959" y="795"/>
                    </a:cubicBezTo>
                    <a:cubicBezTo>
                      <a:pt x="1959" y="796"/>
                      <a:pt x="1959" y="796"/>
                      <a:pt x="1959" y="796"/>
                    </a:cubicBezTo>
                    <a:cubicBezTo>
                      <a:pt x="1957" y="796"/>
                      <a:pt x="1957" y="796"/>
                      <a:pt x="1957" y="796"/>
                    </a:cubicBezTo>
                    <a:cubicBezTo>
                      <a:pt x="1954" y="796"/>
                      <a:pt x="1954" y="796"/>
                      <a:pt x="1954" y="796"/>
                    </a:cubicBezTo>
                    <a:cubicBezTo>
                      <a:pt x="1952" y="795"/>
                      <a:pt x="1952" y="795"/>
                      <a:pt x="1952" y="795"/>
                    </a:cubicBezTo>
                    <a:cubicBezTo>
                      <a:pt x="1951" y="796"/>
                      <a:pt x="1951" y="796"/>
                      <a:pt x="1951" y="796"/>
                    </a:cubicBezTo>
                    <a:cubicBezTo>
                      <a:pt x="1949" y="795"/>
                      <a:pt x="1949" y="795"/>
                      <a:pt x="1949" y="795"/>
                    </a:cubicBezTo>
                    <a:cubicBezTo>
                      <a:pt x="1948" y="795"/>
                      <a:pt x="1948" y="795"/>
                      <a:pt x="1948" y="795"/>
                    </a:cubicBezTo>
                    <a:cubicBezTo>
                      <a:pt x="1947" y="795"/>
                      <a:pt x="1947" y="795"/>
                      <a:pt x="1947" y="795"/>
                    </a:cubicBezTo>
                    <a:cubicBezTo>
                      <a:pt x="1946" y="795"/>
                      <a:pt x="1946" y="795"/>
                      <a:pt x="1946" y="795"/>
                    </a:cubicBezTo>
                    <a:cubicBezTo>
                      <a:pt x="1945" y="794"/>
                      <a:pt x="1945" y="794"/>
                      <a:pt x="1945" y="794"/>
                    </a:cubicBezTo>
                    <a:cubicBezTo>
                      <a:pt x="1944" y="795"/>
                      <a:pt x="1944" y="795"/>
                      <a:pt x="1944" y="795"/>
                    </a:cubicBezTo>
                    <a:cubicBezTo>
                      <a:pt x="1943" y="794"/>
                      <a:pt x="1943" y="794"/>
                      <a:pt x="1943" y="794"/>
                    </a:cubicBezTo>
                    <a:cubicBezTo>
                      <a:pt x="1942" y="793"/>
                      <a:pt x="1942" y="793"/>
                      <a:pt x="1942" y="793"/>
                    </a:cubicBezTo>
                    <a:cubicBezTo>
                      <a:pt x="1940" y="793"/>
                      <a:pt x="1940" y="793"/>
                      <a:pt x="1940" y="793"/>
                    </a:cubicBezTo>
                    <a:cubicBezTo>
                      <a:pt x="1939" y="793"/>
                      <a:pt x="1939" y="793"/>
                      <a:pt x="1939" y="793"/>
                    </a:cubicBezTo>
                    <a:cubicBezTo>
                      <a:pt x="1939" y="794"/>
                      <a:pt x="1939" y="794"/>
                      <a:pt x="1939" y="794"/>
                    </a:cubicBezTo>
                    <a:cubicBezTo>
                      <a:pt x="1938" y="795"/>
                      <a:pt x="1938" y="795"/>
                      <a:pt x="1938" y="795"/>
                    </a:cubicBezTo>
                    <a:cubicBezTo>
                      <a:pt x="1937" y="796"/>
                      <a:pt x="1937" y="796"/>
                      <a:pt x="1937" y="796"/>
                    </a:cubicBezTo>
                    <a:cubicBezTo>
                      <a:pt x="1936" y="797"/>
                      <a:pt x="1936" y="797"/>
                      <a:pt x="1936" y="797"/>
                    </a:cubicBezTo>
                    <a:cubicBezTo>
                      <a:pt x="1935" y="796"/>
                      <a:pt x="1935" y="796"/>
                      <a:pt x="1935" y="796"/>
                    </a:cubicBezTo>
                    <a:cubicBezTo>
                      <a:pt x="1933" y="797"/>
                      <a:pt x="1933" y="797"/>
                      <a:pt x="1933" y="797"/>
                    </a:cubicBezTo>
                    <a:cubicBezTo>
                      <a:pt x="1933" y="798"/>
                      <a:pt x="1933" y="798"/>
                      <a:pt x="1933" y="798"/>
                    </a:cubicBezTo>
                    <a:cubicBezTo>
                      <a:pt x="1931" y="799"/>
                      <a:pt x="1931" y="799"/>
                      <a:pt x="1931" y="799"/>
                    </a:cubicBezTo>
                    <a:cubicBezTo>
                      <a:pt x="1931" y="801"/>
                      <a:pt x="1931" y="801"/>
                      <a:pt x="1931" y="801"/>
                    </a:cubicBezTo>
                    <a:cubicBezTo>
                      <a:pt x="1931" y="802"/>
                      <a:pt x="1931" y="802"/>
                      <a:pt x="1931" y="802"/>
                    </a:cubicBezTo>
                    <a:cubicBezTo>
                      <a:pt x="1931" y="804"/>
                      <a:pt x="1931" y="804"/>
                      <a:pt x="1931" y="804"/>
                    </a:cubicBezTo>
                    <a:cubicBezTo>
                      <a:pt x="1931" y="805"/>
                      <a:pt x="1931" y="805"/>
                      <a:pt x="1931" y="805"/>
                    </a:cubicBezTo>
                    <a:cubicBezTo>
                      <a:pt x="1932" y="806"/>
                      <a:pt x="1932" y="806"/>
                      <a:pt x="1932" y="806"/>
                    </a:cubicBezTo>
                    <a:cubicBezTo>
                      <a:pt x="1932" y="808"/>
                      <a:pt x="1932" y="808"/>
                      <a:pt x="1932" y="808"/>
                    </a:cubicBezTo>
                    <a:cubicBezTo>
                      <a:pt x="1931" y="807"/>
                      <a:pt x="1931" y="807"/>
                      <a:pt x="1931" y="807"/>
                    </a:cubicBezTo>
                    <a:cubicBezTo>
                      <a:pt x="1931" y="806"/>
                      <a:pt x="1931" y="806"/>
                      <a:pt x="1931" y="806"/>
                    </a:cubicBezTo>
                    <a:cubicBezTo>
                      <a:pt x="1930" y="806"/>
                      <a:pt x="1930" y="806"/>
                      <a:pt x="1930" y="806"/>
                    </a:cubicBezTo>
                    <a:cubicBezTo>
                      <a:pt x="1929" y="807"/>
                      <a:pt x="1929" y="807"/>
                      <a:pt x="1929" y="807"/>
                    </a:cubicBezTo>
                    <a:cubicBezTo>
                      <a:pt x="1928" y="808"/>
                      <a:pt x="1928" y="808"/>
                      <a:pt x="1928" y="808"/>
                    </a:cubicBezTo>
                    <a:cubicBezTo>
                      <a:pt x="1928" y="809"/>
                      <a:pt x="1928" y="809"/>
                      <a:pt x="1928" y="809"/>
                    </a:cubicBezTo>
                    <a:cubicBezTo>
                      <a:pt x="1928" y="810"/>
                      <a:pt x="1928" y="810"/>
                      <a:pt x="1928" y="810"/>
                    </a:cubicBezTo>
                    <a:cubicBezTo>
                      <a:pt x="1928" y="811"/>
                      <a:pt x="1928" y="811"/>
                      <a:pt x="1928" y="811"/>
                    </a:cubicBezTo>
                    <a:cubicBezTo>
                      <a:pt x="1928" y="814"/>
                      <a:pt x="1928" y="814"/>
                      <a:pt x="1928" y="814"/>
                    </a:cubicBezTo>
                    <a:cubicBezTo>
                      <a:pt x="1928" y="815"/>
                      <a:pt x="1928" y="815"/>
                      <a:pt x="1928" y="815"/>
                    </a:cubicBezTo>
                    <a:cubicBezTo>
                      <a:pt x="1928" y="816"/>
                      <a:pt x="1928" y="816"/>
                      <a:pt x="1928" y="816"/>
                    </a:cubicBezTo>
                    <a:cubicBezTo>
                      <a:pt x="1927" y="816"/>
                      <a:pt x="1927" y="816"/>
                      <a:pt x="1927" y="816"/>
                    </a:cubicBezTo>
                    <a:cubicBezTo>
                      <a:pt x="1927" y="818"/>
                      <a:pt x="1927" y="818"/>
                      <a:pt x="1927" y="818"/>
                    </a:cubicBezTo>
                    <a:cubicBezTo>
                      <a:pt x="1925" y="819"/>
                      <a:pt x="1925" y="819"/>
                      <a:pt x="1925" y="819"/>
                    </a:cubicBezTo>
                    <a:cubicBezTo>
                      <a:pt x="1925" y="820"/>
                      <a:pt x="1925" y="820"/>
                      <a:pt x="1925" y="820"/>
                    </a:cubicBezTo>
                    <a:cubicBezTo>
                      <a:pt x="1925" y="821"/>
                      <a:pt x="1925" y="821"/>
                      <a:pt x="1925" y="821"/>
                    </a:cubicBezTo>
                    <a:cubicBezTo>
                      <a:pt x="1925" y="822"/>
                      <a:pt x="1925" y="822"/>
                      <a:pt x="1925" y="822"/>
                    </a:cubicBezTo>
                    <a:cubicBezTo>
                      <a:pt x="1925" y="824"/>
                      <a:pt x="1925" y="824"/>
                      <a:pt x="1925" y="824"/>
                    </a:cubicBezTo>
                    <a:cubicBezTo>
                      <a:pt x="1926" y="825"/>
                      <a:pt x="1926" y="825"/>
                      <a:pt x="1926" y="825"/>
                    </a:cubicBezTo>
                    <a:cubicBezTo>
                      <a:pt x="1927" y="824"/>
                      <a:pt x="1927" y="824"/>
                      <a:pt x="1927" y="824"/>
                    </a:cubicBezTo>
                    <a:cubicBezTo>
                      <a:pt x="1928" y="824"/>
                      <a:pt x="1928" y="824"/>
                      <a:pt x="1928" y="824"/>
                    </a:cubicBezTo>
                    <a:cubicBezTo>
                      <a:pt x="1929" y="824"/>
                      <a:pt x="1929" y="824"/>
                      <a:pt x="1929" y="824"/>
                    </a:cubicBezTo>
                    <a:cubicBezTo>
                      <a:pt x="1929" y="826"/>
                      <a:pt x="1929" y="826"/>
                      <a:pt x="1929" y="826"/>
                    </a:cubicBezTo>
                    <a:cubicBezTo>
                      <a:pt x="1930" y="829"/>
                      <a:pt x="1930" y="829"/>
                      <a:pt x="1930" y="829"/>
                    </a:cubicBezTo>
                    <a:cubicBezTo>
                      <a:pt x="1929" y="831"/>
                      <a:pt x="1929" y="831"/>
                      <a:pt x="1929" y="831"/>
                    </a:cubicBezTo>
                    <a:cubicBezTo>
                      <a:pt x="1929" y="832"/>
                      <a:pt x="1929" y="832"/>
                      <a:pt x="1929" y="832"/>
                    </a:cubicBezTo>
                    <a:cubicBezTo>
                      <a:pt x="1928" y="835"/>
                      <a:pt x="1928" y="835"/>
                      <a:pt x="1928" y="835"/>
                    </a:cubicBezTo>
                    <a:cubicBezTo>
                      <a:pt x="1929" y="837"/>
                      <a:pt x="1929" y="837"/>
                      <a:pt x="1929" y="837"/>
                    </a:cubicBezTo>
                    <a:cubicBezTo>
                      <a:pt x="1930" y="838"/>
                      <a:pt x="1930" y="838"/>
                      <a:pt x="1930" y="838"/>
                    </a:cubicBezTo>
                    <a:cubicBezTo>
                      <a:pt x="1931" y="838"/>
                      <a:pt x="1931" y="838"/>
                      <a:pt x="1931" y="838"/>
                    </a:cubicBezTo>
                    <a:cubicBezTo>
                      <a:pt x="1932" y="837"/>
                      <a:pt x="1932" y="837"/>
                      <a:pt x="1932" y="837"/>
                    </a:cubicBezTo>
                    <a:cubicBezTo>
                      <a:pt x="1933" y="837"/>
                      <a:pt x="1933" y="837"/>
                      <a:pt x="1933" y="837"/>
                    </a:cubicBezTo>
                    <a:cubicBezTo>
                      <a:pt x="1934" y="837"/>
                      <a:pt x="1934" y="837"/>
                      <a:pt x="1934" y="837"/>
                    </a:cubicBezTo>
                    <a:cubicBezTo>
                      <a:pt x="1935" y="838"/>
                      <a:pt x="1935" y="838"/>
                      <a:pt x="1935" y="838"/>
                    </a:cubicBezTo>
                    <a:cubicBezTo>
                      <a:pt x="1935" y="837"/>
                      <a:pt x="1935" y="837"/>
                      <a:pt x="1935" y="837"/>
                    </a:cubicBezTo>
                    <a:cubicBezTo>
                      <a:pt x="1935" y="836"/>
                      <a:pt x="1935" y="836"/>
                      <a:pt x="1935" y="836"/>
                    </a:cubicBezTo>
                    <a:cubicBezTo>
                      <a:pt x="1934" y="835"/>
                      <a:pt x="1934" y="835"/>
                      <a:pt x="1934" y="835"/>
                    </a:cubicBezTo>
                    <a:cubicBezTo>
                      <a:pt x="1934" y="833"/>
                      <a:pt x="1934" y="833"/>
                      <a:pt x="1934" y="833"/>
                    </a:cubicBezTo>
                    <a:cubicBezTo>
                      <a:pt x="1935" y="832"/>
                      <a:pt x="1935" y="832"/>
                      <a:pt x="1935" y="832"/>
                    </a:cubicBezTo>
                    <a:cubicBezTo>
                      <a:pt x="1935" y="830"/>
                      <a:pt x="1935" y="830"/>
                      <a:pt x="1935" y="830"/>
                    </a:cubicBezTo>
                    <a:cubicBezTo>
                      <a:pt x="1935" y="828"/>
                      <a:pt x="1935" y="828"/>
                      <a:pt x="1935" y="828"/>
                    </a:cubicBezTo>
                    <a:cubicBezTo>
                      <a:pt x="1934" y="828"/>
                      <a:pt x="1934" y="828"/>
                      <a:pt x="1934" y="828"/>
                    </a:cubicBezTo>
                    <a:cubicBezTo>
                      <a:pt x="1936" y="826"/>
                      <a:pt x="1936" y="826"/>
                      <a:pt x="1936" y="826"/>
                    </a:cubicBezTo>
                    <a:cubicBezTo>
                      <a:pt x="1936" y="824"/>
                      <a:pt x="1936" y="824"/>
                      <a:pt x="1936" y="824"/>
                    </a:cubicBezTo>
                    <a:cubicBezTo>
                      <a:pt x="1936" y="822"/>
                      <a:pt x="1936" y="822"/>
                      <a:pt x="1936" y="822"/>
                    </a:cubicBezTo>
                    <a:cubicBezTo>
                      <a:pt x="1935" y="821"/>
                      <a:pt x="1935" y="821"/>
                      <a:pt x="1935" y="821"/>
                    </a:cubicBezTo>
                    <a:cubicBezTo>
                      <a:pt x="1936" y="820"/>
                      <a:pt x="1936" y="820"/>
                      <a:pt x="1936" y="820"/>
                    </a:cubicBezTo>
                    <a:cubicBezTo>
                      <a:pt x="1937" y="819"/>
                      <a:pt x="1937" y="819"/>
                      <a:pt x="1937" y="819"/>
                    </a:cubicBezTo>
                    <a:cubicBezTo>
                      <a:pt x="1938" y="819"/>
                      <a:pt x="1938" y="819"/>
                      <a:pt x="1938" y="819"/>
                    </a:cubicBezTo>
                    <a:cubicBezTo>
                      <a:pt x="1939" y="819"/>
                      <a:pt x="1939" y="819"/>
                      <a:pt x="1939" y="819"/>
                    </a:cubicBezTo>
                    <a:cubicBezTo>
                      <a:pt x="1939" y="820"/>
                      <a:pt x="1939" y="820"/>
                      <a:pt x="1939" y="820"/>
                    </a:cubicBezTo>
                    <a:cubicBezTo>
                      <a:pt x="1940" y="821"/>
                      <a:pt x="1940" y="821"/>
                      <a:pt x="1940" y="821"/>
                    </a:cubicBezTo>
                    <a:cubicBezTo>
                      <a:pt x="1940" y="822"/>
                      <a:pt x="1940" y="822"/>
                      <a:pt x="1940" y="822"/>
                    </a:cubicBezTo>
                    <a:cubicBezTo>
                      <a:pt x="1939" y="823"/>
                      <a:pt x="1939" y="823"/>
                      <a:pt x="1939" y="823"/>
                    </a:cubicBezTo>
                    <a:cubicBezTo>
                      <a:pt x="1938" y="825"/>
                      <a:pt x="1938" y="825"/>
                      <a:pt x="1938" y="825"/>
                    </a:cubicBezTo>
                    <a:cubicBezTo>
                      <a:pt x="1939" y="826"/>
                      <a:pt x="1939" y="826"/>
                      <a:pt x="1939" y="826"/>
                    </a:cubicBezTo>
                    <a:cubicBezTo>
                      <a:pt x="1940" y="826"/>
                      <a:pt x="1940" y="826"/>
                      <a:pt x="1940" y="826"/>
                    </a:cubicBezTo>
                    <a:cubicBezTo>
                      <a:pt x="1941" y="827"/>
                      <a:pt x="1941" y="827"/>
                      <a:pt x="1941" y="827"/>
                    </a:cubicBezTo>
                    <a:cubicBezTo>
                      <a:pt x="1942" y="828"/>
                      <a:pt x="1942" y="828"/>
                      <a:pt x="1942" y="828"/>
                    </a:cubicBezTo>
                    <a:cubicBezTo>
                      <a:pt x="1942" y="829"/>
                      <a:pt x="1942" y="829"/>
                      <a:pt x="1942" y="829"/>
                    </a:cubicBezTo>
                    <a:cubicBezTo>
                      <a:pt x="1942" y="831"/>
                      <a:pt x="1942" y="831"/>
                      <a:pt x="1942" y="831"/>
                    </a:cubicBezTo>
                    <a:cubicBezTo>
                      <a:pt x="1942" y="832"/>
                      <a:pt x="1942" y="832"/>
                      <a:pt x="1942" y="832"/>
                    </a:cubicBezTo>
                    <a:cubicBezTo>
                      <a:pt x="1943" y="833"/>
                      <a:pt x="1943" y="833"/>
                      <a:pt x="1943" y="833"/>
                    </a:cubicBezTo>
                    <a:cubicBezTo>
                      <a:pt x="1944" y="833"/>
                      <a:pt x="1944" y="833"/>
                      <a:pt x="1944" y="833"/>
                    </a:cubicBezTo>
                    <a:cubicBezTo>
                      <a:pt x="1945" y="833"/>
                      <a:pt x="1945" y="833"/>
                      <a:pt x="1945" y="833"/>
                    </a:cubicBezTo>
                    <a:cubicBezTo>
                      <a:pt x="1946" y="833"/>
                      <a:pt x="1946" y="833"/>
                      <a:pt x="1946" y="833"/>
                    </a:cubicBezTo>
                    <a:cubicBezTo>
                      <a:pt x="1946" y="832"/>
                      <a:pt x="1946" y="832"/>
                      <a:pt x="1946" y="832"/>
                    </a:cubicBezTo>
                    <a:cubicBezTo>
                      <a:pt x="1947" y="831"/>
                      <a:pt x="1947" y="831"/>
                      <a:pt x="1947" y="831"/>
                    </a:cubicBezTo>
                    <a:cubicBezTo>
                      <a:pt x="1948" y="830"/>
                      <a:pt x="1948" y="830"/>
                      <a:pt x="1948" y="830"/>
                    </a:cubicBezTo>
                    <a:cubicBezTo>
                      <a:pt x="1949" y="829"/>
                      <a:pt x="1949" y="829"/>
                      <a:pt x="1949" y="829"/>
                    </a:cubicBezTo>
                    <a:cubicBezTo>
                      <a:pt x="1951" y="830"/>
                      <a:pt x="1951" y="830"/>
                      <a:pt x="1951" y="830"/>
                    </a:cubicBezTo>
                    <a:cubicBezTo>
                      <a:pt x="1952" y="829"/>
                      <a:pt x="1952" y="829"/>
                      <a:pt x="1952" y="829"/>
                    </a:cubicBezTo>
                    <a:cubicBezTo>
                      <a:pt x="1953" y="829"/>
                      <a:pt x="1953" y="829"/>
                      <a:pt x="1953" y="829"/>
                    </a:cubicBezTo>
                    <a:cubicBezTo>
                      <a:pt x="1954" y="828"/>
                      <a:pt x="1954" y="828"/>
                      <a:pt x="1954" y="828"/>
                    </a:cubicBezTo>
                    <a:cubicBezTo>
                      <a:pt x="1952" y="828"/>
                      <a:pt x="1952" y="828"/>
                      <a:pt x="1952" y="828"/>
                    </a:cubicBezTo>
                    <a:cubicBezTo>
                      <a:pt x="1951" y="828"/>
                      <a:pt x="1951" y="828"/>
                      <a:pt x="1951" y="828"/>
                    </a:cubicBezTo>
                    <a:cubicBezTo>
                      <a:pt x="1950" y="828"/>
                      <a:pt x="1950" y="828"/>
                      <a:pt x="1950" y="828"/>
                    </a:cubicBezTo>
                    <a:cubicBezTo>
                      <a:pt x="1950" y="827"/>
                      <a:pt x="1950" y="827"/>
                      <a:pt x="1950" y="827"/>
                    </a:cubicBezTo>
                    <a:cubicBezTo>
                      <a:pt x="1949" y="827"/>
                      <a:pt x="1949" y="827"/>
                      <a:pt x="1949" y="827"/>
                    </a:cubicBezTo>
                    <a:cubicBezTo>
                      <a:pt x="1949" y="826"/>
                      <a:pt x="1949" y="826"/>
                      <a:pt x="1949" y="826"/>
                    </a:cubicBezTo>
                    <a:cubicBezTo>
                      <a:pt x="1948" y="826"/>
                      <a:pt x="1948" y="826"/>
                      <a:pt x="1948" y="826"/>
                    </a:cubicBezTo>
                    <a:cubicBezTo>
                      <a:pt x="1947" y="825"/>
                      <a:pt x="1947" y="825"/>
                      <a:pt x="1947" y="825"/>
                    </a:cubicBezTo>
                    <a:cubicBezTo>
                      <a:pt x="1946" y="825"/>
                      <a:pt x="1946" y="825"/>
                      <a:pt x="1946" y="825"/>
                    </a:cubicBezTo>
                    <a:cubicBezTo>
                      <a:pt x="1947" y="824"/>
                      <a:pt x="1947" y="824"/>
                      <a:pt x="1947" y="824"/>
                    </a:cubicBezTo>
                    <a:cubicBezTo>
                      <a:pt x="1947" y="823"/>
                      <a:pt x="1947" y="823"/>
                      <a:pt x="1947" y="823"/>
                    </a:cubicBezTo>
                    <a:cubicBezTo>
                      <a:pt x="1948" y="823"/>
                      <a:pt x="1948" y="823"/>
                      <a:pt x="1948" y="823"/>
                    </a:cubicBezTo>
                    <a:cubicBezTo>
                      <a:pt x="1948" y="822"/>
                      <a:pt x="1948" y="822"/>
                      <a:pt x="1948" y="822"/>
                    </a:cubicBezTo>
                    <a:cubicBezTo>
                      <a:pt x="1948" y="821"/>
                      <a:pt x="1948" y="821"/>
                      <a:pt x="1948" y="821"/>
                    </a:cubicBezTo>
                    <a:cubicBezTo>
                      <a:pt x="1947" y="821"/>
                      <a:pt x="1947" y="821"/>
                      <a:pt x="1947" y="821"/>
                    </a:cubicBezTo>
                    <a:cubicBezTo>
                      <a:pt x="1947" y="820"/>
                      <a:pt x="1947" y="820"/>
                      <a:pt x="1947" y="820"/>
                    </a:cubicBezTo>
                    <a:cubicBezTo>
                      <a:pt x="1946" y="819"/>
                      <a:pt x="1946" y="819"/>
                      <a:pt x="1946" y="819"/>
                    </a:cubicBezTo>
                    <a:cubicBezTo>
                      <a:pt x="1945" y="819"/>
                      <a:pt x="1945" y="819"/>
                      <a:pt x="1945" y="819"/>
                    </a:cubicBezTo>
                    <a:cubicBezTo>
                      <a:pt x="1945" y="818"/>
                      <a:pt x="1945" y="818"/>
                      <a:pt x="1945" y="818"/>
                    </a:cubicBezTo>
                    <a:cubicBezTo>
                      <a:pt x="1943" y="816"/>
                      <a:pt x="1943" y="816"/>
                      <a:pt x="1943" y="816"/>
                    </a:cubicBezTo>
                    <a:cubicBezTo>
                      <a:pt x="1942" y="815"/>
                      <a:pt x="1942" y="815"/>
                      <a:pt x="1942" y="815"/>
                    </a:cubicBezTo>
                    <a:cubicBezTo>
                      <a:pt x="1942" y="814"/>
                      <a:pt x="1942" y="814"/>
                      <a:pt x="1942" y="814"/>
                    </a:cubicBezTo>
                    <a:cubicBezTo>
                      <a:pt x="1943" y="814"/>
                      <a:pt x="1943" y="814"/>
                      <a:pt x="1943" y="814"/>
                    </a:cubicBezTo>
                    <a:cubicBezTo>
                      <a:pt x="1944" y="814"/>
                      <a:pt x="1944" y="814"/>
                      <a:pt x="1944" y="814"/>
                    </a:cubicBezTo>
                    <a:cubicBezTo>
                      <a:pt x="1945" y="814"/>
                      <a:pt x="1945" y="814"/>
                      <a:pt x="1945" y="814"/>
                    </a:cubicBezTo>
                    <a:cubicBezTo>
                      <a:pt x="1945" y="813"/>
                      <a:pt x="1945" y="813"/>
                      <a:pt x="1945" y="813"/>
                    </a:cubicBezTo>
                    <a:cubicBezTo>
                      <a:pt x="1947" y="812"/>
                      <a:pt x="1947" y="812"/>
                      <a:pt x="1947" y="812"/>
                    </a:cubicBezTo>
                    <a:cubicBezTo>
                      <a:pt x="1949" y="810"/>
                      <a:pt x="1949" y="810"/>
                      <a:pt x="1949" y="810"/>
                    </a:cubicBezTo>
                    <a:cubicBezTo>
                      <a:pt x="1950" y="809"/>
                      <a:pt x="1950" y="809"/>
                      <a:pt x="1950" y="809"/>
                    </a:cubicBezTo>
                    <a:cubicBezTo>
                      <a:pt x="1951" y="808"/>
                      <a:pt x="1951" y="808"/>
                      <a:pt x="1951" y="808"/>
                    </a:cubicBezTo>
                    <a:cubicBezTo>
                      <a:pt x="1953" y="807"/>
                      <a:pt x="1953" y="807"/>
                      <a:pt x="1953" y="807"/>
                    </a:cubicBezTo>
                    <a:cubicBezTo>
                      <a:pt x="1954" y="808"/>
                      <a:pt x="1954" y="808"/>
                      <a:pt x="1954" y="808"/>
                    </a:cubicBezTo>
                    <a:cubicBezTo>
                      <a:pt x="1955" y="808"/>
                      <a:pt x="1955" y="808"/>
                      <a:pt x="1955" y="808"/>
                    </a:cubicBezTo>
                    <a:cubicBezTo>
                      <a:pt x="1956" y="806"/>
                      <a:pt x="1956" y="806"/>
                      <a:pt x="1956" y="806"/>
                    </a:cubicBezTo>
                    <a:cubicBezTo>
                      <a:pt x="1956" y="805"/>
                      <a:pt x="1956" y="805"/>
                      <a:pt x="1956" y="805"/>
                    </a:cubicBezTo>
                    <a:cubicBezTo>
                      <a:pt x="1954" y="805"/>
                      <a:pt x="1954" y="805"/>
                      <a:pt x="1954" y="805"/>
                    </a:cubicBezTo>
                    <a:cubicBezTo>
                      <a:pt x="1952" y="805"/>
                      <a:pt x="1952" y="805"/>
                      <a:pt x="1952" y="805"/>
                    </a:cubicBezTo>
                    <a:cubicBezTo>
                      <a:pt x="1950" y="806"/>
                      <a:pt x="1950" y="806"/>
                      <a:pt x="1950" y="806"/>
                    </a:cubicBezTo>
                    <a:cubicBezTo>
                      <a:pt x="1949" y="806"/>
                      <a:pt x="1949" y="806"/>
                      <a:pt x="1949" y="806"/>
                    </a:cubicBezTo>
                    <a:cubicBezTo>
                      <a:pt x="1948" y="806"/>
                      <a:pt x="1948" y="806"/>
                      <a:pt x="1948" y="806"/>
                    </a:cubicBezTo>
                    <a:cubicBezTo>
                      <a:pt x="1947" y="807"/>
                      <a:pt x="1947" y="807"/>
                      <a:pt x="1947" y="807"/>
                    </a:cubicBezTo>
                    <a:cubicBezTo>
                      <a:pt x="1945" y="807"/>
                      <a:pt x="1945" y="807"/>
                      <a:pt x="1945" y="807"/>
                    </a:cubicBezTo>
                    <a:cubicBezTo>
                      <a:pt x="1944" y="808"/>
                      <a:pt x="1944" y="808"/>
                      <a:pt x="1944" y="808"/>
                    </a:cubicBezTo>
                    <a:cubicBezTo>
                      <a:pt x="1943" y="807"/>
                      <a:pt x="1943" y="807"/>
                      <a:pt x="1943" y="807"/>
                    </a:cubicBezTo>
                    <a:cubicBezTo>
                      <a:pt x="1942" y="807"/>
                      <a:pt x="1942" y="807"/>
                      <a:pt x="1942" y="807"/>
                    </a:cubicBezTo>
                    <a:cubicBezTo>
                      <a:pt x="1941" y="808"/>
                      <a:pt x="1941" y="808"/>
                      <a:pt x="1941" y="808"/>
                    </a:cubicBezTo>
                    <a:cubicBezTo>
                      <a:pt x="1940" y="810"/>
                      <a:pt x="1940" y="810"/>
                      <a:pt x="1940" y="810"/>
                    </a:cubicBezTo>
                    <a:cubicBezTo>
                      <a:pt x="1939" y="811"/>
                      <a:pt x="1939" y="811"/>
                      <a:pt x="1939" y="811"/>
                    </a:cubicBezTo>
                    <a:cubicBezTo>
                      <a:pt x="1938" y="811"/>
                      <a:pt x="1938" y="811"/>
                      <a:pt x="1938" y="811"/>
                    </a:cubicBezTo>
                    <a:cubicBezTo>
                      <a:pt x="1937" y="810"/>
                      <a:pt x="1937" y="810"/>
                      <a:pt x="1937" y="810"/>
                    </a:cubicBezTo>
                    <a:cubicBezTo>
                      <a:pt x="1936" y="808"/>
                      <a:pt x="1936" y="808"/>
                      <a:pt x="1936" y="808"/>
                    </a:cubicBezTo>
                    <a:cubicBezTo>
                      <a:pt x="1934" y="807"/>
                      <a:pt x="1934" y="807"/>
                      <a:pt x="1934" y="807"/>
                    </a:cubicBezTo>
                    <a:cubicBezTo>
                      <a:pt x="1933" y="805"/>
                      <a:pt x="1933" y="805"/>
                      <a:pt x="1933" y="805"/>
                    </a:cubicBezTo>
                    <a:cubicBezTo>
                      <a:pt x="1933" y="802"/>
                      <a:pt x="1933" y="802"/>
                      <a:pt x="1933" y="802"/>
                    </a:cubicBezTo>
                    <a:cubicBezTo>
                      <a:pt x="1934" y="800"/>
                      <a:pt x="1934" y="800"/>
                      <a:pt x="1934" y="800"/>
                    </a:cubicBezTo>
                    <a:cubicBezTo>
                      <a:pt x="1935" y="799"/>
                      <a:pt x="1935" y="799"/>
                      <a:pt x="1935" y="799"/>
                    </a:cubicBezTo>
                    <a:cubicBezTo>
                      <a:pt x="1937" y="798"/>
                      <a:pt x="1937" y="798"/>
                      <a:pt x="1937" y="798"/>
                    </a:cubicBezTo>
                    <a:cubicBezTo>
                      <a:pt x="1939" y="799"/>
                      <a:pt x="1939" y="799"/>
                      <a:pt x="1939" y="799"/>
                    </a:cubicBezTo>
                    <a:cubicBezTo>
                      <a:pt x="1941" y="799"/>
                      <a:pt x="1941" y="799"/>
                      <a:pt x="1941" y="799"/>
                    </a:cubicBezTo>
                    <a:cubicBezTo>
                      <a:pt x="1943" y="798"/>
                      <a:pt x="1943" y="798"/>
                      <a:pt x="1943" y="798"/>
                    </a:cubicBezTo>
                    <a:cubicBezTo>
                      <a:pt x="1944" y="798"/>
                      <a:pt x="1944" y="798"/>
                      <a:pt x="1944" y="798"/>
                    </a:cubicBezTo>
                    <a:cubicBezTo>
                      <a:pt x="1945" y="799"/>
                      <a:pt x="1945" y="799"/>
                      <a:pt x="1945" y="799"/>
                    </a:cubicBezTo>
                    <a:cubicBezTo>
                      <a:pt x="1946" y="799"/>
                      <a:pt x="1946" y="799"/>
                      <a:pt x="1946" y="799"/>
                    </a:cubicBezTo>
                    <a:cubicBezTo>
                      <a:pt x="1947" y="799"/>
                      <a:pt x="1947" y="799"/>
                      <a:pt x="1947" y="799"/>
                    </a:cubicBezTo>
                    <a:cubicBezTo>
                      <a:pt x="1950" y="799"/>
                      <a:pt x="1950" y="799"/>
                      <a:pt x="1950" y="799"/>
                    </a:cubicBezTo>
                    <a:cubicBezTo>
                      <a:pt x="1951" y="799"/>
                      <a:pt x="1951" y="799"/>
                      <a:pt x="1951" y="799"/>
                    </a:cubicBezTo>
                    <a:cubicBezTo>
                      <a:pt x="1951" y="798"/>
                      <a:pt x="1951" y="798"/>
                      <a:pt x="1951" y="798"/>
                    </a:cubicBezTo>
                    <a:cubicBezTo>
                      <a:pt x="1953" y="798"/>
                      <a:pt x="1953" y="798"/>
                      <a:pt x="1953" y="798"/>
                    </a:cubicBezTo>
                    <a:cubicBezTo>
                      <a:pt x="1954" y="799"/>
                      <a:pt x="1954" y="799"/>
                      <a:pt x="1954" y="799"/>
                    </a:cubicBezTo>
                    <a:cubicBezTo>
                      <a:pt x="1954" y="800"/>
                      <a:pt x="1954" y="800"/>
                      <a:pt x="1954" y="800"/>
                    </a:cubicBezTo>
                    <a:cubicBezTo>
                      <a:pt x="1955" y="800"/>
                      <a:pt x="1955" y="800"/>
                      <a:pt x="1955" y="800"/>
                    </a:cubicBezTo>
                    <a:cubicBezTo>
                      <a:pt x="1960" y="799"/>
                      <a:pt x="1960" y="799"/>
                      <a:pt x="1960" y="799"/>
                    </a:cubicBezTo>
                    <a:cubicBezTo>
                      <a:pt x="1962" y="798"/>
                      <a:pt x="1962" y="798"/>
                      <a:pt x="1962" y="798"/>
                    </a:cubicBezTo>
                    <a:close/>
                    <a:moveTo>
                      <a:pt x="2022" y="840"/>
                    </a:moveTo>
                    <a:cubicBezTo>
                      <a:pt x="2022" y="841"/>
                      <a:pt x="2022" y="841"/>
                      <a:pt x="2022" y="841"/>
                    </a:cubicBezTo>
                    <a:cubicBezTo>
                      <a:pt x="2023" y="842"/>
                      <a:pt x="2023" y="842"/>
                      <a:pt x="2023" y="842"/>
                    </a:cubicBezTo>
                    <a:cubicBezTo>
                      <a:pt x="2024" y="842"/>
                      <a:pt x="2024" y="842"/>
                      <a:pt x="2024" y="842"/>
                    </a:cubicBezTo>
                    <a:cubicBezTo>
                      <a:pt x="2023" y="841"/>
                      <a:pt x="2023" y="841"/>
                      <a:pt x="2023" y="841"/>
                    </a:cubicBezTo>
                    <a:cubicBezTo>
                      <a:pt x="2023" y="840"/>
                      <a:pt x="2023" y="840"/>
                      <a:pt x="2023" y="840"/>
                    </a:cubicBezTo>
                    <a:cubicBezTo>
                      <a:pt x="2022" y="840"/>
                      <a:pt x="2022" y="840"/>
                      <a:pt x="2022" y="840"/>
                    </a:cubicBezTo>
                    <a:close/>
                    <a:moveTo>
                      <a:pt x="2014" y="839"/>
                    </a:moveTo>
                    <a:cubicBezTo>
                      <a:pt x="2014" y="840"/>
                      <a:pt x="2014" y="840"/>
                      <a:pt x="2014" y="840"/>
                    </a:cubicBezTo>
                    <a:cubicBezTo>
                      <a:pt x="2015" y="839"/>
                      <a:pt x="2015" y="839"/>
                      <a:pt x="2015" y="839"/>
                    </a:cubicBezTo>
                    <a:cubicBezTo>
                      <a:pt x="2015" y="837"/>
                      <a:pt x="2015" y="837"/>
                      <a:pt x="2015" y="837"/>
                    </a:cubicBezTo>
                    <a:cubicBezTo>
                      <a:pt x="2016" y="836"/>
                      <a:pt x="2016" y="836"/>
                      <a:pt x="2016" y="836"/>
                    </a:cubicBezTo>
                    <a:cubicBezTo>
                      <a:pt x="2015" y="836"/>
                      <a:pt x="2015" y="836"/>
                      <a:pt x="2015" y="836"/>
                    </a:cubicBezTo>
                    <a:cubicBezTo>
                      <a:pt x="2014" y="839"/>
                      <a:pt x="2014" y="839"/>
                      <a:pt x="2014" y="839"/>
                    </a:cubicBezTo>
                    <a:close/>
                    <a:moveTo>
                      <a:pt x="2008" y="848"/>
                    </a:moveTo>
                    <a:cubicBezTo>
                      <a:pt x="2008" y="847"/>
                      <a:pt x="2008" y="847"/>
                      <a:pt x="2008" y="847"/>
                    </a:cubicBezTo>
                    <a:cubicBezTo>
                      <a:pt x="2007" y="847"/>
                      <a:pt x="2007" y="847"/>
                      <a:pt x="2007" y="847"/>
                    </a:cubicBezTo>
                    <a:cubicBezTo>
                      <a:pt x="2008" y="848"/>
                      <a:pt x="2008" y="848"/>
                      <a:pt x="2008" y="848"/>
                    </a:cubicBezTo>
                    <a:close/>
                    <a:moveTo>
                      <a:pt x="1936" y="842"/>
                    </a:moveTo>
                    <a:cubicBezTo>
                      <a:pt x="1936" y="842"/>
                      <a:pt x="1936" y="842"/>
                      <a:pt x="1936" y="841"/>
                    </a:cubicBezTo>
                    <a:cubicBezTo>
                      <a:pt x="1936" y="841"/>
                      <a:pt x="1936" y="841"/>
                      <a:pt x="1935" y="839"/>
                    </a:cubicBezTo>
                    <a:cubicBezTo>
                      <a:pt x="1935" y="839"/>
                      <a:pt x="1935" y="839"/>
                      <a:pt x="1935" y="840"/>
                    </a:cubicBezTo>
                    <a:cubicBezTo>
                      <a:pt x="1935" y="840"/>
                      <a:pt x="1935" y="840"/>
                      <a:pt x="1935" y="841"/>
                    </a:cubicBezTo>
                    <a:cubicBezTo>
                      <a:pt x="1935" y="841"/>
                      <a:pt x="1935" y="841"/>
                      <a:pt x="1935" y="842"/>
                    </a:cubicBezTo>
                    <a:cubicBezTo>
                      <a:pt x="1935" y="842"/>
                      <a:pt x="1935" y="842"/>
                      <a:pt x="1936" y="843"/>
                    </a:cubicBezTo>
                    <a:cubicBezTo>
                      <a:pt x="1936" y="843"/>
                      <a:pt x="1936" y="843"/>
                      <a:pt x="1936" y="842"/>
                    </a:cubicBezTo>
                    <a:close/>
                    <a:moveTo>
                      <a:pt x="1937" y="759"/>
                    </a:moveTo>
                    <a:cubicBezTo>
                      <a:pt x="1937" y="758"/>
                      <a:pt x="1937" y="758"/>
                      <a:pt x="1937" y="758"/>
                    </a:cubicBezTo>
                    <a:cubicBezTo>
                      <a:pt x="1936" y="759"/>
                      <a:pt x="1936" y="759"/>
                      <a:pt x="1936" y="759"/>
                    </a:cubicBezTo>
                    <a:cubicBezTo>
                      <a:pt x="1937" y="759"/>
                      <a:pt x="1937" y="759"/>
                      <a:pt x="1937" y="759"/>
                    </a:cubicBezTo>
                    <a:close/>
                    <a:moveTo>
                      <a:pt x="1929" y="770"/>
                    </a:moveTo>
                    <a:cubicBezTo>
                      <a:pt x="1929" y="769"/>
                      <a:pt x="1929" y="769"/>
                      <a:pt x="1929" y="769"/>
                    </a:cubicBezTo>
                    <a:cubicBezTo>
                      <a:pt x="1928" y="770"/>
                      <a:pt x="1928" y="770"/>
                      <a:pt x="1928" y="770"/>
                    </a:cubicBezTo>
                    <a:cubicBezTo>
                      <a:pt x="1929" y="771"/>
                      <a:pt x="1929" y="771"/>
                      <a:pt x="1929" y="771"/>
                    </a:cubicBezTo>
                    <a:cubicBezTo>
                      <a:pt x="1929" y="770"/>
                      <a:pt x="1929" y="770"/>
                      <a:pt x="1929" y="770"/>
                    </a:cubicBezTo>
                    <a:close/>
                    <a:moveTo>
                      <a:pt x="2022" y="842"/>
                    </a:moveTo>
                    <a:cubicBezTo>
                      <a:pt x="2022" y="843"/>
                      <a:pt x="2022" y="843"/>
                      <a:pt x="2022" y="843"/>
                    </a:cubicBezTo>
                    <a:cubicBezTo>
                      <a:pt x="2022" y="844"/>
                      <a:pt x="2022" y="844"/>
                      <a:pt x="2022" y="844"/>
                    </a:cubicBezTo>
                    <a:cubicBezTo>
                      <a:pt x="2022" y="845"/>
                      <a:pt x="2022" y="845"/>
                      <a:pt x="2022" y="845"/>
                    </a:cubicBezTo>
                    <a:cubicBezTo>
                      <a:pt x="2022" y="846"/>
                      <a:pt x="2022" y="846"/>
                      <a:pt x="2022" y="846"/>
                    </a:cubicBezTo>
                    <a:cubicBezTo>
                      <a:pt x="2023" y="846"/>
                      <a:pt x="2023" y="846"/>
                      <a:pt x="2023" y="846"/>
                    </a:cubicBezTo>
                    <a:cubicBezTo>
                      <a:pt x="2024" y="845"/>
                      <a:pt x="2024" y="845"/>
                      <a:pt x="2024" y="845"/>
                    </a:cubicBezTo>
                    <a:cubicBezTo>
                      <a:pt x="2024" y="844"/>
                      <a:pt x="2024" y="844"/>
                      <a:pt x="2024" y="844"/>
                    </a:cubicBezTo>
                    <a:cubicBezTo>
                      <a:pt x="2023" y="843"/>
                      <a:pt x="2023" y="843"/>
                      <a:pt x="2023" y="843"/>
                    </a:cubicBezTo>
                    <a:cubicBezTo>
                      <a:pt x="2022" y="842"/>
                      <a:pt x="2022" y="842"/>
                      <a:pt x="2022" y="842"/>
                    </a:cubicBezTo>
                    <a:close/>
                    <a:moveTo>
                      <a:pt x="1938" y="761"/>
                    </a:moveTo>
                    <a:cubicBezTo>
                      <a:pt x="1938" y="762"/>
                      <a:pt x="1938" y="762"/>
                      <a:pt x="1938" y="762"/>
                    </a:cubicBezTo>
                    <a:cubicBezTo>
                      <a:pt x="1939" y="762"/>
                      <a:pt x="1939" y="762"/>
                      <a:pt x="1939" y="762"/>
                    </a:cubicBezTo>
                    <a:cubicBezTo>
                      <a:pt x="1940" y="762"/>
                      <a:pt x="1940" y="762"/>
                      <a:pt x="1940" y="762"/>
                    </a:cubicBezTo>
                    <a:cubicBezTo>
                      <a:pt x="1941" y="762"/>
                      <a:pt x="1941" y="762"/>
                      <a:pt x="1941" y="762"/>
                    </a:cubicBezTo>
                    <a:cubicBezTo>
                      <a:pt x="1941" y="761"/>
                      <a:pt x="1941" y="761"/>
                      <a:pt x="1941" y="761"/>
                    </a:cubicBezTo>
                    <a:cubicBezTo>
                      <a:pt x="1940" y="761"/>
                      <a:pt x="1940" y="761"/>
                      <a:pt x="1940" y="761"/>
                    </a:cubicBezTo>
                    <a:cubicBezTo>
                      <a:pt x="1938" y="761"/>
                      <a:pt x="1938" y="761"/>
                      <a:pt x="1938" y="761"/>
                    </a:cubicBezTo>
                    <a:close/>
                    <a:moveTo>
                      <a:pt x="1954" y="855"/>
                    </a:moveTo>
                    <a:cubicBezTo>
                      <a:pt x="1954" y="855"/>
                      <a:pt x="1954" y="855"/>
                      <a:pt x="1954" y="856"/>
                    </a:cubicBezTo>
                    <a:cubicBezTo>
                      <a:pt x="1954" y="856"/>
                      <a:pt x="1954" y="856"/>
                      <a:pt x="1953" y="857"/>
                    </a:cubicBezTo>
                    <a:cubicBezTo>
                      <a:pt x="1953" y="857"/>
                      <a:pt x="1953" y="857"/>
                      <a:pt x="1953" y="858"/>
                    </a:cubicBezTo>
                    <a:cubicBezTo>
                      <a:pt x="1953" y="858"/>
                      <a:pt x="1953" y="858"/>
                      <a:pt x="1955" y="857"/>
                    </a:cubicBezTo>
                    <a:cubicBezTo>
                      <a:pt x="1955" y="857"/>
                      <a:pt x="1955" y="857"/>
                      <a:pt x="1956" y="855"/>
                    </a:cubicBezTo>
                    <a:cubicBezTo>
                      <a:pt x="1956" y="855"/>
                      <a:pt x="1956" y="855"/>
                      <a:pt x="1955" y="856"/>
                    </a:cubicBezTo>
                    <a:cubicBezTo>
                      <a:pt x="1955" y="856"/>
                      <a:pt x="1955" y="856"/>
                      <a:pt x="1954" y="855"/>
                    </a:cubicBezTo>
                    <a:close/>
                    <a:moveTo>
                      <a:pt x="1956" y="810"/>
                    </a:moveTo>
                    <a:cubicBezTo>
                      <a:pt x="1956" y="810"/>
                      <a:pt x="1956" y="810"/>
                      <a:pt x="1955" y="810"/>
                    </a:cubicBezTo>
                    <a:cubicBezTo>
                      <a:pt x="1955" y="810"/>
                      <a:pt x="1955" y="810"/>
                      <a:pt x="1954" y="811"/>
                    </a:cubicBezTo>
                    <a:cubicBezTo>
                      <a:pt x="1954" y="811"/>
                      <a:pt x="1954" y="811"/>
                      <a:pt x="1955" y="812"/>
                    </a:cubicBezTo>
                    <a:cubicBezTo>
                      <a:pt x="1955" y="812"/>
                      <a:pt x="1955" y="812"/>
                      <a:pt x="1956" y="811"/>
                    </a:cubicBezTo>
                    <a:cubicBezTo>
                      <a:pt x="1956" y="811"/>
                      <a:pt x="1956" y="811"/>
                      <a:pt x="1956" y="810"/>
                    </a:cubicBezTo>
                    <a:close/>
                    <a:moveTo>
                      <a:pt x="2008" y="847"/>
                    </a:moveTo>
                    <a:cubicBezTo>
                      <a:pt x="2009" y="846"/>
                      <a:pt x="2009" y="846"/>
                      <a:pt x="2009" y="846"/>
                    </a:cubicBezTo>
                    <a:cubicBezTo>
                      <a:pt x="2008" y="846"/>
                      <a:pt x="2008" y="846"/>
                      <a:pt x="2008" y="846"/>
                    </a:cubicBezTo>
                    <a:cubicBezTo>
                      <a:pt x="2008" y="847"/>
                      <a:pt x="2008" y="847"/>
                      <a:pt x="2008" y="847"/>
                    </a:cubicBezTo>
                    <a:close/>
                    <a:moveTo>
                      <a:pt x="1954" y="809"/>
                    </a:moveTo>
                    <a:cubicBezTo>
                      <a:pt x="1954" y="809"/>
                      <a:pt x="1954" y="809"/>
                      <a:pt x="1952" y="809"/>
                    </a:cubicBezTo>
                    <a:cubicBezTo>
                      <a:pt x="1952" y="809"/>
                      <a:pt x="1952" y="809"/>
                      <a:pt x="1951" y="810"/>
                    </a:cubicBezTo>
                    <a:cubicBezTo>
                      <a:pt x="1951" y="810"/>
                      <a:pt x="1951" y="810"/>
                      <a:pt x="1951" y="811"/>
                    </a:cubicBezTo>
                    <a:cubicBezTo>
                      <a:pt x="1951" y="811"/>
                      <a:pt x="1951" y="811"/>
                      <a:pt x="1952" y="812"/>
                    </a:cubicBezTo>
                    <a:cubicBezTo>
                      <a:pt x="1952" y="812"/>
                      <a:pt x="1952" y="812"/>
                      <a:pt x="1953" y="811"/>
                    </a:cubicBezTo>
                    <a:cubicBezTo>
                      <a:pt x="1953" y="811"/>
                      <a:pt x="1953" y="811"/>
                      <a:pt x="1954" y="812"/>
                    </a:cubicBezTo>
                    <a:cubicBezTo>
                      <a:pt x="1954" y="812"/>
                      <a:pt x="1954" y="812"/>
                      <a:pt x="1954" y="811"/>
                    </a:cubicBezTo>
                    <a:cubicBezTo>
                      <a:pt x="1954" y="811"/>
                      <a:pt x="1954" y="811"/>
                      <a:pt x="1954" y="810"/>
                    </a:cubicBezTo>
                    <a:cubicBezTo>
                      <a:pt x="1954" y="810"/>
                      <a:pt x="1954" y="810"/>
                      <a:pt x="1954" y="809"/>
                    </a:cubicBezTo>
                    <a:close/>
                    <a:moveTo>
                      <a:pt x="1947" y="836"/>
                    </a:moveTo>
                    <a:cubicBezTo>
                      <a:pt x="1948" y="836"/>
                      <a:pt x="1948" y="836"/>
                      <a:pt x="1948" y="836"/>
                    </a:cubicBezTo>
                    <a:cubicBezTo>
                      <a:pt x="1949" y="835"/>
                      <a:pt x="1949" y="835"/>
                      <a:pt x="1949" y="835"/>
                    </a:cubicBezTo>
                    <a:cubicBezTo>
                      <a:pt x="1949" y="834"/>
                      <a:pt x="1949" y="834"/>
                      <a:pt x="1949" y="834"/>
                    </a:cubicBezTo>
                    <a:cubicBezTo>
                      <a:pt x="1950" y="833"/>
                      <a:pt x="1950" y="833"/>
                      <a:pt x="1950" y="833"/>
                    </a:cubicBezTo>
                    <a:cubicBezTo>
                      <a:pt x="1949" y="832"/>
                      <a:pt x="1949" y="832"/>
                      <a:pt x="1949" y="832"/>
                    </a:cubicBezTo>
                    <a:cubicBezTo>
                      <a:pt x="1948" y="832"/>
                      <a:pt x="1948" y="832"/>
                      <a:pt x="1948" y="832"/>
                    </a:cubicBezTo>
                    <a:cubicBezTo>
                      <a:pt x="1947" y="833"/>
                      <a:pt x="1947" y="833"/>
                      <a:pt x="1947" y="833"/>
                    </a:cubicBezTo>
                    <a:cubicBezTo>
                      <a:pt x="1948" y="834"/>
                      <a:pt x="1948" y="834"/>
                      <a:pt x="1948" y="834"/>
                    </a:cubicBezTo>
                    <a:cubicBezTo>
                      <a:pt x="1947" y="835"/>
                      <a:pt x="1947" y="835"/>
                      <a:pt x="1947" y="835"/>
                    </a:cubicBezTo>
                    <a:lnTo>
                      <a:pt x="1947" y="836"/>
                    </a:lnTo>
                    <a:close/>
                    <a:moveTo>
                      <a:pt x="1944" y="835"/>
                    </a:moveTo>
                    <a:cubicBezTo>
                      <a:pt x="1944" y="837"/>
                      <a:pt x="1944" y="837"/>
                      <a:pt x="1944" y="837"/>
                    </a:cubicBezTo>
                    <a:cubicBezTo>
                      <a:pt x="1945" y="837"/>
                      <a:pt x="1945" y="837"/>
                      <a:pt x="1945" y="837"/>
                    </a:cubicBezTo>
                    <a:cubicBezTo>
                      <a:pt x="1945" y="836"/>
                      <a:pt x="1945" y="836"/>
                      <a:pt x="1945" y="836"/>
                    </a:cubicBezTo>
                    <a:cubicBezTo>
                      <a:pt x="1945" y="835"/>
                      <a:pt x="1945" y="835"/>
                      <a:pt x="1945" y="835"/>
                    </a:cubicBezTo>
                    <a:cubicBezTo>
                      <a:pt x="1944" y="834"/>
                      <a:pt x="1944" y="834"/>
                      <a:pt x="1944" y="834"/>
                    </a:cubicBezTo>
                    <a:cubicBezTo>
                      <a:pt x="1944" y="835"/>
                      <a:pt x="1944" y="835"/>
                      <a:pt x="1944" y="835"/>
                    </a:cubicBezTo>
                    <a:close/>
                    <a:moveTo>
                      <a:pt x="1936" y="848"/>
                    </a:moveTo>
                    <a:cubicBezTo>
                      <a:pt x="1937" y="848"/>
                      <a:pt x="1937" y="848"/>
                      <a:pt x="1937" y="848"/>
                    </a:cubicBezTo>
                    <a:cubicBezTo>
                      <a:pt x="1936" y="847"/>
                      <a:pt x="1936" y="847"/>
                      <a:pt x="1936" y="847"/>
                    </a:cubicBezTo>
                    <a:cubicBezTo>
                      <a:pt x="1935" y="848"/>
                      <a:pt x="1935" y="848"/>
                      <a:pt x="1935" y="848"/>
                    </a:cubicBezTo>
                    <a:cubicBezTo>
                      <a:pt x="1936" y="848"/>
                      <a:pt x="1936" y="848"/>
                      <a:pt x="1936" y="848"/>
                    </a:cubicBezTo>
                    <a:close/>
                    <a:moveTo>
                      <a:pt x="1910" y="856"/>
                    </a:moveTo>
                    <a:cubicBezTo>
                      <a:pt x="1910" y="856"/>
                      <a:pt x="1910" y="856"/>
                      <a:pt x="1908" y="855"/>
                    </a:cubicBezTo>
                    <a:cubicBezTo>
                      <a:pt x="1908" y="855"/>
                      <a:pt x="1908" y="855"/>
                      <a:pt x="1907" y="856"/>
                    </a:cubicBezTo>
                    <a:cubicBezTo>
                      <a:pt x="1907" y="856"/>
                      <a:pt x="1907" y="856"/>
                      <a:pt x="1907" y="858"/>
                    </a:cubicBezTo>
                    <a:cubicBezTo>
                      <a:pt x="1907" y="858"/>
                      <a:pt x="1907" y="858"/>
                      <a:pt x="1906" y="858"/>
                    </a:cubicBezTo>
                    <a:cubicBezTo>
                      <a:pt x="1906" y="858"/>
                      <a:pt x="1906" y="858"/>
                      <a:pt x="1905" y="858"/>
                    </a:cubicBezTo>
                    <a:cubicBezTo>
                      <a:pt x="1905" y="858"/>
                      <a:pt x="1905" y="858"/>
                      <a:pt x="1906" y="859"/>
                    </a:cubicBezTo>
                    <a:cubicBezTo>
                      <a:pt x="1906" y="859"/>
                      <a:pt x="1906" y="859"/>
                      <a:pt x="1908" y="859"/>
                    </a:cubicBezTo>
                    <a:cubicBezTo>
                      <a:pt x="1908" y="859"/>
                      <a:pt x="1908" y="859"/>
                      <a:pt x="1909" y="859"/>
                    </a:cubicBezTo>
                    <a:cubicBezTo>
                      <a:pt x="1909" y="859"/>
                      <a:pt x="1909" y="859"/>
                      <a:pt x="1910" y="859"/>
                    </a:cubicBezTo>
                    <a:cubicBezTo>
                      <a:pt x="1910" y="859"/>
                      <a:pt x="1910" y="859"/>
                      <a:pt x="1909" y="858"/>
                    </a:cubicBezTo>
                    <a:cubicBezTo>
                      <a:pt x="1909" y="858"/>
                      <a:pt x="1909" y="858"/>
                      <a:pt x="1910" y="857"/>
                    </a:cubicBezTo>
                    <a:cubicBezTo>
                      <a:pt x="1910" y="857"/>
                      <a:pt x="1910" y="857"/>
                      <a:pt x="1910" y="856"/>
                    </a:cubicBezTo>
                    <a:close/>
                    <a:moveTo>
                      <a:pt x="1908" y="822"/>
                    </a:moveTo>
                    <a:cubicBezTo>
                      <a:pt x="1908" y="822"/>
                      <a:pt x="1908" y="822"/>
                      <a:pt x="1908" y="821"/>
                    </a:cubicBezTo>
                    <a:cubicBezTo>
                      <a:pt x="1908" y="821"/>
                      <a:pt x="1908" y="821"/>
                      <a:pt x="1909" y="821"/>
                    </a:cubicBezTo>
                    <a:cubicBezTo>
                      <a:pt x="1909" y="821"/>
                      <a:pt x="1909" y="821"/>
                      <a:pt x="1910" y="819"/>
                    </a:cubicBezTo>
                    <a:cubicBezTo>
                      <a:pt x="1910" y="819"/>
                      <a:pt x="1910" y="819"/>
                      <a:pt x="1910" y="818"/>
                    </a:cubicBezTo>
                    <a:cubicBezTo>
                      <a:pt x="1910" y="818"/>
                      <a:pt x="1910" y="818"/>
                      <a:pt x="1911" y="817"/>
                    </a:cubicBezTo>
                    <a:cubicBezTo>
                      <a:pt x="1911" y="817"/>
                      <a:pt x="1911" y="817"/>
                      <a:pt x="1911" y="816"/>
                    </a:cubicBezTo>
                    <a:cubicBezTo>
                      <a:pt x="1911" y="816"/>
                      <a:pt x="1911" y="816"/>
                      <a:pt x="1910" y="816"/>
                    </a:cubicBezTo>
                    <a:cubicBezTo>
                      <a:pt x="1910" y="816"/>
                      <a:pt x="1910" y="816"/>
                      <a:pt x="1909" y="816"/>
                    </a:cubicBezTo>
                    <a:cubicBezTo>
                      <a:pt x="1909" y="816"/>
                      <a:pt x="1909" y="816"/>
                      <a:pt x="1910" y="815"/>
                    </a:cubicBezTo>
                    <a:cubicBezTo>
                      <a:pt x="1910" y="815"/>
                      <a:pt x="1910" y="815"/>
                      <a:pt x="1910" y="814"/>
                    </a:cubicBezTo>
                    <a:cubicBezTo>
                      <a:pt x="1910" y="814"/>
                      <a:pt x="1910" y="814"/>
                      <a:pt x="1909" y="814"/>
                    </a:cubicBezTo>
                    <a:cubicBezTo>
                      <a:pt x="1909" y="814"/>
                      <a:pt x="1909" y="814"/>
                      <a:pt x="1909" y="813"/>
                    </a:cubicBezTo>
                    <a:cubicBezTo>
                      <a:pt x="1909" y="813"/>
                      <a:pt x="1909" y="813"/>
                      <a:pt x="1910" y="813"/>
                    </a:cubicBezTo>
                    <a:cubicBezTo>
                      <a:pt x="1910" y="813"/>
                      <a:pt x="1910" y="813"/>
                      <a:pt x="1911" y="812"/>
                    </a:cubicBezTo>
                    <a:cubicBezTo>
                      <a:pt x="1911" y="812"/>
                      <a:pt x="1911" y="812"/>
                      <a:pt x="1911" y="811"/>
                    </a:cubicBezTo>
                    <a:cubicBezTo>
                      <a:pt x="1911" y="811"/>
                      <a:pt x="1911" y="811"/>
                      <a:pt x="1912" y="810"/>
                    </a:cubicBezTo>
                    <a:cubicBezTo>
                      <a:pt x="1912" y="810"/>
                      <a:pt x="1912" y="810"/>
                      <a:pt x="1912" y="809"/>
                    </a:cubicBezTo>
                    <a:cubicBezTo>
                      <a:pt x="1912" y="809"/>
                      <a:pt x="1912" y="809"/>
                      <a:pt x="1912" y="808"/>
                    </a:cubicBezTo>
                    <a:cubicBezTo>
                      <a:pt x="1912" y="808"/>
                      <a:pt x="1912" y="808"/>
                      <a:pt x="1913" y="808"/>
                    </a:cubicBezTo>
                    <a:cubicBezTo>
                      <a:pt x="1913" y="808"/>
                      <a:pt x="1913" y="808"/>
                      <a:pt x="1913" y="809"/>
                    </a:cubicBezTo>
                    <a:cubicBezTo>
                      <a:pt x="1913" y="809"/>
                      <a:pt x="1913" y="809"/>
                      <a:pt x="1914" y="808"/>
                    </a:cubicBezTo>
                    <a:cubicBezTo>
                      <a:pt x="1914" y="808"/>
                      <a:pt x="1914" y="808"/>
                      <a:pt x="1915" y="807"/>
                    </a:cubicBezTo>
                    <a:cubicBezTo>
                      <a:pt x="1915" y="807"/>
                      <a:pt x="1915" y="807"/>
                      <a:pt x="1914" y="806"/>
                    </a:cubicBezTo>
                    <a:cubicBezTo>
                      <a:pt x="1914" y="806"/>
                      <a:pt x="1914" y="806"/>
                      <a:pt x="1916" y="804"/>
                    </a:cubicBezTo>
                    <a:cubicBezTo>
                      <a:pt x="1916" y="804"/>
                      <a:pt x="1916" y="804"/>
                      <a:pt x="1916" y="802"/>
                    </a:cubicBezTo>
                    <a:cubicBezTo>
                      <a:pt x="1916" y="802"/>
                      <a:pt x="1916" y="802"/>
                      <a:pt x="1917" y="801"/>
                    </a:cubicBezTo>
                    <a:cubicBezTo>
                      <a:pt x="1917" y="801"/>
                      <a:pt x="1917" y="801"/>
                      <a:pt x="1917" y="799"/>
                    </a:cubicBezTo>
                    <a:cubicBezTo>
                      <a:pt x="1917" y="799"/>
                      <a:pt x="1917" y="799"/>
                      <a:pt x="1918" y="798"/>
                    </a:cubicBezTo>
                    <a:cubicBezTo>
                      <a:pt x="1918" y="798"/>
                      <a:pt x="1918" y="798"/>
                      <a:pt x="1918" y="797"/>
                    </a:cubicBezTo>
                    <a:cubicBezTo>
                      <a:pt x="1918" y="797"/>
                      <a:pt x="1918" y="797"/>
                      <a:pt x="1919" y="796"/>
                    </a:cubicBezTo>
                    <a:cubicBezTo>
                      <a:pt x="1919" y="796"/>
                      <a:pt x="1919" y="796"/>
                      <a:pt x="1920" y="797"/>
                    </a:cubicBezTo>
                    <a:cubicBezTo>
                      <a:pt x="1920" y="797"/>
                      <a:pt x="1920" y="797"/>
                      <a:pt x="1920" y="796"/>
                    </a:cubicBezTo>
                    <a:cubicBezTo>
                      <a:pt x="1920" y="796"/>
                      <a:pt x="1920" y="796"/>
                      <a:pt x="1920" y="794"/>
                    </a:cubicBezTo>
                    <a:cubicBezTo>
                      <a:pt x="1920" y="794"/>
                      <a:pt x="1920" y="794"/>
                      <a:pt x="1922" y="796"/>
                    </a:cubicBezTo>
                    <a:cubicBezTo>
                      <a:pt x="1922" y="796"/>
                      <a:pt x="1922" y="796"/>
                      <a:pt x="1923" y="797"/>
                    </a:cubicBezTo>
                    <a:cubicBezTo>
                      <a:pt x="1923" y="797"/>
                      <a:pt x="1923" y="797"/>
                      <a:pt x="1924" y="796"/>
                    </a:cubicBezTo>
                    <a:cubicBezTo>
                      <a:pt x="1924" y="796"/>
                      <a:pt x="1924" y="796"/>
                      <a:pt x="1925" y="796"/>
                    </a:cubicBezTo>
                    <a:cubicBezTo>
                      <a:pt x="1925" y="796"/>
                      <a:pt x="1925" y="796"/>
                      <a:pt x="1926" y="796"/>
                    </a:cubicBezTo>
                    <a:cubicBezTo>
                      <a:pt x="1926" y="796"/>
                      <a:pt x="1926" y="796"/>
                      <a:pt x="1926" y="795"/>
                    </a:cubicBezTo>
                    <a:cubicBezTo>
                      <a:pt x="1926" y="795"/>
                      <a:pt x="1926" y="795"/>
                      <a:pt x="1925" y="794"/>
                    </a:cubicBezTo>
                    <a:cubicBezTo>
                      <a:pt x="1925" y="794"/>
                      <a:pt x="1925" y="794"/>
                      <a:pt x="1924" y="793"/>
                    </a:cubicBezTo>
                    <a:cubicBezTo>
                      <a:pt x="1924" y="793"/>
                      <a:pt x="1924" y="793"/>
                      <a:pt x="1923" y="793"/>
                    </a:cubicBezTo>
                    <a:cubicBezTo>
                      <a:pt x="1923" y="793"/>
                      <a:pt x="1923" y="793"/>
                      <a:pt x="1920" y="790"/>
                    </a:cubicBezTo>
                    <a:cubicBezTo>
                      <a:pt x="1920" y="790"/>
                      <a:pt x="1920" y="790"/>
                      <a:pt x="1919" y="790"/>
                    </a:cubicBezTo>
                    <a:cubicBezTo>
                      <a:pt x="1919" y="790"/>
                      <a:pt x="1919" y="790"/>
                      <a:pt x="1919" y="788"/>
                    </a:cubicBezTo>
                    <a:cubicBezTo>
                      <a:pt x="1919" y="788"/>
                      <a:pt x="1919" y="788"/>
                      <a:pt x="1918" y="788"/>
                    </a:cubicBezTo>
                    <a:cubicBezTo>
                      <a:pt x="1918" y="788"/>
                      <a:pt x="1918" y="788"/>
                      <a:pt x="1918" y="787"/>
                    </a:cubicBezTo>
                    <a:cubicBezTo>
                      <a:pt x="1918" y="787"/>
                      <a:pt x="1918" y="787"/>
                      <a:pt x="1920" y="787"/>
                    </a:cubicBezTo>
                    <a:cubicBezTo>
                      <a:pt x="1920" y="787"/>
                      <a:pt x="1920" y="787"/>
                      <a:pt x="1921" y="786"/>
                    </a:cubicBezTo>
                    <a:cubicBezTo>
                      <a:pt x="1921" y="786"/>
                      <a:pt x="1921" y="786"/>
                      <a:pt x="1920" y="785"/>
                    </a:cubicBezTo>
                    <a:cubicBezTo>
                      <a:pt x="1920" y="785"/>
                      <a:pt x="1920" y="785"/>
                      <a:pt x="1918" y="783"/>
                    </a:cubicBezTo>
                    <a:cubicBezTo>
                      <a:pt x="1918" y="783"/>
                      <a:pt x="1918" y="783"/>
                      <a:pt x="1917" y="781"/>
                    </a:cubicBezTo>
                    <a:cubicBezTo>
                      <a:pt x="1917" y="781"/>
                      <a:pt x="1917" y="781"/>
                      <a:pt x="1916" y="780"/>
                    </a:cubicBezTo>
                    <a:cubicBezTo>
                      <a:pt x="1916" y="780"/>
                      <a:pt x="1916" y="780"/>
                      <a:pt x="1917" y="779"/>
                    </a:cubicBezTo>
                    <a:cubicBezTo>
                      <a:pt x="1917" y="779"/>
                      <a:pt x="1917" y="779"/>
                      <a:pt x="1917" y="778"/>
                    </a:cubicBezTo>
                    <a:cubicBezTo>
                      <a:pt x="1917" y="778"/>
                      <a:pt x="1917" y="778"/>
                      <a:pt x="1916" y="777"/>
                    </a:cubicBezTo>
                    <a:cubicBezTo>
                      <a:pt x="1916" y="777"/>
                      <a:pt x="1916" y="777"/>
                      <a:pt x="1917" y="777"/>
                    </a:cubicBezTo>
                    <a:cubicBezTo>
                      <a:pt x="1918" y="778"/>
                      <a:pt x="1918" y="778"/>
                      <a:pt x="1918" y="778"/>
                    </a:cubicBezTo>
                    <a:cubicBezTo>
                      <a:pt x="1919" y="777"/>
                      <a:pt x="1919" y="777"/>
                      <a:pt x="1919" y="777"/>
                    </a:cubicBezTo>
                    <a:cubicBezTo>
                      <a:pt x="1919" y="777"/>
                      <a:pt x="1919" y="777"/>
                      <a:pt x="1918" y="775"/>
                    </a:cubicBezTo>
                    <a:cubicBezTo>
                      <a:pt x="1918" y="775"/>
                      <a:pt x="1918" y="775"/>
                      <a:pt x="1916" y="775"/>
                    </a:cubicBezTo>
                    <a:cubicBezTo>
                      <a:pt x="1916" y="775"/>
                      <a:pt x="1916" y="775"/>
                      <a:pt x="1917" y="774"/>
                    </a:cubicBezTo>
                    <a:cubicBezTo>
                      <a:pt x="1917" y="774"/>
                      <a:pt x="1917" y="774"/>
                      <a:pt x="1917" y="773"/>
                    </a:cubicBezTo>
                    <a:cubicBezTo>
                      <a:pt x="1918" y="772"/>
                      <a:pt x="1918" y="772"/>
                      <a:pt x="1918" y="772"/>
                    </a:cubicBezTo>
                    <a:cubicBezTo>
                      <a:pt x="1919" y="773"/>
                      <a:pt x="1919" y="773"/>
                      <a:pt x="1919" y="773"/>
                    </a:cubicBezTo>
                    <a:cubicBezTo>
                      <a:pt x="1920" y="774"/>
                      <a:pt x="1920" y="774"/>
                      <a:pt x="1920" y="774"/>
                    </a:cubicBezTo>
                    <a:cubicBezTo>
                      <a:pt x="1921" y="773"/>
                      <a:pt x="1921" y="773"/>
                      <a:pt x="1921" y="773"/>
                    </a:cubicBezTo>
                    <a:cubicBezTo>
                      <a:pt x="1923" y="773"/>
                      <a:pt x="1923" y="773"/>
                      <a:pt x="1923" y="773"/>
                    </a:cubicBezTo>
                    <a:cubicBezTo>
                      <a:pt x="1923" y="772"/>
                      <a:pt x="1923" y="772"/>
                      <a:pt x="1923" y="772"/>
                    </a:cubicBezTo>
                    <a:cubicBezTo>
                      <a:pt x="1921" y="771"/>
                      <a:pt x="1921" y="771"/>
                      <a:pt x="1921" y="771"/>
                    </a:cubicBezTo>
                    <a:cubicBezTo>
                      <a:pt x="1921" y="769"/>
                      <a:pt x="1921" y="769"/>
                      <a:pt x="1921" y="769"/>
                    </a:cubicBezTo>
                    <a:cubicBezTo>
                      <a:pt x="1922" y="768"/>
                      <a:pt x="1922" y="768"/>
                      <a:pt x="1922" y="768"/>
                    </a:cubicBezTo>
                    <a:cubicBezTo>
                      <a:pt x="1925" y="769"/>
                      <a:pt x="1925" y="769"/>
                      <a:pt x="1925" y="769"/>
                    </a:cubicBezTo>
                    <a:cubicBezTo>
                      <a:pt x="1927" y="768"/>
                      <a:pt x="1927" y="768"/>
                      <a:pt x="1927" y="768"/>
                    </a:cubicBezTo>
                    <a:cubicBezTo>
                      <a:pt x="1928" y="767"/>
                      <a:pt x="1928" y="767"/>
                      <a:pt x="1928" y="767"/>
                    </a:cubicBezTo>
                    <a:cubicBezTo>
                      <a:pt x="1928" y="766"/>
                      <a:pt x="1928" y="766"/>
                      <a:pt x="1928" y="766"/>
                    </a:cubicBezTo>
                    <a:cubicBezTo>
                      <a:pt x="1927" y="766"/>
                      <a:pt x="1927" y="766"/>
                      <a:pt x="1927" y="766"/>
                    </a:cubicBezTo>
                    <a:cubicBezTo>
                      <a:pt x="1925" y="766"/>
                      <a:pt x="1925" y="766"/>
                      <a:pt x="1925" y="766"/>
                    </a:cubicBezTo>
                    <a:cubicBezTo>
                      <a:pt x="1924" y="765"/>
                      <a:pt x="1924" y="765"/>
                      <a:pt x="1924" y="765"/>
                    </a:cubicBezTo>
                    <a:cubicBezTo>
                      <a:pt x="1923" y="765"/>
                      <a:pt x="1923" y="765"/>
                      <a:pt x="1923" y="765"/>
                    </a:cubicBezTo>
                    <a:cubicBezTo>
                      <a:pt x="1922" y="763"/>
                      <a:pt x="1922" y="763"/>
                      <a:pt x="1922" y="763"/>
                    </a:cubicBezTo>
                    <a:cubicBezTo>
                      <a:pt x="1921" y="763"/>
                      <a:pt x="1921" y="763"/>
                      <a:pt x="1921" y="763"/>
                    </a:cubicBezTo>
                    <a:cubicBezTo>
                      <a:pt x="1920" y="764"/>
                      <a:pt x="1920" y="764"/>
                      <a:pt x="1920" y="764"/>
                    </a:cubicBezTo>
                    <a:cubicBezTo>
                      <a:pt x="1919" y="764"/>
                      <a:pt x="1919" y="764"/>
                      <a:pt x="1919" y="764"/>
                    </a:cubicBezTo>
                    <a:cubicBezTo>
                      <a:pt x="1921" y="763"/>
                      <a:pt x="1921" y="763"/>
                      <a:pt x="1921" y="763"/>
                    </a:cubicBezTo>
                    <a:cubicBezTo>
                      <a:pt x="1920" y="762"/>
                      <a:pt x="1920" y="762"/>
                      <a:pt x="1920" y="762"/>
                    </a:cubicBezTo>
                    <a:cubicBezTo>
                      <a:pt x="1919" y="762"/>
                      <a:pt x="1919" y="762"/>
                      <a:pt x="1919" y="762"/>
                    </a:cubicBezTo>
                    <a:cubicBezTo>
                      <a:pt x="1918" y="763"/>
                      <a:pt x="1918" y="763"/>
                      <a:pt x="1918" y="763"/>
                    </a:cubicBezTo>
                    <a:cubicBezTo>
                      <a:pt x="1917" y="762"/>
                      <a:pt x="1917" y="762"/>
                      <a:pt x="1917" y="762"/>
                    </a:cubicBezTo>
                    <a:cubicBezTo>
                      <a:pt x="1917" y="761"/>
                      <a:pt x="1917" y="761"/>
                      <a:pt x="1917" y="761"/>
                    </a:cubicBezTo>
                    <a:cubicBezTo>
                      <a:pt x="1919" y="760"/>
                      <a:pt x="1919" y="760"/>
                      <a:pt x="1919" y="760"/>
                    </a:cubicBezTo>
                    <a:cubicBezTo>
                      <a:pt x="1918" y="759"/>
                      <a:pt x="1918" y="759"/>
                      <a:pt x="1918" y="759"/>
                    </a:cubicBezTo>
                    <a:cubicBezTo>
                      <a:pt x="1917" y="758"/>
                      <a:pt x="1917" y="758"/>
                      <a:pt x="1917" y="758"/>
                    </a:cubicBezTo>
                    <a:cubicBezTo>
                      <a:pt x="1916" y="759"/>
                      <a:pt x="1916" y="759"/>
                      <a:pt x="1916" y="759"/>
                    </a:cubicBezTo>
                    <a:cubicBezTo>
                      <a:pt x="1915" y="758"/>
                      <a:pt x="1915" y="758"/>
                      <a:pt x="1915" y="758"/>
                    </a:cubicBezTo>
                    <a:cubicBezTo>
                      <a:pt x="1915" y="756"/>
                      <a:pt x="1915" y="756"/>
                      <a:pt x="1915" y="756"/>
                    </a:cubicBezTo>
                    <a:cubicBezTo>
                      <a:pt x="1914" y="755"/>
                      <a:pt x="1914" y="755"/>
                      <a:pt x="1914" y="755"/>
                    </a:cubicBezTo>
                    <a:cubicBezTo>
                      <a:pt x="1913" y="755"/>
                      <a:pt x="1913" y="755"/>
                      <a:pt x="1913" y="755"/>
                    </a:cubicBezTo>
                    <a:cubicBezTo>
                      <a:pt x="1914" y="757"/>
                      <a:pt x="1914" y="757"/>
                      <a:pt x="1914" y="757"/>
                    </a:cubicBezTo>
                    <a:cubicBezTo>
                      <a:pt x="1912" y="758"/>
                      <a:pt x="1912" y="758"/>
                      <a:pt x="1912" y="758"/>
                    </a:cubicBezTo>
                    <a:cubicBezTo>
                      <a:pt x="1912" y="757"/>
                      <a:pt x="1912" y="757"/>
                      <a:pt x="1912" y="757"/>
                    </a:cubicBezTo>
                    <a:cubicBezTo>
                      <a:pt x="1912" y="756"/>
                      <a:pt x="1912" y="756"/>
                      <a:pt x="1912" y="756"/>
                    </a:cubicBezTo>
                    <a:cubicBezTo>
                      <a:pt x="1911" y="756"/>
                      <a:pt x="1911" y="756"/>
                      <a:pt x="1911" y="756"/>
                    </a:cubicBezTo>
                    <a:cubicBezTo>
                      <a:pt x="1910" y="758"/>
                      <a:pt x="1910" y="758"/>
                      <a:pt x="1910" y="758"/>
                    </a:cubicBezTo>
                    <a:cubicBezTo>
                      <a:pt x="1909" y="759"/>
                      <a:pt x="1909" y="759"/>
                      <a:pt x="1909" y="759"/>
                    </a:cubicBezTo>
                    <a:cubicBezTo>
                      <a:pt x="1908" y="762"/>
                      <a:pt x="1908" y="762"/>
                      <a:pt x="1908" y="762"/>
                    </a:cubicBezTo>
                    <a:cubicBezTo>
                      <a:pt x="1908" y="763"/>
                      <a:pt x="1908" y="763"/>
                      <a:pt x="1908" y="763"/>
                    </a:cubicBezTo>
                    <a:cubicBezTo>
                      <a:pt x="1906" y="766"/>
                      <a:pt x="1906" y="766"/>
                      <a:pt x="1906" y="766"/>
                    </a:cubicBezTo>
                    <a:cubicBezTo>
                      <a:pt x="1905" y="766"/>
                      <a:pt x="1905" y="766"/>
                      <a:pt x="1905" y="766"/>
                    </a:cubicBezTo>
                    <a:cubicBezTo>
                      <a:pt x="1903" y="766"/>
                      <a:pt x="1903" y="766"/>
                      <a:pt x="1903" y="766"/>
                    </a:cubicBezTo>
                    <a:cubicBezTo>
                      <a:pt x="1902" y="767"/>
                      <a:pt x="1902" y="767"/>
                      <a:pt x="1902" y="767"/>
                    </a:cubicBezTo>
                    <a:cubicBezTo>
                      <a:pt x="1903" y="767"/>
                      <a:pt x="1903" y="767"/>
                      <a:pt x="1903" y="767"/>
                    </a:cubicBezTo>
                    <a:cubicBezTo>
                      <a:pt x="1902" y="768"/>
                      <a:pt x="1902" y="768"/>
                      <a:pt x="1902" y="768"/>
                    </a:cubicBezTo>
                    <a:cubicBezTo>
                      <a:pt x="1903" y="768"/>
                      <a:pt x="1903" y="768"/>
                      <a:pt x="1903" y="768"/>
                    </a:cubicBezTo>
                    <a:cubicBezTo>
                      <a:pt x="1904" y="768"/>
                      <a:pt x="1904" y="768"/>
                      <a:pt x="1904" y="768"/>
                    </a:cubicBezTo>
                    <a:cubicBezTo>
                      <a:pt x="1903" y="769"/>
                      <a:pt x="1903" y="769"/>
                      <a:pt x="1903" y="769"/>
                    </a:cubicBezTo>
                    <a:cubicBezTo>
                      <a:pt x="1902" y="770"/>
                      <a:pt x="1902" y="770"/>
                      <a:pt x="1902" y="770"/>
                    </a:cubicBezTo>
                    <a:cubicBezTo>
                      <a:pt x="1902" y="769"/>
                      <a:pt x="1902" y="769"/>
                      <a:pt x="1902" y="769"/>
                    </a:cubicBezTo>
                    <a:cubicBezTo>
                      <a:pt x="1901" y="768"/>
                      <a:pt x="1901" y="768"/>
                      <a:pt x="1901" y="768"/>
                    </a:cubicBezTo>
                    <a:cubicBezTo>
                      <a:pt x="1900" y="768"/>
                      <a:pt x="1900" y="768"/>
                      <a:pt x="1900" y="768"/>
                    </a:cubicBezTo>
                    <a:cubicBezTo>
                      <a:pt x="1899" y="769"/>
                      <a:pt x="1899" y="769"/>
                      <a:pt x="1899" y="769"/>
                    </a:cubicBezTo>
                    <a:cubicBezTo>
                      <a:pt x="1896" y="770"/>
                      <a:pt x="1896" y="770"/>
                      <a:pt x="1896" y="770"/>
                    </a:cubicBezTo>
                    <a:cubicBezTo>
                      <a:pt x="1895" y="772"/>
                      <a:pt x="1895" y="772"/>
                      <a:pt x="1895" y="772"/>
                    </a:cubicBezTo>
                    <a:cubicBezTo>
                      <a:pt x="1895" y="773"/>
                      <a:pt x="1895" y="773"/>
                      <a:pt x="1895" y="773"/>
                    </a:cubicBezTo>
                    <a:cubicBezTo>
                      <a:pt x="1894" y="774"/>
                      <a:pt x="1894" y="774"/>
                      <a:pt x="1894" y="774"/>
                    </a:cubicBezTo>
                    <a:cubicBezTo>
                      <a:pt x="1893" y="776"/>
                      <a:pt x="1893" y="776"/>
                      <a:pt x="1893" y="776"/>
                    </a:cubicBezTo>
                    <a:cubicBezTo>
                      <a:pt x="1891" y="777"/>
                      <a:pt x="1891" y="777"/>
                      <a:pt x="1891" y="777"/>
                    </a:cubicBezTo>
                    <a:cubicBezTo>
                      <a:pt x="1891" y="779"/>
                      <a:pt x="1891" y="779"/>
                      <a:pt x="1891" y="779"/>
                    </a:cubicBezTo>
                    <a:cubicBezTo>
                      <a:pt x="1889" y="780"/>
                      <a:pt x="1889" y="780"/>
                      <a:pt x="1889" y="780"/>
                    </a:cubicBezTo>
                    <a:cubicBezTo>
                      <a:pt x="1888" y="782"/>
                      <a:pt x="1888" y="782"/>
                      <a:pt x="1888" y="782"/>
                    </a:cubicBezTo>
                    <a:cubicBezTo>
                      <a:pt x="1883" y="783"/>
                      <a:pt x="1883" y="783"/>
                      <a:pt x="1883" y="783"/>
                    </a:cubicBezTo>
                    <a:cubicBezTo>
                      <a:pt x="1882" y="783"/>
                      <a:pt x="1882" y="783"/>
                      <a:pt x="1882" y="783"/>
                    </a:cubicBezTo>
                    <a:cubicBezTo>
                      <a:pt x="1881" y="784"/>
                      <a:pt x="1881" y="784"/>
                      <a:pt x="1881" y="784"/>
                    </a:cubicBezTo>
                    <a:cubicBezTo>
                      <a:pt x="1880" y="784"/>
                      <a:pt x="1880" y="784"/>
                      <a:pt x="1880" y="784"/>
                    </a:cubicBezTo>
                    <a:cubicBezTo>
                      <a:pt x="1881" y="785"/>
                      <a:pt x="1881" y="785"/>
                      <a:pt x="1881" y="785"/>
                    </a:cubicBezTo>
                    <a:cubicBezTo>
                      <a:pt x="1882" y="785"/>
                      <a:pt x="1882" y="785"/>
                      <a:pt x="1882" y="785"/>
                    </a:cubicBezTo>
                    <a:cubicBezTo>
                      <a:pt x="1881" y="786"/>
                      <a:pt x="1881" y="786"/>
                      <a:pt x="1881" y="786"/>
                    </a:cubicBezTo>
                    <a:cubicBezTo>
                      <a:pt x="1880" y="786"/>
                      <a:pt x="1880" y="786"/>
                      <a:pt x="1880" y="786"/>
                    </a:cubicBezTo>
                    <a:cubicBezTo>
                      <a:pt x="1879" y="787"/>
                      <a:pt x="1879" y="787"/>
                      <a:pt x="1879" y="787"/>
                    </a:cubicBezTo>
                    <a:cubicBezTo>
                      <a:pt x="1879" y="788"/>
                      <a:pt x="1879" y="788"/>
                      <a:pt x="1879" y="788"/>
                    </a:cubicBezTo>
                    <a:cubicBezTo>
                      <a:pt x="1879" y="790"/>
                      <a:pt x="1879" y="790"/>
                      <a:pt x="1879" y="790"/>
                    </a:cubicBezTo>
                    <a:cubicBezTo>
                      <a:pt x="1878" y="791"/>
                      <a:pt x="1878" y="791"/>
                      <a:pt x="1878" y="791"/>
                    </a:cubicBezTo>
                    <a:cubicBezTo>
                      <a:pt x="1878" y="792"/>
                      <a:pt x="1878" y="792"/>
                      <a:pt x="1878" y="792"/>
                    </a:cubicBezTo>
                    <a:cubicBezTo>
                      <a:pt x="1875" y="792"/>
                      <a:pt x="1875" y="792"/>
                      <a:pt x="1875" y="792"/>
                    </a:cubicBezTo>
                    <a:cubicBezTo>
                      <a:pt x="1873" y="791"/>
                      <a:pt x="1873" y="791"/>
                      <a:pt x="1873" y="791"/>
                    </a:cubicBezTo>
                    <a:cubicBezTo>
                      <a:pt x="1871" y="791"/>
                      <a:pt x="1871" y="791"/>
                      <a:pt x="1871" y="791"/>
                    </a:cubicBezTo>
                    <a:cubicBezTo>
                      <a:pt x="1870" y="790"/>
                      <a:pt x="1870" y="790"/>
                      <a:pt x="1870" y="790"/>
                    </a:cubicBezTo>
                    <a:cubicBezTo>
                      <a:pt x="1869" y="789"/>
                      <a:pt x="1869" y="789"/>
                      <a:pt x="1869" y="789"/>
                    </a:cubicBezTo>
                    <a:cubicBezTo>
                      <a:pt x="1869" y="789"/>
                      <a:pt x="1869" y="789"/>
                      <a:pt x="1868" y="789"/>
                    </a:cubicBezTo>
                    <a:cubicBezTo>
                      <a:pt x="1868" y="789"/>
                      <a:pt x="1868" y="789"/>
                      <a:pt x="1867" y="790"/>
                    </a:cubicBezTo>
                    <a:cubicBezTo>
                      <a:pt x="1867" y="790"/>
                      <a:pt x="1867" y="790"/>
                      <a:pt x="1865" y="792"/>
                    </a:cubicBezTo>
                    <a:cubicBezTo>
                      <a:pt x="1865" y="792"/>
                      <a:pt x="1865" y="792"/>
                      <a:pt x="1864" y="794"/>
                    </a:cubicBezTo>
                    <a:cubicBezTo>
                      <a:pt x="1864" y="794"/>
                      <a:pt x="1864" y="794"/>
                      <a:pt x="1865" y="795"/>
                    </a:cubicBezTo>
                    <a:cubicBezTo>
                      <a:pt x="1865" y="795"/>
                      <a:pt x="1865" y="795"/>
                      <a:pt x="1865" y="796"/>
                    </a:cubicBezTo>
                    <a:cubicBezTo>
                      <a:pt x="1865" y="796"/>
                      <a:pt x="1865" y="796"/>
                      <a:pt x="1864" y="797"/>
                    </a:cubicBezTo>
                    <a:cubicBezTo>
                      <a:pt x="1864" y="797"/>
                      <a:pt x="1864" y="797"/>
                      <a:pt x="1864" y="799"/>
                    </a:cubicBezTo>
                    <a:cubicBezTo>
                      <a:pt x="1864" y="799"/>
                      <a:pt x="1864" y="799"/>
                      <a:pt x="1866" y="801"/>
                    </a:cubicBezTo>
                    <a:cubicBezTo>
                      <a:pt x="1866" y="801"/>
                      <a:pt x="1866" y="801"/>
                      <a:pt x="1866" y="802"/>
                    </a:cubicBezTo>
                    <a:cubicBezTo>
                      <a:pt x="1866" y="802"/>
                      <a:pt x="1866" y="802"/>
                      <a:pt x="1865" y="802"/>
                    </a:cubicBezTo>
                    <a:cubicBezTo>
                      <a:pt x="1865" y="802"/>
                      <a:pt x="1865" y="802"/>
                      <a:pt x="1866" y="804"/>
                    </a:cubicBezTo>
                    <a:cubicBezTo>
                      <a:pt x="1866" y="804"/>
                      <a:pt x="1866" y="804"/>
                      <a:pt x="1865" y="804"/>
                    </a:cubicBezTo>
                    <a:cubicBezTo>
                      <a:pt x="1865" y="804"/>
                      <a:pt x="1865" y="804"/>
                      <a:pt x="1866" y="805"/>
                    </a:cubicBezTo>
                    <a:cubicBezTo>
                      <a:pt x="1866" y="805"/>
                      <a:pt x="1866" y="805"/>
                      <a:pt x="1867" y="805"/>
                    </a:cubicBezTo>
                    <a:cubicBezTo>
                      <a:pt x="1867" y="805"/>
                      <a:pt x="1867" y="805"/>
                      <a:pt x="1867" y="804"/>
                    </a:cubicBezTo>
                    <a:cubicBezTo>
                      <a:pt x="1867" y="804"/>
                      <a:pt x="1867" y="804"/>
                      <a:pt x="1868" y="804"/>
                    </a:cubicBezTo>
                    <a:cubicBezTo>
                      <a:pt x="1868" y="804"/>
                      <a:pt x="1868" y="804"/>
                      <a:pt x="1870" y="804"/>
                    </a:cubicBezTo>
                    <a:cubicBezTo>
                      <a:pt x="1870" y="804"/>
                      <a:pt x="1870" y="804"/>
                      <a:pt x="1868" y="805"/>
                    </a:cubicBezTo>
                    <a:cubicBezTo>
                      <a:pt x="1868" y="805"/>
                      <a:pt x="1868" y="805"/>
                      <a:pt x="1867" y="805"/>
                    </a:cubicBezTo>
                    <a:cubicBezTo>
                      <a:pt x="1867" y="805"/>
                      <a:pt x="1867" y="805"/>
                      <a:pt x="1866" y="806"/>
                    </a:cubicBezTo>
                    <a:cubicBezTo>
                      <a:pt x="1866" y="806"/>
                      <a:pt x="1866" y="806"/>
                      <a:pt x="1867" y="806"/>
                    </a:cubicBezTo>
                    <a:cubicBezTo>
                      <a:pt x="1867" y="806"/>
                      <a:pt x="1867" y="806"/>
                      <a:pt x="1869" y="807"/>
                    </a:cubicBezTo>
                    <a:cubicBezTo>
                      <a:pt x="1869" y="807"/>
                      <a:pt x="1869" y="807"/>
                      <a:pt x="1871" y="809"/>
                    </a:cubicBezTo>
                    <a:cubicBezTo>
                      <a:pt x="1871" y="809"/>
                      <a:pt x="1871" y="809"/>
                      <a:pt x="1871" y="810"/>
                    </a:cubicBezTo>
                    <a:cubicBezTo>
                      <a:pt x="1871" y="810"/>
                      <a:pt x="1871" y="810"/>
                      <a:pt x="1871" y="811"/>
                    </a:cubicBezTo>
                    <a:cubicBezTo>
                      <a:pt x="1871" y="811"/>
                      <a:pt x="1871" y="811"/>
                      <a:pt x="1871" y="813"/>
                    </a:cubicBezTo>
                    <a:cubicBezTo>
                      <a:pt x="1871" y="813"/>
                      <a:pt x="1871" y="813"/>
                      <a:pt x="1870" y="813"/>
                    </a:cubicBezTo>
                    <a:cubicBezTo>
                      <a:pt x="1870" y="813"/>
                      <a:pt x="1870" y="813"/>
                      <a:pt x="1870" y="814"/>
                    </a:cubicBezTo>
                    <a:cubicBezTo>
                      <a:pt x="1870" y="814"/>
                      <a:pt x="1870" y="814"/>
                      <a:pt x="1871" y="815"/>
                    </a:cubicBezTo>
                    <a:cubicBezTo>
                      <a:pt x="1871" y="815"/>
                      <a:pt x="1871" y="815"/>
                      <a:pt x="1872" y="818"/>
                    </a:cubicBezTo>
                    <a:cubicBezTo>
                      <a:pt x="1872" y="818"/>
                      <a:pt x="1872" y="818"/>
                      <a:pt x="1872" y="819"/>
                    </a:cubicBezTo>
                    <a:cubicBezTo>
                      <a:pt x="1872" y="819"/>
                      <a:pt x="1872" y="819"/>
                      <a:pt x="1872" y="821"/>
                    </a:cubicBezTo>
                    <a:cubicBezTo>
                      <a:pt x="1872" y="821"/>
                      <a:pt x="1872" y="821"/>
                      <a:pt x="1873" y="821"/>
                    </a:cubicBezTo>
                    <a:cubicBezTo>
                      <a:pt x="1873" y="821"/>
                      <a:pt x="1873" y="821"/>
                      <a:pt x="1874" y="820"/>
                    </a:cubicBezTo>
                    <a:cubicBezTo>
                      <a:pt x="1874" y="820"/>
                      <a:pt x="1874" y="820"/>
                      <a:pt x="1874" y="821"/>
                    </a:cubicBezTo>
                    <a:cubicBezTo>
                      <a:pt x="1874" y="821"/>
                      <a:pt x="1874" y="821"/>
                      <a:pt x="1876" y="821"/>
                    </a:cubicBezTo>
                    <a:cubicBezTo>
                      <a:pt x="1876" y="821"/>
                      <a:pt x="1876" y="821"/>
                      <a:pt x="1877" y="821"/>
                    </a:cubicBezTo>
                    <a:cubicBezTo>
                      <a:pt x="1877" y="821"/>
                      <a:pt x="1877" y="821"/>
                      <a:pt x="1878" y="821"/>
                    </a:cubicBezTo>
                    <a:cubicBezTo>
                      <a:pt x="1878" y="821"/>
                      <a:pt x="1878" y="821"/>
                      <a:pt x="1879" y="820"/>
                    </a:cubicBezTo>
                    <a:cubicBezTo>
                      <a:pt x="1879" y="820"/>
                      <a:pt x="1879" y="820"/>
                      <a:pt x="1880" y="821"/>
                    </a:cubicBezTo>
                    <a:cubicBezTo>
                      <a:pt x="1880" y="821"/>
                      <a:pt x="1880" y="821"/>
                      <a:pt x="1881" y="820"/>
                    </a:cubicBezTo>
                    <a:cubicBezTo>
                      <a:pt x="1881" y="820"/>
                      <a:pt x="1881" y="820"/>
                      <a:pt x="1882" y="819"/>
                    </a:cubicBezTo>
                    <a:cubicBezTo>
                      <a:pt x="1882" y="819"/>
                      <a:pt x="1882" y="819"/>
                      <a:pt x="1882" y="820"/>
                    </a:cubicBezTo>
                    <a:cubicBezTo>
                      <a:pt x="1882" y="820"/>
                      <a:pt x="1882" y="820"/>
                      <a:pt x="1882" y="822"/>
                    </a:cubicBezTo>
                    <a:cubicBezTo>
                      <a:pt x="1882" y="822"/>
                      <a:pt x="1882" y="822"/>
                      <a:pt x="1882" y="824"/>
                    </a:cubicBezTo>
                    <a:cubicBezTo>
                      <a:pt x="1882" y="824"/>
                      <a:pt x="1882" y="824"/>
                      <a:pt x="1882" y="825"/>
                    </a:cubicBezTo>
                    <a:cubicBezTo>
                      <a:pt x="1882" y="825"/>
                      <a:pt x="1882" y="825"/>
                      <a:pt x="1883" y="825"/>
                    </a:cubicBezTo>
                    <a:cubicBezTo>
                      <a:pt x="1883" y="825"/>
                      <a:pt x="1883" y="825"/>
                      <a:pt x="1884" y="823"/>
                    </a:cubicBezTo>
                    <a:cubicBezTo>
                      <a:pt x="1884" y="823"/>
                      <a:pt x="1884" y="823"/>
                      <a:pt x="1885" y="823"/>
                    </a:cubicBezTo>
                    <a:cubicBezTo>
                      <a:pt x="1885" y="823"/>
                      <a:pt x="1885" y="823"/>
                      <a:pt x="1886" y="824"/>
                    </a:cubicBezTo>
                    <a:cubicBezTo>
                      <a:pt x="1886" y="824"/>
                      <a:pt x="1886" y="824"/>
                      <a:pt x="1887" y="824"/>
                    </a:cubicBezTo>
                    <a:cubicBezTo>
                      <a:pt x="1887" y="824"/>
                      <a:pt x="1887" y="824"/>
                      <a:pt x="1887" y="823"/>
                    </a:cubicBezTo>
                    <a:cubicBezTo>
                      <a:pt x="1887" y="823"/>
                      <a:pt x="1887" y="823"/>
                      <a:pt x="1889" y="823"/>
                    </a:cubicBezTo>
                    <a:cubicBezTo>
                      <a:pt x="1889" y="823"/>
                      <a:pt x="1889" y="823"/>
                      <a:pt x="1890" y="822"/>
                    </a:cubicBezTo>
                    <a:cubicBezTo>
                      <a:pt x="1890" y="822"/>
                      <a:pt x="1890" y="822"/>
                      <a:pt x="1891" y="822"/>
                    </a:cubicBezTo>
                    <a:cubicBezTo>
                      <a:pt x="1891" y="822"/>
                      <a:pt x="1891" y="822"/>
                      <a:pt x="1892" y="822"/>
                    </a:cubicBezTo>
                    <a:cubicBezTo>
                      <a:pt x="1892" y="822"/>
                      <a:pt x="1892" y="822"/>
                      <a:pt x="1893" y="822"/>
                    </a:cubicBezTo>
                    <a:cubicBezTo>
                      <a:pt x="1893" y="822"/>
                      <a:pt x="1893" y="822"/>
                      <a:pt x="1893" y="823"/>
                    </a:cubicBezTo>
                    <a:cubicBezTo>
                      <a:pt x="1893" y="823"/>
                      <a:pt x="1893" y="823"/>
                      <a:pt x="1893" y="824"/>
                    </a:cubicBezTo>
                    <a:cubicBezTo>
                      <a:pt x="1893" y="824"/>
                      <a:pt x="1893" y="824"/>
                      <a:pt x="1894" y="824"/>
                    </a:cubicBezTo>
                    <a:cubicBezTo>
                      <a:pt x="1894" y="824"/>
                      <a:pt x="1894" y="824"/>
                      <a:pt x="1894" y="823"/>
                    </a:cubicBezTo>
                    <a:cubicBezTo>
                      <a:pt x="1894" y="823"/>
                      <a:pt x="1894" y="823"/>
                      <a:pt x="1895" y="824"/>
                    </a:cubicBezTo>
                    <a:cubicBezTo>
                      <a:pt x="1895" y="824"/>
                      <a:pt x="1895" y="824"/>
                      <a:pt x="1896" y="824"/>
                    </a:cubicBezTo>
                    <a:cubicBezTo>
                      <a:pt x="1896" y="824"/>
                      <a:pt x="1896" y="824"/>
                      <a:pt x="1897" y="824"/>
                    </a:cubicBezTo>
                    <a:cubicBezTo>
                      <a:pt x="1897" y="824"/>
                      <a:pt x="1897" y="824"/>
                      <a:pt x="1898" y="824"/>
                    </a:cubicBezTo>
                    <a:cubicBezTo>
                      <a:pt x="1898" y="824"/>
                      <a:pt x="1898" y="824"/>
                      <a:pt x="1898" y="825"/>
                    </a:cubicBezTo>
                    <a:cubicBezTo>
                      <a:pt x="1898" y="825"/>
                      <a:pt x="1898" y="825"/>
                      <a:pt x="1899" y="826"/>
                    </a:cubicBezTo>
                    <a:cubicBezTo>
                      <a:pt x="1899" y="826"/>
                      <a:pt x="1899" y="826"/>
                      <a:pt x="1898" y="827"/>
                    </a:cubicBezTo>
                    <a:cubicBezTo>
                      <a:pt x="1898" y="827"/>
                      <a:pt x="1898" y="827"/>
                      <a:pt x="1899" y="828"/>
                    </a:cubicBezTo>
                    <a:cubicBezTo>
                      <a:pt x="1899" y="828"/>
                      <a:pt x="1899" y="828"/>
                      <a:pt x="1900" y="828"/>
                    </a:cubicBezTo>
                    <a:cubicBezTo>
                      <a:pt x="1900" y="828"/>
                      <a:pt x="1900" y="828"/>
                      <a:pt x="1903" y="827"/>
                    </a:cubicBezTo>
                    <a:cubicBezTo>
                      <a:pt x="1903" y="827"/>
                      <a:pt x="1903" y="827"/>
                      <a:pt x="1904" y="827"/>
                    </a:cubicBezTo>
                    <a:cubicBezTo>
                      <a:pt x="1904" y="827"/>
                      <a:pt x="1904" y="827"/>
                      <a:pt x="1907" y="825"/>
                    </a:cubicBezTo>
                    <a:cubicBezTo>
                      <a:pt x="1907" y="825"/>
                      <a:pt x="1907" y="825"/>
                      <a:pt x="1908" y="823"/>
                    </a:cubicBezTo>
                    <a:cubicBezTo>
                      <a:pt x="1908" y="823"/>
                      <a:pt x="1908" y="823"/>
                      <a:pt x="1908" y="822"/>
                    </a:cubicBezTo>
                    <a:close/>
                    <a:moveTo>
                      <a:pt x="1943" y="804"/>
                    </a:moveTo>
                    <a:cubicBezTo>
                      <a:pt x="1943" y="804"/>
                      <a:pt x="1943" y="804"/>
                      <a:pt x="1944" y="805"/>
                    </a:cubicBezTo>
                    <a:cubicBezTo>
                      <a:pt x="1944" y="805"/>
                      <a:pt x="1944" y="805"/>
                      <a:pt x="1945" y="805"/>
                    </a:cubicBezTo>
                    <a:cubicBezTo>
                      <a:pt x="1945" y="805"/>
                      <a:pt x="1945" y="805"/>
                      <a:pt x="1944" y="804"/>
                    </a:cubicBezTo>
                    <a:cubicBezTo>
                      <a:pt x="1944" y="804"/>
                      <a:pt x="1944" y="804"/>
                      <a:pt x="1943" y="804"/>
                    </a:cubicBezTo>
                    <a:close/>
                    <a:moveTo>
                      <a:pt x="1973" y="813"/>
                    </a:moveTo>
                    <a:cubicBezTo>
                      <a:pt x="1973" y="813"/>
                      <a:pt x="1973" y="813"/>
                      <a:pt x="1972" y="813"/>
                    </a:cubicBezTo>
                    <a:cubicBezTo>
                      <a:pt x="1972" y="813"/>
                      <a:pt x="1972" y="813"/>
                      <a:pt x="1969" y="813"/>
                    </a:cubicBezTo>
                    <a:cubicBezTo>
                      <a:pt x="1969" y="813"/>
                      <a:pt x="1969" y="813"/>
                      <a:pt x="1968" y="813"/>
                    </a:cubicBezTo>
                    <a:cubicBezTo>
                      <a:pt x="1968" y="813"/>
                      <a:pt x="1968" y="813"/>
                      <a:pt x="1967" y="813"/>
                    </a:cubicBezTo>
                    <a:cubicBezTo>
                      <a:pt x="1967" y="813"/>
                      <a:pt x="1967" y="813"/>
                      <a:pt x="1966" y="812"/>
                    </a:cubicBezTo>
                    <a:cubicBezTo>
                      <a:pt x="1966" y="812"/>
                      <a:pt x="1966" y="812"/>
                      <a:pt x="1965" y="813"/>
                    </a:cubicBezTo>
                    <a:cubicBezTo>
                      <a:pt x="1965" y="813"/>
                      <a:pt x="1965" y="813"/>
                      <a:pt x="1964" y="813"/>
                    </a:cubicBezTo>
                    <a:cubicBezTo>
                      <a:pt x="1964" y="813"/>
                      <a:pt x="1964" y="813"/>
                      <a:pt x="1963" y="812"/>
                    </a:cubicBezTo>
                    <a:cubicBezTo>
                      <a:pt x="1963" y="812"/>
                      <a:pt x="1963" y="812"/>
                      <a:pt x="1962" y="813"/>
                    </a:cubicBezTo>
                    <a:cubicBezTo>
                      <a:pt x="1962" y="813"/>
                      <a:pt x="1962" y="813"/>
                      <a:pt x="1961" y="812"/>
                    </a:cubicBezTo>
                    <a:cubicBezTo>
                      <a:pt x="1961" y="812"/>
                      <a:pt x="1961" y="812"/>
                      <a:pt x="1961" y="813"/>
                    </a:cubicBezTo>
                    <a:cubicBezTo>
                      <a:pt x="1961" y="813"/>
                      <a:pt x="1961" y="813"/>
                      <a:pt x="1961" y="814"/>
                    </a:cubicBezTo>
                    <a:cubicBezTo>
                      <a:pt x="1961" y="814"/>
                      <a:pt x="1961" y="814"/>
                      <a:pt x="1962" y="815"/>
                    </a:cubicBezTo>
                    <a:cubicBezTo>
                      <a:pt x="1962" y="815"/>
                      <a:pt x="1962" y="815"/>
                      <a:pt x="1964" y="814"/>
                    </a:cubicBezTo>
                    <a:cubicBezTo>
                      <a:pt x="1964" y="814"/>
                      <a:pt x="1964" y="814"/>
                      <a:pt x="1966" y="814"/>
                    </a:cubicBezTo>
                    <a:cubicBezTo>
                      <a:pt x="1966" y="814"/>
                      <a:pt x="1966" y="814"/>
                      <a:pt x="1967" y="814"/>
                    </a:cubicBezTo>
                    <a:cubicBezTo>
                      <a:pt x="1967" y="814"/>
                      <a:pt x="1967" y="814"/>
                      <a:pt x="1969" y="814"/>
                    </a:cubicBezTo>
                    <a:cubicBezTo>
                      <a:pt x="1969" y="814"/>
                      <a:pt x="1969" y="814"/>
                      <a:pt x="1972" y="814"/>
                    </a:cubicBezTo>
                    <a:cubicBezTo>
                      <a:pt x="1972" y="814"/>
                      <a:pt x="1972" y="814"/>
                      <a:pt x="1973" y="813"/>
                    </a:cubicBezTo>
                    <a:close/>
                    <a:moveTo>
                      <a:pt x="2051" y="856"/>
                    </a:moveTo>
                    <a:cubicBezTo>
                      <a:pt x="2052" y="855"/>
                      <a:pt x="2052" y="855"/>
                      <a:pt x="2052" y="855"/>
                    </a:cubicBezTo>
                    <a:cubicBezTo>
                      <a:pt x="2051" y="854"/>
                      <a:pt x="2051" y="854"/>
                      <a:pt x="2051" y="854"/>
                    </a:cubicBezTo>
                    <a:cubicBezTo>
                      <a:pt x="2050" y="854"/>
                      <a:pt x="2050" y="854"/>
                      <a:pt x="2050" y="854"/>
                    </a:cubicBezTo>
                    <a:cubicBezTo>
                      <a:pt x="2050" y="855"/>
                      <a:pt x="2050" y="855"/>
                      <a:pt x="2050" y="855"/>
                    </a:cubicBezTo>
                    <a:cubicBezTo>
                      <a:pt x="2051" y="856"/>
                      <a:pt x="2051" y="856"/>
                      <a:pt x="2051" y="856"/>
                    </a:cubicBezTo>
                    <a:close/>
                    <a:moveTo>
                      <a:pt x="1918" y="779"/>
                    </a:moveTo>
                    <a:cubicBezTo>
                      <a:pt x="1918" y="779"/>
                      <a:pt x="1918" y="779"/>
                      <a:pt x="1917" y="778"/>
                    </a:cubicBezTo>
                    <a:cubicBezTo>
                      <a:pt x="1917" y="778"/>
                      <a:pt x="1917" y="778"/>
                      <a:pt x="1918" y="780"/>
                    </a:cubicBezTo>
                    <a:cubicBezTo>
                      <a:pt x="1918" y="780"/>
                      <a:pt x="1918" y="780"/>
                      <a:pt x="1918" y="779"/>
                    </a:cubicBezTo>
                    <a:close/>
                    <a:moveTo>
                      <a:pt x="1905" y="856"/>
                    </a:moveTo>
                    <a:cubicBezTo>
                      <a:pt x="1903" y="854"/>
                      <a:pt x="1903" y="854"/>
                      <a:pt x="1903" y="854"/>
                    </a:cubicBezTo>
                    <a:cubicBezTo>
                      <a:pt x="1902" y="854"/>
                      <a:pt x="1902" y="854"/>
                      <a:pt x="1902" y="854"/>
                    </a:cubicBezTo>
                    <a:cubicBezTo>
                      <a:pt x="1900" y="854"/>
                      <a:pt x="1900" y="854"/>
                      <a:pt x="1900" y="854"/>
                    </a:cubicBezTo>
                    <a:cubicBezTo>
                      <a:pt x="1898" y="854"/>
                      <a:pt x="1898" y="854"/>
                      <a:pt x="1898" y="854"/>
                    </a:cubicBezTo>
                    <a:cubicBezTo>
                      <a:pt x="1897" y="854"/>
                      <a:pt x="1897" y="854"/>
                      <a:pt x="1897" y="854"/>
                    </a:cubicBezTo>
                    <a:cubicBezTo>
                      <a:pt x="1897" y="855"/>
                      <a:pt x="1897" y="855"/>
                      <a:pt x="1897" y="855"/>
                    </a:cubicBezTo>
                    <a:cubicBezTo>
                      <a:pt x="1898" y="856"/>
                      <a:pt x="1898" y="856"/>
                      <a:pt x="1898" y="856"/>
                    </a:cubicBezTo>
                    <a:cubicBezTo>
                      <a:pt x="1899" y="856"/>
                      <a:pt x="1899" y="856"/>
                      <a:pt x="1899" y="856"/>
                    </a:cubicBezTo>
                    <a:cubicBezTo>
                      <a:pt x="1901" y="857"/>
                      <a:pt x="1901" y="857"/>
                      <a:pt x="1901" y="857"/>
                    </a:cubicBezTo>
                    <a:cubicBezTo>
                      <a:pt x="1901" y="858"/>
                      <a:pt x="1901" y="858"/>
                      <a:pt x="1901" y="858"/>
                    </a:cubicBezTo>
                    <a:cubicBezTo>
                      <a:pt x="1902" y="857"/>
                      <a:pt x="1902" y="857"/>
                      <a:pt x="1902" y="857"/>
                    </a:cubicBezTo>
                    <a:cubicBezTo>
                      <a:pt x="1903" y="857"/>
                      <a:pt x="1903" y="857"/>
                      <a:pt x="1903" y="857"/>
                    </a:cubicBezTo>
                    <a:cubicBezTo>
                      <a:pt x="1903" y="856"/>
                      <a:pt x="1903" y="856"/>
                      <a:pt x="1903" y="856"/>
                    </a:cubicBezTo>
                    <a:cubicBezTo>
                      <a:pt x="1904" y="856"/>
                      <a:pt x="1904" y="856"/>
                      <a:pt x="1904" y="856"/>
                    </a:cubicBezTo>
                    <a:cubicBezTo>
                      <a:pt x="1905" y="856"/>
                      <a:pt x="1905" y="856"/>
                      <a:pt x="1905" y="856"/>
                    </a:cubicBezTo>
                    <a:close/>
                    <a:moveTo>
                      <a:pt x="1976" y="776"/>
                    </a:moveTo>
                    <a:cubicBezTo>
                      <a:pt x="1976" y="776"/>
                      <a:pt x="1976" y="776"/>
                      <a:pt x="1976" y="775"/>
                    </a:cubicBezTo>
                    <a:cubicBezTo>
                      <a:pt x="1976" y="775"/>
                      <a:pt x="1976" y="775"/>
                      <a:pt x="1975" y="775"/>
                    </a:cubicBezTo>
                    <a:lnTo>
                      <a:pt x="1976" y="776"/>
                    </a:lnTo>
                    <a:close/>
                    <a:moveTo>
                      <a:pt x="2001" y="808"/>
                    </a:moveTo>
                    <a:cubicBezTo>
                      <a:pt x="2001" y="810"/>
                      <a:pt x="2001" y="810"/>
                      <a:pt x="2001" y="810"/>
                    </a:cubicBezTo>
                    <a:cubicBezTo>
                      <a:pt x="2003" y="810"/>
                      <a:pt x="2003" y="810"/>
                      <a:pt x="2003" y="810"/>
                    </a:cubicBezTo>
                    <a:cubicBezTo>
                      <a:pt x="2003" y="807"/>
                      <a:pt x="2003" y="807"/>
                      <a:pt x="2003" y="807"/>
                    </a:cubicBezTo>
                    <a:cubicBezTo>
                      <a:pt x="2001" y="808"/>
                      <a:pt x="2001" y="808"/>
                      <a:pt x="2001" y="808"/>
                    </a:cubicBezTo>
                    <a:close/>
                    <a:moveTo>
                      <a:pt x="1993" y="844"/>
                    </a:moveTo>
                    <a:cubicBezTo>
                      <a:pt x="1992" y="845"/>
                      <a:pt x="1992" y="845"/>
                      <a:pt x="1992" y="845"/>
                    </a:cubicBezTo>
                    <a:cubicBezTo>
                      <a:pt x="1993" y="845"/>
                      <a:pt x="1993" y="845"/>
                      <a:pt x="1993" y="845"/>
                    </a:cubicBezTo>
                    <a:cubicBezTo>
                      <a:pt x="1993" y="844"/>
                      <a:pt x="1993" y="844"/>
                      <a:pt x="1993" y="844"/>
                    </a:cubicBezTo>
                    <a:close/>
                    <a:moveTo>
                      <a:pt x="1995" y="853"/>
                    </a:moveTo>
                    <a:cubicBezTo>
                      <a:pt x="1995" y="853"/>
                      <a:pt x="1995" y="853"/>
                      <a:pt x="1994" y="852"/>
                    </a:cubicBezTo>
                    <a:cubicBezTo>
                      <a:pt x="1994" y="852"/>
                      <a:pt x="1994" y="852"/>
                      <a:pt x="1994" y="851"/>
                    </a:cubicBezTo>
                    <a:cubicBezTo>
                      <a:pt x="1994" y="851"/>
                      <a:pt x="1994" y="851"/>
                      <a:pt x="1993" y="852"/>
                    </a:cubicBezTo>
                    <a:cubicBezTo>
                      <a:pt x="1993" y="852"/>
                      <a:pt x="1993" y="852"/>
                      <a:pt x="1993" y="853"/>
                    </a:cubicBezTo>
                    <a:cubicBezTo>
                      <a:pt x="1993" y="853"/>
                      <a:pt x="1993" y="853"/>
                      <a:pt x="1994" y="853"/>
                    </a:cubicBezTo>
                    <a:cubicBezTo>
                      <a:pt x="1994" y="853"/>
                      <a:pt x="1994" y="853"/>
                      <a:pt x="1995" y="853"/>
                    </a:cubicBezTo>
                    <a:close/>
                    <a:moveTo>
                      <a:pt x="1931" y="767"/>
                    </a:moveTo>
                    <a:cubicBezTo>
                      <a:pt x="1931" y="767"/>
                      <a:pt x="1931" y="767"/>
                      <a:pt x="1931" y="768"/>
                    </a:cubicBezTo>
                    <a:cubicBezTo>
                      <a:pt x="1931" y="768"/>
                      <a:pt x="1931" y="768"/>
                      <a:pt x="1933" y="768"/>
                    </a:cubicBezTo>
                    <a:cubicBezTo>
                      <a:pt x="1933" y="768"/>
                      <a:pt x="1933" y="768"/>
                      <a:pt x="1934" y="767"/>
                    </a:cubicBezTo>
                    <a:cubicBezTo>
                      <a:pt x="1934" y="767"/>
                      <a:pt x="1934" y="767"/>
                      <a:pt x="1934" y="766"/>
                    </a:cubicBezTo>
                    <a:cubicBezTo>
                      <a:pt x="1934" y="766"/>
                      <a:pt x="1934" y="766"/>
                      <a:pt x="1933" y="766"/>
                    </a:cubicBezTo>
                    <a:cubicBezTo>
                      <a:pt x="1933" y="766"/>
                      <a:pt x="1933" y="766"/>
                      <a:pt x="1931" y="767"/>
                    </a:cubicBezTo>
                    <a:close/>
                    <a:moveTo>
                      <a:pt x="1963" y="856"/>
                    </a:moveTo>
                    <a:cubicBezTo>
                      <a:pt x="1964" y="855"/>
                      <a:pt x="1964" y="855"/>
                      <a:pt x="1964" y="855"/>
                    </a:cubicBezTo>
                    <a:cubicBezTo>
                      <a:pt x="1963" y="855"/>
                      <a:pt x="1963" y="855"/>
                      <a:pt x="1963" y="855"/>
                    </a:cubicBezTo>
                    <a:cubicBezTo>
                      <a:pt x="1962" y="855"/>
                      <a:pt x="1962" y="855"/>
                      <a:pt x="1962" y="855"/>
                    </a:cubicBezTo>
                    <a:cubicBezTo>
                      <a:pt x="1961" y="854"/>
                      <a:pt x="1961" y="854"/>
                      <a:pt x="1961" y="854"/>
                    </a:cubicBezTo>
                    <a:cubicBezTo>
                      <a:pt x="1960" y="855"/>
                      <a:pt x="1960" y="855"/>
                      <a:pt x="1960" y="855"/>
                    </a:cubicBezTo>
                    <a:cubicBezTo>
                      <a:pt x="1960" y="856"/>
                      <a:pt x="1960" y="856"/>
                      <a:pt x="1960" y="856"/>
                    </a:cubicBezTo>
                    <a:cubicBezTo>
                      <a:pt x="1961" y="857"/>
                      <a:pt x="1961" y="857"/>
                      <a:pt x="1961" y="857"/>
                    </a:cubicBezTo>
                    <a:cubicBezTo>
                      <a:pt x="1963" y="856"/>
                      <a:pt x="1963" y="856"/>
                      <a:pt x="1963" y="856"/>
                    </a:cubicBezTo>
                    <a:close/>
                    <a:moveTo>
                      <a:pt x="1880" y="785"/>
                    </a:moveTo>
                    <a:cubicBezTo>
                      <a:pt x="1879" y="786"/>
                      <a:pt x="1879" y="786"/>
                      <a:pt x="1879" y="786"/>
                    </a:cubicBezTo>
                    <a:cubicBezTo>
                      <a:pt x="1880" y="786"/>
                      <a:pt x="1880" y="786"/>
                      <a:pt x="1880" y="786"/>
                    </a:cubicBezTo>
                    <a:cubicBezTo>
                      <a:pt x="1881" y="785"/>
                      <a:pt x="1881" y="785"/>
                      <a:pt x="1881" y="785"/>
                    </a:cubicBezTo>
                    <a:cubicBezTo>
                      <a:pt x="1880" y="785"/>
                      <a:pt x="1880" y="785"/>
                      <a:pt x="1880" y="785"/>
                    </a:cubicBezTo>
                    <a:close/>
                    <a:moveTo>
                      <a:pt x="1915" y="754"/>
                    </a:moveTo>
                    <a:cubicBezTo>
                      <a:pt x="1915" y="753"/>
                      <a:pt x="1915" y="753"/>
                      <a:pt x="1915" y="753"/>
                    </a:cubicBezTo>
                    <a:cubicBezTo>
                      <a:pt x="1914" y="754"/>
                      <a:pt x="1914" y="754"/>
                      <a:pt x="1914" y="754"/>
                    </a:cubicBezTo>
                    <a:cubicBezTo>
                      <a:pt x="1915" y="754"/>
                      <a:pt x="1915" y="754"/>
                      <a:pt x="1915" y="754"/>
                    </a:cubicBezTo>
                    <a:close/>
                    <a:moveTo>
                      <a:pt x="1807" y="764"/>
                    </a:moveTo>
                    <a:cubicBezTo>
                      <a:pt x="1808" y="766"/>
                      <a:pt x="1808" y="766"/>
                      <a:pt x="1808" y="766"/>
                    </a:cubicBezTo>
                    <a:cubicBezTo>
                      <a:pt x="1809" y="766"/>
                      <a:pt x="1809" y="766"/>
                      <a:pt x="1809" y="766"/>
                    </a:cubicBezTo>
                    <a:cubicBezTo>
                      <a:pt x="1809" y="765"/>
                      <a:pt x="1809" y="765"/>
                      <a:pt x="1809" y="765"/>
                    </a:cubicBezTo>
                    <a:cubicBezTo>
                      <a:pt x="1808" y="764"/>
                      <a:pt x="1808" y="764"/>
                      <a:pt x="1808" y="764"/>
                    </a:cubicBezTo>
                    <a:cubicBezTo>
                      <a:pt x="1807" y="764"/>
                      <a:pt x="1807" y="764"/>
                      <a:pt x="1807" y="764"/>
                    </a:cubicBezTo>
                    <a:close/>
                    <a:moveTo>
                      <a:pt x="1831" y="735"/>
                    </a:moveTo>
                    <a:cubicBezTo>
                      <a:pt x="1832" y="735"/>
                      <a:pt x="1832" y="735"/>
                      <a:pt x="1832" y="735"/>
                    </a:cubicBezTo>
                    <a:cubicBezTo>
                      <a:pt x="1832" y="733"/>
                      <a:pt x="1832" y="733"/>
                      <a:pt x="1832" y="733"/>
                    </a:cubicBezTo>
                    <a:cubicBezTo>
                      <a:pt x="1831" y="732"/>
                      <a:pt x="1831" y="732"/>
                      <a:pt x="1831" y="732"/>
                    </a:cubicBezTo>
                    <a:cubicBezTo>
                      <a:pt x="1830" y="733"/>
                      <a:pt x="1830" y="733"/>
                      <a:pt x="1830" y="733"/>
                    </a:cubicBezTo>
                    <a:cubicBezTo>
                      <a:pt x="1831" y="734"/>
                      <a:pt x="1831" y="734"/>
                      <a:pt x="1831" y="734"/>
                    </a:cubicBezTo>
                    <a:cubicBezTo>
                      <a:pt x="1830" y="734"/>
                      <a:pt x="1830" y="734"/>
                      <a:pt x="1830" y="734"/>
                    </a:cubicBezTo>
                    <a:cubicBezTo>
                      <a:pt x="1831" y="735"/>
                      <a:pt x="1831" y="735"/>
                      <a:pt x="1831" y="735"/>
                    </a:cubicBezTo>
                    <a:close/>
                    <a:moveTo>
                      <a:pt x="1818" y="722"/>
                    </a:moveTo>
                    <a:cubicBezTo>
                      <a:pt x="1819" y="723"/>
                      <a:pt x="1819" y="723"/>
                      <a:pt x="1819" y="723"/>
                    </a:cubicBezTo>
                    <a:cubicBezTo>
                      <a:pt x="1820" y="722"/>
                      <a:pt x="1820" y="722"/>
                      <a:pt x="1820" y="722"/>
                    </a:cubicBezTo>
                    <a:cubicBezTo>
                      <a:pt x="1818" y="721"/>
                      <a:pt x="1818" y="721"/>
                      <a:pt x="1818" y="721"/>
                    </a:cubicBezTo>
                    <a:cubicBezTo>
                      <a:pt x="1818" y="722"/>
                      <a:pt x="1818" y="722"/>
                      <a:pt x="1818" y="722"/>
                    </a:cubicBezTo>
                    <a:close/>
                    <a:moveTo>
                      <a:pt x="1804" y="758"/>
                    </a:moveTo>
                    <a:cubicBezTo>
                      <a:pt x="1805" y="758"/>
                      <a:pt x="1805" y="758"/>
                      <a:pt x="1805" y="758"/>
                    </a:cubicBezTo>
                    <a:cubicBezTo>
                      <a:pt x="1805" y="757"/>
                      <a:pt x="1805" y="757"/>
                      <a:pt x="1805" y="757"/>
                    </a:cubicBezTo>
                    <a:cubicBezTo>
                      <a:pt x="1804" y="757"/>
                      <a:pt x="1804" y="757"/>
                      <a:pt x="1804" y="757"/>
                    </a:cubicBezTo>
                    <a:cubicBezTo>
                      <a:pt x="1804" y="758"/>
                      <a:pt x="1804" y="758"/>
                      <a:pt x="1804" y="758"/>
                    </a:cubicBezTo>
                    <a:close/>
                    <a:moveTo>
                      <a:pt x="1806" y="736"/>
                    </a:moveTo>
                    <a:cubicBezTo>
                      <a:pt x="1805" y="737"/>
                      <a:pt x="1805" y="737"/>
                      <a:pt x="1805" y="737"/>
                    </a:cubicBezTo>
                    <a:cubicBezTo>
                      <a:pt x="1806" y="737"/>
                      <a:pt x="1806" y="737"/>
                      <a:pt x="1806" y="737"/>
                    </a:cubicBezTo>
                    <a:cubicBezTo>
                      <a:pt x="1806" y="736"/>
                      <a:pt x="1806" y="736"/>
                      <a:pt x="1806" y="736"/>
                    </a:cubicBezTo>
                    <a:close/>
                    <a:moveTo>
                      <a:pt x="1796" y="749"/>
                    </a:moveTo>
                    <a:cubicBezTo>
                      <a:pt x="1796" y="748"/>
                      <a:pt x="1796" y="748"/>
                      <a:pt x="1796" y="748"/>
                    </a:cubicBezTo>
                    <a:cubicBezTo>
                      <a:pt x="1795" y="749"/>
                      <a:pt x="1795" y="749"/>
                      <a:pt x="1795" y="749"/>
                    </a:cubicBezTo>
                    <a:cubicBezTo>
                      <a:pt x="1796" y="749"/>
                      <a:pt x="1796" y="749"/>
                      <a:pt x="1796" y="749"/>
                    </a:cubicBezTo>
                    <a:close/>
                    <a:moveTo>
                      <a:pt x="1805" y="739"/>
                    </a:moveTo>
                    <a:cubicBezTo>
                      <a:pt x="1806" y="740"/>
                      <a:pt x="1806" y="740"/>
                      <a:pt x="1806" y="740"/>
                    </a:cubicBezTo>
                    <a:cubicBezTo>
                      <a:pt x="1807" y="738"/>
                      <a:pt x="1807" y="738"/>
                      <a:pt x="1807" y="738"/>
                    </a:cubicBezTo>
                    <a:cubicBezTo>
                      <a:pt x="1806" y="738"/>
                      <a:pt x="1806" y="738"/>
                      <a:pt x="1806" y="738"/>
                    </a:cubicBezTo>
                    <a:cubicBezTo>
                      <a:pt x="1805" y="738"/>
                      <a:pt x="1805" y="738"/>
                      <a:pt x="1805" y="738"/>
                    </a:cubicBezTo>
                    <a:cubicBezTo>
                      <a:pt x="1805" y="739"/>
                      <a:pt x="1805" y="739"/>
                      <a:pt x="1805" y="739"/>
                    </a:cubicBezTo>
                    <a:close/>
                    <a:moveTo>
                      <a:pt x="1759" y="677"/>
                    </a:moveTo>
                    <a:cubicBezTo>
                      <a:pt x="1760" y="678"/>
                      <a:pt x="1760" y="678"/>
                      <a:pt x="1760" y="678"/>
                    </a:cubicBezTo>
                    <a:cubicBezTo>
                      <a:pt x="1761" y="679"/>
                      <a:pt x="1761" y="679"/>
                      <a:pt x="1761" y="679"/>
                    </a:cubicBezTo>
                    <a:cubicBezTo>
                      <a:pt x="1761" y="678"/>
                      <a:pt x="1761" y="678"/>
                      <a:pt x="1761" y="678"/>
                    </a:cubicBezTo>
                    <a:cubicBezTo>
                      <a:pt x="1760" y="677"/>
                      <a:pt x="1760" y="677"/>
                      <a:pt x="1760" y="677"/>
                    </a:cubicBezTo>
                    <a:cubicBezTo>
                      <a:pt x="1759" y="677"/>
                      <a:pt x="1759" y="677"/>
                      <a:pt x="1759" y="677"/>
                    </a:cubicBezTo>
                    <a:close/>
                    <a:moveTo>
                      <a:pt x="1777" y="694"/>
                    </a:moveTo>
                    <a:cubicBezTo>
                      <a:pt x="1777" y="694"/>
                      <a:pt x="1777" y="694"/>
                      <a:pt x="1774" y="696"/>
                    </a:cubicBezTo>
                    <a:cubicBezTo>
                      <a:pt x="1774" y="696"/>
                      <a:pt x="1774" y="696"/>
                      <a:pt x="1773" y="696"/>
                    </a:cubicBezTo>
                    <a:cubicBezTo>
                      <a:pt x="1773" y="696"/>
                      <a:pt x="1773" y="696"/>
                      <a:pt x="1772" y="696"/>
                    </a:cubicBezTo>
                    <a:cubicBezTo>
                      <a:pt x="1772" y="696"/>
                      <a:pt x="1772" y="696"/>
                      <a:pt x="1771" y="696"/>
                    </a:cubicBezTo>
                    <a:cubicBezTo>
                      <a:pt x="1771" y="696"/>
                      <a:pt x="1771" y="696"/>
                      <a:pt x="1770" y="695"/>
                    </a:cubicBezTo>
                    <a:cubicBezTo>
                      <a:pt x="1770" y="695"/>
                      <a:pt x="1770" y="695"/>
                      <a:pt x="1769" y="696"/>
                    </a:cubicBezTo>
                    <a:cubicBezTo>
                      <a:pt x="1769" y="696"/>
                      <a:pt x="1769" y="696"/>
                      <a:pt x="1769" y="697"/>
                    </a:cubicBezTo>
                    <a:cubicBezTo>
                      <a:pt x="1769" y="697"/>
                      <a:pt x="1769" y="697"/>
                      <a:pt x="1768" y="697"/>
                    </a:cubicBezTo>
                    <a:cubicBezTo>
                      <a:pt x="1768" y="697"/>
                      <a:pt x="1768" y="697"/>
                      <a:pt x="1768" y="695"/>
                    </a:cubicBezTo>
                    <a:cubicBezTo>
                      <a:pt x="1768" y="695"/>
                      <a:pt x="1768" y="695"/>
                      <a:pt x="1770" y="694"/>
                    </a:cubicBezTo>
                    <a:cubicBezTo>
                      <a:pt x="1770" y="694"/>
                      <a:pt x="1770" y="694"/>
                      <a:pt x="1770" y="692"/>
                    </a:cubicBezTo>
                    <a:cubicBezTo>
                      <a:pt x="1770" y="692"/>
                      <a:pt x="1770" y="692"/>
                      <a:pt x="1769" y="694"/>
                    </a:cubicBezTo>
                    <a:cubicBezTo>
                      <a:pt x="1769" y="694"/>
                      <a:pt x="1769" y="694"/>
                      <a:pt x="1768" y="695"/>
                    </a:cubicBezTo>
                    <a:cubicBezTo>
                      <a:pt x="1768" y="695"/>
                      <a:pt x="1768" y="695"/>
                      <a:pt x="1767" y="696"/>
                    </a:cubicBezTo>
                    <a:cubicBezTo>
                      <a:pt x="1767" y="696"/>
                      <a:pt x="1767" y="696"/>
                      <a:pt x="1766" y="696"/>
                    </a:cubicBezTo>
                    <a:cubicBezTo>
                      <a:pt x="1766" y="696"/>
                      <a:pt x="1766" y="696"/>
                      <a:pt x="1767" y="695"/>
                    </a:cubicBezTo>
                    <a:cubicBezTo>
                      <a:pt x="1767" y="695"/>
                      <a:pt x="1767" y="695"/>
                      <a:pt x="1766" y="694"/>
                    </a:cubicBezTo>
                    <a:cubicBezTo>
                      <a:pt x="1766" y="694"/>
                      <a:pt x="1766" y="694"/>
                      <a:pt x="1767" y="688"/>
                    </a:cubicBezTo>
                    <a:cubicBezTo>
                      <a:pt x="1767" y="688"/>
                      <a:pt x="1767" y="688"/>
                      <a:pt x="1769" y="687"/>
                    </a:cubicBezTo>
                    <a:cubicBezTo>
                      <a:pt x="1769" y="687"/>
                      <a:pt x="1769" y="687"/>
                      <a:pt x="1768" y="686"/>
                    </a:cubicBezTo>
                    <a:cubicBezTo>
                      <a:pt x="1768" y="686"/>
                      <a:pt x="1768" y="686"/>
                      <a:pt x="1767" y="684"/>
                    </a:cubicBezTo>
                    <a:cubicBezTo>
                      <a:pt x="1767" y="684"/>
                      <a:pt x="1767" y="684"/>
                      <a:pt x="1767" y="681"/>
                    </a:cubicBezTo>
                    <a:cubicBezTo>
                      <a:pt x="1767" y="681"/>
                      <a:pt x="1767" y="681"/>
                      <a:pt x="1766" y="681"/>
                    </a:cubicBezTo>
                    <a:cubicBezTo>
                      <a:pt x="1766" y="681"/>
                      <a:pt x="1766" y="681"/>
                      <a:pt x="1766" y="680"/>
                    </a:cubicBezTo>
                    <a:cubicBezTo>
                      <a:pt x="1766" y="680"/>
                      <a:pt x="1766" y="680"/>
                      <a:pt x="1765" y="679"/>
                    </a:cubicBezTo>
                    <a:cubicBezTo>
                      <a:pt x="1765" y="679"/>
                      <a:pt x="1765" y="679"/>
                      <a:pt x="1765" y="677"/>
                    </a:cubicBezTo>
                    <a:cubicBezTo>
                      <a:pt x="1765" y="677"/>
                      <a:pt x="1765" y="677"/>
                      <a:pt x="1764" y="676"/>
                    </a:cubicBezTo>
                    <a:cubicBezTo>
                      <a:pt x="1764" y="676"/>
                      <a:pt x="1764" y="676"/>
                      <a:pt x="1764" y="675"/>
                    </a:cubicBezTo>
                    <a:cubicBezTo>
                      <a:pt x="1764" y="675"/>
                      <a:pt x="1764" y="675"/>
                      <a:pt x="1764" y="674"/>
                    </a:cubicBezTo>
                    <a:cubicBezTo>
                      <a:pt x="1764" y="674"/>
                      <a:pt x="1764" y="674"/>
                      <a:pt x="1762" y="673"/>
                    </a:cubicBezTo>
                    <a:cubicBezTo>
                      <a:pt x="1762" y="673"/>
                      <a:pt x="1762" y="673"/>
                      <a:pt x="1763" y="674"/>
                    </a:cubicBezTo>
                    <a:cubicBezTo>
                      <a:pt x="1763" y="674"/>
                      <a:pt x="1763" y="674"/>
                      <a:pt x="1763" y="677"/>
                    </a:cubicBezTo>
                    <a:cubicBezTo>
                      <a:pt x="1763" y="677"/>
                      <a:pt x="1763" y="677"/>
                      <a:pt x="1761" y="676"/>
                    </a:cubicBezTo>
                    <a:cubicBezTo>
                      <a:pt x="1761" y="676"/>
                      <a:pt x="1761" y="676"/>
                      <a:pt x="1760" y="675"/>
                    </a:cubicBezTo>
                    <a:cubicBezTo>
                      <a:pt x="1760" y="675"/>
                      <a:pt x="1760" y="675"/>
                      <a:pt x="1759" y="674"/>
                    </a:cubicBezTo>
                    <a:cubicBezTo>
                      <a:pt x="1759" y="674"/>
                      <a:pt x="1759" y="674"/>
                      <a:pt x="1758" y="673"/>
                    </a:cubicBezTo>
                    <a:cubicBezTo>
                      <a:pt x="1758" y="673"/>
                      <a:pt x="1758" y="673"/>
                      <a:pt x="1758" y="672"/>
                    </a:cubicBezTo>
                    <a:cubicBezTo>
                      <a:pt x="1758" y="672"/>
                      <a:pt x="1758" y="672"/>
                      <a:pt x="1759" y="672"/>
                    </a:cubicBezTo>
                    <a:cubicBezTo>
                      <a:pt x="1759" y="672"/>
                      <a:pt x="1759" y="672"/>
                      <a:pt x="1760" y="673"/>
                    </a:cubicBezTo>
                    <a:cubicBezTo>
                      <a:pt x="1760" y="673"/>
                      <a:pt x="1760" y="673"/>
                      <a:pt x="1761" y="674"/>
                    </a:cubicBezTo>
                    <a:cubicBezTo>
                      <a:pt x="1761" y="674"/>
                      <a:pt x="1761" y="674"/>
                      <a:pt x="1761" y="673"/>
                    </a:cubicBezTo>
                    <a:cubicBezTo>
                      <a:pt x="1761" y="673"/>
                      <a:pt x="1761" y="673"/>
                      <a:pt x="1760" y="672"/>
                    </a:cubicBezTo>
                    <a:cubicBezTo>
                      <a:pt x="1760" y="672"/>
                      <a:pt x="1760" y="672"/>
                      <a:pt x="1761" y="672"/>
                    </a:cubicBezTo>
                    <a:cubicBezTo>
                      <a:pt x="1761" y="672"/>
                      <a:pt x="1761" y="672"/>
                      <a:pt x="1762" y="672"/>
                    </a:cubicBezTo>
                    <a:cubicBezTo>
                      <a:pt x="1762" y="672"/>
                      <a:pt x="1762" y="672"/>
                      <a:pt x="1762" y="671"/>
                    </a:cubicBezTo>
                    <a:cubicBezTo>
                      <a:pt x="1762" y="671"/>
                      <a:pt x="1762" y="671"/>
                      <a:pt x="1761" y="669"/>
                    </a:cubicBezTo>
                    <a:cubicBezTo>
                      <a:pt x="1761" y="669"/>
                      <a:pt x="1761" y="669"/>
                      <a:pt x="1759" y="669"/>
                    </a:cubicBezTo>
                    <a:cubicBezTo>
                      <a:pt x="1759" y="669"/>
                      <a:pt x="1759" y="669"/>
                      <a:pt x="1758" y="668"/>
                    </a:cubicBezTo>
                    <a:cubicBezTo>
                      <a:pt x="1758" y="668"/>
                      <a:pt x="1758" y="668"/>
                      <a:pt x="1757" y="668"/>
                    </a:cubicBezTo>
                    <a:cubicBezTo>
                      <a:pt x="1757" y="668"/>
                      <a:pt x="1757" y="668"/>
                      <a:pt x="1756" y="668"/>
                    </a:cubicBezTo>
                    <a:cubicBezTo>
                      <a:pt x="1756" y="668"/>
                      <a:pt x="1756" y="668"/>
                      <a:pt x="1756" y="667"/>
                    </a:cubicBezTo>
                    <a:cubicBezTo>
                      <a:pt x="1756" y="667"/>
                      <a:pt x="1756" y="667"/>
                      <a:pt x="1757" y="666"/>
                    </a:cubicBezTo>
                    <a:cubicBezTo>
                      <a:pt x="1757" y="666"/>
                      <a:pt x="1757" y="666"/>
                      <a:pt x="1755" y="666"/>
                    </a:cubicBezTo>
                    <a:cubicBezTo>
                      <a:pt x="1755" y="666"/>
                      <a:pt x="1755" y="666"/>
                      <a:pt x="1754" y="666"/>
                    </a:cubicBezTo>
                    <a:cubicBezTo>
                      <a:pt x="1754" y="666"/>
                      <a:pt x="1754" y="666"/>
                      <a:pt x="1755" y="667"/>
                    </a:cubicBezTo>
                    <a:cubicBezTo>
                      <a:pt x="1755" y="667"/>
                      <a:pt x="1755" y="667"/>
                      <a:pt x="1752" y="665"/>
                    </a:cubicBezTo>
                    <a:cubicBezTo>
                      <a:pt x="1752" y="665"/>
                      <a:pt x="1752" y="665"/>
                      <a:pt x="1752" y="663"/>
                    </a:cubicBezTo>
                    <a:cubicBezTo>
                      <a:pt x="1752" y="663"/>
                      <a:pt x="1752" y="663"/>
                      <a:pt x="1751" y="662"/>
                    </a:cubicBezTo>
                    <a:cubicBezTo>
                      <a:pt x="1751" y="664"/>
                      <a:pt x="1751" y="664"/>
                      <a:pt x="1751" y="664"/>
                    </a:cubicBezTo>
                    <a:cubicBezTo>
                      <a:pt x="1750" y="661"/>
                      <a:pt x="1750" y="661"/>
                      <a:pt x="1750" y="661"/>
                    </a:cubicBezTo>
                    <a:cubicBezTo>
                      <a:pt x="1749" y="660"/>
                      <a:pt x="1749" y="660"/>
                      <a:pt x="1749" y="660"/>
                    </a:cubicBezTo>
                    <a:cubicBezTo>
                      <a:pt x="1749" y="659"/>
                      <a:pt x="1749" y="659"/>
                      <a:pt x="1749" y="659"/>
                    </a:cubicBezTo>
                    <a:cubicBezTo>
                      <a:pt x="1749" y="658"/>
                      <a:pt x="1749" y="658"/>
                      <a:pt x="1749" y="658"/>
                    </a:cubicBezTo>
                    <a:cubicBezTo>
                      <a:pt x="1748" y="659"/>
                      <a:pt x="1748" y="659"/>
                      <a:pt x="1748" y="659"/>
                    </a:cubicBezTo>
                    <a:cubicBezTo>
                      <a:pt x="1748" y="658"/>
                      <a:pt x="1748" y="658"/>
                      <a:pt x="1748" y="658"/>
                    </a:cubicBezTo>
                    <a:cubicBezTo>
                      <a:pt x="1748" y="656"/>
                      <a:pt x="1748" y="656"/>
                      <a:pt x="1748" y="656"/>
                    </a:cubicBezTo>
                    <a:cubicBezTo>
                      <a:pt x="1748" y="655"/>
                      <a:pt x="1748" y="655"/>
                      <a:pt x="1748" y="655"/>
                    </a:cubicBezTo>
                    <a:cubicBezTo>
                      <a:pt x="1748" y="654"/>
                      <a:pt x="1748" y="654"/>
                      <a:pt x="1748" y="654"/>
                    </a:cubicBezTo>
                    <a:cubicBezTo>
                      <a:pt x="1747" y="653"/>
                      <a:pt x="1747" y="653"/>
                      <a:pt x="1747" y="653"/>
                    </a:cubicBezTo>
                    <a:cubicBezTo>
                      <a:pt x="1745" y="649"/>
                      <a:pt x="1745" y="649"/>
                      <a:pt x="1745" y="649"/>
                    </a:cubicBezTo>
                    <a:cubicBezTo>
                      <a:pt x="1744" y="649"/>
                      <a:pt x="1744" y="649"/>
                      <a:pt x="1744" y="649"/>
                    </a:cubicBezTo>
                    <a:cubicBezTo>
                      <a:pt x="1743" y="650"/>
                      <a:pt x="1743" y="650"/>
                      <a:pt x="1743" y="650"/>
                    </a:cubicBezTo>
                    <a:cubicBezTo>
                      <a:pt x="1741" y="649"/>
                      <a:pt x="1741" y="649"/>
                      <a:pt x="1741" y="649"/>
                    </a:cubicBezTo>
                    <a:cubicBezTo>
                      <a:pt x="1741" y="648"/>
                      <a:pt x="1741" y="648"/>
                      <a:pt x="1741" y="648"/>
                    </a:cubicBezTo>
                    <a:cubicBezTo>
                      <a:pt x="1740" y="648"/>
                      <a:pt x="1740" y="648"/>
                      <a:pt x="1740" y="648"/>
                    </a:cubicBezTo>
                    <a:cubicBezTo>
                      <a:pt x="1739" y="647"/>
                      <a:pt x="1739" y="647"/>
                      <a:pt x="1739" y="647"/>
                    </a:cubicBezTo>
                    <a:cubicBezTo>
                      <a:pt x="1738" y="646"/>
                      <a:pt x="1738" y="646"/>
                      <a:pt x="1738" y="646"/>
                    </a:cubicBezTo>
                    <a:cubicBezTo>
                      <a:pt x="1739" y="648"/>
                      <a:pt x="1739" y="648"/>
                      <a:pt x="1739" y="648"/>
                    </a:cubicBezTo>
                    <a:cubicBezTo>
                      <a:pt x="1739" y="649"/>
                      <a:pt x="1739" y="649"/>
                      <a:pt x="1739" y="649"/>
                    </a:cubicBezTo>
                    <a:cubicBezTo>
                      <a:pt x="1739" y="650"/>
                      <a:pt x="1739" y="650"/>
                      <a:pt x="1739" y="650"/>
                    </a:cubicBezTo>
                    <a:cubicBezTo>
                      <a:pt x="1740" y="652"/>
                      <a:pt x="1740" y="652"/>
                      <a:pt x="1740" y="652"/>
                    </a:cubicBezTo>
                    <a:cubicBezTo>
                      <a:pt x="1739" y="654"/>
                      <a:pt x="1739" y="654"/>
                      <a:pt x="1739" y="654"/>
                    </a:cubicBezTo>
                    <a:cubicBezTo>
                      <a:pt x="1738" y="654"/>
                      <a:pt x="1738" y="654"/>
                      <a:pt x="1738" y="654"/>
                    </a:cubicBezTo>
                    <a:cubicBezTo>
                      <a:pt x="1737" y="656"/>
                      <a:pt x="1737" y="656"/>
                      <a:pt x="1737" y="656"/>
                    </a:cubicBezTo>
                    <a:cubicBezTo>
                      <a:pt x="1736" y="655"/>
                      <a:pt x="1736" y="655"/>
                      <a:pt x="1736" y="655"/>
                    </a:cubicBezTo>
                    <a:cubicBezTo>
                      <a:pt x="1735" y="654"/>
                      <a:pt x="1735" y="654"/>
                      <a:pt x="1735" y="654"/>
                    </a:cubicBezTo>
                    <a:cubicBezTo>
                      <a:pt x="1736" y="652"/>
                      <a:pt x="1736" y="652"/>
                      <a:pt x="1736" y="652"/>
                    </a:cubicBezTo>
                    <a:cubicBezTo>
                      <a:pt x="1736" y="651"/>
                      <a:pt x="1736" y="651"/>
                      <a:pt x="1736" y="651"/>
                    </a:cubicBezTo>
                    <a:cubicBezTo>
                      <a:pt x="1735" y="652"/>
                      <a:pt x="1735" y="652"/>
                      <a:pt x="1735" y="652"/>
                    </a:cubicBezTo>
                    <a:cubicBezTo>
                      <a:pt x="1735" y="653"/>
                      <a:pt x="1735" y="653"/>
                      <a:pt x="1735" y="653"/>
                    </a:cubicBezTo>
                    <a:cubicBezTo>
                      <a:pt x="1735" y="654"/>
                      <a:pt x="1735" y="654"/>
                      <a:pt x="1735" y="654"/>
                    </a:cubicBezTo>
                    <a:cubicBezTo>
                      <a:pt x="1735" y="655"/>
                      <a:pt x="1735" y="655"/>
                      <a:pt x="1735" y="655"/>
                    </a:cubicBezTo>
                    <a:cubicBezTo>
                      <a:pt x="1735" y="656"/>
                      <a:pt x="1735" y="656"/>
                      <a:pt x="1735" y="656"/>
                    </a:cubicBezTo>
                    <a:cubicBezTo>
                      <a:pt x="1734" y="656"/>
                      <a:pt x="1734" y="656"/>
                      <a:pt x="1734" y="656"/>
                    </a:cubicBezTo>
                    <a:cubicBezTo>
                      <a:pt x="1733" y="656"/>
                      <a:pt x="1733" y="656"/>
                      <a:pt x="1733" y="656"/>
                    </a:cubicBezTo>
                    <a:cubicBezTo>
                      <a:pt x="1733" y="657"/>
                      <a:pt x="1733" y="657"/>
                      <a:pt x="1733" y="657"/>
                    </a:cubicBezTo>
                    <a:cubicBezTo>
                      <a:pt x="1732" y="657"/>
                      <a:pt x="1732" y="657"/>
                      <a:pt x="1732" y="657"/>
                    </a:cubicBezTo>
                    <a:cubicBezTo>
                      <a:pt x="1732" y="656"/>
                      <a:pt x="1732" y="656"/>
                      <a:pt x="1732" y="656"/>
                    </a:cubicBezTo>
                    <a:cubicBezTo>
                      <a:pt x="1731" y="655"/>
                      <a:pt x="1731" y="655"/>
                      <a:pt x="1731" y="655"/>
                    </a:cubicBezTo>
                    <a:cubicBezTo>
                      <a:pt x="1731" y="655"/>
                      <a:pt x="1731" y="655"/>
                      <a:pt x="1730" y="655"/>
                    </a:cubicBezTo>
                    <a:cubicBezTo>
                      <a:pt x="1730" y="655"/>
                      <a:pt x="1730" y="655"/>
                      <a:pt x="1731" y="657"/>
                    </a:cubicBezTo>
                    <a:cubicBezTo>
                      <a:pt x="1731" y="657"/>
                      <a:pt x="1731" y="657"/>
                      <a:pt x="1731" y="658"/>
                    </a:cubicBezTo>
                    <a:cubicBezTo>
                      <a:pt x="1731" y="658"/>
                      <a:pt x="1731" y="658"/>
                      <a:pt x="1730" y="657"/>
                    </a:cubicBezTo>
                    <a:cubicBezTo>
                      <a:pt x="1730" y="657"/>
                      <a:pt x="1730" y="657"/>
                      <a:pt x="1730" y="658"/>
                    </a:cubicBezTo>
                    <a:cubicBezTo>
                      <a:pt x="1730" y="658"/>
                      <a:pt x="1730" y="658"/>
                      <a:pt x="1729" y="657"/>
                    </a:cubicBezTo>
                    <a:cubicBezTo>
                      <a:pt x="1729" y="657"/>
                      <a:pt x="1729" y="657"/>
                      <a:pt x="1728" y="656"/>
                    </a:cubicBezTo>
                    <a:cubicBezTo>
                      <a:pt x="1728" y="656"/>
                      <a:pt x="1728" y="656"/>
                      <a:pt x="1727" y="656"/>
                    </a:cubicBezTo>
                    <a:cubicBezTo>
                      <a:pt x="1727" y="656"/>
                      <a:pt x="1727" y="656"/>
                      <a:pt x="1726" y="656"/>
                    </a:cubicBezTo>
                    <a:cubicBezTo>
                      <a:pt x="1726" y="656"/>
                      <a:pt x="1726" y="656"/>
                      <a:pt x="1726" y="657"/>
                    </a:cubicBezTo>
                    <a:cubicBezTo>
                      <a:pt x="1726" y="657"/>
                      <a:pt x="1726" y="657"/>
                      <a:pt x="1725" y="656"/>
                    </a:cubicBezTo>
                    <a:cubicBezTo>
                      <a:pt x="1725" y="656"/>
                      <a:pt x="1725" y="656"/>
                      <a:pt x="1725" y="655"/>
                    </a:cubicBezTo>
                    <a:cubicBezTo>
                      <a:pt x="1725" y="655"/>
                      <a:pt x="1725" y="655"/>
                      <a:pt x="1725" y="654"/>
                    </a:cubicBezTo>
                    <a:cubicBezTo>
                      <a:pt x="1725" y="654"/>
                      <a:pt x="1725" y="654"/>
                      <a:pt x="1724" y="654"/>
                    </a:cubicBezTo>
                    <a:cubicBezTo>
                      <a:pt x="1724" y="654"/>
                      <a:pt x="1724" y="654"/>
                      <a:pt x="1724" y="655"/>
                    </a:cubicBezTo>
                    <a:cubicBezTo>
                      <a:pt x="1724" y="655"/>
                      <a:pt x="1724" y="655"/>
                      <a:pt x="1724" y="656"/>
                    </a:cubicBezTo>
                    <a:cubicBezTo>
                      <a:pt x="1724" y="656"/>
                      <a:pt x="1724" y="656"/>
                      <a:pt x="1723" y="657"/>
                    </a:cubicBezTo>
                    <a:cubicBezTo>
                      <a:pt x="1723" y="657"/>
                      <a:pt x="1723" y="657"/>
                      <a:pt x="1719" y="659"/>
                    </a:cubicBezTo>
                    <a:cubicBezTo>
                      <a:pt x="1719" y="659"/>
                      <a:pt x="1719" y="659"/>
                      <a:pt x="1718" y="659"/>
                    </a:cubicBezTo>
                    <a:cubicBezTo>
                      <a:pt x="1718" y="659"/>
                      <a:pt x="1718" y="659"/>
                      <a:pt x="1718" y="660"/>
                    </a:cubicBezTo>
                    <a:cubicBezTo>
                      <a:pt x="1718" y="660"/>
                      <a:pt x="1718" y="660"/>
                      <a:pt x="1717" y="661"/>
                    </a:cubicBezTo>
                    <a:cubicBezTo>
                      <a:pt x="1717" y="661"/>
                      <a:pt x="1717" y="661"/>
                      <a:pt x="1718" y="662"/>
                    </a:cubicBezTo>
                    <a:cubicBezTo>
                      <a:pt x="1718" y="662"/>
                      <a:pt x="1718" y="662"/>
                      <a:pt x="1718" y="663"/>
                    </a:cubicBezTo>
                    <a:cubicBezTo>
                      <a:pt x="1718" y="663"/>
                      <a:pt x="1718" y="663"/>
                      <a:pt x="1718" y="664"/>
                    </a:cubicBezTo>
                    <a:cubicBezTo>
                      <a:pt x="1718" y="664"/>
                      <a:pt x="1718" y="664"/>
                      <a:pt x="1717" y="665"/>
                    </a:cubicBezTo>
                    <a:cubicBezTo>
                      <a:pt x="1717" y="665"/>
                      <a:pt x="1717" y="665"/>
                      <a:pt x="1717" y="666"/>
                    </a:cubicBezTo>
                    <a:cubicBezTo>
                      <a:pt x="1717" y="666"/>
                      <a:pt x="1717" y="666"/>
                      <a:pt x="1716" y="667"/>
                    </a:cubicBezTo>
                    <a:cubicBezTo>
                      <a:pt x="1716" y="667"/>
                      <a:pt x="1716" y="667"/>
                      <a:pt x="1714" y="669"/>
                    </a:cubicBezTo>
                    <a:cubicBezTo>
                      <a:pt x="1714" y="669"/>
                      <a:pt x="1714" y="669"/>
                      <a:pt x="1714" y="670"/>
                    </a:cubicBezTo>
                    <a:cubicBezTo>
                      <a:pt x="1714" y="670"/>
                      <a:pt x="1714" y="670"/>
                      <a:pt x="1711" y="671"/>
                    </a:cubicBezTo>
                    <a:cubicBezTo>
                      <a:pt x="1711" y="671"/>
                      <a:pt x="1711" y="671"/>
                      <a:pt x="1710" y="671"/>
                    </a:cubicBezTo>
                    <a:cubicBezTo>
                      <a:pt x="1710" y="671"/>
                      <a:pt x="1710" y="671"/>
                      <a:pt x="1710" y="670"/>
                    </a:cubicBezTo>
                    <a:cubicBezTo>
                      <a:pt x="1710" y="670"/>
                      <a:pt x="1710" y="670"/>
                      <a:pt x="1709" y="670"/>
                    </a:cubicBezTo>
                    <a:cubicBezTo>
                      <a:pt x="1709" y="670"/>
                      <a:pt x="1709" y="670"/>
                      <a:pt x="1708" y="671"/>
                    </a:cubicBezTo>
                    <a:cubicBezTo>
                      <a:pt x="1708" y="671"/>
                      <a:pt x="1708" y="671"/>
                      <a:pt x="1707" y="673"/>
                    </a:cubicBezTo>
                    <a:cubicBezTo>
                      <a:pt x="1707" y="673"/>
                      <a:pt x="1707" y="673"/>
                      <a:pt x="1708" y="672"/>
                    </a:cubicBezTo>
                    <a:cubicBezTo>
                      <a:pt x="1708" y="672"/>
                      <a:pt x="1708" y="672"/>
                      <a:pt x="1709" y="672"/>
                    </a:cubicBezTo>
                    <a:cubicBezTo>
                      <a:pt x="1709" y="672"/>
                      <a:pt x="1709" y="672"/>
                      <a:pt x="1705" y="676"/>
                    </a:cubicBezTo>
                    <a:cubicBezTo>
                      <a:pt x="1705" y="676"/>
                      <a:pt x="1705" y="676"/>
                      <a:pt x="1704" y="679"/>
                    </a:cubicBezTo>
                    <a:cubicBezTo>
                      <a:pt x="1704" y="679"/>
                      <a:pt x="1704" y="679"/>
                      <a:pt x="1698" y="683"/>
                    </a:cubicBezTo>
                    <a:cubicBezTo>
                      <a:pt x="1698" y="683"/>
                      <a:pt x="1698" y="683"/>
                      <a:pt x="1697" y="685"/>
                    </a:cubicBezTo>
                    <a:cubicBezTo>
                      <a:pt x="1697" y="685"/>
                      <a:pt x="1697" y="685"/>
                      <a:pt x="1696" y="686"/>
                    </a:cubicBezTo>
                    <a:cubicBezTo>
                      <a:pt x="1696" y="686"/>
                      <a:pt x="1696" y="686"/>
                      <a:pt x="1694" y="687"/>
                    </a:cubicBezTo>
                    <a:cubicBezTo>
                      <a:pt x="1694" y="687"/>
                      <a:pt x="1694" y="687"/>
                      <a:pt x="1692" y="689"/>
                    </a:cubicBezTo>
                    <a:cubicBezTo>
                      <a:pt x="1692" y="689"/>
                      <a:pt x="1692" y="689"/>
                      <a:pt x="1692" y="690"/>
                    </a:cubicBezTo>
                    <a:cubicBezTo>
                      <a:pt x="1692" y="690"/>
                      <a:pt x="1692" y="690"/>
                      <a:pt x="1692" y="691"/>
                    </a:cubicBezTo>
                    <a:cubicBezTo>
                      <a:pt x="1692" y="691"/>
                      <a:pt x="1692" y="691"/>
                      <a:pt x="1691" y="693"/>
                    </a:cubicBezTo>
                    <a:cubicBezTo>
                      <a:pt x="1691" y="693"/>
                      <a:pt x="1691" y="693"/>
                      <a:pt x="1690" y="694"/>
                    </a:cubicBezTo>
                    <a:cubicBezTo>
                      <a:pt x="1690" y="694"/>
                      <a:pt x="1690" y="694"/>
                      <a:pt x="1687" y="693"/>
                    </a:cubicBezTo>
                    <a:cubicBezTo>
                      <a:pt x="1687" y="693"/>
                      <a:pt x="1687" y="693"/>
                      <a:pt x="1686" y="694"/>
                    </a:cubicBezTo>
                    <a:cubicBezTo>
                      <a:pt x="1686" y="694"/>
                      <a:pt x="1686" y="694"/>
                      <a:pt x="1686" y="696"/>
                    </a:cubicBezTo>
                    <a:cubicBezTo>
                      <a:pt x="1686" y="696"/>
                      <a:pt x="1686" y="696"/>
                      <a:pt x="1684" y="698"/>
                    </a:cubicBezTo>
                    <a:cubicBezTo>
                      <a:pt x="1684" y="698"/>
                      <a:pt x="1684" y="698"/>
                      <a:pt x="1683" y="698"/>
                    </a:cubicBezTo>
                    <a:cubicBezTo>
                      <a:pt x="1683" y="698"/>
                      <a:pt x="1683" y="698"/>
                      <a:pt x="1682" y="697"/>
                    </a:cubicBezTo>
                    <a:cubicBezTo>
                      <a:pt x="1682" y="697"/>
                      <a:pt x="1682" y="697"/>
                      <a:pt x="1680" y="699"/>
                    </a:cubicBezTo>
                    <a:cubicBezTo>
                      <a:pt x="1680" y="699"/>
                      <a:pt x="1680" y="699"/>
                      <a:pt x="1679" y="700"/>
                    </a:cubicBezTo>
                    <a:cubicBezTo>
                      <a:pt x="1679" y="700"/>
                      <a:pt x="1679" y="700"/>
                      <a:pt x="1679" y="702"/>
                    </a:cubicBezTo>
                    <a:cubicBezTo>
                      <a:pt x="1679" y="702"/>
                      <a:pt x="1679" y="702"/>
                      <a:pt x="1680" y="705"/>
                    </a:cubicBezTo>
                    <a:cubicBezTo>
                      <a:pt x="1680" y="705"/>
                      <a:pt x="1680" y="705"/>
                      <a:pt x="1679" y="707"/>
                    </a:cubicBezTo>
                    <a:cubicBezTo>
                      <a:pt x="1679" y="707"/>
                      <a:pt x="1679" y="707"/>
                      <a:pt x="1679" y="708"/>
                    </a:cubicBezTo>
                    <a:cubicBezTo>
                      <a:pt x="1679" y="708"/>
                      <a:pt x="1679" y="708"/>
                      <a:pt x="1679" y="713"/>
                    </a:cubicBezTo>
                    <a:cubicBezTo>
                      <a:pt x="1679" y="713"/>
                      <a:pt x="1679" y="713"/>
                      <a:pt x="1681" y="714"/>
                    </a:cubicBezTo>
                    <a:cubicBezTo>
                      <a:pt x="1681" y="714"/>
                      <a:pt x="1681" y="714"/>
                      <a:pt x="1681" y="717"/>
                    </a:cubicBezTo>
                    <a:cubicBezTo>
                      <a:pt x="1681" y="717"/>
                      <a:pt x="1681" y="717"/>
                      <a:pt x="1680" y="721"/>
                    </a:cubicBezTo>
                    <a:cubicBezTo>
                      <a:pt x="1680" y="721"/>
                      <a:pt x="1680" y="721"/>
                      <a:pt x="1678" y="724"/>
                    </a:cubicBezTo>
                    <a:cubicBezTo>
                      <a:pt x="1678" y="724"/>
                      <a:pt x="1678" y="724"/>
                      <a:pt x="1678" y="726"/>
                    </a:cubicBezTo>
                    <a:cubicBezTo>
                      <a:pt x="1678" y="726"/>
                      <a:pt x="1678" y="726"/>
                      <a:pt x="1679" y="727"/>
                    </a:cubicBezTo>
                    <a:cubicBezTo>
                      <a:pt x="1679" y="727"/>
                      <a:pt x="1679" y="727"/>
                      <a:pt x="1679" y="732"/>
                    </a:cubicBezTo>
                    <a:cubicBezTo>
                      <a:pt x="1679" y="732"/>
                      <a:pt x="1679" y="732"/>
                      <a:pt x="1679" y="734"/>
                    </a:cubicBezTo>
                    <a:cubicBezTo>
                      <a:pt x="1679" y="734"/>
                      <a:pt x="1679" y="734"/>
                      <a:pt x="1678" y="734"/>
                    </a:cubicBezTo>
                    <a:cubicBezTo>
                      <a:pt x="1678" y="734"/>
                      <a:pt x="1678" y="734"/>
                      <a:pt x="1677" y="734"/>
                    </a:cubicBezTo>
                    <a:cubicBezTo>
                      <a:pt x="1677" y="734"/>
                      <a:pt x="1677" y="734"/>
                      <a:pt x="1676" y="734"/>
                    </a:cubicBezTo>
                    <a:cubicBezTo>
                      <a:pt x="1676" y="734"/>
                      <a:pt x="1676" y="734"/>
                      <a:pt x="1675" y="735"/>
                    </a:cubicBezTo>
                    <a:cubicBezTo>
                      <a:pt x="1675" y="735"/>
                      <a:pt x="1675" y="735"/>
                      <a:pt x="1675" y="736"/>
                    </a:cubicBezTo>
                    <a:cubicBezTo>
                      <a:pt x="1675" y="736"/>
                      <a:pt x="1675" y="736"/>
                      <a:pt x="1674" y="738"/>
                    </a:cubicBezTo>
                    <a:cubicBezTo>
                      <a:pt x="1674" y="738"/>
                      <a:pt x="1674" y="738"/>
                      <a:pt x="1673" y="739"/>
                    </a:cubicBezTo>
                    <a:cubicBezTo>
                      <a:pt x="1673" y="739"/>
                      <a:pt x="1673" y="739"/>
                      <a:pt x="1673" y="740"/>
                    </a:cubicBezTo>
                    <a:cubicBezTo>
                      <a:pt x="1673" y="740"/>
                      <a:pt x="1673" y="740"/>
                      <a:pt x="1675" y="741"/>
                    </a:cubicBezTo>
                    <a:cubicBezTo>
                      <a:pt x="1675" y="741"/>
                      <a:pt x="1675" y="741"/>
                      <a:pt x="1674" y="741"/>
                    </a:cubicBezTo>
                    <a:cubicBezTo>
                      <a:pt x="1674" y="741"/>
                      <a:pt x="1674" y="741"/>
                      <a:pt x="1672" y="742"/>
                    </a:cubicBezTo>
                    <a:cubicBezTo>
                      <a:pt x="1672" y="742"/>
                      <a:pt x="1672" y="742"/>
                      <a:pt x="1671" y="741"/>
                    </a:cubicBezTo>
                    <a:cubicBezTo>
                      <a:pt x="1671" y="741"/>
                      <a:pt x="1671" y="741"/>
                      <a:pt x="1669" y="742"/>
                    </a:cubicBezTo>
                    <a:cubicBezTo>
                      <a:pt x="1669" y="742"/>
                      <a:pt x="1669" y="742"/>
                      <a:pt x="1668" y="744"/>
                    </a:cubicBezTo>
                    <a:cubicBezTo>
                      <a:pt x="1668" y="744"/>
                      <a:pt x="1668" y="744"/>
                      <a:pt x="1668" y="745"/>
                    </a:cubicBezTo>
                    <a:cubicBezTo>
                      <a:pt x="1668" y="745"/>
                      <a:pt x="1668" y="745"/>
                      <a:pt x="1668" y="747"/>
                    </a:cubicBezTo>
                    <a:cubicBezTo>
                      <a:pt x="1668" y="747"/>
                      <a:pt x="1668" y="747"/>
                      <a:pt x="1665" y="748"/>
                    </a:cubicBezTo>
                    <a:cubicBezTo>
                      <a:pt x="1665" y="748"/>
                      <a:pt x="1665" y="748"/>
                      <a:pt x="1663" y="748"/>
                    </a:cubicBezTo>
                    <a:cubicBezTo>
                      <a:pt x="1663" y="748"/>
                      <a:pt x="1663" y="748"/>
                      <a:pt x="1661" y="747"/>
                    </a:cubicBezTo>
                    <a:cubicBezTo>
                      <a:pt x="1661" y="747"/>
                      <a:pt x="1661" y="747"/>
                      <a:pt x="1659" y="744"/>
                    </a:cubicBezTo>
                    <a:cubicBezTo>
                      <a:pt x="1659" y="744"/>
                      <a:pt x="1659" y="744"/>
                      <a:pt x="1657" y="740"/>
                    </a:cubicBezTo>
                    <a:cubicBezTo>
                      <a:pt x="1657" y="740"/>
                      <a:pt x="1657" y="740"/>
                      <a:pt x="1657" y="737"/>
                    </a:cubicBezTo>
                    <a:cubicBezTo>
                      <a:pt x="1657" y="737"/>
                      <a:pt x="1657" y="737"/>
                      <a:pt x="1656" y="735"/>
                    </a:cubicBezTo>
                    <a:cubicBezTo>
                      <a:pt x="1656" y="735"/>
                      <a:pt x="1656" y="735"/>
                      <a:pt x="1655" y="732"/>
                    </a:cubicBezTo>
                    <a:cubicBezTo>
                      <a:pt x="1655" y="732"/>
                      <a:pt x="1655" y="732"/>
                      <a:pt x="1655" y="731"/>
                    </a:cubicBezTo>
                    <a:cubicBezTo>
                      <a:pt x="1655" y="731"/>
                      <a:pt x="1655" y="731"/>
                      <a:pt x="1654" y="731"/>
                    </a:cubicBezTo>
                    <a:cubicBezTo>
                      <a:pt x="1654" y="731"/>
                      <a:pt x="1654" y="731"/>
                      <a:pt x="1654" y="729"/>
                    </a:cubicBezTo>
                    <a:cubicBezTo>
                      <a:pt x="1654" y="729"/>
                      <a:pt x="1654" y="729"/>
                      <a:pt x="1653" y="727"/>
                    </a:cubicBezTo>
                    <a:cubicBezTo>
                      <a:pt x="1653" y="727"/>
                      <a:pt x="1653" y="727"/>
                      <a:pt x="1651" y="725"/>
                    </a:cubicBezTo>
                    <a:cubicBezTo>
                      <a:pt x="1651" y="725"/>
                      <a:pt x="1651" y="725"/>
                      <a:pt x="1650" y="723"/>
                    </a:cubicBezTo>
                    <a:cubicBezTo>
                      <a:pt x="1650" y="723"/>
                      <a:pt x="1650" y="723"/>
                      <a:pt x="1648" y="721"/>
                    </a:cubicBezTo>
                    <a:cubicBezTo>
                      <a:pt x="1648" y="721"/>
                      <a:pt x="1648" y="721"/>
                      <a:pt x="1647" y="720"/>
                    </a:cubicBezTo>
                    <a:cubicBezTo>
                      <a:pt x="1647" y="720"/>
                      <a:pt x="1647" y="720"/>
                      <a:pt x="1647" y="719"/>
                    </a:cubicBezTo>
                    <a:cubicBezTo>
                      <a:pt x="1647" y="719"/>
                      <a:pt x="1647" y="719"/>
                      <a:pt x="1647" y="717"/>
                    </a:cubicBezTo>
                    <a:cubicBezTo>
                      <a:pt x="1647" y="717"/>
                      <a:pt x="1647" y="717"/>
                      <a:pt x="1646" y="716"/>
                    </a:cubicBezTo>
                    <a:cubicBezTo>
                      <a:pt x="1646" y="716"/>
                      <a:pt x="1646" y="716"/>
                      <a:pt x="1645" y="713"/>
                    </a:cubicBezTo>
                    <a:cubicBezTo>
                      <a:pt x="1645" y="713"/>
                      <a:pt x="1645" y="713"/>
                      <a:pt x="1644" y="711"/>
                    </a:cubicBezTo>
                    <a:cubicBezTo>
                      <a:pt x="1644" y="711"/>
                      <a:pt x="1644" y="711"/>
                      <a:pt x="1644" y="709"/>
                    </a:cubicBezTo>
                    <a:cubicBezTo>
                      <a:pt x="1644" y="709"/>
                      <a:pt x="1644" y="709"/>
                      <a:pt x="1643" y="708"/>
                    </a:cubicBezTo>
                    <a:cubicBezTo>
                      <a:pt x="1643" y="708"/>
                      <a:pt x="1643" y="708"/>
                      <a:pt x="1643" y="706"/>
                    </a:cubicBezTo>
                    <a:cubicBezTo>
                      <a:pt x="1643" y="706"/>
                      <a:pt x="1643" y="706"/>
                      <a:pt x="1641" y="704"/>
                    </a:cubicBezTo>
                    <a:cubicBezTo>
                      <a:pt x="1641" y="704"/>
                      <a:pt x="1641" y="704"/>
                      <a:pt x="1641" y="703"/>
                    </a:cubicBezTo>
                    <a:cubicBezTo>
                      <a:pt x="1641" y="703"/>
                      <a:pt x="1641" y="703"/>
                      <a:pt x="1639" y="701"/>
                    </a:cubicBezTo>
                    <a:cubicBezTo>
                      <a:pt x="1639" y="701"/>
                      <a:pt x="1639" y="701"/>
                      <a:pt x="1639" y="700"/>
                    </a:cubicBezTo>
                    <a:cubicBezTo>
                      <a:pt x="1639" y="700"/>
                      <a:pt x="1639" y="700"/>
                      <a:pt x="1638" y="699"/>
                    </a:cubicBezTo>
                    <a:cubicBezTo>
                      <a:pt x="1638" y="699"/>
                      <a:pt x="1638" y="699"/>
                      <a:pt x="1638" y="698"/>
                    </a:cubicBezTo>
                    <a:cubicBezTo>
                      <a:pt x="1638" y="698"/>
                      <a:pt x="1638" y="698"/>
                      <a:pt x="1637" y="697"/>
                    </a:cubicBezTo>
                    <a:cubicBezTo>
                      <a:pt x="1637" y="697"/>
                      <a:pt x="1637" y="697"/>
                      <a:pt x="1636" y="694"/>
                    </a:cubicBezTo>
                    <a:cubicBezTo>
                      <a:pt x="1636" y="694"/>
                      <a:pt x="1636" y="694"/>
                      <a:pt x="1636" y="691"/>
                    </a:cubicBezTo>
                    <a:cubicBezTo>
                      <a:pt x="1636" y="691"/>
                      <a:pt x="1636" y="691"/>
                      <a:pt x="1633" y="685"/>
                    </a:cubicBezTo>
                    <a:cubicBezTo>
                      <a:pt x="1633" y="685"/>
                      <a:pt x="1633" y="685"/>
                      <a:pt x="1633" y="684"/>
                    </a:cubicBezTo>
                    <a:cubicBezTo>
                      <a:pt x="1633" y="684"/>
                      <a:pt x="1633" y="684"/>
                      <a:pt x="1632" y="682"/>
                    </a:cubicBezTo>
                    <a:cubicBezTo>
                      <a:pt x="1632" y="682"/>
                      <a:pt x="1632" y="682"/>
                      <a:pt x="1633" y="682"/>
                    </a:cubicBezTo>
                    <a:cubicBezTo>
                      <a:pt x="1633" y="682"/>
                      <a:pt x="1633" y="682"/>
                      <a:pt x="1631" y="679"/>
                    </a:cubicBezTo>
                    <a:cubicBezTo>
                      <a:pt x="1631" y="679"/>
                      <a:pt x="1631" y="679"/>
                      <a:pt x="1631" y="678"/>
                    </a:cubicBezTo>
                    <a:cubicBezTo>
                      <a:pt x="1631" y="678"/>
                      <a:pt x="1631" y="678"/>
                      <a:pt x="1632" y="678"/>
                    </a:cubicBezTo>
                    <a:cubicBezTo>
                      <a:pt x="1632" y="678"/>
                      <a:pt x="1632" y="678"/>
                      <a:pt x="1632" y="677"/>
                    </a:cubicBezTo>
                    <a:cubicBezTo>
                      <a:pt x="1632" y="677"/>
                      <a:pt x="1632" y="677"/>
                      <a:pt x="1631" y="676"/>
                    </a:cubicBezTo>
                    <a:cubicBezTo>
                      <a:pt x="1631" y="676"/>
                      <a:pt x="1631" y="676"/>
                      <a:pt x="1630" y="672"/>
                    </a:cubicBezTo>
                    <a:cubicBezTo>
                      <a:pt x="1630" y="672"/>
                      <a:pt x="1630" y="672"/>
                      <a:pt x="1629" y="670"/>
                    </a:cubicBezTo>
                    <a:cubicBezTo>
                      <a:pt x="1629" y="670"/>
                      <a:pt x="1629" y="670"/>
                      <a:pt x="1630" y="670"/>
                    </a:cubicBezTo>
                    <a:cubicBezTo>
                      <a:pt x="1630" y="670"/>
                      <a:pt x="1630" y="670"/>
                      <a:pt x="1629" y="669"/>
                    </a:cubicBezTo>
                    <a:cubicBezTo>
                      <a:pt x="1629" y="669"/>
                      <a:pt x="1629" y="669"/>
                      <a:pt x="1629" y="668"/>
                    </a:cubicBezTo>
                    <a:cubicBezTo>
                      <a:pt x="1629" y="668"/>
                      <a:pt x="1629" y="668"/>
                      <a:pt x="1630" y="667"/>
                    </a:cubicBezTo>
                    <a:cubicBezTo>
                      <a:pt x="1630" y="667"/>
                      <a:pt x="1630" y="667"/>
                      <a:pt x="1630" y="665"/>
                    </a:cubicBezTo>
                    <a:cubicBezTo>
                      <a:pt x="1630" y="665"/>
                      <a:pt x="1630" y="665"/>
                      <a:pt x="1629" y="663"/>
                    </a:cubicBezTo>
                    <a:cubicBezTo>
                      <a:pt x="1629" y="663"/>
                      <a:pt x="1629" y="663"/>
                      <a:pt x="1628" y="660"/>
                    </a:cubicBezTo>
                    <a:cubicBezTo>
                      <a:pt x="1628" y="660"/>
                      <a:pt x="1628" y="660"/>
                      <a:pt x="1629" y="659"/>
                    </a:cubicBezTo>
                    <a:cubicBezTo>
                      <a:pt x="1629" y="659"/>
                      <a:pt x="1629" y="659"/>
                      <a:pt x="1630" y="658"/>
                    </a:cubicBezTo>
                    <a:cubicBezTo>
                      <a:pt x="1630" y="658"/>
                      <a:pt x="1630" y="658"/>
                      <a:pt x="1628" y="658"/>
                    </a:cubicBezTo>
                    <a:cubicBezTo>
                      <a:pt x="1628" y="658"/>
                      <a:pt x="1628" y="658"/>
                      <a:pt x="1628" y="657"/>
                    </a:cubicBezTo>
                    <a:cubicBezTo>
                      <a:pt x="1628" y="657"/>
                      <a:pt x="1628" y="657"/>
                      <a:pt x="1627" y="656"/>
                    </a:cubicBezTo>
                    <a:cubicBezTo>
                      <a:pt x="1627" y="656"/>
                      <a:pt x="1627" y="656"/>
                      <a:pt x="1627" y="655"/>
                    </a:cubicBezTo>
                    <a:cubicBezTo>
                      <a:pt x="1627" y="655"/>
                      <a:pt x="1627" y="655"/>
                      <a:pt x="1628" y="654"/>
                    </a:cubicBezTo>
                    <a:cubicBezTo>
                      <a:pt x="1628" y="654"/>
                      <a:pt x="1628" y="654"/>
                      <a:pt x="1630" y="653"/>
                    </a:cubicBezTo>
                    <a:cubicBezTo>
                      <a:pt x="1630" y="653"/>
                      <a:pt x="1630" y="653"/>
                      <a:pt x="1629" y="653"/>
                    </a:cubicBezTo>
                    <a:cubicBezTo>
                      <a:pt x="1629" y="653"/>
                      <a:pt x="1629" y="653"/>
                      <a:pt x="1628" y="653"/>
                    </a:cubicBezTo>
                    <a:cubicBezTo>
                      <a:pt x="1628" y="653"/>
                      <a:pt x="1628" y="653"/>
                      <a:pt x="1627" y="653"/>
                    </a:cubicBezTo>
                    <a:cubicBezTo>
                      <a:pt x="1627" y="653"/>
                      <a:pt x="1627" y="653"/>
                      <a:pt x="1626" y="652"/>
                    </a:cubicBezTo>
                    <a:cubicBezTo>
                      <a:pt x="1626" y="652"/>
                      <a:pt x="1626" y="652"/>
                      <a:pt x="1626" y="653"/>
                    </a:cubicBezTo>
                    <a:cubicBezTo>
                      <a:pt x="1626" y="653"/>
                      <a:pt x="1626" y="653"/>
                      <a:pt x="1626" y="654"/>
                    </a:cubicBezTo>
                    <a:cubicBezTo>
                      <a:pt x="1626" y="654"/>
                      <a:pt x="1626" y="654"/>
                      <a:pt x="1625" y="657"/>
                    </a:cubicBezTo>
                    <a:cubicBezTo>
                      <a:pt x="1625" y="657"/>
                      <a:pt x="1625" y="657"/>
                      <a:pt x="1626" y="658"/>
                    </a:cubicBezTo>
                    <a:cubicBezTo>
                      <a:pt x="1626" y="658"/>
                      <a:pt x="1626" y="658"/>
                      <a:pt x="1626" y="660"/>
                    </a:cubicBezTo>
                    <a:cubicBezTo>
                      <a:pt x="1626" y="660"/>
                      <a:pt x="1626" y="660"/>
                      <a:pt x="1625" y="661"/>
                    </a:cubicBezTo>
                    <a:cubicBezTo>
                      <a:pt x="1625" y="661"/>
                      <a:pt x="1625" y="661"/>
                      <a:pt x="1625" y="662"/>
                    </a:cubicBezTo>
                    <a:cubicBezTo>
                      <a:pt x="1625" y="662"/>
                      <a:pt x="1625" y="662"/>
                      <a:pt x="1623" y="663"/>
                    </a:cubicBezTo>
                    <a:cubicBezTo>
                      <a:pt x="1623" y="663"/>
                      <a:pt x="1623" y="663"/>
                      <a:pt x="1619" y="665"/>
                    </a:cubicBezTo>
                    <a:cubicBezTo>
                      <a:pt x="1619" y="665"/>
                      <a:pt x="1619" y="665"/>
                      <a:pt x="1618" y="665"/>
                    </a:cubicBezTo>
                    <a:cubicBezTo>
                      <a:pt x="1618" y="665"/>
                      <a:pt x="1618" y="665"/>
                      <a:pt x="1616" y="665"/>
                    </a:cubicBezTo>
                    <a:cubicBezTo>
                      <a:pt x="1616" y="665"/>
                      <a:pt x="1616" y="665"/>
                      <a:pt x="1611" y="661"/>
                    </a:cubicBezTo>
                    <a:cubicBezTo>
                      <a:pt x="1611" y="661"/>
                      <a:pt x="1611" y="661"/>
                      <a:pt x="1609" y="658"/>
                    </a:cubicBezTo>
                    <a:cubicBezTo>
                      <a:pt x="1609" y="658"/>
                      <a:pt x="1609" y="658"/>
                      <a:pt x="1608" y="658"/>
                    </a:cubicBezTo>
                    <a:cubicBezTo>
                      <a:pt x="1608" y="658"/>
                      <a:pt x="1608" y="658"/>
                      <a:pt x="1607" y="657"/>
                    </a:cubicBezTo>
                    <a:cubicBezTo>
                      <a:pt x="1607" y="657"/>
                      <a:pt x="1607" y="657"/>
                      <a:pt x="1605" y="655"/>
                    </a:cubicBezTo>
                    <a:cubicBezTo>
                      <a:pt x="1605" y="655"/>
                      <a:pt x="1605" y="655"/>
                      <a:pt x="1604" y="654"/>
                    </a:cubicBezTo>
                    <a:cubicBezTo>
                      <a:pt x="1604" y="654"/>
                      <a:pt x="1604" y="654"/>
                      <a:pt x="1605" y="653"/>
                    </a:cubicBezTo>
                    <a:cubicBezTo>
                      <a:pt x="1605" y="653"/>
                      <a:pt x="1605" y="653"/>
                      <a:pt x="1606" y="653"/>
                    </a:cubicBezTo>
                    <a:cubicBezTo>
                      <a:pt x="1606" y="653"/>
                      <a:pt x="1606" y="653"/>
                      <a:pt x="1606" y="655"/>
                    </a:cubicBezTo>
                    <a:cubicBezTo>
                      <a:pt x="1606" y="655"/>
                      <a:pt x="1606" y="655"/>
                      <a:pt x="1607" y="655"/>
                    </a:cubicBezTo>
                    <a:cubicBezTo>
                      <a:pt x="1607" y="655"/>
                      <a:pt x="1607" y="655"/>
                      <a:pt x="1608" y="654"/>
                    </a:cubicBezTo>
                    <a:cubicBezTo>
                      <a:pt x="1608" y="654"/>
                      <a:pt x="1608" y="654"/>
                      <a:pt x="1609" y="655"/>
                    </a:cubicBezTo>
                    <a:cubicBezTo>
                      <a:pt x="1609" y="655"/>
                      <a:pt x="1609" y="655"/>
                      <a:pt x="1609" y="654"/>
                    </a:cubicBezTo>
                    <a:cubicBezTo>
                      <a:pt x="1609" y="654"/>
                      <a:pt x="1609" y="654"/>
                      <a:pt x="1612" y="652"/>
                    </a:cubicBezTo>
                    <a:cubicBezTo>
                      <a:pt x="1612" y="652"/>
                      <a:pt x="1612" y="652"/>
                      <a:pt x="1613" y="652"/>
                    </a:cubicBezTo>
                    <a:cubicBezTo>
                      <a:pt x="1613" y="652"/>
                      <a:pt x="1613" y="652"/>
                      <a:pt x="1614" y="650"/>
                    </a:cubicBezTo>
                    <a:cubicBezTo>
                      <a:pt x="1614" y="650"/>
                      <a:pt x="1614" y="650"/>
                      <a:pt x="1615" y="649"/>
                    </a:cubicBezTo>
                    <a:cubicBezTo>
                      <a:pt x="1615" y="649"/>
                      <a:pt x="1615" y="649"/>
                      <a:pt x="1613" y="649"/>
                    </a:cubicBezTo>
                    <a:cubicBezTo>
                      <a:pt x="1613" y="649"/>
                      <a:pt x="1613" y="649"/>
                      <a:pt x="1613" y="650"/>
                    </a:cubicBezTo>
                    <a:cubicBezTo>
                      <a:pt x="1613" y="650"/>
                      <a:pt x="1613" y="650"/>
                      <a:pt x="1610" y="651"/>
                    </a:cubicBezTo>
                    <a:cubicBezTo>
                      <a:pt x="1610" y="651"/>
                      <a:pt x="1610" y="651"/>
                      <a:pt x="1609" y="651"/>
                    </a:cubicBezTo>
                    <a:cubicBezTo>
                      <a:pt x="1609" y="651"/>
                      <a:pt x="1609" y="651"/>
                      <a:pt x="1608" y="651"/>
                    </a:cubicBezTo>
                    <a:cubicBezTo>
                      <a:pt x="1608" y="651"/>
                      <a:pt x="1608" y="651"/>
                      <a:pt x="1604" y="650"/>
                    </a:cubicBezTo>
                    <a:cubicBezTo>
                      <a:pt x="1604" y="650"/>
                      <a:pt x="1604" y="650"/>
                      <a:pt x="1602" y="648"/>
                    </a:cubicBezTo>
                    <a:cubicBezTo>
                      <a:pt x="1602" y="648"/>
                      <a:pt x="1602" y="648"/>
                      <a:pt x="1601" y="647"/>
                    </a:cubicBezTo>
                    <a:cubicBezTo>
                      <a:pt x="1601" y="647"/>
                      <a:pt x="1601" y="647"/>
                      <a:pt x="1601" y="646"/>
                    </a:cubicBezTo>
                    <a:cubicBezTo>
                      <a:pt x="1601" y="646"/>
                      <a:pt x="1601" y="646"/>
                      <a:pt x="1602" y="644"/>
                    </a:cubicBezTo>
                    <a:cubicBezTo>
                      <a:pt x="1602" y="644"/>
                      <a:pt x="1602" y="644"/>
                      <a:pt x="1600" y="645"/>
                    </a:cubicBezTo>
                    <a:cubicBezTo>
                      <a:pt x="1600" y="645"/>
                      <a:pt x="1600" y="645"/>
                      <a:pt x="1599" y="646"/>
                    </a:cubicBezTo>
                    <a:cubicBezTo>
                      <a:pt x="1599" y="646"/>
                      <a:pt x="1599" y="646"/>
                      <a:pt x="1599" y="645"/>
                    </a:cubicBezTo>
                    <a:cubicBezTo>
                      <a:pt x="1599" y="645"/>
                      <a:pt x="1599" y="645"/>
                      <a:pt x="1597" y="644"/>
                    </a:cubicBezTo>
                    <a:cubicBezTo>
                      <a:pt x="1597" y="644"/>
                      <a:pt x="1597" y="644"/>
                      <a:pt x="1595" y="644"/>
                    </a:cubicBezTo>
                    <a:cubicBezTo>
                      <a:pt x="1595" y="644"/>
                      <a:pt x="1595" y="644"/>
                      <a:pt x="1594" y="644"/>
                    </a:cubicBezTo>
                    <a:cubicBezTo>
                      <a:pt x="1594" y="644"/>
                      <a:pt x="1594" y="644"/>
                      <a:pt x="1594" y="643"/>
                    </a:cubicBezTo>
                    <a:cubicBezTo>
                      <a:pt x="1594" y="643"/>
                      <a:pt x="1594" y="643"/>
                      <a:pt x="1593" y="643"/>
                    </a:cubicBezTo>
                    <a:cubicBezTo>
                      <a:pt x="1593" y="643"/>
                      <a:pt x="1593" y="643"/>
                      <a:pt x="1593" y="642"/>
                    </a:cubicBezTo>
                    <a:cubicBezTo>
                      <a:pt x="1593" y="642"/>
                      <a:pt x="1593" y="642"/>
                      <a:pt x="1593" y="641"/>
                    </a:cubicBezTo>
                    <a:cubicBezTo>
                      <a:pt x="1593" y="641"/>
                      <a:pt x="1593" y="641"/>
                      <a:pt x="1593" y="639"/>
                    </a:cubicBezTo>
                    <a:cubicBezTo>
                      <a:pt x="1593" y="639"/>
                      <a:pt x="1593" y="639"/>
                      <a:pt x="1591" y="637"/>
                    </a:cubicBezTo>
                    <a:cubicBezTo>
                      <a:pt x="1591" y="637"/>
                      <a:pt x="1591" y="637"/>
                      <a:pt x="1591" y="636"/>
                    </a:cubicBezTo>
                    <a:cubicBezTo>
                      <a:pt x="1591" y="636"/>
                      <a:pt x="1591" y="636"/>
                      <a:pt x="1589" y="637"/>
                    </a:cubicBezTo>
                    <a:cubicBezTo>
                      <a:pt x="1589" y="637"/>
                      <a:pt x="1589" y="637"/>
                      <a:pt x="1588" y="637"/>
                    </a:cubicBezTo>
                    <a:cubicBezTo>
                      <a:pt x="1588" y="637"/>
                      <a:pt x="1588" y="637"/>
                      <a:pt x="1588" y="636"/>
                    </a:cubicBezTo>
                    <a:cubicBezTo>
                      <a:pt x="1588" y="636"/>
                      <a:pt x="1588" y="636"/>
                      <a:pt x="1589" y="636"/>
                    </a:cubicBezTo>
                    <a:cubicBezTo>
                      <a:pt x="1589" y="636"/>
                      <a:pt x="1589" y="636"/>
                      <a:pt x="1589" y="635"/>
                    </a:cubicBezTo>
                    <a:cubicBezTo>
                      <a:pt x="1589" y="635"/>
                      <a:pt x="1589" y="635"/>
                      <a:pt x="1588" y="634"/>
                    </a:cubicBezTo>
                    <a:cubicBezTo>
                      <a:pt x="1588" y="634"/>
                      <a:pt x="1588" y="634"/>
                      <a:pt x="1587" y="633"/>
                    </a:cubicBezTo>
                    <a:cubicBezTo>
                      <a:pt x="1587" y="633"/>
                      <a:pt x="1587" y="633"/>
                      <a:pt x="1585" y="633"/>
                    </a:cubicBezTo>
                    <a:cubicBezTo>
                      <a:pt x="1585" y="633"/>
                      <a:pt x="1585" y="633"/>
                      <a:pt x="1583" y="633"/>
                    </a:cubicBezTo>
                    <a:cubicBezTo>
                      <a:pt x="1583" y="633"/>
                      <a:pt x="1583" y="633"/>
                      <a:pt x="1582" y="633"/>
                    </a:cubicBezTo>
                    <a:cubicBezTo>
                      <a:pt x="1582" y="633"/>
                      <a:pt x="1582" y="633"/>
                      <a:pt x="1581" y="633"/>
                    </a:cubicBezTo>
                    <a:cubicBezTo>
                      <a:pt x="1581" y="633"/>
                      <a:pt x="1581" y="633"/>
                      <a:pt x="1580" y="633"/>
                    </a:cubicBezTo>
                    <a:cubicBezTo>
                      <a:pt x="1580" y="633"/>
                      <a:pt x="1580" y="633"/>
                      <a:pt x="1579" y="634"/>
                    </a:cubicBezTo>
                    <a:cubicBezTo>
                      <a:pt x="1579" y="634"/>
                      <a:pt x="1579" y="634"/>
                      <a:pt x="1578" y="633"/>
                    </a:cubicBezTo>
                    <a:cubicBezTo>
                      <a:pt x="1578" y="633"/>
                      <a:pt x="1578" y="633"/>
                      <a:pt x="1576" y="633"/>
                    </a:cubicBezTo>
                    <a:cubicBezTo>
                      <a:pt x="1576" y="633"/>
                      <a:pt x="1576" y="633"/>
                      <a:pt x="1575" y="635"/>
                    </a:cubicBezTo>
                    <a:cubicBezTo>
                      <a:pt x="1575" y="635"/>
                      <a:pt x="1575" y="635"/>
                      <a:pt x="1574" y="635"/>
                    </a:cubicBezTo>
                    <a:cubicBezTo>
                      <a:pt x="1574" y="635"/>
                      <a:pt x="1574" y="635"/>
                      <a:pt x="1573" y="634"/>
                    </a:cubicBezTo>
                    <a:cubicBezTo>
                      <a:pt x="1573" y="634"/>
                      <a:pt x="1573" y="634"/>
                      <a:pt x="1572" y="634"/>
                    </a:cubicBezTo>
                    <a:cubicBezTo>
                      <a:pt x="1572" y="634"/>
                      <a:pt x="1572" y="634"/>
                      <a:pt x="1572" y="633"/>
                    </a:cubicBezTo>
                    <a:cubicBezTo>
                      <a:pt x="1572" y="633"/>
                      <a:pt x="1572" y="633"/>
                      <a:pt x="1571" y="633"/>
                    </a:cubicBezTo>
                    <a:cubicBezTo>
                      <a:pt x="1571" y="633"/>
                      <a:pt x="1571" y="633"/>
                      <a:pt x="1571" y="634"/>
                    </a:cubicBezTo>
                    <a:cubicBezTo>
                      <a:pt x="1571" y="634"/>
                      <a:pt x="1571" y="634"/>
                      <a:pt x="1570" y="634"/>
                    </a:cubicBezTo>
                    <a:cubicBezTo>
                      <a:pt x="1570" y="634"/>
                      <a:pt x="1570" y="634"/>
                      <a:pt x="1569" y="633"/>
                    </a:cubicBezTo>
                    <a:cubicBezTo>
                      <a:pt x="1569" y="633"/>
                      <a:pt x="1569" y="633"/>
                      <a:pt x="1568" y="634"/>
                    </a:cubicBezTo>
                    <a:cubicBezTo>
                      <a:pt x="1568" y="634"/>
                      <a:pt x="1568" y="634"/>
                      <a:pt x="1567" y="634"/>
                    </a:cubicBezTo>
                    <a:cubicBezTo>
                      <a:pt x="1567" y="634"/>
                      <a:pt x="1567" y="634"/>
                      <a:pt x="1566" y="634"/>
                    </a:cubicBezTo>
                    <a:cubicBezTo>
                      <a:pt x="1566" y="634"/>
                      <a:pt x="1566" y="634"/>
                      <a:pt x="1565" y="634"/>
                    </a:cubicBezTo>
                    <a:cubicBezTo>
                      <a:pt x="1565" y="634"/>
                      <a:pt x="1565" y="634"/>
                      <a:pt x="1564" y="634"/>
                    </a:cubicBezTo>
                    <a:cubicBezTo>
                      <a:pt x="1564" y="634"/>
                      <a:pt x="1564" y="634"/>
                      <a:pt x="1563" y="635"/>
                    </a:cubicBezTo>
                    <a:cubicBezTo>
                      <a:pt x="1563" y="635"/>
                      <a:pt x="1563" y="635"/>
                      <a:pt x="1562" y="635"/>
                    </a:cubicBezTo>
                    <a:cubicBezTo>
                      <a:pt x="1562" y="635"/>
                      <a:pt x="1562" y="635"/>
                      <a:pt x="1561" y="635"/>
                    </a:cubicBezTo>
                    <a:cubicBezTo>
                      <a:pt x="1561" y="635"/>
                      <a:pt x="1561" y="635"/>
                      <a:pt x="1559" y="636"/>
                    </a:cubicBezTo>
                    <a:cubicBezTo>
                      <a:pt x="1559" y="636"/>
                      <a:pt x="1559" y="636"/>
                      <a:pt x="1558" y="636"/>
                    </a:cubicBezTo>
                    <a:cubicBezTo>
                      <a:pt x="1558" y="636"/>
                      <a:pt x="1558" y="636"/>
                      <a:pt x="1558" y="635"/>
                    </a:cubicBezTo>
                    <a:cubicBezTo>
                      <a:pt x="1558" y="635"/>
                      <a:pt x="1558" y="635"/>
                      <a:pt x="1557" y="635"/>
                    </a:cubicBezTo>
                    <a:cubicBezTo>
                      <a:pt x="1557" y="635"/>
                      <a:pt x="1557" y="635"/>
                      <a:pt x="1556" y="636"/>
                    </a:cubicBezTo>
                    <a:cubicBezTo>
                      <a:pt x="1556" y="636"/>
                      <a:pt x="1556" y="636"/>
                      <a:pt x="1554" y="635"/>
                    </a:cubicBezTo>
                    <a:cubicBezTo>
                      <a:pt x="1554" y="635"/>
                      <a:pt x="1554" y="635"/>
                      <a:pt x="1552" y="634"/>
                    </a:cubicBezTo>
                    <a:cubicBezTo>
                      <a:pt x="1552" y="634"/>
                      <a:pt x="1552" y="634"/>
                      <a:pt x="1552" y="633"/>
                    </a:cubicBezTo>
                    <a:cubicBezTo>
                      <a:pt x="1552" y="633"/>
                      <a:pt x="1552" y="633"/>
                      <a:pt x="1551" y="633"/>
                    </a:cubicBezTo>
                    <a:cubicBezTo>
                      <a:pt x="1551" y="633"/>
                      <a:pt x="1551" y="633"/>
                      <a:pt x="1551" y="634"/>
                    </a:cubicBezTo>
                    <a:cubicBezTo>
                      <a:pt x="1551" y="634"/>
                      <a:pt x="1551" y="634"/>
                      <a:pt x="1550" y="635"/>
                    </a:cubicBezTo>
                    <a:cubicBezTo>
                      <a:pt x="1550" y="635"/>
                      <a:pt x="1550" y="635"/>
                      <a:pt x="1549" y="634"/>
                    </a:cubicBezTo>
                    <a:cubicBezTo>
                      <a:pt x="1549" y="634"/>
                      <a:pt x="1549" y="634"/>
                      <a:pt x="1548" y="634"/>
                    </a:cubicBezTo>
                    <a:cubicBezTo>
                      <a:pt x="1548" y="634"/>
                      <a:pt x="1548" y="634"/>
                      <a:pt x="1545" y="633"/>
                    </a:cubicBezTo>
                    <a:cubicBezTo>
                      <a:pt x="1545" y="633"/>
                      <a:pt x="1545" y="633"/>
                      <a:pt x="1543" y="633"/>
                    </a:cubicBezTo>
                    <a:cubicBezTo>
                      <a:pt x="1543" y="633"/>
                      <a:pt x="1543" y="633"/>
                      <a:pt x="1540" y="633"/>
                    </a:cubicBezTo>
                    <a:cubicBezTo>
                      <a:pt x="1540" y="633"/>
                      <a:pt x="1540" y="633"/>
                      <a:pt x="1538" y="631"/>
                    </a:cubicBezTo>
                    <a:cubicBezTo>
                      <a:pt x="1538" y="631"/>
                      <a:pt x="1538" y="631"/>
                      <a:pt x="1537" y="631"/>
                    </a:cubicBezTo>
                    <a:cubicBezTo>
                      <a:pt x="1537" y="631"/>
                      <a:pt x="1537" y="631"/>
                      <a:pt x="1536" y="633"/>
                    </a:cubicBezTo>
                    <a:cubicBezTo>
                      <a:pt x="1536" y="633"/>
                      <a:pt x="1536" y="633"/>
                      <a:pt x="1535" y="632"/>
                    </a:cubicBezTo>
                    <a:cubicBezTo>
                      <a:pt x="1535" y="632"/>
                      <a:pt x="1535" y="632"/>
                      <a:pt x="1533" y="632"/>
                    </a:cubicBezTo>
                    <a:cubicBezTo>
                      <a:pt x="1533" y="632"/>
                      <a:pt x="1533" y="632"/>
                      <a:pt x="1530" y="632"/>
                    </a:cubicBezTo>
                    <a:cubicBezTo>
                      <a:pt x="1530" y="632"/>
                      <a:pt x="1530" y="632"/>
                      <a:pt x="1530" y="631"/>
                    </a:cubicBezTo>
                    <a:cubicBezTo>
                      <a:pt x="1530" y="631"/>
                      <a:pt x="1530" y="631"/>
                      <a:pt x="1529" y="631"/>
                    </a:cubicBezTo>
                    <a:cubicBezTo>
                      <a:pt x="1529" y="631"/>
                      <a:pt x="1529" y="631"/>
                      <a:pt x="1529" y="629"/>
                    </a:cubicBezTo>
                    <a:cubicBezTo>
                      <a:pt x="1529" y="629"/>
                      <a:pt x="1529" y="629"/>
                      <a:pt x="1528" y="627"/>
                    </a:cubicBezTo>
                    <a:cubicBezTo>
                      <a:pt x="1528" y="627"/>
                      <a:pt x="1528" y="627"/>
                      <a:pt x="1527" y="624"/>
                    </a:cubicBezTo>
                    <a:cubicBezTo>
                      <a:pt x="1527" y="624"/>
                      <a:pt x="1527" y="624"/>
                      <a:pt x="1526" y="623"/>
                    </a:cubicBezTo>
                    <a:cubicBezTo>
                      <a:pt x="1526" y="623"/>
                      <a:pt x="1526" y="623"/>
                      <a:pt x="1526" y="622"/>
                    </a:cubicBezTo>
                    <a:cubicBezTo>
                      <a:pt x="1526" y="622"/>
                      <a:pt x="1526" y="622"/>
                      <a:pt x="1525" y="622"/>
                    </a:cubicBezTo>
                    <a:cubicBezTo>
                      <a:pt x="1525" y="622"/>
                      <a:pt x="1525" y="622"/>
                      <a:pt x="1523" y="621"/>
                    </a:cubicBezTo>
                    <a:cubicBezTo>
                      <a:pt x="1523" y="621"/>
                      <a:pt x="1523" y="621"/>
                      <a:pt x="1522" y="622"/>
                    </a:cubicBezTo>
                    <a:cubicBezTo>
                      <a:pt x="1522" y="622"/>
                      <a:pt x="1522" y="622"/>
                      <a:pt x="1520" y="623"/>
                    </a:cubicBezTo>
                    <a:cubicBezTo>
                      <a:pt x="1520" y="623"/>
                      <a:pt x="1520" y="623"/>
                      <a:pt x="1519" y="623"/>
                    </a:cubicBezTo>
                    <a:cubicBezTo>
                      <a:pt x="1519" y="623"/>
                      <a:pt x="1519" y="623"/>
                      <a:pt x="1516" y="625"/>
                    </a:cubicBezTo>
                    <a:cubicBezTo>
                      <a:pt x="1516" y="625"/>
                      <a:pt x="1516" y="625"/>
                      <a:pt x="1514" y="627"/>
                    </a:cubicBezTo>
                    <a:cubicBezTo>
                      <a:pt x="1514" y="627"/>
                      <a:pt x="1514" y="627"/>
                      <a:pt x="1511" y="625"/>
                    </a:cubicBezTo>
                    <a:cubicBezTo>
                      <a:pt x="1511" y="625"/>
                      <a:pt x="1511" y="625"/>
                      <a:pt x="1509" y="624"/>
                    </a:cubicBezTo>
                    <a:cubicBezTo>
                      <a:pt x="1509" y="624"/>
                      <a:pt x="1509" y="624"/>
                      <a:pt x="1508" y="625"/>
                    </a:cubicBezTo>
                    <a:cubicBezTo>
                      <a:pt x="1508" y="625"/>
                      <a:pt x="1508" y="625"/>
                      <a:pt x="1507" y="625"/>
                    </a:cubicBezTo>
                    <a:cubicBezTo>
                      <a:pt x="1507" y="625"/>
                      <a:pt x="1507" y="625"/>
                      <a:pt x="1505" y="623"/>
                    </a:cubicBezTo>
                    <a:cubicBezTo>
                      <a:pt x="1505" y="623"/>
                      <a:pt x="1505" y="623"/>
                      <a:pt x="1504" y="623"/>
                    </a:cubicBezTo>
                    <a:cubicBezTo>
                      <a:pt x="1504" y="623"/>
                      <a:pt x="1504" y="623"/>
                      <a:pt x="1503" y="622"/>
                    </a:cubicBezTo>
                    <a:cubicBezTo>
                      <a:pt x="1503" y="622"/>
                      <a:pt x="1503" y="622"/>
                      <a:pt x="1502" y="622"/>
                    </a:cubicBezTo>
                    <a:cubicBezTo>
                      <a:pt x="1502" y="622"/>
                      <a:pt x="1502" y="622"/>
                      <a:pt x="1500" y="620"/>
                    </a:cubicBezTo>
                    <a:cubicBezTo>
                      <a:pt x="1500" y="620"/>
                      <a:pt x="1500" y="620"/>
                      <a:pt x="1500" y="619"/>
                    </a:cubicBezTo>
                    <a:cubicBezTo>
                      <a:pt x="1500" y="619"/>
                      <a:pt x="1500" y="619"/>
                      <a:pt x="1499" y="619"/>
                    </a:cubicBezTo>
                    <a:cubicBezTo>
                      <a:pt x="1499" y="619"/>
                      <a:pt x="1499" y="619"/>
                      <a:pt x="1499" y="618"/>
                    </a:cubicBezTo>
                    <a:cubicBezTo>
                      <a:pt x="1499" y="618"/>
                      <a:pt x="1499" y="618"/>
                      <a:pt x="1497" y="618"/>
                    </a:cubicBezTo>
                    <a:cubicBezTo>
                      <a:pt x="1497" y="618"/>
                      <a:pt x="1497" y="618"/>
                      <a:pt x="1496" y="617"/>
                    </a:cubicBezTo>
                    <a:cubicBezTo>
                      <a:pt x="1496" y="617"/>
                      <a:pt x="1496" y="617"/>
                      <a:pt x="1494" y="617"/>
                    </a:cubicBezTo>
                    <a:cubicBezTo>
                      <a:pt x="1494" y="617"/>
                      <a:pt x="1494" y="617"/>
                      <a:pt x="1492" y="617"/>
                    </a:cubicBezTo>
                    <a:cubicBezTo>
                      <a:pt x="1492" y="617"/>
                      <a:pt x="1492" y="617"/>
                      <a:pt x="1491" y="616"/>
                    </a:cubicBezTo>
                    <a:cubicBezTo>
                      <a:pt x="1491" y="616"/>
                      <a:pt x="1491" y="616"/>
                      <a:pt x="1489" y="612"/>
                    </a:cubicBezTo>
                    <a:cubicBezTo>
                      <a:pt x="1489" y="612"/>
                      <a:pt x="1489" y="612"/>
                      <a:pt x="1489" y="611"/>
                    </a:cubicBezTo>
                    <a:cubicBezTo>
                      <a:pt x="1489" y="611"/>
                      <a:pt x="1489" y="611"/>
                      <a:pt x="1488" y="611"/>
                    </a:cubicBezTo>
                    <a:cubicBezTo>
                      <a:pt x="1488" y="611"/>
                      <a:pt x="1488" y="611"/>
                      <a:pt x="1487" y="610"/>
                    </a:cubicBezTo>
                    <a:cubicBezTo>
                      <a:pt x="1487" y="610"/>
                      <a:pt x="1487" y="610"/>
                      <a:pt x="1488" y="610"/>
                    </a:cubicBezTo>
                    <a:cubicBezTo>
                      <a:pt x="1488" y="610"/>
                      <a:pt x="1488" y="610"/>
                      <a:pt x="1488" y="609"/>
                    </a:cubicBezTo>
                    <a:cubicBezTo>
                      <a:pt x="1488" y="609"/>
                      <a:pt x="1488" y="609"/>
                      <a:pt x="1487" y="609"/>
                    </a:cubicBezTo>
                    <a:cubicBezTo>
                      <a:pt x="1487" y="609"/>
                      <a:pt x="1487" y="609"/>
                      <a:pt x="1486" y="609"/>
                    </a:cubicBezTo>
                    <a:cubicBezTo>
                      <a:pt x="1486" y="609"/>
                      <a:pt x="1486" y="609"/>
                      <a:pt x="1486" y="607"/>
                    </a:cubicBezTo>
                    <a:cubicBezTo>
                      <a:pt x="1486" y="607"/>
                      <a:pt x="1486" y="607"/>
                      <a:pt x="1484" y="604"/>
                    </a:cubicBezTo>
                    <a:cubicBezTo>
                      <a:pt x="1484" y="604"/>
                      <a:pt x="1484" y="604"/>
                      <a:pt x="1483" y="603"/>
                    </a:cubicBezTo>
                    <a:cubicBezTo>
                      <a:pt x="1483" y="603"/>
                      <a:pt x="1483" y="603"/>
                      <a:pt x="1482" y="601"/>
                    </a:cubicBezTo>
                    <a:cubicBezTo>
                      <a:pt x="1482" y="601"/>
                      <a:pt x="1482" y="601"/>
                      <a:pt x="1481" y="601"/>
                    </a:cubicBezTo>
                    <a:cubicBezTo>
                      <a:pt x="1481" y="601"/>
                      <a:pt x="1481" y="601"/>
                      <a:pt x="1479" y="602"/>
                    </a:cubicBezTo>
                    <a:cubicBezTo>
                      <a:pt x="1479" y="602"/>
                      <a:pt x="1479" y="602"/>
                      <a:pt x="1478" y="601"/>
                    </a:cubicBezTo>
                    <a:cubicBezTo>
                      <a:pt x="1478" y="601"/>
                      <a:pt x="1478" y="601"/>
                      <a:pt x="1476" y="601"/>
                    </a:cubicBezTo>
                    <a:cubicBezTo>
                      <a:pt x="1476" y="601"/>
                      <a:pt x="1476" y="601"/>
                      <a:pt x="1476" y="602"/>
                    </a:cubicBezTo>
                    <a:cubicBezTo>
                      <a:pt x="1476" y="602"/>
                      <a:pt x="1476" y="602"/>
                      <a:pt x="1475" y="602"/>
                    </a:cubicBezTo>
                    <a:cubicBezTo>
                      <a:pt x="1475" y="602"/>
                      <a:pt x="1475" y="602"/>
                      <a:pt x="1474" y="602"/>
                    </a:cubicBezTo>
                    <a:cubicBezTo>
                      <a:pt x="1474" y="602"/>
                      <a:pt x="1474" y="602"/>
                      <a:pt x="1473" y="601"/>
                    </a:cubicBezTo>
                    <a:cubicBezTo>
                      <a:pt x="1473" y="601"/>
                      <a:pt x="1473" y="601"/>
                      <a:pt x="1472" y="601"/>
                    </a:cubicBezTo>
                    <a:cubicBezTo>
                      <a:pt x="1472" y="601"/>
                      <a:pt x="1472" y="601"/>
                      <a:pt x="1471" y="603"/>
                    </a:cubicBezTo>
                    <a:cubicBezTo>
                      <a:pt x="1471" y="603"/>
                      <a:pt x="1471" y="603"/>
                      <a:pt x="1472" y="606"/>
                    </a:cubicBezTo>
                    <a:cubicBezTo>
                      <a:pt x="1472" y="606"/>
                      <a:pt x="1472" y="606"/>
                      <a:pt x="1468" y="607"/>
                    </a:cubicBezTo>
                    <a:cubicBezTo>
                      <a:pt x="1468" y="607"/>
                      <a:pt x="1468" y="607"/>
                      <a:pt x="1471" y="608"/>
                    </a:cubicBezTo>
                    <a:cubicBezTo>
                      <a:pt x="1471" y="608"/>
                      <a:pt x="1471" y="608"/>
                      <a:pt x="1471" y="609"/>
                    </a:cubicBezTo>
                    <a:cubicBezTo>
                      <a:pt x="1471" y="609"/>
                      <a:pt x="1471" y="609"/>
                      <a:pt x="1471" y="610"/>
                    </a:cubicBezTo>
                    <a:cubicBezTo>
                      <a:pt x="1471" y="610"/>
                      <a:pt x="1471" y="610"/>
                      <a:pt x="1472" y="610"/>
                    </a:cubicBezTo>
                    <a:cubicBezTo>
                      <a:pt x="1472" y="610"/>
                      <a:pt x="1472" y="610"/>
                      <a:pt x="1472" y="611"/>
                    </a:cubicBezTo>
                    <a:cubicBezTo>
                      <a:pt x="1472" y="611"/>
                      <a:pt x="1472" y="611"/>
                      <a:pt x="1473" y="612"/>
                    </a:cubicBezTo>
                    <a:cubicBezTo>
                      <a:pt x="1473" y="612"/>
                      <a:pt x="1473" y="612"/>
                      <a:pt x="1473" y="613"/>
                    </a:cubicBezTo>
                    <a:cubicBezTo>
                      <a:pt x="1473" y="613"/>
                      <a:pt x="1473" y="613"/>
                      <a:pt x="1474" y="613"/>
                    </a:cubicBezTo>
                    <a:cubicBezTo>
                      <a:pt x="1474" y="613"/>
                      <a:pt x="1474" y="613"/>
                      <a:pt x="1475" y="615"/>
                    </a:cubicBezTo>
                    <a:cubicBezTo>
                      <a:pt x="1475" y="615"/>
                      <a:pt x="1475" y="615"/>
                      <a:pt x="1476" y="618"/>
                    </a:cubicBezTo>
                    <a:cubicBezTo>
                      <a:pt x="1476" y="618"/>
                      <a:pt x="1476" y="618"/>
                      <a:pt x="1478" y="618"/>
                    </a:cubicBezTo>
                    <a:cubicBezTo>
                      <a:pt x="1478" y="618"/>
                      <a:pt x="1478" y="618"/>
                      <a:pt x="1479" y="619"/>
                    </a:cubicBezTo>
                    <a:cubicBezTo>
                      <a:pt x="1479" y="619"/>
                      <a:pt x="1479" y="619"/>
                      <a:pt x="1479" y="620"/>
                    </a:cubicBezTo>
                    <a:cubicBezTo>
                      <a:pt x="1479" y="620"/>
                      <a:pt x="1479" y="620"/>
                      <a:pt x="1479" y="621"/>
                    </a:cubicBezTo>
                    <a:cubicBezTo>
                      <a:pt x="1479" y="621"/>
                      <a:pt x="1479" y="621"/>
                      <a:pt x="1480" y="621"/>
                    </a:cubicBezTo>
                    <a:cubicBezTo>
                      <a:pt x="1480" y="621"/>
                      <a:pt x="1480" y="621"/>
                      <a:pt x="1482" y="624"/>
                    </a:cubicBezTo>
                    <a:cubicBezTo>
                      <a:pt x="1482" y="624"/>
                      <a:pt x="1482" y="624"/>
                      <a:pt x="1483" y="624"/>
                    </a:cubicBezTo>
                    <a:cubicBezTo>
                      <a:pt x="1483" y="624"/>
                      <a:pt x="1483" y="624"/>
                      <a:pt x="1484" y="625"/>
                    </a:cubicBezTo>
                    <a:cubicBezTo>
                      <a:pt x="1484" y="625"/>
                      <a:pt x="1484" y="625"/>
                      <a:pt x="1484" y="626"/>
                    </a:cubicBezTo>
                    <a:cubicBezTo>
                      <a:pt x="1484" y="626"/>
                      <a:pt x="1484" y="626"/>
                      <a:pt x="1485" y="629"/>
                    </a:cubicBezTo>
                    <a:cubicBezTo>
                      <a:pt x="1485" y="629"/>
                      <a:pt x="1485" y="629"/>
                      <a:pt x="1484" y="629"/>
                    </a:cubicBezTo>
                    <a:cubicBezTo>
                      <a:pt x="1484" y="629"/>
                      <a:pt x="1484" y="629"/>
                      <a:pt x="1485" y="631"/>
                    </a:cubicBezTo>
                    <a:cubicBezTo>
                      <a:pt x="1485" y="631"/>
                      <a:pt x="1485" y="631"/>
                      <a:pt x="1488" y="635"/>
                    </a:cubicBezTo>
                    <a:cubicBezTo>
                      <a:pt x="1488" y="635"/>
                      <a:pt x="1488" y="635"/>
                      <a:pt x="1488" y="636"/>
                    </a:cubicBezTo>
                    <a:cubicBezTo>
                      <a:pt x="1488" y="636"/>
                      <a:pt x="1488" y="636"/>
                      <a:pt x="1489" y="638"/>
                    </a:cubicBezTo>
                    <a:cubicBezTo>
                      <a:pt x="1489" y="638"/>
                      <a:pt x="1489" y="638"/>
                      <a:pt x="1490" y="637"/>
                    </a:cubicBezTo>
                    <a:cubicBezTo>
                      <a:pt x="1490" y="637"/>
                      <a:pt x="1490" y="637"/>
                      <a:pt x="1490" y="636"/>
                    </a:cubicBezTo>
                    <a:cubicBezTo>
                      <a:pt x="1490" y="636"/>
                      <a:pt x="1490" y="636"/>
                      <a:pt x="1490" y="635"/>
                    </a:cubicBezTo>
                    <a:cubicBezTo>
                      <a:pt x="1490" y="635"/>
                      <a:pt x="1490" y="635"/>
                      <a:pt x="1489" y="635"/>
                    </a:cubicBezTo>
                    <a:cubicBezTo>
                      <a:pt x="1489" y="635"/>
                      <a:pt x="1489" y="635"/>
                      <a:pt x="1490" y="633"/>
                    </a:cubicBezTo>
                    <a:cubicBezTo>
                      <a:pt x="1490" y="633"/>
                      <a:pt x="1490" y="633"/>
                      <a:pt x="1490" y="631"/>
                    </a:cubicBezTo>
                    <a:cubicBezTo>
                      <a:pt x="1490" y="631"/>
                      <a:pt x="1490" y="631"/>
                      <a:pt x="1490" y="630"/>
                    </a:cubicBezTo>
                    <a:cubicBezTo>
                      <a:pt x="1490" y="630"/>
                      <a:pt x="1490" y="630"/>
                      <a:pt x="1491" y="630"/>
                    </a:cubicBezTo>
                    <a:cubicBezTo>
                      <a:pt x="1491" y="630"/>
                      <a:pt x="1491" y="630"/>
                      <a:pt x="1491" y="629"/>
                    </a:cubicBezTo>
                    <a:cubicBezTo>
                      <a:pt x="1491" y="629"/>
                      <a:pt x="1491" y="629"/>
                      <a:pt x="1492" y="629"/>
                    </a:cubicBezTo>
                    <a:cubicBezTo>
                      <a:pt x="1492" y="629"/>
                      <a:pt x="1492" y="629"/>
                      <a:pt x="1493" y="629"/>
                    </a:cubicBezTo>
                    <a:cubicBezTo>
                      <a:pt x="1493" y="629"/>
                      <a:pt x="1493" y="629"/>
                      <a:pt x="1493" y="630"/>
                    </a:cubicBezTo>
                    <a:cubicBezTo>
                      <a:pt x="1493" y="630"/>
                      <a:pt x="1493" y="630"/>
                      <a:pt x="1494" y="630"/>
                    </a:cubicBezTo>
                    <a:cubicBezTo>
                      <a:pt x="1494" y="630"/>
                      <a:pt x="1494" y="630"/>
                      <a:pt x="1493" y="633"/>
                    </a:cubicBezTo>
                    <a:cubicBezTo>
                      <a:pt x="1493" y="633"/>
                      <a:pt x="1493" y="633"/>
                      <a:pt x="1493" y="635"/>
                    </a:cubicBezTo>
                    <a:cubicBezTo>
                      <a:pt x="1493" y="635"/>
                      <a:pt x="1493" y="635"/>
                      <a:pt x="1494" y="635"/>
                    </a:cubicBezTo>
                    <a:cubicBezTo>
                      <a:pt x="1494" y="635"/>
                      <a:pt x="1494" y="635"/>
                      <a:pt x="1494" y="636"/>
                    </a:cubicBezTo>
                    <a:cubicBezTo>
                      <a:pt x="1494" y="636"/>
                      <a:pt x="1494" y="636"/>
                      <a:pt x="1494" y="639"/>
                    </a:cubicBezTo>
                    <a:cubicBezTo>
                      <a:pt x="1494" y="639"/>
                      <a:pt x="1494" y="639"/>
                      <a:pt x="1494" y="640"/>
                    </a:cubicBezTo>
                    <a:cubicBezTo>
                      <a:pt x="1494" y="640"/>
                      <a:pt x="1494" y="640"/>
                      <a:pt x="1494" y="641"/>
                    </a:cubicBezTo>
                    <a:cubicBezTo>
                      <a:pt x="1494" y="641"/>
                      <a:pt x="1494" y="641"/>
                      <a:pt x="1494" y="642"/>
                    </a:cubicBezTo>
                    <a:cubicBezTo>
                      <a:pt x="1494" y="642"/>
                      <a:pt x="1494" y="642"/>
                      <a:pt x="1495" y="642"/>
                    </a:cubicBezTo>
                    <a:cubicBezTo>
                      <a:pt x="1495" y="642"/>
                      <a:pt x="1495" y="642"/>
                      <a:pt x="1496" y="641"/>
                    </a:cubicBezTo>
                    <a:cubicBezTo>
                      <a:pt x="1496" y="641"/>
                      <a:pt x="1496" y="641"/>
                      <a:pt x="1496" y="644"/>
                    </a:cubicBezTo>
                    <a:cubicBezTo>
                      <a:pt x="1496" y="644"/>
                      <a:pt x="1496" y="644"/>
                      <a:pt x="1497" y="644"/>
                    </a:cubicBezTo>
                    <a:cubicBezTo>
                      <a:pt x="1497" y="644"/>
                      <a:pt x="1497" y="644"/>
                      <a:pt x="1498" y="644"/>
                    </a:cubicBezTo>
                    <a:cubicBezTo>
                      <a:pt x="1498" y="644"/>
                      <a:pt x="1498" y="644"/>
                      <a:pt x="1499" y="644"/>
                    </a:cubicBezTo>
                    <a:cubicBezTo>
                      <a:pt x="1499" y="644"/>
                      <a:pt x="1499" y="644"/>
                      <a:pt x="1502" y="642"/>
                    </a:cubicBezTo>
                    <a:cubicBezTo>
                      <a:pt x="1502" y="642"/>
                      <a:pt x="1502" y="642"/>
                      <a:pt x="1504" y="643"/>
                    </a:cubicBezTo>
                    <a:cubicBezTo>
                      <a:pt x="1504" y="643"/>
                      <a:pt x="1504" y="643"/>
                      <a:pt x="1505" y="642"/>
                    </a:cubicBezTo>
                    <a:cubicBezTo>
                      <a:pt x="1505" y="642"/>
                      <a:pt x="1505" y="642"/>
                      <a:pt x="1505" y="643"/>
                    </a:cubicBezTo>
                    <a:cubicBezTo>
                      <a:pt x="1505" y="643"/>
                      <a:pt x="1505" y="643"/>
                      <a:pt x="1506" y="643"/>
                    </a:cubicBezTo>
                    <a:cubicBezTo>
                      <a:pt x="1506" y="643"/>
                      <a:pt x="1506" y="643"/>
                      <a:pt x="1507" y="643"/>
                    </a:cubicBezTo>
                    <a:cubicBezTo>
                      <a:pt x="1507" y="643"/>
                      <a:pt x="1507" y="643"/>
                      <a:pt x="1508" y="643"/>
                    </a:cubicBezTo>
                    <a:cubicBezTo>
                      <a:pt x="1508" y="643"/>
                      <a:pt x="1508" y="643"/>
                      <a:pt x="1510" y="643"/>
                    </a:cubicBezTo>
                    <a:cubicBezTo>
                      <a:pt x="1510" y="643"/>
                      <a:pt x="1510" y="643"/>
                      <a:pt x="1510" y="642"/>
                    </a:cubicBezTo>
                    <a:cubicBezTo>
                      <a:pt x="1510" y="642"/>
                      <a:pt x="1510" y="642"/>
                      <a:pt x="1511" y="642"/>
                    </a:cubicBezTo>
                    <a:cubicBezTo>
                      <a:pt x="1511" y="642"/>
                      <a:pt x="1511" y="642"/>
                      <a:pt x="1511" y="641"/>
                    </a:cubicBezTo>
                    <a:cubicBezTo>
                      <a:pt x="1511" y="641"/>
                      <a:pt x="1511" y="641"/>
                      <a:pt x="1512" y="641"/>
                    </a:cubicBezTo>
                    <a:cubicBezTo>
                      <a:pt x="1512" y="641"/>
                      <a:pt x="1512" y="641"/>
                      <a:pt x="1513" y="642"/>
                    </a:cubicBezTo>
                    <a:cubicBezTo>
                      <a:pt x="1513" y="642"/>
                      <a:pt x="1513" y="642"/>
                      <a:pt x="1514" y="640"/>
                    </a:cubicBezTo>
                    <a:cubicBezTo>
                      <a:pt x="1514" y="640"/>
                      <a:pt x="1514" y="640"/>
                      <a:pt x="1514" y="639"/>
                    </a:cubicBezTo>
                    <a:cubicBezTo>
                      <a:pt x="1514" y="639"/>
                      <a:pt x="1514" y="639"/>
                      <a:pt x="1513" y="639"/>
                    </a:cubicBezTo>
                    <a:cubicBezTo>
                      <a:pt x="1513" y="639"/>
                      <a:pt x="1513" y="639"/>
                      <a:pt x="1514" y="638"/>
                    </a:cubicBezTo>
                    <a:cubicBezTo>
                      <a:pt x="1514" y="638"/>
                      <a:pt x="1514" y="638"/>
                      <a:pt x="1517" y="635"/>
                    </a:cubicBezTo>
                    <a:cubicBezTo>
                      <a:pt x="1517" y="635"/>
                      <a:pt x="1517" y="635"/>
                      <a:pt x="1517" y="633"/>
                    </a:cubicBezTo>
                    <a:cubicBezTo>
                      <a:pt x="1517" y="633"/>
                      <a:pt x="1517" y="633"/>
                      <a:pt x="1521" y="631"/>
                    </a:cubicBezTo>
                    <a:cubicBezTo>
                      <a:pt x="1521" y="631"/>
                      <a:pt x="1521" y="631"/>
                      <a:pt x="1522" y="630"/>
                    </a:cubicBezTo>
                    <a:cubicBezTo>
                      <a:pt x="1522" y="630"/>
                      <a:pt x="1522" y="630"/>
                      <a:pt x="1522" y="629"/>
                    </a:cubicBezTo>
                    <a:cubicBezTo>
                      <a:pt x="1522" y="629"/>
                      <a:pt x="1522" y="629"/>
                      <a:pt x="1523" y="628"/>
                    </a:cubicBezTo>
                    <a:cubicBezTo>
                      <a:pt x="1523" y="628"/>
                      <a:pt x="1523" y="628"/>
                      <a:pt x="1523" y="627"/>
                    </a:cubicBezTo>
                    <a:cubicBezTo>
                      <a:pt x="1523" y="627"/>
                      <a:pt x="1523" y="627"/>
                      <a:pt x="1524" y="626"/>
                    </a:cubicBezTo>
                    <a:cubicBezTo>
                      <a:pt x="1524" y="626"/>
                      <a:pt x="1524" y="626"/>
                      <a:pt x="1524" y="627"/>
                    </a:cubicBezTo>
                    <a:cubicBezTo>
                      <a:pt x="1524" y="627"/>
                      <a:pt x="1524" y="627"/>
                      <a:pt x="1524" y="628"/>
                    </a:cubicBezTo>
                    <a:cubicBezTo>
                      <a:pt x="1524" y="628"/>
                      <a:pt x="1524" y="628"/>
                      <a:pt x="1524" y="630"/>
                    </a:cubicBezTo>
                    <a:cubicBezTo>
                      <a:pt x="1524" y="630"/>
                      <a:pt x="1524" y="630"/>
                      <a:pt x="1523" y="631"/>
                    </a:cubicBezTo>
                    <a:cubicBezTo>
                      <a:pt x="1523" y="631"/>
                      <a:pt x="1523" y="631"/>
                      <a:pt x="1523" y="632"/>
                    </a:cubicBezTo>
                    <a:cubicBezTo>
                      <a:pt x="1523" y="632"/>
                      <a:pt x="1523" y="632"/>
                      <a:pt x="1524" y="632"/>
                    </a:cubicBezTo>
                    <a:cubicBezTo>
                      <a:pt x="1524" y="632"/>
                      <a:pt x="1524" y="632"/>
                      <a:pt x="1524" y="633"/>
                    </a:cubicBezTo>
                    <a:cubicBezTo>
                      <a:pt x="1524" y="633"/>
                      <a:pt x="1524" y="633"/>
                      <a:pt x="1525" y="635"/>
                    </a:cubicBezTo>
                    <a:cubicBezTo>
                      <a:pt x="1525" y="635"/>
                      <a:pt x="1525" y="635"/>
                      <a:pt x="1525" y="638"/>
                    </a:cubicBezTo>
                    <a:cubicBezTo>
                      <a:pt x="1525" y="638"/>
                      <a:pt x="1525" y="638"/>
                      <a:pt x="1527" y="641"/>
                    </a:cubicBezTo>
                    <a:cubicBezTo>
                      <a:pt x="1527" y="641"/>
                      <a:pt x="1527" y="641"/>
                      <a:pt x="1527" y="642"/>
                    </a:cubicBezTo>
                    <a:cubicBezTo>
                      <a:pt x="1527" y="642"/>
                      <a:pt x="1527" y="642"/>
                      <a:pt x="1531" y="645"/>
                    </a:cubicBezTo>
                    <a:cubicBezTo>
                      <a:pt x="1531" y="645"/>
                      <a:pt x="1531" y="645"/>
                      <a:pt x="1532" y="645"/>
                    </a:cubicBezTo>
                    <a:cubicBezTo>
                      <a:pt x="1532" y="645"/>
                      <a:pt x="1532" y="645"/>
                      <a:pt x="1533" y="645"/>
                    </a:cubicBezTo>
                    <a:cubicBezTo>
                      <a:pt x="1533" y="645"/>
                      <a:pt x="1533" y="645"/>
                      <a:pt x="1534" y="645"/>
                    </a:cubicBezTo>
                    <a:cubicBezTo>
                      <a:pt x="1534" y="645"/>
                      <a:pt x="1534" y="645"/>
                      <a:pt x="1537" y="645"/>
                    </a:cubicBezTo>
                    <a:cubicBezTo>
                      <a:pt x="1537" y="645"/>
                      <a:pt x="1537" y="645"/>
                      <a:pt x="1539" y="645"/>
                    </a:cubicBezTo>
                    <a:cubicBezTo>
                      <a:pt x="1539" y="645"/>
                      <a:pt x="1539" y="645"/>
                      <a:pt x="1541" y="647"/>
                    </a:cubicBezTo>
                    <a:cubicBezTo>
                      <a:pt x="1541" y="647"/>
                      <a:pt x="1541" y="647"/>
                      <a:pt x="1542" y="649"/>
                    </a:cubicBezTo>
                    <a:cubicBezTo>
                      <a:pt x="1542" y="649"/>
                      <a:pt x="1542" y="649"/>
                      <a:pt x="1543" y="650"/>
                    </a:cubicBezTo>
                    <a:cubicBezTo>
                      <a:pt x="1543" y="650"/>
                      <a:pt x="1543" y="650"/>
                      <a:pt x="1543" y="651"/>
                    </a:cubicBezTo>
                    <a:cubicBezTo>
                      <a:pt x="1543" y="651"/>
                      <a:pt x="1543" y="651"/>
                      <a:pt x="1546" y="653"/>
                    </a:cubicBezTo>
                    <a:cubicBezTo>
                      <a:pt x="1546" y="653"/>
                      <a:pt x="1546" y="653"/>
                      <a:pt x="1547" y="653"/>
                    </a:cubicBezTo>
                    <a:cubicBezTo>
                      <a:pt x="1547" y="653"/>
                      <a:pt x="1547" y="653"/>
                      <a:pt x="1547" y="654"/>
                    </a:cubicBezTo>
                    <a:cubicBezTo>
                      <a:pt x="1547" y="654"/>
                      <a:pt x="1547" y="654"/>
                      <a:pt x="1547" y="655"/>
                    </a:cubicBezTo>
                    <a:cubicBezTo>
                      <a:pt x="1547" y="655"/>
                      <a:pt x="1547" y="655"/>
                      <a:pt x="1546" y="656"/>
                    </a:cubicBezTo>
                    <a:cubicBezTo>
                      <a:pt x="1546" y="656"/>
                      <a:pt x="1546" y="656"/>
                      <a:pt x="1546" y="657"/>
                    </a:cubicBezTo>
                    <a:cubicBezTo>
                      <a:pt x="1546" y="657"/>
                      <a:pt x="1546" y="657"/>
                      <a:pt x="1546" y="658"/>
                    </a:cubicBezTo>
                    <a:cubicBezTo>
                      <a:pt x="1546" y="658"/>
                      <a:pt x="1546" y="658"/>
                      <a:pt x="1544" y="662"/>
                    </a:cubicBezTo>
                    <a:cubicBezTo>
                      <a:pt x="1544" y="662"/>
                      <a:pt x="1544" y="662"/>
                      <a:pt x="1542" y="663"/>
                    </a:cubicBezTo>
                    <a:cubicBezTo>
                      <a:pt x="1542" y="663"/>
                      <a:pt x="1542" y="663"/>
                      <a:pt x="1542" y="664"/>
                    </a:cubicBezTo>
                    <a:cubicBezTo>
                      <a:pt x="1542" y="664"/>
                      <a:pt x="1542" y="664"/>
                      <a:pt x="1541" y="665"/>
                    </a:cubicBezTo>
                    <a:cubicBezTo>
                      <a:pt x="1541" y="665"/>
                      <a:pt x="1541" y="665"/>
                      <a:pt x="1540" y="667"/>
                    </a:cubicBezTo>
                    <a:cubicBezTo>
                      <a:pt x="1540" y="667"/>
                      <a:pt x="1540" y="667"/>
                      <a:pt x="1539" y="667"/>
                    </a:cubicBezTo>
                    <a:cubicBezTo>
                      <a:pt x="1539" y="667"/>
                      <a:pt x="1539" y="667"/>
                      <a:pt x="1539" y="666"/>
                    </a:cubicBezTo>
                    <a:cubicBezTo>
                      <a:pt x="1539" y="666"/>
                      <a:pt x="1539" y="666"/>
                      <a:pt x="1539" y="665"/>
                    </a:cubicBezTo>
                    <a:cubicBezTo>
                      <a:pt x="1539" y="665"/>
                      <a:pt x="1539" y="665"/>
                      <a:pt x="1538" y="666"/>
                    </a:cubicBezTo>
                    <a:cubicBezTo>
                      <a:pt x="1538" y="666"/>
                      <a:pt x="1538" y="666"/>
                      <a:pt x="1537" y="667"/>
                    </a:cubicBezTo>
                    <a:cubicBezTo>
                      <a:pt x="1537" y="667"/>
                      <a:pt x="1537" y="667"/>
                      <a:pt x="1538" y="668"/>
                    </a:cubicBezTo>
                    <a:cubicBezTo>
                      <a:pt x="1538" y="668"/>
                      <a:pt x="1538" y="668"/>
                      <a:pt x="1537" y="668"/>
                    </a:cubicBezTo>
                    <a:cubicBezTo>
                      <a:pt x="1537" y="668"/>
                      <a:pt x="1537" y="668"/>
                      <a:pt x="1536" y="670"/>
                    </a:cubicBezTo>
                    <a:cubicBezTo>
                      <a:pt x="1536" y="670"/>
                      <a:pt x="1536" y="670"/>
                      <a:pt x="1536" y="672"/>
                    </a:cubicBezTo>
                    <a:cubicBezTo>
                      <a:pt x="1536" y="672"/>
                      <a:pt x="1536" y="672"/>
                      <a:pt x="1535" y="673"/>
                    </a:cubicBezTo>
                    <a:cubicBezTo>
                      <a:pt x="1535" y="673"/>
                      <a:pt x="1535" y="673"/>
                      <a:pt x="1536" y="673"/>
                    </a:cubicBezTo>
                    <a:cubicBezTo>
                      <a:pt x="1536" y="673"/>
                      <a:pt x="1536" y="673"/>
                      <a:pt x="1536" y="674"/>
                    </a:cubicBezTo>
                    <a:cubicBezTo>
                      <a:pt x="1536" y="674"/>
                      <a:pt x="1536" y="674"/>
                      <a:pt x="1537" y="676"/>
                    </a:cubicBezTo>
                    <a:cubicBezTo>
                      <a:pt x="1537" y="676"/>
                      <a:pt x="1537" y="676"/>
                      <a:pt x="1537" y="677"/>
                    </a:cubicBezTo>
                    <a:cubicBezTo>
                      <a:pt x="1537" y="677"/>
                      <a:pt x="1537" y="677"/>
                      <a:pt x="1534" y="677"/>
                    </a:cubicBezTo>
                    <a:cubicBezTo>
                      <a:pt x="1534" y="677"/>
                      <a:pt x="1534" y="677"/>
                      <a:pt x="1533" y="678"/>
                    </a:cubicBezTo>
                    <a:cubicBezTo>
                      <a:pt x="1533" y="678"/>
                      <a:pt x="1533" y="678"/>
                      <a:pt x="1532" y="677"/>
                    </a:cubicBezTo>
                    <a:cubicBezTo>
                      <a:pt x="1532" y="677"/>
                      <a:pt x="1532" y="677"/>
                      <a:pt x="1531" y="678"/>
                    </a:cubicBezTo>
                    <a:cubicBezTo>
                      <a:pt x="1531" y="678"/>
                      <a:pt x="1531" y="678"/>
                      <a:pt x="1529" y="681"/>
                    </a:cubicBezTo>
                    <a:cubicBezTo>
                      <a:pt x="1529" y="681"/>
                      <a:pt x="1529" y="681"/>
                      <a:pt x="1529" y="683"/>
                    </a:cubicBezTo>
                    <a:cubicBezTo>
                      <a:pt x="1529" y="683"/>
                      <a:pt x="1529" y="683"/>
                      <a:pt x="1528" y="683"/>
                    </a:cubicBezTo>
                    <a:cubicBezTo>
                      <a:pt x="1528" y="683"/>
                      <a:pt x="1528" y="683"/>
                      <a:pt x="1527" y="684"/>
                    </a:cubicBezTo>
                    <a:cubicBezTo>
                      <a:pt x="1527" y="684"/>
                      <a:pt x="1527" y="684"/>
                      <a:pt x="1526" y="684"/>
                    </a:cubicBezTo>
                    <a:cubicBezTo>
                      <a:pt x="1526" y="684"/>
                      <a:pt x="1526" y="684"/>
                      <a:pt x="1524" y="684"/>
                    </a:cubicBezTo>
                    <a:cubicBezTo>
                      <a:pt x="1524" y="684"/>
                      <a:pt x="1524" y="684"/>
                      <a:pt x="1522" y="684"/>
                    </a:cubicBezTo>
                    <a:cubicBezTo>
                      <a:pt x="1522" y="684"/>
                      <a:pt x="1522" y="684"/>
                      <a:pt x="1522" y="685"/>
                    </a:cubicBezTo>
                    <a:cubicBezTo>
                      <a:pt x="1522" y="685"/>
                      <a:pt x="1522" y="685"/>
                      <a:pt x="1521" y="686"/>
                    </a:cubicBezTo>
                    <a:cubicBezTo>
                      <a:pt x="1521" y="686"/>
                      <a:pt x="1521" y="686"/>
                      <a:pt x="1521" y="687"/>
                    </a:cubicBezTo>
                    <a:cubicBezTo>
                      <a:pt x="1521" y="687"/>
                      <a:pt x="1521" y="687"/>
                      <a:pt x="1521" y="688"/>
                    </a:cubicBezTo>
                    <a:cubicBezTo>
                      <a:pt x="1521" y="688"/>
                      <a:pt x="1521" y="688"/>
                      <a:pt x="1520" y="691"/>
                    </a:cubicBezTo>
                    <a:cubicBezTo>
                      <a:pt x="1520" y="691"/>
                      <a:pt x="1520" y="691"/>
                      <a:pt x="1519" y="691"/>
                    </a:cubicBezTo>
                    <a:cubicBezTo>
                      <a:pt x="1519" y="691"/>
                      <a:pt x="1519" y="691"/>
                      <a:pt x="1518" y="690"/>
                    </a:cubicBezTo>
                    <a:cubicBezTo>
                      <a:pt x="1518" y="690"/>
                      <a:pt x="1518" y="690"/>
                      <a:pt x="1517" y="690"/>
                    </a:cubicBezTo>
                    <a:cubicBezTo>
                      <a:pt x="1517" y="690"/>
                      <a:pt x="1517" y="690"/>
                      <a:pt x="1516" y="690"/>
                    </a:cubicBezTo>
                    <a:cubicBezTo>
                      <a:pt x="1516" y="690"/>
                      <a:pt x="1516" y="690"/>
                      <a:pt x="1513" y="691"/>
                    </a:cubicBezTo>
                    <a:cubicBezTo>
                      <a:pt x="1513" y="691"/>
                      <a:pt x="1513" y="691"/>
                      <a:pt x="1512" y="691"/>
                    </a:cubicBezTo>
                    <a:cubicBezTo>
                      <a:pt x="1512" y="691"/>
                      <a:pt x="1512" y="691"/>
                      <a:pt x="1511" y="693"/>
                    </a:cubicBezTo>
                    <a:cubicBezTo>
                      <a:pt x="1511" y="693"/>
                      <a:pt x="1511" y="693"/>
                      <a:pt x="1510" y="693"/>
                    </a:cubicBezTo>
                    <a:cubicBezTo>
                      <a:pt x="1510" y="693"/>
                      <a:pt x="1510" y="693"/>
                      <a:pt x="1509" y="693"/>
                    </a:cubicBezTo>
                    <a:cubicBezTo>
                      <a:pt x="1509" y="693"/>
                      <a:pt x="1509" y="693"/>
                      <a:pt x="1507" y="693"/>
                    </a:cubicBezTo>
                    <a:cubicBezTo>
                      <a:pt x="1507" y="693"/>
                      <a:pt x="1507" y="693"/>
                      <a:pt x="1505" y="694"/>
                    </a:cubicBezTo>
                    <a:cubicBezTo>
                      <a:pt x="1505" y="694"/>
                      <a:pt x="1505" y="694"/>
                      <a:pt x="1503" y="696"/>
                    </a:cubicBezTo>
                    <a:cubicBezTo>
                      <a:pt x="1503" y="696"/>
                      <a:pt x="1503" y="696"/>
                      <a:pt x="1503" y="698"/>
                    </a:cubicBezTo>
                    <a:cubicBezTo>
                      <a:pt x="1503" y="698"/>
                      <a:pt x="1503" y="698"/>
                      <a:pt x="1503" y="699"/>
                    </a:cubicBezTo>
                    <a:cubicBezTo>
                      <a:pt x="1503" y="699"/>
                      <a:pt x="1503" y="699"/>
                      <a:pt x="1500" y="700"/>
                    </a:cubicBezTo>
                    <a:cubicBezTo>
                      <a:pt x="1500" y="700"/>
                      <a:pt x="1500" y="700"/>
                      <a:pt x="1499" y="701"/>
                    </a:cubicBezTo>
                    <a:cubicBezTo>
                      <a:pt x="1499" y="701"/>
                      <a:pt x="1499" y="701"/>
                      <a:pt x="1497" y="702"/>
                    </a:cubicBezTo>
                    <a:cubicBezTo>
                      <a:pt x="1497" y="702"/>
                      <a:pt x="1497" y="702"/>
                      <a:pt x="1493" y="703"/>
                    </a:cubicBezTo>
                    <a:cubicBezTo>
                      <a:pt x="1493" y="703"/>
                      <a:pt x="1493" y="703"/>
                      <a:pt x="1492" y="704"/>
                    </a:cubicBezTo>
                    <a:cubicBezTo>
                      <a:pt x="1492" y="704"/>
                      <a:pt x="1492" y="704"/>
                      <a:pt x="1485" y="706"/>
                    </a:cubicBezTo>
                    <a:cubicBezTo>
                      <a:pt x="1485" y="706"/>
                      <a:pt x="1485" y="706"/>
                      <a:pt x="1484" y="706"/>
                    </a:cubicBezTo>
                    <a:cubicBezTo>
                      <a:pt x="1484" y="706"/>
                      <a:pt x="1484" y="706"/>
                      <a:pt x="1482" y="708"/>
                    </a:cubicBezTo>
                    <a:cubicBezTo>
                      <a:pt x="1482" y="708"/>
                      <a:pt x="1482" y="708"/>
                      <a:pt x="1480" y="710"/>
                    </a:cubicBezTo>
                    <a:cubicBezTo>
                      <a:pt x="1480" y="710"/>
                      <a:pt x="1480" y="710"/>
                      <a:pt x="1479" y="710"/>
                    </a:cubicBezTo>
                    <a:cubicBezTo>
                      <a:pt x="1479" y="710"/>
                      <a:pt x="1479" y="710"/>
                      <a:pt x="1478" y="710"/>
                    </a:cubicBezTo>
                    <a:cubicBezTo>
                      <a:pt x="1478" y="710"/>
                      <a:pt x="1478" y="710"/>
                      <a:pt x="1477" y="710"/>
                    </a:cubicBezTo>
                    <a:cubicBezTo>
                      <a:pt x="1477" y="710"/>
                      <a:pt x="1477" y="710"/>
                      <a:pt x="1476" y="710"/>
                    </a:cubicBezTo>
                    <a:cubicBezTo>
                      <a:pt x="1476" y="710"/>
                      <a:pt x="1476" y="710"/>
                      <a:pt x="1474" y="711"/>
                    </a:cubicBezTo>
                    <a:cubicBezTo>
                      <a:pt x="1474" y="711"/>
                      <a:pt x="1474" y="711"/>
                      <a:pt x="1474" y="712"/>
                    </a:cubicBezTo>
                    <a:cubicBezTo>
                      <a:pt x="1474" y="712"/>
                      <a:pt x="1474" y="712"/>
                      <a:pt x="1473" y="713"/>
                    </a:cubicBezTo>
                    <a:cubicBezTo>
                      <a:pt x="1473" y="713"/>
                      <a:pt x="1473" y="713"/>
                      <a:pt x="1470" y="713"/>
                    </a:cubicBezTo>
                    <a:cubicBezTo>
                      <a:pt x="1470" y="713"/>
                      <a:pt x="1470" y="713"/>
                      <a:pt x="1467" y="714"/>
                    </a:cubicBezTo>
                    <a:cubicBezTo>
                      <a:pt x="1467" y="714"/>
                      <a:pt x="1467" y="714"/>
                      <a:pt x="1466" y="714"/>
                    </a:cubicBezTo>
                    <a:cubicBezTo>
                      <a:pt x="1466" y="714"/>
                      <a:pt x="1466" y="714"/>
                      <a:pt x="1466" y="713"/>
                    </a:cubicBezTo>
                    <a:cubicBezTo>
                      <a:pt x="1466" y="713"/>
                      <a:pt x="1466" y="713"/>
                      <a:pt x="1464" y="714"/>
                    </a:cubicBezTo>
                    <a:cubicBezTo>
                      <a:pt x="1464" y="714"/>
                      <a:pt x="1464" y="714"/>
                      <a:pt x="1464" y="713"/>
                    </a:cubicBezTo>
                    <a:cubicBezTo>
                      <a:pt x="1464" y="713"/>
                      <a:pt x="1464" y="713"/>
                      <a:pt x="1463" y="713"/>
                    </a:cubicBezTo>
                    <a:cubicBezTo>
                      <a:pt x="1463" y="713"/>
                      <a:pt x="1463" y="713"/>
                      <a:pt x="1462" y="713"/>
                    </a:cubicBezTo>
                    <a:cubicBezTo>
                      <a:pt x="1462" y="713"/>
                      <a:pt x="1462" y="713"/>
                      <a:pt x="1460" y="714"/>
                    </a:cubicBezTo>
                    <a:cubicBezTo>
                      <a:pt x="1460" y="714"/>
                      <a:pt x="1460" y="714"/>
                      <a:pt x="1460" y="716"/>
                    </a:cubicBezTo>
                    <a:cubicBezTo>
                      <a:pt x="1460" y="716"/>
                      <a:pt x="1460" y="716"/>
                      <a:pt x="1459" y="716"/>
                    </a:cubicBezTo>
                    <a:cubicBezTo>
                      <a:pt x="1459" y="716"/>
                      <a:pt x="1459" y="716"/>
                      <a:pt x="1458" y="718"/>
                    </a:cubicBezTo>
                    <a:cubicBezTo>
                      <a:pt x="1458" y="718"/>
                      <a:pt x="1458" y="718"/>
                      <a:pt x="1457" y="718"/>
                    </a:cubicBezTo>
                    <a:cubicBezTo>
                      <a:pt x="1457" y="718"/>
                      <a:pt x="1457" y="718"/>
                      <a:pt x="1456" y="718"/>
                    </a:cubicBezTo>
                    <a:cubicBezTo>
                      <a:pt x="1456" y="718"/>
                      <a:pt x="1456" y="718"/>
                      <a:pt x="1455" y="718"/>
                    </a:cubicBezTo>
                    <a:cubicBezTo>
                      <a:pt x="1455" y="718"/>
                      <a:pt x="1455" y="718"/>
                      <a:pt x="1453" y="719"/>
                    </a:cubicBezTo>
                    <a:cubicBezTo>
                      <a:pt x="1453" y="719"/>
                      <a:pt x="1453" y="719"/>
                      <a:pt x="1452" y="719"/>
                    </a:cubicBezTo>
                    <a:cubicBezTo>
                      <a:pt x="1452" y="719"/>
                      <a:pt x="1452" y="719"/>
                      <a:pt x="1451" y="718"/>
                    </a:cubicBezTo>
                    <a:cubicBezTo>
                      <a:pt x="1451" y="718"/>
                      <a:pt x="1451" y="718"/>
                      <a:pt x="1450" y="719"/>
                    </a:cubicBezTo>
                    <a:cubicBezTo>
                      <a:pt x="1450" y="719"/>
                      <a:pt x="1450" y="719"/>
                      <a:pt x="1449" y="719"/>
                    </a:cubicBezTo>
                    <a:cubicBezTo>
                      <a:pt x="1449" y="719"/>
                      <a:pt x="1449" y="719"/>
                      <a:pt x="1449" y="718"/>
                    </a:cubicBezTo>
                    <a:cubicBezTo>
                      <a:pt x="1449" y="718"/>
                      <a:pt x="1449" y="718"/>
                      <a:pt x="1448" y="716"/>
                    </a:cubicBezTo>
                    <a:cubicBezTo>
                      <a:pt x="1448" y="716"/>
                      <a:pt x="1448" y="716"/>
                      <a:pt x="1447" y="715"/>
                    </a:cubicBezTo>
                    <a:cubicBezTo>
                      <a:pt x="1447" y="715"/>
                      <a:pt x="1447" y="715"/>
                      <a:pt x="1446" y="713"/>
                    </a:cubicBezTo>
                    <a:cubicBezTo>
                      <a:pt x="1446" y="713"/>
                      <a:pt x="1446" y="713"/>
                      <a:pt x="1447" y="713"/>
                    </a:cubicBezTo>
                    <a:cubicBezTo>
                      <a:pt x="1447" y="713"/>
                      <a:pt x="1447" y="713"/>
                      <a:pt x="1447" y="711"/>
                    </a:cubicBezTo>
                    <a:cubicBezTo>
                      <a:pt x="1447" y="711"/>
                      <a:pt x="1447" y="711"/>
                      <a:pt x="1445" y="710"/>
                    </a:cubicBezTo>
                    <a:cubicBezTo>
                      <a:pt x="1445" y="710"/>
                      <a:pt x="1445" y="710"/>
                      <a:pt x="1444" y="704"/>
                    </a:cubicBezTo>
                    <a:cubicBezTo>
                      <a:pt x="1444" y="704"/>
                      <a:pt x="1444" y="704"/>
                      <a:pt x="1443" y="702"/>
                    </a:cubicBezTo>
                    <a:cubicBezTo>
                      <a:pt x="1443" y="702"/>
                      <a:pt x="1443" y="702"/>
                      <a:pt x="1443" y="701"/>
                    </a:cubicBezTo>
                    <a:cubicBezTo>
                      <a:pt x="1443" y="701"/>
                      <a:pt x="1443" y="701"/>
                      <a:pt x="1442" y="701"/>
                    </a:cubicBezTo>
                    <a:cubicBezTo>
                      <a:pt x="1442" y="701"/>
                      <a:pt x="1442" y="701"/>
                      <a:pt x="1442" y="700"/>
                    </a:cubicBezTo>
                    <a:cubicBezTo>
                      <a:pt x="1442" y="700"/>
                      <a:pt x="1442" y="700"/>
                      <a:pt x="1443" y="700"/>
                    </a:cubicBezTo>
                    <a:cubicBezTo>
                      <a:pt x="1443" y="700"/>
                      <a:pt x="1443" y="700"/>
                      <a:pt x="1444" y="698"/>
                    </a:cubicBezTo>
                    <a:cubicBezTo>
                      <a:pt x="1444" y="698"/>
                      <a:pt x="1444" y="698"/>
                      <a:pt x="1443" y="694"/>
                    </a:cubicBezTo>
                    <a:cubicBezTo>
                      <a:pt x="1443" y="694"/>
                      <a:pt x="1443" y="694"/>
                      <a:pt x="1443" y="693"/>
                    </a:cubicBezTo>
                    <a:cubicBezTo>
                      <a:pt x="1443" y="693"/>
                      <a:pt x="1443" y="693"/>
                      <a:pt x="1442" y="690"/>
                    </a:cubicBezTo>
                    <a:cubicBezTo>
                      <a:pt x="1442" y="690"/>
                      <a:pt x="1442" y="690"/>
                      <a:pt x="1440" y="690"/>
                    </a:cubicBezTo>
                    <a:cubicBezTo>
                      <a:pt x="1440" y="690"/>
                      <a:pt x="1440" y="690"/>
                      <a:pt x="1439" y="687"/>
                    </a:cubicBezTo>
                    <a:cubicBezTo>
                      <a:pt x="1439" y="687"/>
                      <a:pt x="1439" y="687"/>
                      <a:pt x="1438" y="687"/>
                    </a:cubicBezTo>
                    <a:cubicBezTo>
                      <a:pt x="1438" y="687"/>
                      <a:pt x="1438" y="687"/>
                      <a:pt x="1434" y="682"/>
                    </a:cubicBezTo>
                    <a:cubicBezTo>
                      <a:pt x="1434" y="682"/>
                      <a:pt x="1434" y="682"/>
                      <a:pt x="1434" y="680"/>
                    </a:cubicBezTo>
                    <a:cubicBezTo>
                      <a:pt x="1434" y="680"/>
                      <a:pt x="1434" y="680"/>
                      <a:pt x="1432" y="680"/>
                    </a:cubicBezTo>
                    <a:cubicBezTo>
                      <a:pt x="1432" y="680"/>
                      <a:pt x="1432" y="680"/>
                      <a:pt x="1431" y="674"/>
                    </a:cubicBezTo>
                    <a:cubicBezTo>
                      <a:pt x="1431" y="674"/>
                      <a:pt x="1431" y="674"/>
                      <a:pt x="1430" y="674"/>
                    </a:cubicBezTo>
                    <a:cubicBezTo>
                      <a:pt x="1430" y="674"/>
                      <a:pt x="1430" y="674"/>
                      <a:pt x="1430" y="673"/>
                    </a:cubicBezTo>
                    <a:cubicBezTo>
                      <a:pt x="1430" y="673"/>
                      <a:pt x="1430" y="673"/>
                      <a:pt x="1429" y="673"/>
                    </a:cubicBezTo>
                    <a:cubicBezTo>
                      <a:pt x="1429" y="673"/>
                      <a:pt x="1429" y="673"/>
                      <a:pt x="1428" y="672"/>
                    </a:cubicBezTo>
                    <a:cubicBezTo>
                      <a:pt x="1428" y="672"/>
                      <a:pt x="1428" y="672"/>
                      <a:pt x="1427" y="670"/>
                    </a:cubicBezTo>
                    <a:cubicBezTo>
                      <a:pt x="1427" y="670"/>
                      <a:pt x="1427" y="670"/>
                      <a:pt x="1426" y="670"/>
                    </a:cubicBezTo>
                    <a:cubicBezTo>
                      <a:pt x="1426" y="670"/>
                      <a:pt x="1426" y="670"/>
                      <a:pt x="1425" y="669"/>
                    </a:cubicBezTo>
                    <a:cubicBezTo>
                      <a:pt x="1425" y="669"/>
                      <a:pt x="1425" y="669"/>
                      <a:pt x="1424" y="669"/>
                    </a:cubicBezTo>
                    <a:cubicBezTo>
                      <a:pt x="1424" y="669"/>
                      <a:pt x="1424" y="669"/>
                      <a:pt x="1423" y="668"/>
                    </a:cubicBezTo>
                    <a:cubicBezTo>
                      <a:pt x="1423" y="668"/>
                      <a:pt x="1423" y="668"/>
                      <a:pt x="1420" y="665"/>
                    </a:cubicBezTo>
                    <a:cubicBezTo>
                      <a:pt x="1420" y="665"/>
                      <a:pt x="1420" y="665"/>
                      <a:pt x="1419" y="664"/>
                    </a:cubicBezTo>
                    <a:cubicBezTo>
                      <a:pt x="1419" y="664"/>
                      <a:pt x="1419" y="664"/>
                      <a:pt x="1418" y="663"/>
                    </a:cubicBezTo>
                    <a:cubicBezTo>
                      <a:pt x="1418" y="663"/>
                      <a:pt x="1418" y="663"/>
                      <a:pt x="1418" y="661"/>
                    </a:cubicBezTo>
                    <a:cubicBezTo>
                      <a:pt x="1418" y="661"/>
                      <a:pt x="1418" y="661"/>
                      <a:pt x="1417" y="658"/>
                    </a:cubicBezTo>
                    <a:cubicBezTo>
                      <a:pt x="1417" y="658"/>
                      <a:pt x="1417" y="658"/>
                      <a:pt x="1417" y="657"/>
                    </a:cubicBezTo>
                    <a:cubicBezTo>
                      <a:pt x="1417" y="657"/>
                      <a:pt x="1417" y="657"/>
                      <a:pt x="1418" y="655"/>
                    </a:cubicBezTo>
                    <a:cubicBezTo>
                      <a:pt x="1418" y="655"/>
                      <a:pt x="1418" y="655"/>
                      <a:pt x="1418" y="654"/>
                    </a:cubicBezTo>
                    <a:cubicBezTo>
                      <a:pt x="1418" y="654"/>
                      <a:pt x="1418" y="654"/>
                      <a:pt x="1417" y="652"/>
                    </a:cubicBezTo>
                    <a:cubicBezTo>
                      <a:pt x="1417" y="652"/>
                      <a:pt x="1417" y="652"/>
                      <a:pt x="1416" y="651"/>
                    </a:cubicBezTo>
                    <a:cubicBezTo>
                      <a:pt x="1416" y="651"/>
                      <a:pt x="1416" y="651"/>
                      <a:pt x="1415" y="649"/>
                    </a:cubicBezTo>
                    <a:cubicBezTo>
                      <a:pt x="1415" y="649"/>
                      <a:pt x="1415" y="649"/>
                      <a:pt x="1415" y="648"/>
                    </a:cubicBezTo>
                    <a:cubicBezTo>
                      <a:pt x="1415" y="648"/>
                      <a:pt x="1415" y="648"/>
                      <a:pt x="1415" y="647"/>
                    </a:cubicBezTo>
                    <a:cubicBezTo>
                      <a:pt x="1415" y="647"/>
                      <a:pt x="1415" y="647"/>
                      <a:pt x="1414" y="647"/>
                    </a:cubicBezTo>
                    <a:cubicBezTo>
                      <a:pt x="1414" y="647"/>
                      <a:pt x="1414" y="647"/>
                      <a:pt x="1414" y="645"/>
                    </a:cubicBezTo>
                    <a:cubicBezTo>
                      <a:pt x="1414" y="645"/>
                      <a:pt x="1414" y="645"/>
                      <a:pt x="1412" y="644"/>
                    </a:cubicBezTo>
                    <a:cubicBezTo>
                      <a:pt x="1412" y="644"/>
                      <a:pt x="1412" y="644"/>
                      <a:pt x="1410" y="643"/>
                    </a:cubicBezTo>
                    <a:cubicBezTo>
                      <a:pt x="1410" y="643"/>
                      <a:pt x="1410" y="643"/>
                      <a:pt x="1409" y="642"/>
                    </a:cubicBezTo>
                    <a:cubicBezTo>
                      <a:pt x="1409" y="642"/>
                      <a:pt x="1409" y="642"/>
                      <a:pt x="1408" y="643"/>
                    </a:cubicBezTo>
                    <a:cubicBezTo>
                      <a:pt x="1408" y="643"/>
                      <a:pt x="1408" y="643"/>
                      <a:pt x="1407" y="642"/>
                    </a:cubicBezTo>
                    <a:cubicBezTo>
                      <a:pt x="1407" y="642"/>
                      <a:pt x="1407" y="642"/>
                      <a:pt x="1407" y="641"/>
                    </a:cubicBezTo>
                    <a:cubicBezTo>
                      <a:pt x="1407" y="641"/>
                      <a:pt x="1407" y="641"/>
                      <a:pt x="1406" y="640"/>
                    </a:cubicBezTo>
                    <a:cubicBezTo>
                      <a:pt x="1406" y="640"/>
                      <a:pt x="1406" y="640"/>
                      <a:pt x="1406" y="639"/>
                    </a:cubicBezTo>
                    <a:cubicBezTo>
                      <a:pt x="1406" y="639"/>
                      <a:pt x="1406" y="639"/>
                      <a:pt x="1406" y="638"/>
                    </a:cubicBezTo>
                    <a:cubicBezTo>
                      <a:pt x="1406" y="638"/>
                      <a:pt x="1406" y="638"/>
                      <a:pt x="1406" y="636"/>
                    </a:cubicBezTo>
                    <a:cubicBezTo>
                      <a:pt x="1406" y="636"/>
                      <a:pt x="1406" y="636"/>
                      <a:pt x="1405" y="636"/>
                    </a:cubicBezTo>
                    <a:cubicBezTo>
                      <a:pt x="1405" y="636"/>
                      <a:pt x="1405" y="636"/>
                      <a:pt x="1404" y="633"/>
                    </a:cubicBezTo>
                    <a:cubicBezTo>
                      <a:pt x="1404" y="633"/>
                      <a:pt x="1404" y="633"/>
                      <a:pt x="1402" y="632"/>
                    </a:cubicBezTo>
                    <a:cubicBezTo>
                      <a:pt x="1402" y="632"/>
                      <a:pt x="1402" y="632"/>
                      <a:pt x="1401" y="631"/>
                    </a:cubicBezTo>
                    <a:cubicBezTo>
                      <a:pt x="1401" y="631"/>
                      <a:pt x="1401" y="631"/>
                      <a:pt x="1401" y="630"/>
                    </a:cubicBezTo>
                    <a:cubicBezTo>
                      <a:pt x="1401" y="630"/>
                      <a:pt x="1401" y="630"/>
                      <a:pt x="1400" y="630"/>
                    </a:cubicBezTo>
                    <a:cubicBezTo>
                      <a:pt x="1400" y="630"/>
                      <a:pt x="1400" y="630"/>
                      <a:pt x="1400" y="629"/>
                    </a:cubicBezTo>
                    <a:cubicBezTo>
                      <a:pt x="1400" y="629"/>
                      <a:pt x="1400" y="629"/>
                      <a:pt x="1400" y="628"/>
                    </a:cubicBezTo>
                    <a:cubicBezTo>
                      <a:pt x="1400" y="628"/>
                      <a:pt x="1400" y="628"/>
                      <a:pt x="1398" y="624"/>
                    </a:cubicBezTo>
                    <a:cubicBezTo>
                      <a:pt x="1398" y="624"/>
                      <a:pt x="1398" y="624"/>
                      <a:pt x="1397" y="624"/>
                    </a:cubicBezTo>
                    <a:cubicBezTo>
                      <a:pt x="1397" y="624"/>
                      <a:pt x="1397" y="624"/>
                      <a:pt x="1396" y="623"/>
                    </a:cubicBezTo>
                    <a:cubicBezTo>
                      <a:pt x="1396" y="623"/>
                      <a:pt x="1396" y="623"/>
                      <a:pt x="1396" y="622"/>
                    </a:cubicBezTo>
                    <a:cubicBezTo>
                      <a:pt x="1396" y="622"/>
                      <a:pt x="1396" y="622"/>
                      <a:pt x="1395" y="622"/>
                    </a:cubicBezTo>
                    <a:cubicBezTo>
                      <a:pt x="1395" y="622"/>
                      <a:pt x="1395" y="622"/>
                      <a:pt x="1395" y="620"/>
                    </a:cubicBezTo>
                    <a:cubicBezTo>
                      <a:pt x="1395" y="620"/>
                      <a:pt x="1395" y="620"/>
                      <a:pt x="1392" y="617"/>
                    </a:cubicBezTo>
                    <a:cubicBezTo>
                      <a:pt x="1392" y="617"/>
                      <a:pt x="1392" y="617"/>
                      <a:pt x="1391" y="616"/>
                    </a:cubicBezTo>
                    <a:cubicBezTo>
                      <a:pt x="1391" y="616"/>
                      <a:pt x="1391" y="616"/>
                      <a:pt x="1390" y="617"/>
                    </a:cubicBezTo>
                    <a:cubicBezTo>
                      <a:pt x="1390" y="617"/>
                      <a:pt x="1390" y="617"/>
                      <a:pt x="1390" y="616"/>
                    </a:cubicBezTo>
                    <a:cubicBezTo>
                      <a:pt x="1390" y="616"/>
                      <a:pt x="1390" y="616"/>
                      <a:pt x="1389" y="617"/>
                    </a:cubicBezTo>
                    <a:cubicBezTo>
                      <a:pt x="1389" y="617"/>
                      <a:pt x="1389" y="617"/>
                      <a:pt x="1389" y="616"/>
                    </a:cubicBezTo>
                    <a:cubicBezTo>
                      <a:pt x="1389" y="616"/>
                      <a:pt x="1389" y="616"/>
                      <a:pt x="1389" y="614"/>
                    </a:cubicBezTo>
                    <a:cubicBezTo>
                      <a:pt x="1389" y="614"/>
                      <a:pt x="1389" y="614"/>
                      <a:pt x="1389" y="611"/>
                    </a:cubicBezTo>
                    <a:cubicBezTo>
                      <a:pt x="1389" y="611"/>
                      <a:pt x="1389" y="611"/>
                      <a:pt x="1389" y="609"/>
                    </a:cubicBezTo>
                    <a:cubicBezTo>
                      <a:pt x="1389" y="609"/>
                      <a:pt x="1389" y="609"/>
                      <a:pt x="1390" y="609"/>
                    </a:cubicBezTo>
                    <a:cubicBezTo>
                      <a:pt x="1390" y="609"/>
                      <a:pt x="1390" y="609"/>
                      <a:pt x="1390" y="607"/>
                    </a:cubicBezTo>
                    <a:cubicBezTo>
                      <a:pt x="1390" y="607"/>
                      <a:pt x="1390" y="607"/>
                      <a:pt x="1389" y="608"/>
                    </a:cubicBezTo>
                    <a:cubicBezTo>
                      <a:pt x="1389" y="608"/>
                      <a:pt x="1389" y="608"/>
                      <a:pt x="1388" y="612"/>
                    </a:cubicBezTo>
                    <a:cubicBezTo>
                      <a:pt x="1388" y="612"/>
                      <a:pt x="1388" y="612"/>
                      <a:pt x="1388" y="613"/>
                    </a:cubicBezTo>
                    <a:cubicBezTo>
                      <a:pt x="1388" y="613"/>
                      <a:pt x="1388" y="613"/>
                      <a:pt x="1387" y="615"/>
                    </a:cubicBezTo>
                    <a:cubicBezTo>
                      <a:pt x="1387" y="615"/>
                      <a:pt x="1387" y="615"/>
                      <a:pt x="1388" y="616"/>
                    </a:cubicBezTo>
                    <a:cubicBezTo>
                      <a:pt x="1388" y="616"/>
                      <a:pt x="1388" y="616"/>
                      <a:pt x="1387" y="618"/>
                    </a:cubicBezTo>
                    <a:cubicBezTo>
                      <a:pt x="1387" y="618"/>
                      <a:pt x="1387" y="618"/>
                      <a:pt x="1386" y="619"/>
                    </a:cubicBezTo>
                    <a:cubicBezTo>
                      <a:pt x="1386" y="619"/>
                      <a:pt x="1386" y="619"/>
                      <a:pt x="1384" y="618"/>
                    </a:cubicBezTo>
                    <a:cubicBezTo>
                      <a:pt x="1384" y="618"/>
                      <a:pt x="1384" y="618"/>
                      <a:pt x="1381" y="615"/>
                    </a:cubicBezTo>
                    <a:cubicBezTo>
                      <a:pt x="1381" y="615"/>
                      <a:pt x="1381" y="615"/>
                      <a:pt x="1381" y="614"/>
                    </a:cubicBezTo>
                    <a:cubicBezTo>
                      <a:pt x="1381" y="614"/>
                      <a:pt x="1381" y="614"/>
                      <a:pt x="1379" y="613"/>
                    </a:cubicBezTo>
                    <a:cubicBezTo>
                      <a:pt x="1379" y="613"/>
                      <a:pt x="1379" y="613"/>
                      <a:pt x="1379" y="612"/>
                    </a:cubicBezTo>
                    <a:cubicBezTo>
                      <a:pt x="1379" y="612"/>
                      <a:pt x="1379" y="612"/>
                      <a:pt x="1379" y="611"/>
                    </a:cubicBezTo>
                    <a:cubicBezTo>
                      <a:pt x="1379" y="611"/>
                      <a:pt x="1379" y="611"/>
                      <a:pt x="1376" y="608"/>
                    </a:cubicBezTo>
                    <a:cubicBezTo>
                      <a:pt x="1376" y="608"/>
                      <a:pt x="1376" y="608"/>
                      <a:pt x="1375" y="607"/>
                    </a:cubicBezTo>
                    <a:cubicBezTo>
                      <a:pt x="1375" y="607"/>
                      <a:pt x="1375" y="607"/>
                      <a:pt x="1375" y="605"/>
                    </a:cubicBezTo>
                    <a:cubicBezTo>
                      <a:pt x="1375" y="605"/>
                      <a:pt x="1375" y="605"/>
                      <a:pt x="1374" y="605"/>
                    </a:cubicBezTo>
                    <a:cubicBezTo>
                      <a:pt x="1374" y="605"/>
                      <a:pt x="1374" y="605"/>
                      <a:pt x="1374" y="606"/>
                    </a:cubicBezTo>
                    <a:cubicBezTo>
                      <a:pt x="1374" y="606"/>
                      <a:pt x="1374" y="606"/>
                      <a:pt x="1374" y="607"/>
                    </a:cubicBezTo>
                    <a:cubicBezTo>
                      <a:pt x="1374" y="607"/>
                      <a:pt x="1374" y="607"/>
                      <a:pt x="1375" y="609"/>
                    </a:cubicBezTo>
                    <a:cubicBezTo>
                      <a:pt x="1375" y="609"/>
                      <a:pt x="1375" y="609"/>
                      <a:pt x="1375" y="610"/>
                    </a:cubicBezTo>
                    <a:cubicBezTo>
                      <a:pt x="1375" y="610"/>
                      <a:pt x="1375" y="610"/>
                      <a:pt x="1378" y="613"/>
                    </a:cubicBezTo>
                    <a:cubicBezTo>
                      <a:pt x="1378" y="613"/>
                      <a:pt x="1378" y="613"/>
                      <a:pt x="1378" y="614"/>
                    </a:cubicBezTo>
                    <a:cubicBezTo>
                      <a:pt x="1378" y="614"/>
                      <a:pt x="1378" y="614"/>
                      <a:pt x="1381" y="617"/>
                    </a:cubicBezTo>
                    <a:cubicBezTo>
                      <a:pt x="1381" y="617"/>
                      <a:pt x="1381" y="617"/>
                      <a:pt x="1382" y="618"/>
                    </a:cubicBezTo>
                    <a:cubicBezTo>
                      <a:pt x="1382" y="618"/>
                      <a:pt x="1382" y="618"/>
                      <a:pt x="1382" y="619"/>
                    </a:cubicBezTo>
                    <a:cubicBezTo>
                      <a:pt x="1382" y="619"/>
                      <a:pt x="1382" y="619"/>
                      <a:pt x="1382" y="620"/>
                    </a:cubicBezTo>
                    <a:cubicBezTo>
                      <a:pt x="1382" y="620"/>
                      <a:pt x="1382" y="620"/>
                      <a:pt x="1384" y="622"/>
                    </a:cubicBezTo>
                    <a:cubicBezTo>
                      <a:pt x="1384" y="622"/>
                      <a:pt x="1384" y="622"/>
                      <a:pt x="1384" y="623"/>
                    </a:cubicBezTo>
                    <a:cubicBezTo>
                      <a:pt x="1384" y="623"/>
                      <a:pt x="1384" y="623"/>
                      <a:pt x="1385" y="624"/>
                    </a:cubicBezTo>
                    <a:cubicBezTo>
                      <a:pt x="1385" y="624"/>
                      <a:pt x="1385" y="624"/>
                      <a:pt x="1385" y="626"/>
                    </a:cubicBezTo>
                    <a:cubicBezTo>
                      <a:pt x="1385" y="626"/>
                      <a:pt x="1385" y="626"/>
                      <a:pt x="1386" y="627"/>
                    </a:cubicBezTo>
                    <a:cubicBezTo>
                      <a:pt x="1386" y="627"/>
                      <a:pt x="1386" y="627"/>
                      <a:pt x="1386" y="629"/>
                    </a:cubicBezTo>
                    <a:cubicBezTo>
                      <a:pt x="1386" y="629"/>
                      <a:pt x="1386" y="629"/>
                      <a:pt x="1389" y="634"/>
                    </a:cubicBezTo>
                    <a:cubicBezTo>
                      <a:pt x="1389" y="634"/>
                      <a:pt x="1389" y="634"/>
                      <a:pt x="1390" y="636"/>
                    </a:cubicBezTo>
                    <a:cubicBezTo>
                      <a:pt x="1390" y="636"/>
                      <a:pt x="1390" y="636"/>
                      <a:pt x="1391" y="637"/>
                    </a:cubicBezTo>
                    <a:cubicBezTo>
                      <a:pt x="1391" y="637"/>
                      <a:pt x="1391" y="637"/>
                      <a:pt x="1393" y="641"/>
                    </a:cubicBezTo>
                    <a:cubicBezTo>
                      <a:pt x="1393" y="641"/>
                      <a:pt x="1393" y="641"/>
                      <a:pt x="1394" y="642"/>
                    </a:cubicBezTo>
                    <a:cubicBezTo>
                      <a:pt x="1394" y="642"/>
                      <a:pt x="1394" y="642"/>
                      <a:pt x="1395" y="643"/>
                    </a:cubicBezTo>
                    <a:cubicBezTo>
                      <a:pt x="1395" y="643"/>
                      <a:pt x="1395" y="643"/>
                      <a:pt x="1396" y="645"/>
                    </a:cubicBezTo>
                    <a:cubicBezTo>
                      <a:pt x="1396" y="645"/>
                      <a:pt x="1396" y="645"/>
                      <a:pt x="1395" y="645"/>
                    </a:cubicBezTo>
                    <a:cubicBezTo>
                      <a:pt x="1395" y="645"/>
                      <a:pt x="1395" y="645"/>
                      <a:pt x="1395" y="646"/>
                    </a:cubicBezTo>
                    <a:cubicBezTo>
                      <a:pt x="1395" y="646"/>
                      <a:pt x="1395" y="646"/>
                      <a:pt x="1395" y="648"/>
                    </a:cubicBezTo>
                    <a:cubicBezTo>
                      <a:pt x="1395" y="648"/>
                      <a:pt x="1395" y="648"/>
                      <a:pt x="1395" y="649"/>
                    </a:cubicBezTo>
                    <a:cubicBezTo>
                      <a:pt x="1395" y="649"/>
                      <a:pt x="1395" y="649"/>
                      <a:pt x="1396" y="652"/>
                    </a:cubicBezTo>
                    <a:cubicBezTo>
                      <a:pt x="1396" y="652"/>
                      <a:pt x="1396" y="652"/>
                      <a:pt x="1398" y="653"/>
                    </a:cubicBezTo>
                    <a:cubicBezTo>
                      <a:pt x="1398" y="653"/>
                      <a:pt x="1398" y="653"/>
                      <a:pt x="1399" y="653"/>
                    </a:cubicBezTo>
                    <a:cubicBezTo>
                      <a:pt x="1399" y="653"/>
                      <a:pt x="1399" y="653"/>
                      <a:pt x="1400" y="653"/>
                    </a:cubicBezTo>
                    <a:cubicBezTo>
                      <a:pt x="1400" y="653"/>
                      <a:pt x="1400" y="653"/>
                      <a:pt x="1401" y="655"/>
                    </a:cubicBezTo>
                    <a:cubicBezTo>
                      <a:pt x="1401" y="655"/>
                      <a:pt x="1401" y="655"/>
                      <a:pt x="1402" y="655"/>
                    </a:cubicBezTo>
                    <a:cubicBezTo>
                      <a:pt x="1402" y="655"/>
                      <a:pt x="1402" y="655"/>
                      <a:pt x="1403" y="656"/>
                    </a:cubicBezTo>
                    <a:cubicBezTo>
                      <a:pt x="1403" y="656"/>
                      <a:pt x="1403" y="656"/>
                      <a:pt x="1404" y="657"/>
                    </a:cubicBezTo>
                    <a:cubicBezTo>
                      <a:pt x="1404" y="657"/>
                      <a:pt x="1404" y="657"/>
                      <a:pt x="1405" y="658"/>
                    </a:cubicBezTo>
                    <a:cubicBezTo>
                      <a:pt x="1405" y="658"/>
                      <a:pt x="1405" y="658"/>
                      <a:pt x="1405" y="659"/>
                    </a:cubicBezTo>
                    <a:cubicBezTo>
                      <a:pt x="1405" y="659"/>
                      <a:pt x="1405" y="659"/>
                      <a:pt x="1405" y="660"/>
                    </a:cubicBezTo>
                    <a:cubicBezTo>
                      <a:pt x="1405" y="660"/>
                      <a:pt x="1405" y="660"/>
                      <a:pt x="1405" y="661"/>
                    </a:cubicBezTo>
                    <a:cubicBezTo>
                      <a:pt x="1405" y="661"/>
                      <a:pt x="1405" y="661"/>
                      <a:pt x="1406" y="662"/>
                    </a:cubicBezTo>
                    <a:cubicBezTo>
                      <a:pt x="1406" y="662"/>
                      <a:pt x="1406" y="662"/>
                      <a:pt x="1407" y="664"/>
                    </a:cubicBezTo>
                    <a:cubicBezTo>
                      <a:pt x="1407" y="664"/>
                      <a:pt x="1407" y="664"/>
                      <a:pt x="1406" y="663"/>
                    </a:cubicBezTo>
                    <a:cubicBezTo>
                      <a:pt x="1406" y="663"/>
                      <a:pt x="1406" y="663"/>
                      <a:pt x="1406" y="664"/>
                    </a:cubicBezTo>
                    <a:cubicBezTo>
                      <a:pt x="1406" y="664"/>
                      <a:pt x="1406" y="664"/>
                      <a:pt x="1406" y="665"/>
                    </a:cubicBezTo>
                    <a:cubicBezTo>
                      <a:pt x="1406" y="665"/>
                      <a:pt x="1406" y="665"/>
                      <a:pt x="1408" y="669"/>
                    </a:cubicBezTo>
                    <a:cubicBezTo>
                      <a:pt x="1408" y="669"/>
                      <a:pt x="1408" y="669"/>
                      <a:pt x="1408" y="672"/>
                    </a:cubicBezTo>
                    <a:cubicBezTo>
                      <a:pt x="1408" y="672"/>
                      <a:pt x="1408" y="672"/>
                      <a:pt x="1408" y="674"/>
                    </a:cubicBezTo>
                    <a:cubicBezTo>
                      <a:pt x="1408" y="674"/>
                      <a:pt x="1408" y="674"/>
                      <a:pt x="1408" y="677"/>
                    </a:cubicBezTo>
                    <a:cubicBezTo>
                      <a:pt x="1408" y="677"/>
                      <a:pt x="1408" y="677"/>
                      <a:pt x="1410" y="679"/>
                    </a:cubicBezTo>
                    <a:cubicBezTo>
                      <a:pt x="1410" y="679"/>
                      <a:pt x="1410" y="679"/>
                      <a:pt x="1411" y="679"/>
                    </a:cubicBezTo>
                    <a:cubicBezTo>
                      <a:pt x="1411" y="679"/>
                      <a:pt x="1411" y="679"/>
                      <a:pt x="1413" y="681"/>
                    </a:cubicBezTo>
                    <a:cubicBezTo>
                      <a:pt x="1413" y="681"/>
                      <a:pt x="1413" y="681"/>
                      <a:pt x="1413" y="682"/>
                    </a:cubicBezTo>
                    <a:cubicBezTo>
                      <a:pt x="1413" y="682"/>
                      <a:pt x="1413" y="682"/>
                      <a:pt x="1415" y="682"/>
                    </a:cubicBezTo>
                    <a:cubicBezTo>
                      <a:pt x="1415" y="682"/>
                      <a:pt x="1415" y="682"/>
                      <a:pt x="1416" y="683"/>
                    </a:cubicBezTo>
                    <a:cubicBezTo>
                      <a:pt x="1416" y="683"/>
                      <a:pt x="1416" y="683"/>
                      <a:pt x="1416" y="684"/>
                    </a:cubicBezTo>
                    <a:cubicBezTo>
                      <a:pt x="1416" y="684"/>
                      <a:pt x="1416" y="684"/>
                      <a:pt x="1418" y="685"/>
                    </a:cubicBezTo>
                    <a:cubicBezTo>
                      <a:pt x="1418" y="685"/>
                      <a:pt x="1418" y="685"/>
                      <a:pt x="1421" y="692"/>
                    </a:cubicBezTo>
                    <a:cubicBezTo>
                      <a:pt x="1421" y="692"/>
                      <a:pt x="1421" y="692"/>
                      <a:pt x="1421" y="697"/>
                    </a:cubicBezTo>
                    <a:cubicBezTo>
                      <a:pt x="1421" y="697"/>
                      <a:pt x="1421" y="697"/>
                      <a:pt x="1422" y="697"/>
                    </a:cubicBezTo>
                    <a:cubicBezTo>
                      <a:pt x="1422" y="697"/>
                      <a:pt x="1422" y="697"/>
                      <a:pt x="1422" y="699"/>
                    </a:cubicBezTo>
                    <a:cubicBezTo>
                      <a:pt x="1422" y="699"/>
                      <a:pt x="1422" y="699"/>
                      <a:pt x="1423" y="699"/>
                    </a:cubicBezTo>
                    <a:cubicBezTo>
                      <a:pt x="1423" y="699"/>
                      <a:pt x="1423" y="699"/>
                      <a:pt x="1424" y="701"/>
                    </a:cubicBezTo>
                    <a:cubicBezTo>
                      <a:pt x="1424" y="701"/>
                      <a:pt x="1424" y="701"/>
                      <a:pt x="1424" y="703"/>
                    </a:cubicBezTo>
                    <a:cubicBezTo>
                      <a:pt x="1424" y="703"/>
                      <a:pt x="1424" y="703"/>
                      <a:pt x="1425" y="703"/>
                    </a:cubicBezTo>
                    <a:cubicBezTo>
                      <a:pt x="1425" y="703"/>
                      <a:pt x="1425" y="703"/>
                      <a:pt x="1425" y="701"/>
                    </a:cubicBezTo>
                    <a:cubicBezTo>
                      <a:pt x="1425" y="701"/>
                      <a:pt x="1425" y="701"/>
                      <a:pt x="1425" y="700"/>
                    </a:cubicBezTo>
                    <a:cubicBezTo>
                      <a:pt x="1425" y="700"/>
                      <a:pt x="1425" y="700"/>
                      <a:pt x="1426" y="701"/>
                    </a:cubicBezTo>
                    <a:cubicBezTo>
                      <a:pt x="1426" y="701"/>
                      <a:pt x="1426" y="701"/>
                      <a:pt x="1426" y="702"/>
                    </a:cubicBezTo>
                    <a:cubicBezTo>
                      <a:pt x="1426" y="702"/>
                      <a:pt x="1426" y="702"/>
                      <a:pt x="1427" y="703"/>
                    </a:cubicBezTo>
                    <a:cubicBezTo>
                      <a:pt x="1427" y="703"/>
                      <a:pt x="1427" y="703"/>
                      <a:pt x="1428" y="704"/>
                    </a:cubicBezTo>
                    <a:cubicBezTo>
                      <a:pt x="1428" y="704"/>
                      <a:pt x="1428" y="704"/>
                      <a:pt x="1429" y="704"/>
                    </a:cubicBezTo>
                    <a:cubicBezTo>
                      <a:pt x="1429" y="704"/>
                      <a:pt x="1429" y="704"/>
                      <a:pt x="1430" y="704"/>
                    </a:cubicBezTo>
                    <a:cubicBezTo>
                      <a:pt x="1430" y="704"/>
                      <a:pt x="1430" y="704"/>
                      <a:pt x="1432" y="705"/>
                    </a:cubicBezTo>
                    <a:cubicBezTo>
                      <a:pt x="1432" y="705"/>
                      <a:pt x="1432" y="705"/>
                      <a:pt x="1432" y="706"/>
                    </a:cubicBezTo>
                    <a:cubicBezTo>
                      <a:pt x="1432" y="706"/>
                      <a:pt x="1432" y="706"/>
                      <a:pt x="1434" y="706"/>
                    </a:cubicBezTo>
                    <a:cubicBezTo>
                      <a:pt x="1434" y="706"/>
                      <a:pt x="1434" y="706"/>
                      <a:pt x="1434" y="707"/>
                    </a:cubicBezTo>
                    <a:cubicBezTo>
                      <a:pt x="1434" y="707"/>
                      <a:pt x="1434" y="707"/>
                      <a:pt x="1436" y="709"/>
                    </a:cubicBezTo>
                    <a:cubicBezTo>
                      <a:pt x="1436" y="709"/>
                      <a:pt x="1436" y="709"/>
                      <a:pt x="1437" y="711"/>
                    </a:cubicBezTo>
                    <a:cubicBezTo>
                      <a:pt x="1437" y="711"/>
                      <a:pt x="1437" y="711"/>
                      <a:pt x="1439" y="711"/>
                    </a:cubicBezTo>
                    <a:cubicBezTo>
                      <a:pt x="1439" y="711"/>
                      <a:pt x="1439" y="711"/>
                      <a:pt x="1440" y="712"/>
                    </a:cubicBezTo>
                    <a:cubicBezTo>
                      <a:pt x="1440" y="712"/>
                      <a:pt x="1440" y="712"/>
                      <a:pt x="1441" y="713"/>
                    </a:cubicBezTo>
                    <a:cubicBezTo>
                      <a:pt x="1441" y="713"/>
                      <a:pt x="1441" y="713"/>
                      <a:pt x="1442" y="715"/>
                    </a:cubicBezTo>
                    <a:cubicBezTo>
                      <a:pt x="1442" y="715"/>
                      <a:pt x="1442" y="715"/>
                      <a:pt x="1443" y="717"/>
                    </a:cubicBezTo>
                    <a:cubicBezTo>
                      <a:pt x="1443" y="717"/>
                      <a:pt x="1443" y="717"/>
                      <a:pt x="1444" y="718"/>
                    </a:cubicBezTo>
                    <a:cubicBezTo>
                      <a:pt x="1444" y="718"/>
                      <a:pt x="1444" y="718"/>
                      <a:pt x="1445" y="718"/>
                    </a:cubicBezTo>
                    <a:cubicBezTo>
                      <a:pt x="1445" y="718"/>
                      <a:pt x="1445" y="718"/>
                      <a:pt x="1446" y="718"/>
                    </a:cubicBezTo>
                    <a:cubicBezTo>
                      <a:pt x="1446" y="718"/>
                      <a:pt x="1446" y="718"/>
                      <a:pt x="1446" y="719"/>
                    </a:cubicBezTo>
                    <a:cubicBezTo>
                      <a:pt x="1446" y="719"/>
                      <a:pt x="1446" y="719"/>
                      <a:pt x="1447" y="720"/>
                    </a:cubicBezTo>
                    <a:cubicBezTo>
                      <a:pt x="1447" y="720"/>
                      <a:pt x="1447" y="720"/>
                      <a:pt x="1448" y="720"/>
                    </a:cubicBezTo>
                    <a:cubicBezTo>
                      <a:pt x="1448" y="720"/>
                      <a:pt x="1448" y="720"/>
                      <a:pt x="1448" y="721"/>
                    </a:cubicBezTo>
                    <a:cubicBezTo>
                      <a:pt x="1448" y="721"/>
                      <a:pt x="1448" y="721"/>
                      <a:pt x="1448" y="723"/>
                    </a:cubicBezTo>
                    <a:cubicBezTo>
                      <a:pt x="1448" y="723"/>
                      <a:pt x="1448" y="723"/>
                      <a:pt x="1447" y="723"/>
                    </a:cubicBezTo>
                    <a:cubicBezTo>
                      <a:pt x="1447" y="723"/>
                      <a:pt x="1447" y="723"/>
                      <a:pt x="1446" y="725"/>
                    </a:cubicBezTo>
                    <a:cubicBezTo>
                      <a:pt x="1446" y="725"/>
                      <a:pt x="1446" y="725"/>
                      <a:pt x="1445" y="725"/>
                    </a:cubicBezTo>
                    <a:cubicBezTo>
                      <a:pt x="1445" y="725"/>
                      <a:pt x="1445" y="725"/>
                      <a:pt x="1445" y="726"/>
                    </a:cubicBezTo>
                    <a:cubicBezTo>
                      <a:pt x="1445" y="726"/>
                      <a:pt x="1445" y="726"/>
                      <a:pt x="1447" y="726"/>
                    </a:cubicBezTo>
                    <a:cubicBezTo>
                      <a:pt x="1447" y="726"/>
                      <a:pt x="1447" y="726"/>
                      <a:pt x="1448" y="727"/>
                    </a:cubicBezTo>
                    <a:cubicBezTo>
                      <a:pt x="1448" y="727"/>
                      <a:pt x="1448" y="727"/>
                      <a:pt x="1452" y="732"/>
                    </a:cubicBezTo>
                    <a:cubicBezTo>
                      <a:pt x="1452" y="732"/>
                      <a:pt x="1452" y="732"/>
                      <a:pt x="1453" y="733"/>
                    </a:cubicBezTo>
                    <a:cubicBezTo>
                      <a:pt x="1453" y="733"/>
                      <a:pt x="1453" y="733"/>
                      <a:pt x="1454" y="734"/>
                    </a:cubicBezTo>
                    <a:cubicBezTo>
                      <a:pt x="1454" y="734"/>
                      <a:pt x="1454" y="734"/>
                      <a:pt x="1456" y="734"/>
                    </a:cubicBezTo>
                    <a:cubicBezTo>
                      <a:pt x="1456" y="734"/>
                      <a:pt x="1456" y="734"/>
                      <a:pt x="1458" y="734"/>
                    </a:cubicBezTo>
                    <a:cubicBezTo>
                      <a:pt x="1458" y="734"/>
                      <a:pt x="1458" y="734"/>
                      <a:pt x="1460" y="733"/>
                    </a:cubicBezTo>
                    <a:cubicBezTo>
                      <a:pt x="1460" y="733"/>
                      <a:pt x="1460" y="733"/>
                      <a:pt x="1461" y="732"/>
                    </a:cubicBezTo>
                    <a:cubicBezTo>
                      <a:pt x="1461" y="732"/>
                      <a:pt x="1461" y="732"/>
                      <a:pt x="1463" y="731"/>
                    </a:cubicBezTo>
                    <a:cubicBezTo>
                      <a:pt x="1463" y="731"/>
                      <a:pt x="1463" y="731"/>
                      <a:pt x="1464" y="731"/>
                    </a:cubicBezTo>
                    <a:cubicBezTo>
                      <a:pt x="1464" y="731"/>
                      <a:pt x="1464" y="731"/>
                      <a:pt x="1466" y="731"/>
                    </a:cubicBezTo>
                    <a:cubicBezTo>
                      <a:pt x="1466" y="731"/>
                      <a:pt x="1466" y="731"/>
                      <a:pt x="1468" y="731"/>
                    </a:cubicBezTo>
                    <a:cubicBezTo>
                      <a:pt x="1468" y="731"/>
                      <a:pt x="1468" y="731"/>
                      <a:pt x="1469" y="731"/>
                    </a:cubicBezTo>
                    <a:cubicBezTo>
                      <a:pt x="1469" y="731"/>
                      <a:pt x="1469" y="731"/>
                      <a:pt x="1473" y="729"/>
                    </a:cubicBezTo>
                    <a:cubicBezTo>
                      <a:pt x="1473" y="729"/>
                      <a:pt x="1473" y="729"/>
                      <a:pt x="1474" y="729"/>
                    </a:cubicBezTo>
                    <a:cubicBezTo>
                      <a:pt x="1474" y="729"/>
                      <a:pt x="1474" y="729"/>
                      <a:pt x="1476" y="729"/>
                    </a:cubicBezTo>
                    <a:cubicBezTo>
                      <a:pt x="1476" y="729"/>
                      <a:pt x="1476" y="729"/>
                      <a:pt x="1477" y="729"/>
                    </a:cubicBezTo>
                    <a:cubicBezTo>
                      <a:pt x="1477" y="729"/>
                      <a:pt x="1477" y="729"/>
                      <a:pt x="1478" y="729"/>
                    </a:cubicBezTo>
                    <a:cubicBezTo>
                      <a:pt x="1478" y="729"/>
                      <a:pt x="1478" y="729"/>
                      <a:pt x="1480" y="728"/>
                    </a:cubicBezTo>
                    <a:cubicBezTo>
                      <a:pt x="1480" y="728"/>
                      <a:pt x="1480" y="728"/>
                      <a:pt x="1482" y="728"/>
                    </a:cubicBezTo>
                    <a:cubicBezTo>
                      <a:pt x="1482" y="728"/>
                      <a:pt x="1482" y="728"/>
                      <a:pt x="1483" y="728"/>
                    </a:cubicBezTo>
                    <a:cubicBezTo>
                      <a:pt x="1483" y="728"/>
                      <a:pt x="1483" y="728"/>
                      <a:pt x="1486" y="728"/>
                    </a:cubicBezTo>
                    <a:cubicBezTo>
                      <a:pt x="1486" y="728"/>
                      <a:pt x="1486" y="728"/>
                      <a:pt x="1488" y="727"/>
                    </a:cubicBezTo>
                    <a:cubicBezTo>
                      <a:pt x="1488" y="727"/>
                      <a:pt x="1488" y="727"/>
                      <a:pt x="1489" y="727"/>
                    </a:cubicBezTo>
                    <a:cubicBezTo>
                      <a:pt x="1489" y="727"/>
                      <a:pt x="1489" y="727"/>
                      <a:pt x="1490" y="727"/>
                    </a:cubicBezTo>
                    <a:cubicBezTo>
                      <a:pt x="1490" y="727"/>
                      <a:pt x="1490" y="727"/>
                      <a:pt x="1490" y="726"/>
                    </a:cubicBezTo>
                    <a:cubicBezTo>
                      <a:pt x="1490" y="726"/>
                      <a:pt x="1490" y="726"/>
                      <a:pt x="1492" y="726"/>
                    </a:cubicBezTo>
                    <a:cubicBezTo>
                      <a:pt x="1492" y="726"/>
                      <a:pt x="1492" y="726"/>
                      <a:pt x="1493" y="725"/>
                    </a:cubicBezTo>
                    <a:cubicBezTo>
                      <a:pt x="1493" y="725"/>
                      <a:pt x="1493" y="725"/>
                      <a:pt x="1494" y="724"/>
                    </a:cubicBezTo>
                    <a:cubicBezTo>
                      <a:pt x="1494" y="724"/>
                      <a:pt x="1494" y="724"/>
                      <a:pt x="1494" y="723"/>
                    </a:cubicBezTo>
                    <a:cubicBezTo>
                      <a:pt x="1494" y="723"/>
                      <a:pt x="1494" y="723"/>
                      <a:pt x="1495" y="724"/>
                    </a:cubicBezTo>
                    <a:cubicBezTo>
                      <a:pt x="1495" y="724"/>
                      <a:pt x="1495" y="724"/>
                      <a:pt x="1495" y="723"/>
                    </a:cubicBezTo>
                    <a:cubicBezTo>
                      <a:pt x="1495" y="723"/>
                      <a:pt x="1495" y="723"/>
                      <a:pt x="1496" y="724"/>
                    </a:cubicBezTo>
                    <a:cubicBezTo>
                      <a:pt x="1496" y="724"/>
                      <a:pt x="1496" y="724"/>
                      <a:pt x="1497" y="724"/>
                    </a:cubicBezTo>
                    <a:cubicBezTo>
                      <a:pt x="1497" y="724"/>
                      <a:pt x="1497" y="724"/>
                      <a:pt x="1498" y="724"/>
                    </a:cubicBezTo>
                    <a:cubicBezTo>
                      <a:pt x="1498" y="724"/>
                      <a:pt x="1498" y="724"/>
                      <a:pt x="1498" y="725"/>
                    </a:cubicBezTo>
                    <a:cubicBezTo>
                      <a:pt x="1498" y="725"/>
                      <a:pt x="1498" y="725"/>
                      <a:pt x="1497" y="726"/>
                    </a:cubicBezTo>
                    <a:cubicBezTo>
                      <a:pt x="1497" y="726"/>
                      <a:pt x="1497" y="726"/>
                      <a:pt x="1497" y="727"/>
                    </a:cubicBezTo>
                    <a:cubicBezTo>
                      <a:pt x="1497" y="727"/>
                      <a:pt x="1497" y="727"/>
                      <a:pt x="1497" y="728"/>
                    </a:cubicBezTo>
                    <a:cubicBezTo>
                      <a:pt x="1497" y="728"/>
                      <a:pt x="1497" y="728"/>
                      <a:pt x="1497" y="729"/>
                    </a:cubicBezTo>
                    <a:cubicBezTo>
                      <a:pt x="1497" y="729"/>
                      <a:pt x="1497" y="729"/>
                      <a:pt x="1498" y="729"/>
                    </a:cubicBezTo>
                    <a:cubicBezTo>
                      <a:pt x="1498" y="729"/>
                      <a:pt x="1498" y="729"/>
                      <a:pt x="1497" y="730"/>
                    </a:cubicBezTo>
                    <a:cubicBezTo>
                      <a:pt x="1497" y="730"/>
                      <a:pt x="1497" y="730"/>
                      <a:pt x="1497" y="731"/>
                    </a:cubicBezTo>
                    <a:cubicBezTo>
                      <a:pt x="1497" y="731"/>
                      <a:pt x="1497" y="731"/>
                      <a:pt x="1497" y="732"/>
                    </a:cubicBezTo>
                    <a:cubicBezTo>
                      <a:pt x="1497" y="732"/>
                      <a:pt x="1497" y="732"/>
                      <a:pt x="1498" y="733"/>
                    </a:cubicBezTo>
                    <a:cubicBezTo>
                      <a:pt x="1498" y="733"/>
                      <a:pt x="1498" y="733"/>
                      <a:pt x="1497" y="734"/>
                    </a:cubicBezTo>
                    <a:cubicBezTo>
                      <a:pt x="1497" y="734"/>
                      <a:pt x="1497" y="734"/>
                      <a:pt x="1496" y="736"/>
                    </a:cubicBezTo>
                    <a:cubicBezTo>
                      <a:pt x="1496" y="736"/>
                      <a:pt x="1496" y="736"/>
                      <a:pt x="1496" y="737"/>
                    </a:cubicBezTo>
                    <a:cubicBezTo>
                      <a:pt x="1496" y="737"/>
                      <a:pt x="1496" y="737"/>
                      <a:pt x="1496" y="738"/>
                    </a:cubicBezTo>
                    <a:cubicBezTo>
                      <a:pt x="1496" y="738"/>
                      <a:pt x="1496" y="738"/>
                      <a:pt x="1496" y="739"/>
                    </a:cubicBezTo>
                    <a:cubicBezTo>
                      <a:pt x="1496" y="739"/>
                      <a:pt x="1496" y="739"/>
                      <a:pt x="1496" y="740"/>
                    </a:cubicBezTo>
                    <a:cubicBezTo>
                      <a:pt x="1496" y="740"/>
                      <a:pt x="1496" y="740"/>
                      <a:pt x="1494" y="743"/>
                    </a:cubicBezTo>
                    <a:cubicBezTo>
                      <a:pt x="1494" y="743"/>
                      <a:pt x="1494" y="743"/>
                      <a:pt x="1492" y="747"/>
                    </a:cubicBezTo>
                    <a:cubicBezTo>
                      <a:pt x="1492" y="747"/>
                      <a:pt x="1492" y="747"/>
                      <a:pt x="1491" y="748"/>
                    </a:cubicBezTo>
                    <a:cubicBezTo>
                      <a:pt x="1491" y="748"/>
                      <a:pt x="1491" y="748"/>
                      <a:pt x="1489" y="749"/>
                    </a:cubicBezTo>
                    <a:cubicBezTo>
                      <a:pt x="1489" y="749"/>
                      <a:pt x="1489" y="749"/>
                      <a:pt x="1489" y="750"/>
                    </a:cubicBezTo>
                    <a:cubicBezTo>
                      <a:pt x="1489" y="750"/>
                      <a:pt x="1489" y="750"/>
                      <a:pt x="1490" y="751"/>
                    </a:cubicBezTo>
                    <a:cubicBezTo>
                      <a:pt x="1490" y="751"/>
                      <a:pt x="1490" y="751"/>
                      <a:pt x="1489" y="751"/>
                    </a:cubicBezTo>
                    <a:cubicBezTo>
                      <a:pt x="1489" y="751"/>
                      <a:pt x="1489" y="751"/>
                      <a:pt x="1485" y="758"/>
                    </a:cubicBezTo>
                    <a:cubicBezTo>
                      <a:pt x="1485" y="758"/>
                      <a:pt x="1485" y="758"/>
                      <a:pt x="1485" y="760"/>
                    </a:cubicBezTo>
                    <a:cubicBezTo>
                      <a:pt x="1485" y="760"/>
                      <a:pt x="1485" y="760"/>
                      <a:pt x="1483" y="763"/>
                    </a:cubicBezTo>
                    <a:cubicBezTo>
                      <a:pt x="1483" y="763"/>
                      <a:pt x="1483" y="763"/>
                      <a:pt x="1483" y="764"/>
                    </a:cubicBezTo>
                    <a:cubicBezTo>
                      <a:pt x="1483" y="764"/>
                      <a:pt x="1483" y="764"/>
                      <a:pt x="1479" y="770"/>
                    </a:cubicBezTo>
                    <a:cubicBezTo>
                      <a:pt x="1479" y="770"/>
                      <a:pt x="1479" y="770"/>
                      <a:pt x="1478" y="772"/>
                    </a:cubicBezTo>
                    <a:cubicBezTo>
                      <a:pt x="1478" y="772"/>
                      <a:pt x="1478" y="772"/>
                      <a:pt x="1476" y="774"/>
                    </a:cubicBezTo>
                    <a:cubicBezTo>
                      <a:pt x="1476" y="774"/>
                      <a:pt x="1476" y="774"/>
                      <a:pt x="1473" y="778"/>
                    </a:cubicBezTo>
                    <a:cubicBezTo>
                      <a:pt x="1473" y="778"/>
                      <a:pt x="1473" y="778"/>
                      <a:pt x="1466" y="784"/>
                    </a:cubicBezTo>
                    <a:cubicBezTo>
                      <a:pt x="1466" y="784"/>
                      <a:pt x="1466" y="784"/>
                      <a:pt x="1463" y="786"/>
                    </a:cubicBezTo>
                    <a:cubicBezTo>
                      <a:pt x="1463" y="786"/>
                      <a:pt x="1463" y="786"/>
                      <a:pt x="1461" y="787"/>
                    </a:cubicBezTo>
                    <a:cubicBezTo>
                      <a:pt x="1461" y="787"/>
                      <a:pt x="1461" y="787"/>
                      <a:pt x="1459" y="788"/>
                    </a:cubicBezTo>
                    <a:cubicBezTo>
                      <a:pt x="1459" y="788"/>
                      <a:pt x="1459" y="788"/>
                      <a:pt x="1457" y="790"/>
                    </a:cubicBezTo>
                    <a:cubicBezTo>
                      <a:pt x="1457" y="790"/>
                      <a:pt x="1457" y="790"/>
                      <a:pt x="1453" y="794"/>
                    </a:cubicBezTo>
                    <a:cubicBezTo>
                      <a:pt x="1453" y="794"/>
                      <a:pt x="1453" y="794"/>
                      <a:pt x="1452" y="794"/>
                    </a:cubicBezTo>
                    <a:cubicBezTo>
                      <a:pt x="1452" y="794"/>
                      <a:pt x="1452" y="794"/>
                      <a:pt x="1448" y="798"/>
                    </a:cubicBezTo>
                    <a:cubicBezTo>
                      <a:pt x="1448" y="798"/>
                      <a:pt x="1448" y="798"/>
                      <a:pt x="1448" y="799"/>
                    </a:cubicBezTo>
                    <a:cubicBezTo>
                      <a:pt x="1448" y="799"/>
                      <a:pt x="1448" y="799"/>
                      <a:pt x="1447" y="800"/>
                    </a:cubicBezTo>
                    <a:cubicBezTo>
                      <a:pt x="1447" y="800"/>
                      <a:pt x="1447" y="800"/>
                      <a:pt x="1446" y="800"/>
                    </a:cubicBezTo>
                    <a:cubicBezTo>
                      <a:pt x="1446" y="800"/>
                      <a:pt x="1446" y="800"/>
                      <a:pt x="1444" y="801"/>
                    </a:cubicBezTo>
                    <a:cubicBezTo>
                      <a:pt x="1444" y="801"/>
                      <a:pt x="1444" y="801"/>
                      <a:pt x="1444" y="803"/>
                    </a:cubicBezTo>
                    <a:cubicBezTo>
                      <a:pt x="1444" y="803"/>
                      <a:pt x="1444" y="803"/>
                      <a:pt x="1439" y="808"/>
                    </a:cubicBezTo>
                    <a:cubicBezTo>
                      <a:pt x="1439" y="808"/>
                      <a:pt x="1439" y="808"/>
                      <a:pt x="1439" y="809"/>
                    </a:cubicBezTo>
                    <a:cubicBezTo>
                      <a:pt x="1439" y="809"/>
                      <a:pt x="1439" y="809"/>
                      <a:pt x="1436" y="811"/>
                    </a:cubicBezTo>
                    <a:cubicBezTo>
                      <a:pt x="1436" y="811"/>
                      <a:pt x="1436" y="811"/>
                      <a:pt x="1436" y="812"/>
                    </a:cubicBezTo>
                    <a:cubicBezTo>
                      <a:pt x="1436" y="812"/>
                      <a:pt x="1436" y="812"/>
                      <a:pt x="1435" y="812"/>
                    </a:cubicBezTo>
                    <a:cubicBezTo>
                      <a:pt x="1435" y="812"/>
                      <a:pt x="1435" y="812"/>
                      <a:pt x="1436" y="813"/>
                    </a:cubicBezTo>
                    <a:cubicBezTo>
                      <a:pt x="1436" y="813"/>
                      <a:pt x="1436" y="813"/>
                      <a:pt x="1433" y="814"/>
                    </a:cubicBezTo>
                    <a:cubicBezTo>
                      <a:pt x="1433" y="814"/>
                      <a:pt x="1433" y="814"/>
                      <a:pt x="1432" y="815"/>
                    </a:cubicBezTo>
                    <a:cubicBezTo>
                      <a:pt x="1432" y="815"/>
                      <a:pt x="1432" y="815"/>
                      <a:pt x="1430" y="815"/>
                    </a:cubicBezTo>
                    <a:cubicBezTo>
                      <a:pt x="1430" y="815"/>
                      <a:pt x="1430" y="815"/>
                      <a:pt x="1430" y="816"/>
                    </a:cubicBezTo>
                    <a:cubicBezTo>
                      <a:pt x="1430" y="816"/>
                      <a:pt x="1430" y="816"/>
                      <a:pt x="1429" y="817"/>
                    </a:cubicBezTo>
                    <a:cubicBezTo>
                      <a:pt x="1429" y="817"/>
                      <a:pt x="1429" y="817"/>
                      <a:pt x="1429" y="818"/>
                    </a:cubicBezTo>
                    <a:cubicBezTo>
                      <a:pt x="1429" y="818"/>
                      <a:pt x="1429" y="818"/>
                      <a:pt x="1428" y="820"/>
                    </a:cubicBezTo>
                    <a:cubicBezTo>
                      <a:pt x="1428" y="820"/>
                      <a:pt x="1428" y="820"/>
                      <a:pt x="1427" y="821"/>
                    </a:cubicBezTo>
                    <a:cubicBezTo>
                      <a:pt x="1427" y="821"/>
                      <a:pt x="1427" y="821"/>
                      <a:pt x="1427" y="822"/>
                    </a:cubicBezTo>
                    <a:cubicBezTo>
                      <a:pt x="1427" y="822"/>
                      <a:pt x="1427" y="822"/>
                      <a:pt x="1426" y="824"/>
                    </a:cubicBezTo>
                    <a:cubicBezTo>
                      <a:pt x="1426" y="824"/>
                      <a:pt x="1426" y="824"/>
                      <a:pt x="1424" y="828"/>
                    </a:cubicBezTo>
                    <a:cubicBezTo>
                      <a:pt x="1424" y="828"/>
                      <a:pt x="1424" y="828"/>
                      <a:pt x="1422" y="828"/>
                    </a:cubicBezTo>
                    <a:cubicBezTo>
                      <a:pt x="1422" y="828"/>
                      <a:pt x="1422" y="828"/>
                      <a:pt x="1422" y="829"/>
                    </a:cubicBezTo>
                    <a:cubicBezTo>
                      <a:pt x="1422" y="829"/>
                      <a:pt x="1422" y="829"/>
                      <a:pt x="1422" y="830"/>
                    </a:cubicBezTo>
                    <a:cubicBezTo>
                      <a:pt x="1422" y="830"/>
                      <a:pt x="1422" y="830"/>
                      <a:pt x="1420" y="834"/>
                    </a:cubicBezTo>
                    <a:cubicBezTo>
                      <a:pt x="1420" y="834"/>
                      <a:pt x="1420" y="834"/>
                      <a:pt x="1419" y="837"/>
                    </a:cubicBezTo>
                    <a:cubicBezTo>
                      <a:pt x="1419" y="837"/>
                      <a:pt x="1419" y="837"/>
                      <a:pt x="1419" y="838"/>
                    </a:cubicBezTo>
                    <a:cubicBezTo>
                      <a:pt x="1419" y="838"/>
                      <a:pt x="1419" y="838"/>
                      <a:pt x="1421" y="840"/>
                    </a:cubicBezTo>
                    <a:cubicBezTo>
                      <a:pt x="1421" y="840"/>
                      <a:pt x="1421" y="840"/>
                      <a:pt x="1422" y="842"/>
                    </a:cubicBezTo>
                    <a:cubicBezTo>
                      <a:pt x="1422" y="842"/>
                      <a:pt x="1422" y="842"/>
                      <a:pt x="1423" y="841"/>
                    </a:cubicBezTo>
                    <a:cubicBezTo>
                      <a:pt x="1423" y="841"/>
                      <a:pt x="1423" y="841"/>
                      <a:pt x="1424" y="844"/>
                    </a:cubicBezTo>
                    <a:cubicBezTo>
                      <a:pt x="1424" y="844"/>
                      <a:pt x="1424" y="844"/>
                      <a:pt x="1423" y="844"/>
                    </a:cubicBezTo>
                    <a:cubicBezTo>
                      <a:pt x="1423" y="844"/>
                      <a:pt x="1423" y="844"/>
                      <a:pt x="1422" y="845"/>
                    </a:cubicBezTo>
                    <a:cubicBezTo>
                      <a:pt x="1422" y="845"/>
                      <a:pt x="1422" y="845"/>
                      <a:pt x="1422" y="846"/>
                    </a:cubicBezTo>
                    <a:cubicBezTo>
                      <a:pt x="1422" y="846"/>
                      <a:pt x="1422" y="846"/>
                      <a:pt x="1422" y="849"/>
                    </a:cubicBezTo>
                    <a:cubicBezTo>
                      <a:pt x="1422" y="849"/>
                      <a:pt x="1422" y="849"/>
                      <a:pt x="1423" y="850"/>
                    </a:cubicBezTo>
                    <a:cubicBezTo>
                      <a:pt x="1423" y="850"/>
                      <a:pt x="1423" y="850"/>
                      <a:pt x="1423" y="851"/>
                    </a:cubicBezTo>
                    <a:cubicBezTo>
                      <a:pt x="1423" y="851"/>
                      <a:pt x="1423" y="851"/>
                      <a:pt x="1422" y="852"/>
                    </a:cubicBezTo>
                    <a:cubicBezTo>
                      <a:pt x="1422" y="852"/>
                      <a:pt x="1422" y="852"/>
                      <a:pt x="1422" y="853"/>
                    </a:cubicBezTo>
                    <a:cubicBezTo>
                      <a:pt x="1422" y="853"/>
                      <a:pt x="1422" y="853"/>
                      <a:pt x="1423" y="855"/>
                    </a:cubicBezTo>
                    <a:cubicBezTo>
                      <a:pt x="1423" y="855"/>
                      <a:pt x="1423" y="855"/>
                      <a:pt x="1423" y="856"/>
                    </a:cubicBezTo>
                    <a:cubicBezTo>
                      <a:pt x="1423" y="856"/>
                      <a:pt x="1423" y="856"/>
                      <a:pt x="1423" y="857"/>
                    </a:cubicBezTo>
                    <a:cubicBezTo>
                      <a:pt x="1423" y="857"/>
                      <a:pt x="1423" y="857"/>
                      <a:pt x="1424" y="857"/>
                    </a:cubicBezTo>
                    <a:cubicBezTo>
                      <a:pt x="1424" y="857"/>
                      <a:pt x="1424" y="857"/>
                      <a:pt x="1423" y="859"/>
                    </a:cubicBezTo>
                    <a:cubicBezTo>
                      <a:pt x="1423" y="859"/>
                      <a:pt x="1423" y="859"/>
                      <a:pt x="1424" y="859"/>
                    </a:cubicBezTo>
                    <a:cubicBezTo>
                      <a:pt x="1424" y="859"/>
                      <a:pt x="1424" y="859"/>
                      <a:pt x="1425" y="861"/>
                    </a:cubicBezTo>
                    <a:cubicBezTo>
                      <a:pt x="1425" y="861"/>
                      <a:pt x="1425" y="861"/>
                      <a:pt x="1424" y="862"/>
                    </a:cubicBezTo>
                    <a:cubicBezTo>
                      <a:pt x="1424" y="862"/>
                      <a:pt x="1424" y="862"/>
                      <a:pt x="1427" y="864"/>
                    </a:cubicBezTo>
                    <a:cubicBezTo>
                      <a:pt x="1427" y="864"/>
                      <a:pt x="1427" y="864"/>
                      <a:pt x="1428" y="864"/>
                    </a:cubicBezTo>
                    <a:cubicBezTo>
                      <a:pt x="1428" y="864"/>
                      <a:pt x="1428" y="864"/>
                      <a:pt x="1430" y="866"/>
                    </a:cubicBezTo>
                    <a:cubicBezTo>
                      <a:pt x="1430" y="866"/>
                      <a:pt x="1430" y="866"/>
                      <a:pt x="1430" y="867"/>
                    </a:cubicBezTo>
                    <a:cubicBezTo>
                      <a:pt x="1430" y="867"/>
                      <a:pt x="1430" y="867"/>
                      <a:pt x="1430" y="868"/>
                    </a:cubicBezTo>
                    <a:cubicBezTo>
                      <a:pt x="1430" y="868"/>
                      <a:pt x="1430" y="868"/>
                      <a:pt x="1430" y="869"/>
                    </a:cubicBezTo>
                    <a:cubicBezTo>
                      <a:pt x="1430" y="869"/>
                      <a:pt x="1430" y="869"/>
                      <a:pt x="1429" y="871"/>
                    </a:cubicBezTo>
                    <a:cubicBezTo>
                      <a:pt x="1429" y="871"/>
                      <a:pt x="1429" y="871"/>
                      <a:pt x="1429" y="872"/>
                    </a:cubicBezTo>
                    <a:cubicBezTo>
                      <a:pt x="1429" y="872"/>
                      <a:pt x="1429" y="872"/>
                      <a:pt x="1428" y="873"/>
                    </a:cubicBezTo>
                    <a:cubicBezTo>
                      <a:pt x="1428" y="873"/>
                      <a:pt x="1428" y="873"/>
                      <a:pt x="1429" y="875"/>
                    </a:cubicBezTo>
                    <a:cubicBezTo>
                      <a:pt x="1429" y="875"/>
                      <a:pt x="1429" y="875"/>
                      <a:pt x="1429" y="876"/>
                    </a:cubicBezTo>
                    <a:cubicBezTo>
                      <a:pt x="1429" y="876"/>
                      <a:pt x="1429" y="876"/>
                      <a:pt x="1429" y="877"/>
                    </a:cubicBezTo>
                    <a:cubicBezTo>
                      <a:pt x="1429" y="877"/>
                      <a:pt x="1429" y="877"/>
                      <a:pt x="1429" y="878"/>
                    </a:cubicBezTo>
                    <a:cubicBezTo>
                      <a:pt x="1429" y="878"/>
                      <a:pt x="1429" y="878"/>
                      <a:pt x="1429" y="879"/>
                    </a:cubicBezTo>
                    <a:cubicBezTo>
                      <a:pt x="1429" y="879"/>
                      <a:pt x="1429" y="879"/>
                      <a:pt x="1430" y="880"/>
                    </a:cubicBezTo>
                    <a:cubicBezTo>
                      <a:pt x="1430" y="880"/>
                      <a:pt x="1430" y="880"/>
                      <a:pt x="1429" y="881"/>
                    </a:cubicBezTo>
                    <a:cubicBezTo>
                      <a:pt x="1429" y="881"/>
                      <a:pt x="1429" y="881"/>
                      <a:pt x="1429" y="883"/>
                    </a:cubicBezTo>
                    <a:cubicBezTo>
                      <a:pt x="1429" y="883"/>
                      <a:pt x="1429" y="883"/>
                      <a:pt x="1429" y="886"/>
                    </a:cubicBezTo>
                    <a:cubicBezTo>
                      <a:pt x="1429" y="886"/>
                      <a:pt x="1429" y="886"/>
                      <a:pt x="1429" y="889"/>
                    </a:cubicBezTo>
                    <a:cubicBezTo>
                      <a:pt x="1429" y="889"/>
                      <a:pt x="1429" y="889"/>
                      <a:pt x="1428" y="889"/>
                    </a:cubicBezTo>
                    <a:cubicBezTo>
                      <a:pt x="1428" y="889"/>
                      <a:pt x="1428" y="889"/>
                      <a:pt x="1428" y="890"/>
                    </a:cubicBezTo>
                    <a:cubicBezTo>
                      <a:pt x="1428" y="890"/>
                      <a:pt x="1428" y="890"/>
                      <a:pt x="1429" y="890"/>
                    </a:cubicBezTo>
                    <a:cubicBezTo>
                      <a:pt x="1429" y="890"/>
                      <a:pt x="1429" y="890"/>
                      <a:pt x="1430" y="890"/>
                    </a:cubicBezTo>
                    <a:cubicBezTo>
                      <a:pt x="1430" y="890"/>
                      <a:pt x="1430" y="890"/>
                      <a:pt x="1430" y="893"/>
                    </a:cubicBezTo>
                    <a:cubicBezTo>
                      <a:pt x="1430" y="893"/>
                      <a:pt x="1430" y="893"/>
                      <a:pt x="1429" y="894"/>
                    </a:cubicBezTo>
                    <a:cubicBezTo>
                      <a:pt x="1429" y="894"/>
                      <a:pt x="1429" y="894"/>
                      <a:pt x="1429" y="895"/>
                    </a:cubicBezTo>
                    <a:cubicBezTo>
                      <a:pt x="1429" y="895"/>
                      <a:pt x="1429" y="895"/>
                      <a:pt x="1428" y="895"/>
                    </a:cubicBezTo>
                    <a:cubicBezTo>
                      <a:pt x="1428" y="895"/>
                      <a:pt x="1428" y="895"/>
                      <a:pt x="1427" y="896"/>
                    </a:cubicBezTo>
                    <a:cubicBezTo>
                      <a:pt x="1427" y="896"/>
                      <a:pt x="1427" y="896"/>
                      <a:pt x="1427" y="897"/>
                    </a:cubicBezTo>
                    <a:cubicBezTo>
                      <a:pt x="1427" y="897"/>
                      <a:pt x="1427" y="897"/>
                      <a:pt x="1428" y="896"/>
                    </a:cubicBezTo>
                    <a:cubicBezTo>
                      <a:pt x="1428" y="896"/>
                      <a:pt x="1428" y="896"/>
                      <a:pt x="1428" y="897"/>
                    </a:cubicBezTo>
                    <a:cubicBezTo>
                      <a:pt x="1428" y="897"/>
                      <a:pt x="1428" y="897"/>
                      <a:pt x="1428" y="899"/>
                    </a:cubicBezTo>
                    <a:cubicBezTo>
                      <a:pt x="1428" y="899"/>
                      <a:pt x="1428" y="899"/>
                      <a:pt x="1427" y="899"/>
                    </a:cubicBezTo>
                    <a:cubicBezTo>
                      <a:pt x="1427" y="899"/>
                      <a:pt x="1427" y="899"/>
                      <a:pt x="1426" y="900"/>
                    </a:cubicBezTo>
                    <a:cubicBezTo>
                      <a:pt x="1426" y="900"/>
                      <a:pt x="1426" y="900"/>
                      <a:pt x="1426" y="901"/>
                    </a:cubicBezTo>
                    <a:cubicBezTo>
                      <a:pt x="1426" y="901"/>
                      <a:pt x="1426" y="901"/>
                      <a:pt x="1424" y="903"/>
                    </a:cubicBezTo>
                    <a:cubicBezTo>
                      <a:pt x="1424" y="903"/>
                      <a:pt x="1424" y="903"/>
                      <a:pt x="1423" y="903"/>
                    </a:cubicBezTo>
                    <a:cubicBezTo>
                      <a:pt x="1423" y="903"/>
                      <a:pt x="1423" y="903"/>
                      <a:pt x="1423" y="904"/>
                    </a:cubicBezTo>
                    <a:cubicBezTo>
                      <a:pt x="1423" y="904"/>
                      <a:pt x="1423" y="904"/>
                      <a:pt x="1419" y="907"/>
                    </a:cubicBezTo>
                    <a:cubicBezTo>
                      <a:pt x="1419" y="907"/>
                      <a:pt x="1419" y="907"/>
                      <a:pt x="1418" y="907"/>
                    </a:cubicBezTo>
                    <a:cubicBezTo>
                      <a:pt x="1418" y="907"/>
                      <a:pt x="1418" y="907"/>
                      <a:pt x="1414" y="910"/>
                    </a:cubicBezTo>
                    <a:cubicBezTo>
                      <a:pt x="1414" y="910"/>
                      <a:pt x="1414" y="910"/>
                      <a:pt x="1413" y="909"/>
                    </a:cubicBezTo>
                    <a:cubicBezTo>
                      <a:pt x="1413" y="909"/>
                      <a:pt x="1413" y="909"/>
                      <a:pt x="1413" y="910"/>
                    </a:cubicBezTo>
                    <a:cubicBezTo>
                      <a:pt x="1413" y="910"/>
                      <a:pt x="1413" y="910"/>
                      <a:pt x="1411" y="911"/>
                    </a:cubicBezTo>
                    <a:cubicBezTo>
                      <a:pt x="1411" y="911"/>
                      <a:pt x="1411" y="911"/>
                      <a:pt x="1408" y="912"/>
                    </a:cubicBezTo>
                    <a:cubicBezTo>
                      <a:pt x="1408" y="912"/>
                      <a:pt x="1408" y="912"/>
                      <a:pt x="1408" y="913"/>
                    </a:cubicBezTo>
                    <a:cubicBezTo>
                      <a:pt x="1408" y="913"/>
                      <a:pt x="1408" y="913"/>
                      <a:pt x="1406" y="914"/>
                    </a:cubicBezTo>
                    <a:cubicBezTo>
                      <a:pt x="1406" y="914"/>
                      <a:pt x="1406" y="914"/>
                      <a:pt x="1405" y="915"/>
                    </a:cubicBezTo>
                    <a:cubicBezTo>
                      <a:pt x="1405" y="915"/>
                      <a:pt x="1405" y="915"/>
                      <a:pt x="1404" y="916"/>
                    </a:cubicBezTo>
                    <a:cubicBezTo>
                      <a:pt x="1404" y="916"/>
                      <a:pt x="1404" y="916"/>
                      <a:pt x="1404" y="917"/>
                    </a:cubicBezTo>
                    <a:cubicBezTo>
                      <a:pt x="1404" y="917"/>
                      <a:pt x="1404" y="917"/>
                      <a:pt x="1401" y="918"/>
                    </a:cubicBezTo>
                    <a:cubicBezTo>
                      <a:pt x="1401" y="918"/>
                      <a:pt x="1401" y="918"/>
                      <a:pt x="1401" y="919"/>
                    </a:cubicBezTo>
                    <a:cubicBezTo>
                      <a:pt x="1401" y="919"/>
                      <a:pt x="1401" y="919"/>
                      <a:pt x="1400" y="919"/>
                    </a:cubicBezTo>
                    <a:cubicBezTo>
                      <a:pt x="1400" y="919"/>
                      <a:pt x="1400" y="919"/>
                      <a:pt x="1400" y="920"/>
                    </a:cubicBezTo>
                    <a:cubicBezTo>
                      <a:pt x="1400" y="920"/>
                      <a:pt x="1400" y="920"/>
                      <a:pt x="1398" y="920"/>
                    </a:cubicBezTo>
                    <a:cubicBezTo>
                      <a:pt x="1398" y="920"/>
                      <a:pt x="1398" y="920"/>
                      <a:pt x="1395" y="923"/>
                    </a:cubicBezTo>
                    <a:cubicBezTo>
                      <a:pt x="1395" y="923"/>
                      <a:pt x="1395" y="923"/>
                      <a:pt x="1395" y="924"/>
                    </a:cubicBezTo>
                    <a:cubicBezTo>
                      <a:pt x="1395" y="924"/>
                      <a:pt x="1395" y="924"/>
                      <a:pt x="1394" y="925"/>
                    </a:cubicBezTo>
                    <a:cubicBezTo>
                      <a:pt x="1394" y="925"/>
                      <a:pt x="1394" y="925"/>
                      <a:pt x="1393" y="925"/>
                    </a:cubicBezTo>
                    <a:cubicBezTo>
                      <a:pt x="1393" y="925"/>
                      <a:pt x="1393" y="925"/>
                      <a:pt x="1392" y="926"/>
                    </a:cubicBezTo>
                    <a:cubicBezTo>
                      <a:pt x="1392" y="926"/>
                      <a:pt x="1392" y="926"/>
                      <a:pt x="1391" y="925"/>
                    </a:cubicBezTo>
                    <a:cubicBezTo>
                      <a:pt x="1391" y="925"/>
                      <a:pt x="1391" y="925"/>
                      <a:pt x="1390" y="925"/>
                    </a:cubicBezTo>
                    <a:cubicBezTo>
                      <a:pt x="1390" y="925"/>
                      <a:pt x="1390" y="925"/>
                      <a:pt x="1390" y="926"/>
                    </a:cubicBezTo>
                    <a:cubicBezTo>
                      <a:pt x="1390" y="926"/>
                      <a:pt x="1390" y="926"/>
                      <a:pt x="1391" y="926"/>
                    </a:cubicBezTo>
                    <a:cubicBezTo>
                      <a:pt x="1391" y="926"/>
                      <a:pt x="1391" y="926"/>
                      <a:pt x="1391" y="927"/>
                    </a:cubicBezTo>
                    <a:cubicBezTo>
                      <a:pt x="1391" y="927"/>
                      <a:pt x="1391" y="927"/>
                      <a:pt x="1390" y="928"/>
                    </a:cubicBezTo>
                    <a:cubicBezTo>
                      <a:pt x="1390" y="928"/>
                      <a:pt x="1390" y="928"/>
                      <a:pt x="1390" y="929"/>
                    </a:cubicBezTo>
                    <a:cubicBezTo>
                      <a:pt x="1390" y="929"/>
                      <a:pt x="1390" y="929"/>
                      <a:pt x="1390" y="930"/>
                    </a:cubicBezTo>
                    <a:cubicBezTo>
                      <a:pt x="1390" y="930"/>
                      <a:pt x="1390" y="930"/>
                      <a:pt x="1392" y="932"/>
                    </a:cubicBezTo>
                    <a:cubicBezTo>
                      <a:pt x="1392" y="932"/>
                      <a:pt x="1392" y="932"/>
                      <a:pt x="1392" y="933"/>
                    </a:cubicBezTo>
                    <a:cubicBezTo>
                      <a:pt x="1392" y="933"/>
                      <a:pt x="1392" y="933"/>
                      <a:pt x="1391" y="934"/>
                    </a:cubicBezTo>
                    <a:cubicBezTo>
                      <a:pt x="1391" y="934"/>
                      <a:pt x="1391" y="934"/>
                      <a:pt x="1392" y="935"/>
                    </a:cubicBezTo>
                    <a:cubicBezTo>
                      <a:pt x="1392" y="935"/>
                      <a:pt x="1392" y="935"/>
                      <a:pt x="1392" y="937"/>
                    </a:cubicBezTo>
                    <a:cubicBezTo>
                      <a:pt x="1392" y="937"/>
                      <a:pt x="1392" y="937"/>
                      <a:pt x="1393" y="938"/>
                    </a:cubicBezTo>
                    <a:cubicBezTo>
                      <a:pt x="1393" y="938"/>
                      <a:pt x="1393" y="938"/>
                      <a:pt x="1393" y="942"/>
                    </a:cubicBezTo>
                    <a:cubicBezTo>
                      <a:pt x="1393" y="942"/>
                      <a:pt x="1393" y="942"/>
                      <a:pt x="1394" y="941"/>
                    </a:cubicBezTo>
                    <a:cubicBezTo>
                      <a:pt x="1394" y="941"/>
                      <a:pt x="1394" y="941"/>
                      <a:pt x="1394" y="942"/>
                    </a:cubicBezTo>
                    <a:cubicBezTo>
                      <a:pt x="1394" y="942"/>
                      <a:pt x="1394" y="942"/>
                      <a:pt x="1395" y="942"/>
                    </a:cubicBezTo>
                    <a:cubicBezTo>
                      <a:pt x="1395" y="942"/>
                      <a:pt x="1395" y="942"/>
                      <a:pt x="1394" y="944"/>
                    </a:cubicBezTo>
                    <a:cubicBezTo>
                      <a:pt x="1394" y="944"/>
                      <a:pt x="1394" y="944"/>
                      <a:pt x="1394" y="946"/>
                    </a:cubicBezTo>
                    <a:cubicBezTo>
                      <a:pt x="1394" y="946"/>
                      <a:pt x="1394" y="946"/>
                      <a:pt x="1393" y="948"/>
                    </a:cubicBezTo>
                    <a:cubicBezTo>
                      <a:pt x="1393" y="948"/>
                      <a:pt x="1393" y="948"/>
                      <a:pt x="1393" y="949"/>
                    </a:cubicBezTo>
                    <a:cubicBezTo>
                      <a:pt x="1393" y="949"/>
                      <a:pt x="1393" y="949"/>
                      <a:pt x="1393" y="950"/>
                    </a:cubicBezTo>
                    <a:cubicBezTo>
                      <a:pt x="1393" y="950"/>
                      <a:pt x="1393" y="950"/>
                      <a:pt x="1393" y="951"/>
                    </a:cubicBezTo>
                    <a:cubicBezTo>
                      <a:pt x="1393" y="951"/>
                      <a:pt x="1393" y="951"/>
                      <a:pt x="1392" y="951"/>
                    </a:cubicBezTo>
                    <a:cubicBezTo>
                      <a:pt x="1392" y="951"/>
                      <a:pt x="1392" y="951"/>
                      <a:pt x="1393" y="952"/>
                    </a:cubicBezTo>
                    <a:cubicBezTo>
                      <a:pt x="1393" y="952"/>
                      <a:pt x="1393" y="952"/>
                      <a:pt x="1394" y="952"/>
                    </a:cubicBezTo>
                    <a:cubicBezTo>
                      <a:pt x="1394" y="952"/>
                      <a:pt x="1394" y="952"/>
                      <a:pt x="1393" y="954"/>
                    </a:cubicBezTo>
                    <a:cubicBezTo>
                      <a:pt x="1393" y="954"/>
                      <a:pt x="1393" y="954"/>
                      <a:pt x="1393" y="955"/>
                    </a:cubicBezTo>
                    <a:cubicBezTo>
                      <a:pt x="1393" y="955"/>
                      <a:pt x="1393" y="955"/>
                      <a:pt x="1390" y="958"/>
                    </a:cubicBezTo>
                    <a:cubicBezTo>
                      <a:pt x="1390" y="958"/>
                      <a:pt x="1390" y="958"/>
                      <a:pt x="1386" y="960"/>
                    </a:cubicBezTo>
                    <a:cubicBezTo>
                      <a:pt x="1386" y="960"/>
                      <a:pt x="1386" y="960"/>
                      <a:pt x="1381" y="961"/>
                    </a:cubicBezTo>
                    <a:cubicBezTo>
                      <a:pt x="1381" y="961"/>
                      <a:pt x="1381" y="961"/>
                      <a:pt x="1379" y="963"/>
                    </a:cubicBezTo>
                    <a:cubicBezTo>
                      <a:pt x="1379" y="963"/>
                      <a:pt x="1379" y="963"/>
                      <a:pt x="1377" y="963"/>
                    </a:cubicBezTo>
                    <a:cubicBezTo>
                      <a:pt x="1377" y="963"/>
                      <a:pt x="1377" y="963"/>
                      <a:pt x="1377" y="964"/>
                    </a:cubicBezTo>
                    <a:cubicBezTo>
                      <a:pt x="1377" y="964"/>
                      <a:pt x="1377" y="964"/>
                      <a:pt x="1376" y="964"/>
                    </a:cubicBezTo>
                    <a:cubicBezTo>
                      <a:pt x="1376" y="964"/>
                      <a:pt x="1376" y="964"/>
                      <a:pt x="1375" y="966"/>
                    </a:cubicBezTo>
                    <a:cubicBezTo>
                      <a:pt x="1375" y="966"/>
                      <a:pt x="1375" y="966"/>
                      <a:pt x="1374" y="966"/>
                    </a:cubicBezTo>
                    <a:cubicBezTo>
                      <a:pt x="1374" y="966"/>
                      <a:pt x="1374" y="966"/>
                      <a:pt x="1374" y="967"/>
                    </a:cubicBezTo>
                    <a:cubicBezTo>
                      <a:pt x="1374" y="967"/>
                      <a:pt x="1374" y="967"/>
                      <a:pt x="1375" y="968"/>
                    </a:cubicBezTo>
                    <a:cubicBezTo>
                      <a:pt x="1375" y="968"/>
                      <a:pt x="1375" y="968"/>
                      <a:pt x="1376" y="969"/>
                    </a:cubicBezTo>
                    <a:cubicBezTo>
                      <a:pt x="1376" y="969"/>
                      <a:pt x="1376" y="969"/>
                      <a:pt x="1377" y="967"/>
                    </a:cubicBezTo>
                    <a:cubicBezTo>
                      <a:pt x="1377" y="967"/>
                      <a:pt x="1377" y="967"/>
                      <a:pt x="1377" y="968"/>
                    </a:cubicBezTo>
                    <a:cubicBezTo>
                      <a:pt x="1377" y="968"/>
                      <a:pt x="1377" y="968"/>
                      <a:pt x="1377" y="970"/>
                    </a:cubicBezTo>
                    <a:cubicBezTo>
                      <a:pt x="1377" y="970"/>
                      <a:pt x="1377" y="970"/>
                      <a:pt x="1376" y="971"/>
                    </a:cubicBezTo>
                    <a:cubicBezTo>
                      <a:pt x="1376" y="971"/>
                      <a:pt x="1376" y="971"/>
                      <a:pt x="1376" y="972"/>
                    </a:cubicBezTo>
                    <a:cubicBezTo>
                      <a:pt x="1376" y="972"/>
                      <a:pt x="1376" y="972"/>
                      <a:pt x="1375" y="973"/>
                    </a:cubicBezTo>
                    <a:cubicBezTo>
                      <a:pt x="1375" y="973"/>
                      <a:pt x="1375" y="973"/>
                      <a:pt x="1376" y="973"/>
                    </a:cubicBezTo>
                    <a:cubicBezTo>
                      <a:pt x="1376" y="973"/>
                      <a:pt x="1376" y="973"/>
                      <a:pt x="1375" y="976"/>
                    </a:cubicBezTo>
                    <a:cubicBezTo>
                      <a:pt x="1375" y="976"/>
                      <a:pt x="1375" y="976"/>
                      <a:pt x="1375" y="977"/>
                    </a:cubicBezTo>
                    <a:cubicBezTo>
                      <a:pt x="1375" y="977"/>
                      <a:pt x="1375" y="977"/>
                      <a:pt x="1374" y="979"/>
                    </a:cubicBezTo>
                    <a:cubicBezTo>
                      <a:pt x="1374" y="979"/>
                      <a:pt x="1374" y="979"/>
                      <a:pt x="1373" y="982"/>
                    </a:cubicBezTo>
                    <a:cubicBezTo>
                      <a:pt x="1373" y="982"/>
                      <a:pt x="1373" y="982"/>
                      <a:pt x="1372" y="983"/>
                    </a:cubicBezTo>
                    <a:cubicBezTo>
                      <a:pt x="1372" y="983"/>
                      <a:pt x="1372" y="983"/>
                      <a:pt x="1372" y="984"/>
                    </a:cubicBezTo>
                    <a:cubicBezTo>
                      <a:pt x="1372" y="984"/>
                      <a:pt x="1372" y="984"/>
                      <a:pt x="1370" y="986"/>
                    </a:cubicBezTo>
                    <a:cubicBezTo>
                      <a:pt x="1370" y="986"/>
                      <a:pt x="1370" y="986"/>
                      <a:pt x="1369" y="987"/>
                    </a:cubicBezTo>
                    <a:cubicBezTo>
                      <a:pt x="1369" y="987"/>
                      <a:pt x="1369" y="987"/>
                      <a:pt x="1368" y="987"/>
                    </a:cubicBezTo>
                    <a:cubicBezTo>
                      <a:pt x="1368" y="987"/>
                      <a:pt x="1368" y="987"/>
                      <a:pt x="1368" y="988"/>
                    </a:cubicBezTo>
                    <a:cubicBezTo>
                      <a:pt x="1368" y="988"/>
                      <a:pt x="1368" y="988"/>
                      <a:pt x="1366" y="989"/>
                    </a:cubicBezTo>
                    <a:cubicBezTo>
                      <a:pt x="1366" y="989"/>
                      <a:pt x="1366" y="989"/>
                      <a:pt x="1365" y="990"/>
                    </a:cubicBezTo>
                    <a:cubicBezTo>
                      <a:pt x="1365" y="990"/>
                      <a:pt x="1365" y="990"/>
                      <a:pt x="1364" y="992"/>
                    </a:cubicBezTo>
                    <a:cubicBezTo>
                      <a:pt x="1364" y="992"/>
                      <a:pt x="1364" y="992"/>
                      <a:pt x="1363" y="994"/>
                    </a:cubicBezTo>
                    <a:cubicBezTo>
                      <a:pt x="1363" y="994"/>
                      <a:pt x="1363" y="994"/>
                      <a:pt x="1362" y="994"/>
                    </a:cubicBezTo>
                    <a:cubicBezTo>
                      <a:pt x="1362" y="994"/>
                      <a:pt x="1362" y="994"/>
                      <a:pt x="1361" y="996"/>
                    </a:cubicBezTo>
                    <a:cubicBezTo>
                      <a:pt x="1361" y="996"/>
                      <a:pt x="1361" y="996"/>
                      <a:pt x="1359" y="1000"/>
                    </a:cubicBezTo>
                    <a:cubicBezTo>
                      <a:pt x="1359" y="1000"/>
                      <a:pt x="1359" y="1000"/>
                      <a:pt x="1357" y="1002"/>
                    </a:cubicBezTo>
                    <a:cubicBezTo>
                      <a:pt x="1357" y="1002"/>
                      <a:pt x="1357" y="1002"/>
                      <a:pt x="1356" y="1004"/>
                    </a:cubicBezTo>
                    <a:cubicBezTo>
                      <a:pt x="1356" y="1004"/>
                      <a:pt x="1356" y="1004"/>
                      <a:pt x="1355" y="1004"/>
                    </a:cubicBezTo>
                    <a:cubicBezTo>
                      <a:pt x="1355" y="1004"/>
                      <a:pt x="1355" y="1004"/>
                      <a:pt x="1354" y="1005"/>
                    </a:cubicBezTo>
                    <a:cubicBezTo>
                      <a:pt x="1354" y="1005"/>
                      <a:pt x="1354" y="1005"/>
                      <a:pt x="1353" y="1005"/>
                    </a:cubicBezTo>
                    <a:cubicBezTo>
                      <a:pt x="1353" y="1005"/>
                      <a:pt x="1353" y="1005"/>
                      <a:pt x="1353" y="1006"/>
                    </a:cubicBezTo>
                    <a:cubicBezTo>
                      <a:pt x="1353" y="1006"/>
                      <a:pt x="1353" y="1006"/>
                      <a:pt x="1346" y="1012"/>
                    </a:cubicBezTo>
                    <a:cubicBezTo>
                      <a:pt x="1346" y="1012"/>
                      <a:pt x="1346" y="1012"/>
                      <a:pt x="1346" y="1013"/>
                    </a:cubicBezTo>
                    <a:cubicBezTo>
                      <a:pt x="1346" y="1013"/>
                      <a:pt x="1346" y="1013"/>
                      <a:pt x="1345" y="1014"/>
                    </a:cubicBezTo>
                    <a:cubicBezTo>
                      <a:pt x="1345" y="1014"/>
                      <a:pt x="1345" y="1014"/>
                      <a:pt x="1340" y="1017"/>
                    </a:cubicBezTo>
                    <a:cubicBezTo>
                      <a:pt x="1340" y="1017"/>
                      <a:pt x="1340" y="1017"/>
                      <a:pt x="1339" y="1018"/>
                    </a:cubicBezTo>
                    <a:cubicBezTo>
                      <a:pt x="1339" y="1018"/>
                      <a:pt x="1339" y="1018"/>
                      <a:pt x="1338" y="1018"/>
                    </a:cubicBezTo>
                    <a:cubicBezTo>
                      <a:pt x="1338" y="1018"/>
                      <a:pt x="1338" y="1018"/>
                      <a:pt x="1338" y="1019"/>
                    </a:cubicBezTo>
                    <a:cubicBezTo>
                      <a:pt x="1338" y="1019"/>
                      <a:pt x="1338" y="1019"/>
                      <a:pt x="1335" y="1019"/>
                    </a:cubicBezTo>
                    <a:cubicBezTo>
                      <a:pt x="1335" y="1019"/>
                      <a:pt x="1335" y="1019"/>
                      <a:pt x="1334" y="1020"/>
                    </a:cubicBezTo>
                    <a:cubicBezTo>
                      <a:pt x="1334" y="1020"/>
                      <a:pt x="1334" y="1020"/>
                      <a:pt x="1333" y="1020"/>
                    </a:cubicBezTo>
                    <a:cubicBezTo>
                      <a:pt x="1333" y="1020"/>
                      <a:pt x="1333" y="1020"/>
                      <a:pt x="1332" y="1020"/>
                    </a:cubicBezTo>
                    <a:cubicBezTo>
                      <a:pt x="1332" y="1020"/>
                      <a:pt x="1332" y="1020"/>
                      <a:pt x="1330" y="1020"/>
                    </a:cubicBezTo>
                    <a:cubicBezTo>
                      <a:pt x="1330" y="1020"/>
                      <a:pt x="1330" y="1020"/>
                      <a:pt x="1329" y="1020"/>
                    </a:cubicBezTo>
                    <a:cubicBezTo>
                      <a:pt x="1329" y="1020"/>
                      <a:pt x="1329" y="1020"/>
                      <a:pt x="1328" y="1022"/>
                    </a:cubicBezTo>
                    <a:cubicBezTo>
                      <a:pt x="1328" y="1022"/>
                      <a:pt x="1328" y="1022"/>
                      <a:pt x="1329" y="1022"/>
                    </a:cubicBezTo>
                    <a:cubicBezTo>
                      <a:pt x="1329" y="1022"/>
                      <a:pt x="1329" y="1022"/>
                      <a:pt x="1329" y="1023"/>
                    </a:cubicBezTo>
                    <a:cubicBezTo>
                      <a:pt x="1329" y="1023"/>
                      <a:pt x="1329" y="1023"/>
                      <a:pt x="1327" y="1023"/>
                    </a:cubicBezTo>
                    <a:cubicBezTo>
                      <a:pt x="1327" y="1023"/>
                      <a:pt x="1327" y="1023"/>
                      <a:pt x="1325" y="1022"/>
                    </a:cubicBezTo>
                    <a:cubicBezTo>
                      <a:pt x="1325" y="1022"/>
                      <a:pt x="1325" y="1022"/>
                      <a:pt x="1324" y="1022"/>
                    </a:cubicBezTo>
                    <a:cubicBezTo>
                      <a:pt x="1324" y="1022"/>
                      <a:pt x="1324" y="1022"/>
                      <a:pt x="1323" y="1023"/>
                    </a:cubicBezTo>
                    <a:cubicBezTo>
                      <a:pt x="1323" y="1023"/>
                      <a:pt x="1323" y="1023"/>
                      <a:pt x="1324" y="1024"/>
                    </a:cubicBezTo>
                    <a:cubicBezTo>
                      <a:pt x="1324" y="1024"/>
                      <a:pt x="1324" y="1024"/>
                      <a:pt x="1323" y="1024"/>
                    </a:cubicBezTo>
                    <a:cubicBezTo>
                      <a:pt x="1323" y="1024"/>
                      <a:pt x="1323" y="1024"/>
                      <a:pt x="1320" y="1023"/>
                    </a:cubicBezTo>
                    <a:cubicBezTo>
                      <a:pt x="1320" y="1023"/>
                      <a:pt x="1320" y="1023"/>
                      <a:pt x="1319" y="1023"/>
                    </a:cubicBezTo>
                    <a:cubicBezTo>
                      <a:pt x="1319" y="1023"/>
                      <a:pt x="1319" y="1023"/>
                      <a:pt x="1317" y="1022"/>
                    </a:cubicBezTo>
                    <a:cubicBezTo>
                      <a:pt x="1317" y="1022"/>
                      <a:pt x="1317" y="1022"/>
                      <a:pt x="1315" y="1022"/>
                    </a:cubicBezTo>
                    <a:cubicBezTo>
                      <a:pt x="1315" y="1022"/>
                      <a:pt x="1315" y="1022"/>
                      <a:pt x="1315" y="1023"/>
                    </a:cubicBezTo>
                    <a:cubicBezTo>
                      <a:pt x="1315" y="1023"/>
                      <a:pt x="1315" y="1023"/>
                      <a:pt x="1314" y="1023"/>
                    </a:cubicBezTo>
                    <a:cubicBezTo>
                      <a:pt x="1314" y="1023"/>
                      <a:pt x="1314" y="1023"/>
                      <a:pt x="1312" y="1022"/>
                    </a:cubicBezTo>
                    <a:cubicBezTo>
                      <a:pt x="1312" y="1022"/>
                      <a:pt x="1312" y="1022"/>
                      <a:pt x="1309" y="1022"/>
                    </a:cubicBezTo>
                    <a:cubicBezTo>
                      <a:pt x="1309" y="1022"/>
                      <a:pt x="1309" y="1022"/>
                      <a:pt x="1308" y="1023"/>
                    </a:cubicBezTo>
                    <a:cubicBezTo>
                      <a:pt x="1308" y="1023"/>
                      <a:pt x="1308" y="1023"/>
                      <a:pt x="1307" y="1024"/>
                    </a:cubicBezTo>
                    <a:cubicBezTo>
                      <a:pt x="1307" y="1024"/>
                      <a:pt x="1307" y="1024"/>
                      <a:pt x="1306" y="1024"/>
                    </a:cubicBezTo>
                    <a:cubicBezTo>
                      <a:pt x="1306" y="1024"/>
                      <a:pt x="1306" y="1024"/>
                      <a:pt x="1305" y="1024"/>
                    </a:cubicBezTo>
                    <a:cubicBezTo>
                      <a:pt x="1305" y="1024"/>
                      <a:pt x="1305" y="1024"/>
                      <a:pt x="1305" y="1025"/>
                    </a:cubicBezTo>
                    <a:cubicBezTo>
                      <a:pt x="1305" y="1025"/>
                      <a:pt x="1305" y="1025"/>
                      <a:pt x="1303" y="1025"/>
                    </a:cubicBezTo>
                    <a:cubicBezTo>
                      <a:pt x="1303" y="1025"/>
                      <a:pt x="1303" y="1025"/>
                      <a:pt x="1301" y="1025"/>
                    </a:cubicBezTo>
                    <a:cubicBezTo>
                      <a:pt x="1301" y="1025"/>
                      <a:pt x="1301" y="1025"/>
                      <a:pt x="1299" y="1025"/>
                    </a:cubicBezTo>
                    <a:cubicBezTo>
                      <a:pt x="1299" y="1025"/>
                      <a:pt x="1299" y="1025"/>
                      <a:pt x="1297" y="1025"/>
                    </a:cubicBezTo>
                    <a:cubicBezTo>
                      <a:pt x="1297" y="1025"/>
                      <a:pt x="1297" y="1025"/>
                      <a:pt x="1296" y="1026"/>
                    </a:cubicBezTo>
                    <a:cubicBezTo>
                      <a:pt x="1296" y="1026"/>
                      <a:pt x="1296" y="1026"/>
                      <a:pt x="1295" y="1027"/>
                    </a:cubicBezTo>
                    <a:cubicBezTo>
                      <a:pt x="1295" y="1027"/>
                      <a:pt x="1295" y="1027"/>
                      <a:pt x="1294" y="1028"/>
                    </a:cubicBezTo>
                    <a:cubicBezTo>
                      <a:pt x="1294" y="1028"/>
                      <a:pt x="1294" y="1028"/>
                      <a:pt x="1294" y="1027"/>
                    </a:cubicBezTo>
                    <a:cubicBezTo>
                      <a:pt x="1294" y="1027"/>
                      <a:pt x="1294" y="1027"/>
                      <a:pt x="1293" y="1028"/>
                    </a:cubicBezTo>
                    <a:cubicBezTo>
                      <a:pt x="1293" y="1028"/>
                      <a:pt x="1293" y="1028"/>
                      <a:pt x="1290" y="1026"/>
                    </a:cubicBezTo>
                    <a:cubicBezTo>
                      <a:pt x="1290" y="1026"/>
                      <a:pt x="1290" y="1026"/>
                      <a:pt x="1289" y="1026"/>
                    </a:cubicBezTo>
                    <a:cubicBezTo>
                      <a:pt x="1289" y="1026"/>
                      <a:pt x="1289" y="1026"/>
                      <a:pt x="1289" y="1025"/>
                    </a:cubicBezTo>
                    <a:cubicBezTo>
                      <a:pt x="1289" y="1025"/>
                      <a:pt x="1289" y="1025"/>
                      <a:pt x="1288" y="1024"/>
                    </a:cubicBezTo>
                    <a:cubicBezTo>
                      <a:pt x="1288" y="1024"/>
                      <a:pt x="1288" y="1024"/>
                      <a:pt x="1287" y="1025"/>
                    </a:cubicBezTo>
                    <a:cubicBezTo>
                      <a:pt x="1287" y="1025"/>
                      <a:pt x="1287" y="1025"/>
                      <a:pt x="1287" y="1024"/>
                    </a:cubicBezTo>
                    <a:cubicBezTo>
                      <a:pt x="1287" y="1024"/>
                      <a:pt x="1287" y="1024"/>
                      <a:pt x="1287" y="1023"/>
                    </a:cubicBezTo>
                    <a:cubicBezTo>
                      <a:pt x="1287" y="1023"/>
                      <a:pt x="1287" y="1023"/>
                      <a:pt x="1285" y="1023"/>
                    </a:cubicBezTo>
                    <a:cubicBezTo>
                      <a:pt x="1285" y="1023"/>
                      <a:pt x="1285" y="1023"/>
                      <a:pt x="1284" y="1023"/>
                    </a:cubicBezTo>
                    <a:cubicBezTo>
                      <a:pt x="1284" y="1023"/>
                      <a:pt x="1284" y="1023"/>
                      <a:pt x="1284" y="1022"/>
                    </a:cubicBezTo>
                    <a:cubicBezTo>
                      <a:pt x="1284" y="1022"/>
                      <a:pt x="1284" y="1022"/>
                      <a:pt x="1284" y="1020"/>
                    </a:cubicBezTo>
                    <a:cubicBezTo>
                      <a:pt x="1284" y="1020"/>
                      <a:pt x="1284" y="1020"/>
                      <a:pt x="1285" y="1019"/>
                    </a:cubicBezTo>
                    <a:cubicBezTo>
                      <a:pt x="1285" y="1019"/>
                      <a:pt x="1285" y="1019"/>
                      <a:pt x="1283" y="1017"/>
                    </a:cubicBezTo>
                    <a:cubicBezTo>
                      <a:pt x="1283" y="1017"/>
                      <a:pt x="1283" y="1017"/>
                      <a:pt x="1282" y="1016"/>
                    </a:cubicBezTo>
                    <a:cubicBezTo>
                      <a:pt x="1282" y="1016"/>
                      <a:pt x="1282" y="1016"/>
                      <a:pt x="1281" y="1014"/>
                    </a:cubicBezTo>
                    <a:cubicBezTo>
                      <a:pt x="1281" y="1014"/>
                      <a:pt x="1281" y="1014"/>
                      <a:pt x="1281" y="1012"/>
                    </a:cubicBezTo>
                    <a:cubicBezTo>
                      <a:pt x="1281" y="1012"/>
                      <a:pt x="1281" y="1012"/>
                      <a:pt x="1282" y="1012"/>
                    </a:cubicBezTo>
                    <a:cubicBezTo>
                      <a:pt x="1282" y="1012"/>
                      <a:pt x="1282" y="1012"/>
                      <a:pt x="1283" y="1013"/>
                    </a:cubicBezTo>
                    <a:cubicBezTo>
                      <a:pt x="1283" y="1013"/>
                      <a:pt x="1283" y="1013"/>
                      <a:pt x="1284" y="1012"/>
                    </a:cubicBezTo>
                    <a:cubicBezTo>
                      <a:pt x="1284" y="1012"/>
                      <a:pt x="1284" y="1012"/>
                      <a:pt x="1284" y="1010"/>
                    </a:cubicBezTo>
                    <a:cubicBezTo>
                      <a:pt x="1284" y="1010"/>
                      <a:pt x="1284" y="1010"/>
                      <a:pt x="1284" y="1008"/>
                    </a:cubicBezTo>
                    <a:cubicBezTo>
                      <a:pt x="1284" y="1008"/>
                      <a:pt x="1284" y="1008"/>
                      <a:pt x="1284" y="1007"/>
                    </a:cubicBezTo>
                    <a:cubicBezTo>
                      <a:pt x="1284" y="1007"/>
                      <a:pt x="1284" y="1007"/>
                      <a:pt x="1282" y="1004"/>
                    </a:cubicBezTo>
                    <a:cubicBezTo>
                      <a:pt x="1282" y="1004"/>
                      <a:pt x="1282" y="1004"/>
                      <a:pt x="1282" y="1002"/>
                    </a:cubicBezTo>
                    <a:cubicBezTo>
                      <a:pt x="1282" y="1002"/>
                      <a:pt x="1282" y="1002"/>
                      <a:pt x="1280" y="1000"/>
                    </a:cubicBezTo>
                    <a:cubicBezTo>
                      <a:pt x="1280" y="1000"/>
                      <a:pt x="1280" y="1000"/>
                      <a:pt x="1279" y="996"/>
                    </a:cubicBezTo>
                    <a:cubicBezTo>
                      <a:pt x="1279" y="996"/>
                      <a:pt x="1279" y="996"/>
                      <a:pt x="1278" y="993"/>
                    </a:cubicBezTo>
                    <a:cubicBezTo>
                      <a:pt x="1278" y="993"/>
                      <a:pt x="1278" y="993"/>
                      <a:pt x="1278" y="991"/>
                    </a:cubicBezTo>
                    <a:cubicBezTo>
                      <a:pt x="1278" y="991"/>
                      <a:pt x="1278" y="991"/>
                      <a:pt x="1277" y="987"/>
                    </a:cubicBezTo>
                    <a:cubicBezTo>
                      <a:pt x="1277" y="987"/>
                      <a:pt x="1277" y="987"/>
                      <a:pt x="1275" y="986"/>
                    </a:cubicBezTo>
                    <a:cubicBezTo>
                      <a:pt x="1275" y="986"/>
                      <a:pt x="1275" y="986"/>
                      <a:pt x="1274" y="984"/>
                    </a:cubicBezTo>
                    <a:cubicBezTo>
                      <a:pt x="1274" y="984"/>
                      <a:pt x="1274" y="984"/>
                      <a:pt x="1272" y="982"/>
                    </a:cubicBezTo>
                    <a:cubicBezTo>
                      <a:pt x="1272" y="982"/>
                      <a:pt x="1272" y="982"/>
                      <a:pt x="1272" y="981"/>
                    </a:cubicBezTo>
                    <a:cubicBezTo>
                      <a:pt x="1272" y="981"/>
                      <a:pt x="1272" y="981"/>
                      <a:pt x="1270" y="980"/>
                    </a:cubicBezTo>
                    <a:cubicBezTo>
                      <a:pt x="1270" y="980"/>
                      <a:pt x="1270" y="980"/>
                      <a:pt x="1269" y="977"/>
                    </a:cubicBezTo>
                    <a:cubicBezTo>
                      <a:pt x="1269" y="977"/>
                      <a:pt x="1269" y="977"/>
                      <a:pt x="1268" y="975"/>
                    </a:cubicBezTo>
                    <a:cubicBezTo>
                      <a:pt x="1268" y="975"/>
                      <a:pt x="1268" y="975"/>
                      <a:pt x="1268" y="973"/>
                    </a:cubicBezTo>
                    <a:cubicBezTo>
                      <a:pt x="1268" y="973"/>
                      <a:pt x="1268" y="973"/>
                      <a:pt x="1267" y="972"/>
                    </a:cubicBezTo>
                    <a:cubicBezTo>
                      <a:pt x="1267" y="972"/>
                      <a:pt x="1267" y="972"/>
                      <a:pt x="1267" y="971"/>
                    </a:cubicBezTo>
                    <a:cubicBezTo>
                      <a:pt x="1267" y="971"/>
                      <a:pt x="1267" y="971"/>
                      <a:pt x="1267" y="970"/>
                    </a:cubicBezTo>
                    <a:cubicBezTo>
                      <a:pt x="1267" y="970"/>
                      <a:pt x="1267" y="970"/>
                      <a:pt x="1267" y="969"/>
                    </a:cubicBezTo>
                    <a:cubicBezTo>
                      <a:pt x="1267" y="969"/>
                      <a:pt x="1267" y="969"/>
                      <a:pt x="1266" y="968"/>
                    </a:cubicBezTo>
                    <a:cubicBezTo>
                      <a:pt x="1266" y="968"/>
                      <a:pt x="1266" y="968"/>
                      <a:pt x="1265" y="965"/>
                    </a:cubicBezTo>
                    <a:cubicBezTo>
                      <a:pt x="1265" y="965"/>
                      <a:pt x="1265" y="965"/>
                      <a:pt x="1265" y="964"/>
                    </a:cubicBezTo>
                    <a:cubicBezTo>
                      <a:pt x="1265" y="964"/>
                      <a:pt x="1265" y="964"/>
                      <a:pt x="1265" y="962"/>
                    </a:cubicBezTo>
                    <a:cubicBezTo>
                      <a:pt x="1265" y="962"/>
                      <a:pt x="1265" y="962"/>
                      <a:pt x="1265" y="959"/>
                    </a:cubicBezTo>
                    <a:cubicBezTo>
                      <a:pt x="1265" y="959"/>
                      <a:pt x="1265" y="959"/>
                      <a:pt x="1263" y="954"/>
                    </a:cubicBezTo>
                    <a:cubicBezTo>
                      <a:pt x="1263" y="954"/>
                      <a:pt x="1263" y="954"/>
                      <a:pt x="1263" y="949"/>
                    </a:cubicBezTo>
                    <a:cubicBezTo>
                      <a:pt x="1263" y="949"/>
                      <a:pt x="1263" y="949"/>
                      <a:pt x="1262" y="946"/>
                    </a:cubicBezTo>
                    <a:cubicBezTo>
                      <a:pt x="1262" y="946"/>
                      <a:pt x="1262" y="946"/>
                      <a:pt x="1263" y="946"/>
                    </a:cubicBezTo>
                    <a:cubicBezTo>
                      <a:pt x="1263" y="946"/>
                      <a:pt x="1263" y="946"/>
                      <a:pt x="1263" y="943"/>
                    </a:cubicBezTo>
                    <a:cubicBezTo>
                      <a:pt x="1263" y="943"/>
                      <a:pt x="1263" y="943"/>
                      <a:pt x="1260" y="938"/>
                    </a:cubicBezTo>
                    <a:cubicBezTo>
                      <a:pt x="1260" y="938"/>
                      <a:pt x="1260" y="938"/>
                      <a:pt x="1260" y="937"/>
                    </a:cubicBezTo>
                    <a:cubicBezTo>
                      <a:pt x="1260" y="937"/>
                      <a:pt x="1260" y="937"/>
                      <a:pt x="1256" y="932"/>
                    </a:cubicBezTo>
                    <a:cubicBezTo>
                      <a:pt x="1256" y="932"/>
                      <a:pt x="1256" y="932"/>
                      <a:pt x="1256" y="929"/>
                    </a:cubicBezTo>
                    <a:cubicBezTo>
                      <a:pt x="1256" y="929"/>
                      <a:pt x="1256" y="929"/>
                      <a:pt x="1253" y="922"/>
                    </a:cubicBezTo>
                    <a:cubicBezTo>
                      <a:pt x="1253" y="922"/>
                      <a:pt x="1253" y="922"/>
                      <a:pt x="1251" y="919"/>
                    </a:cubicBezTo>
                    <a:cubicBezTo>
                      <a:pt x="1251" y="919"/>
                      <a:pt x="1251" y="919"/>
                      <a:pt x="1247" y="915"/>
                    </a:cubicBezTo>
                    <a:cubicBezTo>
                      <a:pt x="1247" y="915"/>
                      <a:pt x="1247" y="915"/>
                      <a:pt x="1247" y="910"/>
                    </a:cubicBezTo>
                    <a:cubicBezTo>
                      <a:pt x="1247" y="910"/>
                      <a:pt x="1247" y="910"/>
                      <a:pt x="1247" y="909"/>
                    </a:cubicBezTo>
                    <a:cubicBezTo>
                      <a:pt x="1247" y="909"/>
                      <a:pt x="1247" y="909"/>
                      <a:pt x="1247" y="907"/>
                    </a:cubicBezTo>
                    <a:cubicBezTo>
                      <a:pt x="1247" y="907"/>
                      <a:pt x="1247" y="907"/>
                      <a:pt x="1247" y="904"/>
                    </a:cubicBezTo>
                    <a:cubicBezTo>
                      <a:pt x="1247" y="904"/>
                      <a:pt x="1247" y="904"/>
                      <a:pt x="1247" y="902"/>
                    </a:cubicBezTo>
                    <a:cubicBezTo>
                      <a:pt x="1247" y="902"/>
                      <a:pt x="1247" y="902"/>
                      <a:pt x="1247" y="900"/>
                    </a:cubicBezTo>
                    <a:cubicBezTo>
                      <a:pt x="1247" y="900"/>
                      <a:pt x="1247" y="900"/>
                      <a:pt x="1249" y="898"/>
                    </a:cubicBezTo>
                    <a:cubicBezTo>
                      <a:pt x="1249" y="898"/>
                      <a:pt x="1249" y="898"/>
                      <a:pt x="1249" y="895"/>
                    </a:cubicBezTo>
                    <a:cubicBezTo>
                      <a:pt x="1249" y="895"/>
                      <a:pt x="1249" y="895"/>
                      <a:pt x="1251" y="893"/>
                    </a:cubicBezTo>
                    <a:cubicBezTo>
                      <a:pt x="1251" y="893"/>
                      <a:pt x="1251" y="893"/>
                      <a:pt x="1251" y="888"/>
                    </a:cubicBezTo>
                    <a:cubicBezTo>
                      <a:pt x="1251" y="888"/>
                      <a:pt x="1251" y="888"/>
                      <a:pt x="1252" y="886"/>
                    </a:cubicBezTo>
                    <a:cubicBezTo>
                      <a:pt x="1252" y="886"/>
                      <a:pt x="1252" y="886"/>
                      <a:pt x="1255" y="883"/>
                    </a:cubicBezTo>
                    <a:cubicBezTo>
                      <a:pt x="1255" y="883"/>
                      <a:pt x="1255" y="883"/>
                      <a:pt x="1255" y="881"/>
                    </a:cubicBezTo>
                    <a:cubicBezTo>
                      <a:pt x="1255" y="881"/>
                      <a:pt x="1255" y="881"/>
                      <a:pt x="1258" y="879"/>
                    </a:cubicBezTo>
                    <a:cubicBezTo>
                      <a:pt x="1258" y="879"/>
                      <a:pt x="1258" y="879"/>
                      <a:pt x="1259" y="879"/>
                    </a:cubicBezTo>
                    <a:cubicBezTo>
                      <a:pt x="1259" y="879"/>
                      <a:pt x="1259" y="879"/>
                      <a:pt x="1261" y="874"/>
                    </a:cubicBezTo>
                    <a:cubicBezTo>
                      <a:pt x="1261" y="874"/>
                      <a:pt x="1261" y="874"/>
                      <a:pt x="1261" y="869"/>
                    </a:cubicBezTo>
                    <a:cubicBezTo>
                      <a:pt x="1261" y="869"/>
                      <a:pt x="1261" y="869"/>
                      <a:pt x="1260" y="868"/>
                    </a:cubicBezTo>
                    <a:cubicBezTo>
                      <a:pt x="1260" y="868"/>
                      <a:pt x="1260" y="868"/>
                      <a:pt x="1260" y="867"/>
                    </a:cubicBezTo>
                    <a:cubicBezTo>
                      <a:pt x="1260" y="867"/>
                      <a:pt x="1260" y="867"/>
                      <a:pt x="1258" y="863"/>
                    </a:cubicBezTo>
                    <a:cubicBezTo>
                      <a:pt x="1258" y="863"/>
                      <a:pt x="1258" y="863"/>
                      <a:pt x="1258" y="861"/>
                    </a:cubicBezTo>
                    <a:cubicBezTo>
                      <a:pt x="1258" y="861"/>
                      <a:pt x="1258" y="861"/>
                      <a:pt x="1257" y="860"/>
                    </a:cubicBezTo>
                    <a:cubicBezTo>
                      <a:pt x="1257" y="860"/>
                      <a:pt x="1257" y="860"/>
                      <a:pt x="1257" y="858"/>
                    </a:cubicBezTo>
                    <a:cubicBezTo>
                      <a:pt x="1257" y="858"/>
                      <a:pt x="1257" y="858"/>
                      <a:pt x="1256" y="857"/>
                    </a:cubicBezTo>
                    <a:cubicBezTo>
                      <a:pt x="1256" y="857"/>
                      <a:pt x="1256" y="857"/>
                      <a:pt x="1258" y="855"/>
                    </a:cubicBezTo>
                    <a:cubicBezTo>
                      <a:pt x="1258" y="855"/>
                      <a:pt x="1258" y="855"/>
                      <a:pt x="1258" y="852"/>
                    </a:cubicBezTo>
                    <a:cubicBezTo>
                      <a:pt x="1258" y="852"/>
                      <a:pt x="1258" y="852"/>
                      <a:pt x="1256" y="849"/>
                    </a:cubicBezTo>
                    <a:cubicBezTo>
                      <a:pt x="1256" y="849"/>
                      <a:pt x="1256" y="849"/>
                      <a:pt x="1256" y="844"/>
                    </a:cubicBezTo>
                    <a:cubicBezTo>
                      <a:pt x="1256" y="844"/>
                      <a:pt x="1256" y="844"/>
                      <a:pt x="1253" y="841"/>
                    </a:cubicBezTo>
                    <a:cubicBezTo>
                      <a:pt x="1253" y="841"/>
                      <a:pt x="1253" y="841"/>
                      <a:pt x="1253" y="840"/>
                    </a:cubicBezTo>
                    <a:cubicBezTo>
                      <a:pt x="1253" y="840"/>
                      <a:pt x="1253" y="840"/>
                      <a:pt x="1252" y="839"/>
                    </a:cubicBezTo>
                    <a:cubicBezTo>
                      <a:pt x="1252" y="839"/>
                      <a:pt x="1252" y="839"/>
                      <a:pt x="1254" y="838"/>
                    </a:cubicBezTo>
                    <a:cubicBezTo>
                      <a:pt x="1254" y="838"/>
                      <a:pt x="1254" y="838"/>
                      <a:pt x="1253" y="837"/>
                    </a:cubicBezTo>
                    <a:cubicBezTo>
                      <a:pt x="1253" y="837"/>
                      <a:pt x="1253" y="837"/>
                      <a:pt x="1251" y="837"/>
                    </a:cubicBezTo>
                    <a:cubicBezTo>
                      <a:pt x="1251" y="837"/>
                      <a:pt x="1251" y="837"/>
                      <a:pt x="1251" y="836"/>
                    </a:cubicBezTo>
                    <a:cubicBezTo>
                      <a:pt x="1251" y="836"/>
                      <a:pt x="1251" y="836"/>
                      <a:pt x="1251" y="834"/>
                    </a:cubicBezTo>
                    <a:cubicBezTo>
                      <a:pt x="1251" y="834"/>
                      <a:pt x="1251" y="834"/>
                      <a:pt x="1251" y="833"/>
                    </a:cubicBezTo>
                    <a:cubicBezTo>
                      <a:pt x="1251" y="833"/>
                      <a:pt x="1251" y="833"/>
                      <a:pt x="1250" y="832"/>
                    </a:cubicBezTo>
                    <a:cubicBezTo>
                      <a:pt x="1250" y="832"/>
                      <a:pt x="1250" y="832"/>
                      <a:pt x="1249" y="831"/>
                    </a:cubicBezTo>
                    <a:cubicBezTo>
                      <a:pt x="1249" y="831"/>
                      <a:pt x="1249" y="831"/>
                      <a:pt x="1250" y="830"/>
                    </a:cubicBezTo>
                    <a:cubicBezTo>
                      <a:pt x="1250" y="830"/>
                      <a:pt x="1250" y="830"/>
                      <a:pt x="1249" y="829"/>
                    </a:cubicBezTo>
                    <a:cubicBezTo>
                      <a:pt x="1249" y="829"/>
                      <a:pt x="1249" y="829"/>
                      <a:pt x="1248" y="828"/>
                    </a:cubicBezTo>
                    <a:cubicBezTo>
                      <a:pt x="1248" y="828"/>
                      <a:pt x="1248" y="828"/>
                      <a:pt x="1247" y="826"/>
                    </a:cubicBezTo>
                    <a:cubicBezTo>
                      <a:pt x="1247" y="826"/>
                      <a:pt x="1247" y="826"/>
                      <a:pt x="1246" y="826"/>
                    </a:cubicBezTo>
                    <a:cubicBezTo>
                      <a:pt x="1246" y="826"/>
                      <a:pt x="1246" y="826"/>
                      <a:pt x="1245" y="824"/>
                    </a:cubicBezTo>
                    <a:cubicBezTo>
                      <a:pt x="1245" y="824"/>
                      <a:pt x="1245" y="824"/>
                      <a:pt x="1244" y="824"/>
                    </a:cubicBezTo>
                    <a:cubicBezTo>
                      <a:pt x="1244" y="824"/>
                      <a:pt x="1244" y="824"/>
                      <a:pt x="1243" y="823"/>
                    </a:cubicBezTo>
                    <a:cubicBezTo>
                      <a:pt x="1243" y="823"/>
                      <a:pt x="1243" y="823"/>
                      <a:pt x="1241" y="822"/>
                    </a:cubicBezTo>
                    <a:cubicBezTo>
                      <a:pt x="1241" y="822"/>
                      <a:pt x="1241" y="822"/>
                      <a:pt x="1240" y="820"/>
                    </a:cubicBezTo>
                    <a:cubicBezTo>
                      <a:pt x="1240" y="820"/>
                      <a:pt x="1240" y="820"/>
                      <a:pt x="1238" y="818"/>
                    </a:cubicBezTo>
                    <a:cubicBezTo>
                      <a:pt x="1238" y="818"/>
                      <a:pt x="1238" y="818"/>
                      <a:pt x="1236" y="816"/>
                    </a:cubicBezTo>
                    <a:cubicBezTo>
                      <a:pt x="1236" y="816"/>
                      <a:pt x="1236" y="816"/>
                      <a:pt x="1235" y="814"/>
                    </a:cubicBezTo>
                    <a:cubicBezTo>
                      <a:pt x="1235" y="814"/>
                      <a:pt x="1235" y="814"/>
                      <a:pt x="1234" y="813"/>
                    </a:cubicBezTo>
                    <a:cubicBezTo>
                      <a:pt x="1234" y="813"/>
                      <a:pt x="1234" y="813"/>
                      <a:pt x="1233" y="812"/>
                    </a:cubicBezTo>
                    <a:cubicBezTo>
                      <a:pt x="1233" y="812"/>
                      <a:pt x="1233" y="812"/>
                      <a:pt x="1233" y="810"/>
                    </a:cubicBezTo>
                    <a:cubicBezTo>
                      <a:pt x="1233" y="810"/>
                      <a:pt x="1233" y="810"/>
                      <a:pt x="1232" y="809"/>
                    </a:cubicBezTo>
                    <a:cubicBezTo>
                      <a:pt x="1232" y="809"/>
                      <a:pt x="1232" y="809"/>
                      <a:pt x="1232" y="808"/>
                    </a:cubicBezTo>
                    <a:cubicBezTo>
                      <a:pt x="1232" y="808"/>
                      <a:pt x="1232" y="808"/>
                      <a:pt x="1231" y="807"/>
                    </a:cubicBezTo>
                    <a:cubicBezTo>
                      <a:pt x="1231" y="807"/>
                      <a:pt x="1231" y="807"/>
                      <a:pt x="1230" y="804"/>
                    </a:cubicBezTo>
                    <a:cubicBezTo>
                      <a:pt x="1230" y="804"/>
                      <a:pt x="1230" y="804"/>
                      <a:pt x="1232" y="804"/>
                    </a:cubicBezTo>
                    <a:cubicBezTo>
                      <a:pt x="1232" y="804"/>
                      <a:pt x="1232" y="804"/>
                      <a:pt x="1233" y="803"/>
                    </a:cubicBezTo>
                    <a:cubicBezTo>
                      <a:pt x="1233" y="803"/>
                      <a:pt x="1233" y="803"/>
                      <a:pt x="1233" y="800"/>
                    </a:cubicBezTo>
                    <a:cubicBezTo>
                      <a:pt x="1233" y="800"/>
                      <a:pt x="1233" y="800"/>
                      <a:pt x="1233" y="798"/>
                    </a:cubicBezTo>
                    <a:cubicBezTo>
                      <a:pt x="1233" y="798"/>
                      <a:pt x="1233" y="798"/>
                      <a:pt x="1234" y="799"/>
                    </a:cubicBezTo>
                    <a:cubicBezTo>
                      <a:pt x="1234" y="799"/>
                      <a:pt x="1234" y="799"/>
                      <a:pt x="1237" y="798"/>
                    </a:cubicBezTo>
                    <a:cubicBezTo>
                      <a:pt x="1237" y="798"/>
                      <a:pt x="1237" y="798"/>
                      <a:pt x="1235" y="798"/>
                    </a:cubicBezTo>
                    <a:cubicBezTo>
                      <a:pt x="1235" y="798"/>
                      <a:pt x="1235" y="798"/>
                      <a:pt x="1234" y="796"/>
                    </a:cubicBezTo>
                    <a:cubicBezTo>
                      <a:pt x="1234" y="796"/>
                      <a:pt x="1234" y="796"/>
                      <a:pt x="1235" y="795"/>
                    </a:cubicBezTo>
                    <a:cubicBezTo>
                      <a:pt x="1235" y="795"/>
                      <a:pt x="1235" y="795"/>
                      <a:pt x="1235" y="794"/>
                    </a:cubicBezTo>
                    <a:cubicBezTo>
                      <a:pt x="1235" y="794"/>
                      <a:pt x="1235" y="794"/>
                      <a:pt x="1235" y="793"/>
                    </a:cubicBezTo>
                    <a:cubicBezTo>
                      <a:pt x="1235" y="793"/>
                      <a:pt x="1235" y="793"/>
                      <a:pt x="1233" y="793"/>
                    </a:cubicBezTo>
                    <a:cubicBezTo>
                      <a:pt x="1233" y="793"/>
                      <a:pt x="1233" y="793"/>
                      <a:pt x="1235" y="790"/>
                    </a:cubicBezTo>
                    <a:cubicBezTo>
                      <a:pt x="1235" y="790"/>
                      <a:pt x="1235" y="790"/>
                      <a:pt x="1237" y="787"/>
                    </a:cubicBezTo>
                    <a:cubicBezTo>
                      <a:pt x="1237" y="787"/>
                      <a:pt x="1237" y="787"/>
                      <a:pt x="1236" y="786"/>
                    </a:cubicBezTo>
                    <a:cubicBezTo>
                      <a:pt x="1236" y="786"/>
                      <a:pt x="1236" y="786"/>
                      <a:pt x="1237" y="786"/>
                    </a:cubicBezTo>
                    <a:cubicBezTo>
                      <a:pt x="1237" y="786"/>
                      <a:pt x="1237" y="786"/>
                      <a:pt x="1238" y="785"/>
                    </a:cubicBezTo>
                    <a:cubicBezTo>
                      <a:pt x="1238" y="785"/>
                      <a:pt x="1238" y="785"/>
                      <a:pt x="1237" y="784"/>
                    </a:cubicBezTo>
                    <a:cubicBezTo>
                      <a:pt x="1237" y="784"/>
                      <a:pt x="1237" y="784"/>
                      <a:pt x="1238" y="782"/>
                    </a:cubicBezTo>
                    <a:cubicBezTo>
                      <a:pt x="1238" y="782"/>
                      <a:pt x="1238" y="782"/>
                      <a:pt x="1237" y="780"/>
                    </a:cubicBezTo>
                    <a:cubicBezTo>
                      <a:pt x="1237" y="780"/>
                      <a:pt x="1237" y="780"/>
                      <a:pt x="1236" y="778"/>
                    </a:cubicBezTo>
                    <a:cubicBezTo>
                      <a:pt x="1236" y="778"/>
                      <a:pt x="1236" y="778"/>
                      <a:pt x="1236" y="776"/>
                    </a:cubicBezTo>
                    <a:cubicBezTo>
                      <a:pt x="1236" y="776"/>
                      <a:pt x="1236" y="776"/>
                      <a:pt x="1237" y="775"/>
                    </a:cubicBezTo>
                    <a:cubicBezTo>
                      <a:pt x="1237" y="775"/>
                      <a:pt x="1237" y="775"/>
                      <a:pt x="1236" y="774"/>
                    </a:cubicBezTo>
                    <a:cubicBezTo>
                      <a:pt x="1236" y="774"/>
                      <a:pt x="1236" y="774"/>
                      <a:pt x="1234" y="775"/>
                    </a:cubicBezTo>
                    <a:cubicBezTo>
                      <a:pt x="1234" y="775"/>
                      <a:pt x="1234" y="775"/>
                      <a:pt x="1233" y="774"/>
                    </a:cubicBezTo>
                    <a:cubicBezTo>
                      <a:pt x="1233" y="774"/>
                      <a:pt x="1233" y="774"/>
                      <a:pt x="1232" y="774"/>
                    </a:cubicBezTo>
                    <a:cubicBezTo>
                      <a:pt x="1232" y="774"/>
                      <a:pt x="1232" y="774"/>
                      <a:pt x="1232" y="770"/>
                    </a:cubicBezTo>
                    <a:cubicBezTo>
                      <a:pt x="1232" y="770"/>
                      <a:pt x="1232" y="770"/>
                      <a:pt x="1231" y="771"/>
                    </a:cubicBezTo>
                    <a:cubicBezTo>
                      <a:pt x="1231" y="771"/>
                      <a:pt x="1231" y="771"/>
                      <a:pt x="1230" y="770"/>
                    </a:cubicBezTo>
                    <a:cubicBezTo>
                      <a:pt x="1230" y="770"/>
                      <a:pt x="1230" y="770"/>
                      <a:pt x="1229" y="770"/>
                    </a:cubicBezTo>
                    <a:cubicBezTo>
                      <a:pt x="1229" y="770"/>
                      <a:pt x="1229" y="770"/>
                      <a:pt x="1228" y="769"/>
                    </a:cubicBezTo>
                    <a:cubicBezTo>
                      <a:pt x="1228" y="769"/>
                      <a:pt x="1228" y="769"/>
                      <a:pt x="1227" y="771"/>
                    </a:cubicBezTo>
                    <a:cubicBezTo>
                      <a:pt x="1227" y="771"/>
                      <a:pt x="1227" y="771"/>
                      <a:pt x="1226" y="771"/>
                    </a:cubicBezTo>
                    <a:cubicBezTo>
                      <a:pt x="1226" y="771"/>
                      <a:pt x="1226" y="771"/>
                      <a:pt x="1225" y="771"/>
                    </a:cubicBezTo>
                    <a:cubicBezTo>
                      <a:pt x="1225" y="771"/>
                      <a:pt x="1225" y="771"/>
                      <a:pt x="1222" y="772"/>
                    </a:cubicBezTo>
                    <a:cubicBezTo>
                      <a:pt x="1222" y="772"/>
                      <a:pt x="1222" y="772"/>
                      <a:pt x="1221" y="772"/>
                    </a:cubicBezTo>
                    <a:cubicBezTo>
                      <a:pt x="1221" y="772"/>
                      <a:pt x="1221" y="772"/>
                      <a:pt x="1220" y="772"/>
                    </a:cubicBezTo>
                    <a:cubicBezTo>
                      <a:pt x="1220" y="772"/>
                      <a:pt x="1220" y="772"/>
                      <a:pt x="1214" y="773"/>
                    </a:cubicBezTo>
                    <a:cubicBezTo>
                      <a:pt x="1214" y="773"/>
                      <a:pt x="1214" y="773"/>
                      <a:pt x="1211" y="772"/>
                    </a:cubicBezTo>
                    <a:cubicBezTo>
                      <a:pt x="1211" y="772"/>
                      <a:pt x="1211" y="772"/>
                      <a:pt x="1210" y="771"/>
                    </a:cubicBezTo>
                    <a:cubicBezTo>
                      <a:pt x="1210" y="771"/>
                      <a:pt x="1210" y="771"/>
                      <a:pt x="1209" y="768"/>
                    </a:cubicBezTo>
                    <a:cubicBezTo>
                      <a:pt x="1209" y="768"/>
                      <a:pt x="1209" y="768"/>
                      <a:pt x="1208" y="768"/>
                    </a:cubicBezTo>
                    <a:cubicBezTo>
                      <a:pt x="1208" y="768"/>
                      <a:pt x="1208" y="768"/>
                      <a:pt x="1208" y="766"/>
                    </a:cubicBezTo>
                    <a:cubicBezTo>
                      <a:pt x="1208" y="766"/>
                      <a:pt x="1208" y="766"/>
                      <a:pt x="1207" y="763"/>
                    </a:cubicBezTo>
                    <a:cubicBezTo>
                      <a:pt x="1207" y="763"/>
                      <a:pt x="1207" y="763"/>
                      <a:pt x="1204" y="760"/>
                    </a:cubicBezTo>
                    <a:cubicBezTo>
                      <a:pt x="1204" y="760"/>
                      <a:pt x="1204" y="760"/>
                      <a:pt x="1200" y="758"/>
                    </a:cubicBezTo>
                    <a:cubicBezTo>
                      <a:pt x="1200" y="758"/>
                      <a:pt x="1200" y="758"/>
                      <a:pt x="1198" y="759"/>
                    </a:cubicBezTo>
                    <a:cubicBezTo>
                      <a:pt x="1198" y="759"/>
                      <a:pt x="1198" y="759"/>
                      <a:pt x="1195" y="758"/>
                    </a:cubicBezTo>
                    <a:cubicBezTo>
                      <a:pt x="1195" y="758"/>
                      <a:pt x="1195" y="758"/>
                      <a:pt x="1191" y="760"/>
                    </a:cubicBezTo>
                    <a:cubicBezTo>
                      <a:pt x="1191" y="760"/>
                      <a:pt x="1191" y="760"/>
                      <a:pt x="1188" y="759"/>
                    </a:cubicBezTo>
                    <a:cubicBezTo>
                      <a:pt x="1188" y="759"/>
                      <a:pt x="1188" y="759"/>
                      <a:pt x="1184" y="761"/>
                    </a:cubicBezTo>
                    <a:cubicBezTo>
                      <a:pt x="1184" y="761"/>
                      <a:pt x="1184" y="761"/>
                      <a:pt x="1180" y="762"/>
                    </a:cubicBezTo>
                    <a:cubicBezTo>
                      <a:pt x="1180" y="762"/>
                      <a:pt x="1180" y="762"/>
                      <a:pt x="1177" y="763"/>
                    </a:cubicBezTo>
                    <a:cubicBezTo>
                      <a:pt x="1177" y="763"/>
                      <a:pt x="1177" y="763"/>
                      <a:pt x="1174" y="766"/>
                    </a:cubicBezTo>
                    <a:cubicBezTo>
                      <a:pt x="1174" y="766"/>
                      <a:pt x="1174" y="766"/>
                      <a:pt x="1170" y="766"/>
                    </a:cubicBezTo>
                    <a:cubicBezTo>
                      <a:pt x="1170" y="766"/>
                      <a:pt x="1170" y="766"/>
                      <a:pt x="1165" y="769"/>
                    </a:cubicBezTo>
                    <a:cubicBezTo>
                      <a:pt x="1165" y="769"/>
                      <a:pt x="1165" y="769"/>
                      <a:pt x="1162" y="768"/>
                    </a:cubicBezTo>
                    <a:cubicBezTo>
                      <a:pt x="1162" y="768"/>
                      <a:pt x="1162" y="768"/>
                      <a:pt x="1159" y="767"/>
                    </a:cubicBezTo>
                    <a:cubicBezTo>
                      <a:pt x="1159" y="767"/>
                      <a:pt x="1159" y="767"/>
                      <a:pt x="1158" y="765"/>
                    </a:cubicBezTo>
                    <a:cubicBezTo>
                      <a:pt x="1158" y="765"/>
                      <a:pt x="1158" y="765"/>
                      <a:pt x="1157" y="766"/>
                    </a:cubicBezTo>
                    <a:cubicBezTo>
                      <a:pt x="1157" y="766"/>
                      <a:pt x="1157" y="766"/>
                      <a:pt x="1156" y="767"/>
                    </a:cubicBezTo>
                    <a:cubicBezTo>
                      <a:pt x="1156" y="767"/>
                      <a:pt x="1156" y="767"/>
                      <a:pt x="1153" y="766"/>
                    </a:cubicBezTo>
                    <a:cubicBezTo>
                      <a:pt x="1153" y="766"/>
                      <a:pt x="1153" y="766"/>
                      <a:pt x="1150" y="767"/>
                    </a:cubicBezTo>
                    <a:cubicBezTo>
                      <a:pt x="1150" y="767"/>
                      <a:pt x="1150" y="767"/>
                      <a:pt x="1142" y="767"/>
                    </a:cubicBezTo>
                    <a:cubicBezTo>
                      <a:pt x="1142" y="767"/>
                      <a:pt x="1142" y="767"/>
                      <a:pt x="1140" y="767"/>
                    </a:cubicBezTo>
                    <a:cubicBezTo>
                      <a:pt x="1140" y="767"/>
                      <a:pt x="1140" y="767"/>
                      <a:pt x="1140" y="768"/>
                    </a:cubicBezTo>
                    <a:cubicBezTo>
                      <a:pt x="1140" y="768"/>
                      <a:pt x="1140" y="768"/>
                      <a:pt x="1135" y="769"/>
                    </a:cubicBezTo>
                    <a:cubicBezTo>
                      <a:pt x="1135" y="769"/>
                      <a:pt x="1135" y="769"/>
                      <a:pt x="1135" y="770"/>
                    </a:cubicBezTo>
                    <a:cubicBezTo>
                      <a:pt x="1135" y="770"/>
                      <a:pt x="1135" y="770"/>
                      <a:pt x="1133" y="770"/>
                    </a:cubicBezTo>
                    <a:cubicBezTo>
                      <a:pt x="1133" y="770"/>
                      <a:pt x="1133" y="770"/>
                      <a:pt x="1131" y="772"/>
                    </a:cubicBezTo>
                    <a:cubicBezTo>
                      <a:pt x="1131" y="772"/>
                      <a:pt x="1131" y="772"/>
                      <a:pt x="1124" y="769"/>
                    </a:cubicBezTo>
                    <a:cubicBezTo>
                      <a:pt x="1124" y="769"/>
                      <a:pt x="1124" y="769"/>
                      <a:pt x="1120" y="766"/>
                    </a:cubicBezTo>
                    <a:cubicBezTo>
                      <a:pt x="1120" y="766"/>
                      <a:pt x="1120" y="766"/>
                      <a:pt x="1118" y="766"/>
                    </a:cubicBezTo>
                    <a:cubicBezTo>
                      <a:pt x="1118" y="766"/>
                      <a:pt x="1118" y="766"/>
                      <a:pt x="1114" y="762"/>
                    </a:cubicBezTo>
                    <a:cubicBezTo>
                      <a:pt x="1114" y="762"/>
                      <a:pt x="1114" y="762"/>
                      <a:pt x="1112" y="760"/>
                    </a:cubicBezTo>
                    <a:cubicBezTo>
                      <a:pt x="1112" y="760"/>
                      <a:pt x="1112" y="760"/>
                      <a:pt x="1111" y="760"/>
                    </a:cubicBezTo>
                    <a:cubicBezTo>
                      <a:pt x="1111" y="760"/>
                      <a:pt x="1111" y="760"/>
                      <a:pt x="1109" y="758"/>
                    </a:cubicBezTo>
                    <a:cubicBezTo>
                      <a:pt x="1109" y="758"/>
                      <a:pt x="1109" y="758"/>
                      <a:pt x="1108" y="757"/>
                    </a:cubicBezTo>
                    <a:cubicBezTo>
                      <a:pt x="1108" y="757"/>
                      <a:pt x="1108" y="757"/>
                      <a:pt x="1109" y="756"/>
                    </a:cubicBezTo>
                    <a:cubicBezTo>
                      <a:pt x="1109" y="756"/>
                      <a:pt x="1109" y="756"/>
                      <a:pt x="1108" y="756"/>
                    </a:cubicBezTo>
                    <a:cubicBezTo>
                      <a:pt x="1108" y="756"/>
                      <a:pt x="1108" y="756"/>
                      <a:pt x="1106" y="756"/>
                    </a:cubicBezTo>
                    <a:cubicBezTo>
                      <a:pt x="1106" y="756"/>
                      <a:pt x="1106" y="756"/>
                      <a:pt x="1105" y="756"/>
                    </a:cubicBezTo>
                    <a:cubicBezTo>
                      <a:pt x="1105" y="756"/>
                      <a:pt x="1105" y="756"/>
                      <a:pt x="1102" y="754"/>
                    </a:cubicBezTo>
                    <a:cubicBezTo>
                      <a:pt x="1102" y="754"/>
                      <a:pt x="1102" y="754"/>
                      <a:pt x="1101" y="754"/>
                    </a:cubicBezTo>
                    <a:cubicBezTo>
                      <a:pt x="1101" y="754"/>
                      <a:pt x="1101" y="754"/>
                      <a:pt x="1101" y="753"/>
                    </a:cubicBezTo>
                    <a:cubicBezTo>
                      <a:pt x="1101" y="753"/>
                      <a:pt x="1101" y="753"/>
                      <a:pt x="1100" y="752"/>
                    </a:cubicBezTo>
                    <a:cubicBezTo>
                      <a:pt x="1100" y="752"/>
                      <a:pt x="1100" y="752"/>
                      <a:pt x="1099" y="751"/>
                    </a:cubicBezTo>
                    <a:cubicBezTo>
                      <a:pt x="1099" y="751"/>
                      <a:pt x="1099" y="751"/>
                      <a:pt x="1100" y="750"/>
                    </a:cubicBezTo>
                    <a:cubicBezTo>
                      <a:pt x="1100" y="750"/>
                      <a:pt x="1100" y="750"/>
                      <a:pt x="1098" y="750"/>
                    </a:cubicBezTo>
                    <a:cubicBezTo>
                      <a:pt x="1098" y="750"/>
                      <a:pt x="1098" y="750"/>
                      <a:pt x="1097" y="749"/>
                    </a:cubicBezTo>
                    <a:cubicBezTo>
                      <a:pt x="1097" y="749"/>
                      <a:pt x="1097" y="749"/>
                      <a:pt x="1097" y="747"/>
                    </a:cubicBezTo>
                    <a:cubicBezTo>
                      <a:pt x="1097" y="747"/>
                      <a:pt x="1097" y="747"/>
                      <a:pt x="1096" y="745"/>
                    </a:cubicBezTo>
                    <a:cubicBezTo>
                      <a:pt x="1096" y="745"/>
                      <a:pt x="1096" y="745"/>
                      <a:pt x="1095" y="745"/>
                    </a:cubicBezTo>
                    <a:cubicBezTo>
                      <a:pt x="1095" y="745"/>
                      <a:pt x="1095" y="745"/>
                      <a:pt x="1095" y="744"/>
                    </a:cubicBezTo>
                    <a:cubicBezTo>
                      <a:pt x="1095" y="744"/>
                      <a:pt x="1095" y="744"/>
                      <a:pt x="1096" y="743"/>
                    </a:cubicBezTo>
                    <a:cubicBezTo>
                      <a:pt x="1096" y="743"/>
                      <a:pt x="1096" y="743"/>
                      <a:pt x="1095" y="742"/>
                    </a:cubicBezTo>
                    <a:cubicBezTo>
                      <a:pt x="1095" y="742"/>
                      <a:pt x="1095" y="742"/>
                      <a:pt x="1095" y="741"/>
                    </a:cubicBezTo>
                    <a:cubicBezTo>
                      <a:pt x="1095" y="741"/>
                      <a:pt x="1095" y="741"/>
                      <a:pt x="1095" y="740"/>
                    </a:cubicBezTo>
                    <a:cubicBezTo>
                      <a:pt x="1095" y="740"/>
                      <a:pt x="1095" y="740"/>
                      <a:pt x="1094" y="739"/>
                    </a:cubicBezTo>
                    <a:cubicBezTo>
                      <a:pt x="1094" y="739"/>
                      <a:pt x="1094" y="739"/>
                      <a:pt x="1093" y="738"/>
                    </a:cubicBezTo>
                    <a:cubicBezTo>
                      <a:pt x="1093" y="738"/>
                      <a:pt x="1093" y="738"/>
                      <a:pt x="1092" y="736"/>
                    </a:cubicBezTo>
                    <a:cubicBezTo>
                      <a:pt x="1092" y="736"/>
                      <a:pt x="1092" y="736"/>
                      <a:pt x="1091" y="736"/>
                    </a:cubicBezTo>
                    <a:cubicBezTo>
                      <a:pt x="1091" y="736"/>
                      <a:pt x="1091" y="736"/>
                      <a:pt x="1090" y="736"/>
                    </a:cubicBezTo>
                    <a:cubicBezTo>
                      <a:pt x="1090" y="736"/>
                      <a:pt x="1090" y="736"/>
                      <a:pt x="1090" y="735"/>
                    </a:cubicBezTo>
                    <a:cubicBezTo>
                      <a:pt x="1090" y="735"/>
                      <a:pt x="1090" y="735"/>
                      <a:pt x="1091" y="734"/>
                    </a:cubicBezTo>
                    <a:cubicBezTo>
                      <a:pt x="1091" y="734"/>
                      <a:pt x="1091" y="734"/>
                      <a:pt x="1090" y="734"/>
                    </a:cubicBezTo>
                    <a:cubicBezTo>
                      <a:pt x="1090" y="734"/>
                      <a:pt x="1090" y="734"/>
                      <a:pt x="1089" y="735"/>
                    </a:cubicBezTo>
                    <a:cubicBezTo>
                      <a:pt x="1089" y="735"/>
                      <a:pt x="1089" y="735"/>
                      <a:pt x="1088" y="734"/>
                    </a:cubicBezTo>
                    <a:cubicBezTo>
                      <a:pt x="1088" y="734"/>
                      <a:pt x="1088" y="734"/>
                      <a:pt x="1087" y="734"/>
                    </a:cubicBezTo>
                    <a:cubicBezTo>
                      <a:pt x="1087" y="734"/>
                      <a:pt x="1087" y="734"/>
                      <a:pt x="1085" y="732"/>
                    </a:cubicBezTo>
                    <a:cubicBezTo>
                      <a:pt x="1085" y="732"/>
                      <a:pt x="1085" y="732"/>
                      <a:pt x="1086" y="730"/>
                    </a:cubicBezTo>
                    <a:cubicBezTo>
                      <a:pt x="1086" y="730"/>
                      <a:pt x="1086" y="730"/>
                      <a:pt x="1085" y="729"/>
                    </a:cubicBezTo>
                    <a:cubicBezTo>
                      <a:pt x="1085" y="729"/>
                      <a:pt x="1085" y="729"/>
                      <a:pt x="1083" y="729"/>
                    </a:cubicBezTo>
                    <a:cubicBezTo>
                      <a:pt x="1083" y="729"/>
                      <a:pt x="1083" y="729"/>
                      <a:pt x="1083" y="728"/>
                    </a:cubicBezTo>
                    <a:cubicBezTo>
                      <a:pt x="1083" y="728"/>
                      <a:pt x="1083" y="728"/>
                      <a:pt x="1081" y="728"/>
                    </a:cubicBezTo>
                    <a:cubicBezTo>
                      <a:pt x="1081" y="728"/>
                      <a:pt x="1081" y="728"/>
                      <a:pt x="1082" y="726"/>
                    </a:cubicBezTo>
                    <a:cubicBezTo>
                      <a:pt x="1082" y="726"/>
                      <a:pt x="1082" y="726"/>
                      <a:pt x="1081" y="725"/>
                    </a:cubicBezTo>
                    <a:cubicBezTo>
                      <a:pt x="1081" y="725"/>
                      <a:pt x="1081" y="725"/>
                      <a:pt x="1080" y="725"/>
                    </a:cubicBezTo>
                    <a:cubicBezTo>
                      <a:pt x="1080" y="725"/>
                      <a:pt x="1080" y="725"/>
                      <a:pt x="1083" y="724"/>
                    </a:cubicBezTo>
                    <a:cubicBezTo>
                      <a:pt x="1083" y="724"/>
                      <a:pt x="1083" y="724"/>
                      <a:pt x="1082" y="723"/>
                    </a:cubicBezTo>
                    <a:cubicBezTo>
                      <a:pt x="1082" y="723"/>
                      <a:pt x="1082" y="723"/>
                      <a:pt x="1080" y="723"/>
                    </a:cubicBezTo>
                    <a:cubicBezTo>
                      <a:pt x="1080" y="723"/>
                      <a:pt x="1080" y="723"/>
                      <a:pt x="1079" y="724"/>
                    </a:cubicBezTo>
                    <a:cubicBezTo>
                      <a:pt x="1079" y="724"/>
                      <a:pt x="1079" y="724"/>
                      <a:pt x="1078" y="724"/>
                    </a:cubicBezTo>
                    <a:cubicBezTo>
                      <a:pt x="1078" y="724"/>
                      <a:pt x="1078" y="724"/>
                      <a:pt x="1077" y="723"/>
                    </a:cubicBezTo>
                    <a:cubicBezTo>
                      <a:pt x="1077" y="723"/>
                      <a:pt x="1077" y="723"/>
                      <a:pt x="1076" y="723"/>
                    </a:cubicBezTo>
                    <a:cubicBezTo>
                      <a:pt x="1076" y="723"/>
                      <a:pt x="1076" y="723"/>
                      <a:pt x="1075" y="722"/>
                    </a:cubicBezTo>
                    <a:cubicBezTo>
                      <a:pt x="1075" y="722"/>
                      <a:pt x="1075" y="722"/>
                      <a:pt x="1076" y="721"/>
                    </a:cubicBezTo>
                    <a:cubicBezTo>
                      <a:pt x="1076" y="721"/>
                      <a:pt x="1076" y="721"/>
                      <a:pt x="1075" y="721"/>
                    </a:cubicBezTo>
                    <a:cubicBezTo>
                      <a:pt x="1075" y="721"/>
                      <a:pt x="1075" y="721"/>
                      <a:pt x="1073" y="721"/>
                    </a:cubicBezTo>
                    <a:cubicBezTo>
                      <a:pt x="1073" y="721"/>
                      <a:pt x="1073" y="721"/>
                      <a:pt x="1073" y="720"/>
                    </a:cubicBezTo>
                    <a:cubicBezTo>
                      <a:pt x="1073" y="720"/>
                      <a:pt x="1073" y="720"/>
                      <a:pt x="1073" y="719"/>
                    </a:cubicBezTo>
                    <a:cubicBezTo>
                      <a:pt x="1073" y="719"/>
                      <a:pt x="1073" y="719"/>
                      <a:pt x="1074" y="719"/>
                    </a:cubicBezTo>
                    <a:cubicBezTo>
                      <a:pt x="1074" y="719"/>
                      <a:pt x="1074" y="719"/>
                      <a:pt x="1075" y="718"/>
                    </a:cubicBezTo>
                    <a:cubicBezTo>
                      <a:pt x="1075" y="718"/>
                      <a:pt x="1075" y="718"/>
                      <a:pt x="1073" y="717"/>
                    </a:cubicBezTo>
                    <a:cubicBezTo>
                      <a:pt x="1073" y="717"/>
                      <a:pt x="1073" y="717"/>
                      <a:pt x="1072" y="718"/>
                    </a:cubicBezTo>
                    <a:cubicBezTo>
                      <a:pt x="1072" y="718"/>
                      <a:pt x="1072" y="718"/>
                      <a:pt x="1071" y="718"/>
                    </a:cubicBezTo>
                    <a:cubicBezTo>
                      <a:pt x="1071" y="718"/>
                      <a:pt x="1071" y="718"/>
                      <a:pt x="1072" y="717"/>
                    </a:cubicBezTo>
                    <a:cubicBezTo>
                      <a:pt x="1072" y="717"/>
                      <a:pt x="1072" y="717"/>
                      <a:pt x="1072" y="715"/>
                    </a:cubicBezTo>
                    <a:cubicBezTo>
                      <a:pt x="1072" y="715"/>
                      <a:pt x="1072" y="715"/>
                      <a:pt x="1071" y="714"/>
                    </a:cubicBezTo>
                    <a:cubicBezTo>
                      <a:pt x="1071" y="714"/>
                      <a:pt x="1071" y="714"/>
                      <a:pt x="1072" y="713"/>
                    </a:cubicBezTo>
                    <a:cubicBezTo>
                      <a:pt x="1072" y="713"/>
                      <a:pt x="1072" y="713"/>
                      <a:pt x="1074" y="715"/>
                    </a:cubicBezTo>
                    <a:cubicBezTo>
                      <a:pt x="1074" y="715"/>
                      <a:pt x="1074" y="715"/>
                      <a:pt x="1075" y="715"/>
                    </a:cubicBezTo>
                    <a:cubicBezTo>
                      <a:pt x="1075" y="715"/>
                      <a:pt x="1075" y="715"/>
                      <a:pt x="1076" y="714"/>
                    </a:cubicBezTo>
                    <a:cubicBezTo>
                      <a:pt x="1076" y="714"/>
                      <a:pt x="1076" y="714"/>
                      <a:pt x="1075" y="714"/>
                    </a:cubicBezTo>
                    <a:cubicBezTo>
                      <a:pt x="1075" y="714"/>
                      <a:pt x="1075" y="714"/>
                      <a:pt x="1073" y="713"/>
                    </a:cubicBezTo>
                    <a:cubicBezTo>
                      <a:pt x="1073" y="713"/>
                      <a:pt x="1073" y="713"/>
                      <a:pt x="1073" y="712"/>
                    </a:cubicBezTo>
                    <a:cubicBezTo>
                      <a:pt x="1073" y="712"/>
                      <a:pt x="1073" y="712"/>
                      <a:pt x="1074" y="711"/>
                    </a:cubicBezTo>
                    <a:cubicBezTo>
                      <a:pt x="1074" y="711"/>
                      <a:pt x="1074" y="711"/>
                      <a:pt x="1072" y="710"/>
                    </a:cubicBezTo>
                    <a:cubicBezTo>
                      <a:pt x="1072" y="710"/>
                      <a:pt x="1072" y="710"/>
                      <a:pt x="1073" y="710"/>
                    </a:cubicBezTo>
                    <a:cubicBezTo>
                      <a:pt x="1073" y="710"/>
                      <a:pt x="1073" y="710"/>
                      <a:pt x="1073" y="709"/>
                    </a:cubicBezTo>
                    <a:cubicBezTo>
                      <a:pt x="1073" y="709"/>
                      <a:pt x="1073" y="709"/>
                      <a:pt x="1072" y="709"/>
                    </a:cubicBezTo>
                    <a:cubicBezTo>
                      <a:pt x="1072" y="709"/>
                      <a:pt x="1072" y="709"/>
                      <a:pt x="1070" y="706"/>
                    </a:cubicBezTo>
                    <a:cubicBezTo>
                      <a:pt x="1070" y="706"/>
                      <a:pt x="1070" y="706"/>
                      <a:pt x="1068" y="704"/>
                    </a:cubicBezTo>
                    <a:cubicBezTo>
                      <a:pt x="1068" y="704"/>
                      <a:pt x="1068" y="704"/>
                      <a:pt x="1072" y="701"/>
                    </a:cubicBezTo>
                    <a:cubicBezTo>
                      <a:pt x="1072" y="701"/>
                      <a:pt x="1072" y="701"/>
                      <a:pt x="1074" y="698"/>
                    </a:cubicBezTo>
                    <a:cubicBezTo>
                      <a:pt x="1074" y="698"/>
                      <a:pt x="1074" y="698"/>
                      <a:pt x="1074" y="696"/>
                    </a:cubicBezTo>
                    <a:cubicBezTo>
                      <a:pt x="1074" y="696"/>
                      <a:pt x="1074" y="696"/>
                      <a:pt x="1074" y="693"/>
                    </a:cubicBezTo>
                    <a:cubicBezTo>
                      <a:pt x="1074" y="693"/>
                      <a:pt x="1074" y="693"/>
                      <a:pt x="1075" y="689"/>
                    </a:cubicBezTo>
                    <a:cubicBezTo>
                      <a:pt x="1075" y="689"/>
                      <a:pt x="1075" y="689"/>
                      <a:pt x="1077" y="687"/>
                    </a:cubicBezTo>
                    <a:cubicBezTo>
                      <a:pt x="1077" y="687"/>
                      <a:pt x="1077" y="687"/>
                      <a:pt x="1077" y="683"/>
                    </a:cubicBezTo>
                    <a:cubicBezTo>
                      <a:pt x="1077" y="683"/>
                      <a:pt x="1077" y="683"/>
                      <a:pt x="1076" y="676"/>
                    </a:cubicBezTo>
                    <a:cubicBezTo>
                      <a:pt x="1076" y="676"/>
                      <a:pt x="1076" y="676"/>
                      <a:pt x="1074" y="673"/>
                    </a:cubicBezTo>
                    <a:cubicBezTo>
                      <a:pt x="1074" y="673"/>
                      <a:pt x="1074" y="673"/>
                      <a:pt x="1075" y="673"/>
                    </a:cubicBezTo>
                    <a:cubicBezTo>
                      <a:pt x="1075" y="673"/>
                      <a:pt x="1075" y="673"/>
                      <a:pt x="1076" y="673"/>
                    </a:cubicBezTo>
                    <a:cubicBezTo>
                      <a:pt x="1076" y="673"/>
                      <a:pt x="1076" y="673"/>
                      <a:pt x="1076" y="671"/>
                    </a:cubicBezTo>
                    <a:cubicBezTo>
                      <a:pt x="1076" y="671"/>
                      <a:pt x="1076" y="671"/>
                      <a:pt x="1076" y="669"/>
                    </a:cubicBezTo>
                    <a:cubicBezTo>
                      <a:pt x="1076" y="669"/>
                      <a:pt x="1076" y="669"/>
                      <a:pt x="1075" y="666"/>
                    </a:cubicBezTo>
                    <a:cubicBezTo>
                      <a:pt x="1075" y="666"/>
                      <a:pt x="1075" y="666"/>
                      <a:pt x="1074" y="667"/>
                    </a:cubicBezTo>
                    <a:cubicBezTo>
                      <a:pt x="1074" y="667"/>
                      <a:pt x="1074" y="667"/>
                      <a:pt x="1073" y="666"/>
                    </a:cubicBezTo>
                    <a:cubicBezTo>
                      <a:pt x="1073" y="666"/>
                      <a:pt x="1073" y="666"/>
                      <a:pt x="1073" y="665"/>
                    </a:cubicBezTo>
                    <a:cubicBezTo>
                      <a:pt x="1073" y="665"/>
                      <a:pt x="1073" y="665"/>
                      <a:pt x="1071" y="666"/>
                    </a:cubicBezTo>
                    <a:cubicBezTo>
                      <a:pt x="1071" y="666"/>
                      <a:pt x="1071" y="666"/>
                      <a:pt x="1071" y="664"/>
                    </a:cubicBezTo>
                    <a:cubicBezTo>
                      <a:pt x="1071" y="664"/>
                      <a:pt x="1071" y="664"/>
                      <a:pt x="1072" y="663"/>
                    </a:cubicBezTo>
                    <a:cubicBezTo>
                      <a:pt x="1072" y="663"/>
                      <a:pt x="1072" y="663"/>
                      <a:pt x="1072" y="662"/>
                    </a:cubicBezTo>
                    <a:cubicBezTo>
                      <a:pt x="1072" y="662"/>
                      <a:pt x="1072" y="662"/>
                      <a:pt x="1072" y="660"/>
                    </a:cubicBezTo>
                    <a:cubicBezTo>
                      <a:pt x="1072" y="660"/>
                      <a:pt x="1072" y="660"/>
                      <a:pt x="1072" y="659"/>
                    </a:cubicBezTo>
                    <a:cubicBezTo>
                      <a:pt x="1072" y="659"/>
                      <a:pt x="1072" y="659"/>
                      <a:pt x="1072" y="657"/>
                    </a:cubicBezTo>
                    <a:cubicBezTo>
                      <a:pt x="1072" y="657"/>
                      <a:pt x="1072" y="657"/>
                      <a:pt x="1073" y="656"/>
                    </a:cubicBezTo>
                    <a:cubicBezTo>
                      <a:pt x="1073" y="656"/>
                      <a:pt x="1073" y="656"/>
                      <a:pt x="1074" y="656"/>
                    </a:cubicBezTo>
                    <a:cubicBezTo>
                      <a:pt x="1074" y="656"/>
                      <a:pt x="1074" y="656"/>
                      <a:pt x="1076" y="653"/>
                    </a:cubicBezTo>
                    <a:cubicBezTo>
                      <a:pt x="1076" y="653"/>
                      <a:pt x="1076" y="653"/>
                      <a:pt x="1077" y="652"/>
                    </a:cubicBezTo>
                    <a:cubicBezTo>
                      <a:pt x="1077" y="652"/>
                      <a:pt x="1077" y="652"/>
                      <a:pt x="1076" y="652"/>
                    </a:cubicBezTo>
                    <a:cubicBezTo>
                      <a:pt x="1076" y="652"/>
                      <a:pt x="1076" y="652"/>
                      <a:pt x="1076" y="651"/>
                    </a:cubicBezTo>
                    <a:cubicBezTo>
                      <a:pt x="1076" y="651"/>
                      <a:pt x="1076" y="651"/>
                      <a:pt x="1079" y="648"/>
                    </a:cubicBezTo>
                    <a:cubicBezTo>
                      <a:pt x="1079" y="648"/>
                      <a:pt x="1079" y="648"/>
                      <a:pt x="1079" y="647"/>
                    </a:cubicBezTo>
                    <a:cubicBezTo>
                      <a:pt x="1079" y="647"/>
                      <a:pt x="1079" y="647"/>
                      <a:pt x="1080" y="643"/>
                    </a:cubicBezTo>
                    <a:cubicBezTo>
                      <a:pt x="1080" y="643"/>
                      <a:pt x="1080" y="643"/>
                      <a:pt x="1081" y="643"/>
                    </a:cubicBezTo>
                    <a:cubicBezTo>
                      <a:pt x="1081" y="643"/>
                      <a:pt x="1081" y="643"/>
                      <a:pt x="1084" y="640"/>
                    </a:cubicBezTo>
                    <a:cubicBezTo>
                      <a:pt x="1084" y="640"/>
                      <a:pt x="1084" y="640"/>
                      <a:pt x="1084" y="638"/>
                    </a:cubicBezTo>
                    <a:cubicBezTo>
                      <a:pt x="1084" y="638"/>
                      <a:pt x="1084" y="638"/>
                      <a:pt x="1088" y="633"/>
                    </a:cubicBezTo>
                    <a:cubicBezTo>
                      <a:pt x="1088" y="633"/>
                      <a:pt x="1088" y="633"/>
                      <a:pt x="1088" y="631"/>
                    </a:cubicBezTo>
                    <a:cubicBezTo>
                      <a:pt x="1088" y="631"/>
                      <a:pt x="1088" y="631"/>
                      <a:pt x="1090" y="630"/>
                    </a:cubicBezTo>
                    <a:cubicBezTo>
                      <a:pt x="1090" y="630"/>
                      <a:pt x="1090" y="630"/>
                      <a:pt x="1090" y="629"/>
                    </a:cubicBezTo>
                    <a:cubicBezTo>
                      <a:pt x="1090" y="629"/>
                      <a:pt x="1090" y="629"/>
                      <a:pt x="1094" y="626"/>
                    </a:cubicBezTo>
                    <a:cubicBezTo>
                      <a:pt x="1094" y="626"/>
                      <a:pt x="1094" y="626"/>
                      <a:pt x="1095" y="626"/>
                    </a:cubicBezTo>
                    <a:cubicBezTo>
                      <a:pt x="1095" y="626"/>
                      <a:pt x="1095" y="626"/>
                      <a:pt x="1095" y="624"/>
                    </a:cubicBezTo>
                    <a:cubicBezTo>
                      <a:pt x="1095" y="624"/>
                      <a:pt x="1095" y="624"/>
                      <a:pt x="1098" y="621"/>
                    </a:cubicBezTo>
                    <a:cubicBezTo>
                      <a:pt x="1098" y="621"/>
                      <a:pt x="1098" y="621"/>
                      <a:pt x="1099" y="618"/>
                    </a:cubicBezTo>
                    <a:cubicBezTo>
                      <a:pt x="1099" y="618"/>
                      <a:pt x="1099" y="618"/>
                      <a:pt x="1106" y="617"/>
                    </a:cubicBezTo>
                    <a:cubicBezTo>
                      <a:pt x="1106" y="617"/>
                      <a:pt x="1106" y="617"/>
                      <a:pt x="1110" y="613"/>
                    </a:cubicBezTo>
                    <a:cubicBezTo>
                      <a:pt x="1110" y="613"/>
                      <a:pt x="1110" y="613"/>
                      <a:pt x="1112" y="613"/>
                    </a:cubicBezTo>
                    <a:cubicBezTo>
                      <a:pt x="1112" y="613"/>
                      <a:pt x="1112" y="613"/>
                      <a:pt x="1114" y="611"/>
                    </a:cubicBezTo>
                    <a:cubicBezTo>
                      <a:pt x="1114" y="611"/>
                      <a:pt x="1114" y="611"/>
                      <a:pt x="1114" y="609"/>
                    </a:cubicBezTo>
                    <a:cubicBezTo>
                      <a:pt x="1114" y="609"/>
                      <a:pt x="1114" y="609"/>
                      <a:pt x="1118" y="605"/>
                    </a:cubicBezTo>
                    <a:cubicBezTo>
                      <a:pt x="1118" y="605"/>
                      <a:pt x="1118" y="605"/>
                      <a:pt x="1118" y="603"/>
                    </a:cubicBezTo>
                    <a:cubicBezTo>
                      <a:pt x="1118" y="603"/>
                      <a:pt x="1118" y="603"/>
                      <a:pt x="1118" y="602"/>
                    </a:cubicBezTo>
                    <a:cubicBezTo>
                      <a:pt x="1118" y="602"/>
                      <a:pt x="1118" y="602"/>
                      <a:pt x="1117" y="602"/>
                    </a:cubicBezTo>
                    <a:cubicBezTo>
                      <a:pt x="1117" y="602"/>
                      <a:pt x="1117" y="602"/>
                      <a:pt x="1118" y="599"/>
                    </a:cubicBezTo>
                    <a:cubicBezTo>
                      <a:pt x="1118" y="599"/>
                      <a:pt x="1118" y="599"/>
                      <a:pt x="1117" y="597"/>
                    </a:cubicBezTo>
                    <a:cubicBezTo>
                      <a:pt x="1117" y="597"/>
                      <a:pt x="1117" y="597"/>
                      <a:pt x="1117" y="596"/>
                    </a:cubicBezTo>
                    <a:cubicBezTo>
                      <a:pt x="1117" y="596"/>
                      <a:pt x="1117" y="596"/>
                      <a:pt x="1119" y="593"/>
                    </a:cubicBezTo>
                    <a:cubicBezTo>
                      <a:pt x="1119" y="593"/>
                      <a:pt x="1119" y="593"/>
                      <a:pt x="1121" y="590"/>
                    </a:cubicBezTo>
                    <a:cubicBezTo>
                      <a:pt x="1121" y="590"/>
                      <a:pt x="1121" y="590"/>
                      <a:pt x="1121" y="589"/>
                    </a:cubicBezTo>
                    <a:cubicBezTo>
                      <a:pt x="1121" y="589"/>
                      <a:pt x="1121" y="589"/>
                      <a:pt x="1120" y="587"/>
                    </a:cubicBezTo>
                    <a:cubicBezTo>
                      <a:pt x="1120" y="587"/>
                      <a:pt x="1120" y="587"/>
                      <a:pt x="1123" y="585"/>
                    </a:cubicBezTo>
                    <a:cubicBezTo>
                      <a:pt x="1123" y="585"/>
                      <a:pt x="1123" y="585"/>
                      <a:pt x="1124" y="583"/>
                    </a:cubicBezTo>
                    <a:cubicBezTo>
                      <a:pt x="1124" y="583"/>
                      <a:pt x="1124" y="583"/>
                      <a:pt x="1126" y="583"/>
                    </a:cubicBezTo>
                    <a:cubicBezTo>
                      <a:pt x="1126" y="583"/>
                      <a:pt x="1126" y="583"/>
                      <a:pt x="1128" y="581"/>
                    </a:cubicBezTo>
                    <a:cubicBezTo>
                      <a:pt x="1128" y="581"/>
                      <a:pt x="1128" y="581"/>
                      <a:pt x="1129" y="581"/>
                    </a:cubicBezTo>
                    <a:cubicBezTo>
                      <a:pt x="1129" y="581"/>
                      <a:pt x="1129" y="581"/>
                      <a:pt x="1131" y="579"/>
                    </a:cubicBezTo>
                    <a:cubicBezTo>
                      <a:pt x="1131" y="579"/>
                      <a:pt x="1131" y="579"/>
                      <a:pt x="1133" y="578"/>
                    </a:cubicBezTo>
                    <a:cubicBezTo>
                      <a:pt x="1133" y="578"/>
                      <a:pt x="1133" y="578"/>
                      <a:pt x="1134" y="577"/>
                    </a:cubicBezTo>
                    <a:cubicBezTo>
                      <a:pt x="1134" y="577"/>
                      <a:pt x="1134" y="577"/>
                      <a:pt x="1135" y="577"/>
                    </a:cubicBezTo>
                    <a:cubicBezTo>
                      <a:pt x="1135" y="577"/>
                      <a:pt x="1135" y="577"/>
                      <a:pt x="1138" y="575"/>
                    </a:cubicBezTo>
                    <a:cubicBezTo>
                      <a:pt x="1138" y="575"/>
                      <a:pt x="1138" y="575"/>
                      <a:pt x="1139" y="573"/>
                    </a:cubicBezTo>
                    <a:cubicBezTo>
                      <a:pt x="1139" y="573"/>
                      <a:pt x="1139" y="573"/>
                      <a:pt x="1139" y="571"/>
                    </a:cubicBezTo>
                    <a:cubicBezTo>
                      <a:pt x="1139" y="571"/>
                      <a:pt x="1139" y="571"/>
                      <a:pt x="1140" y="569"/>
                    </a:cubicBezTo>
                    <a:cubicBezTo>
                      <a:pt x="1140" y="569"/>
                      <a:pt x="1140" y="569"/>
                      <a:pt x="1141" y="565"/>
                    </a:cubicBezTo>
                    <a:cubicBezTo>
                      <a:pt x="1141" y="565"/>
                      <a:pt x="1141" y="565"/>
                      <a:pt x="1142" y="564"/>
                    </a:cubicBezTo>
                    <a:cubicBezTo>
                      <a:pt x="1142" y="564"/>
                      <a:pt x="1142" y="564"/>
                      <a:pt x="1143" y="564"/>
                    </a:cubicBezTo>
                    <a:cubicBezTo>
                      <a:pt x="1143" y="564"/>
                      <a:pt x="1143" y="564"/>
                      <a:pt x="1144" y="563"/>
                    </a:cubicBezTo>
                    <a:cubicBezTo>
                      <a:pt x="1144" y="563"/>
                      <a:pt x="1144" y="563"/>
                      <a:pt x="1145" y="564"/>
                    </a:cubicBezTo>
                    <a:cubicBezTo>
                      <a:pt x="1145" y="564"/>
                      <a:pt x="1145" y="564"/>
                      <a:pt x="1145" y="565"/>
                    </a:cubicBezTo>
                    <a:cubicBezTo>
                      <a:pt x="1145" y="565"/>
                      <a:pt x="1145" y="565"/>
                      <a:pt x="1145" y="566"/>
                    </a:cubicBezTo>
                    <a:cubicBezTo>
                      <a:pt x="1145" y="566"/>
                      <a:pt x="1145" y="566"/>
                      <a:pt x="1146" y="566"/>
                    </a:cubicBezTo>
                    <a:cubicBezTo>
                      <a:pt x="1146" y="566"/>
                      <a:pt x="1146" y="566"/>
                      <a:pt x="1147" y="568"/>
                    </a:cubicBezTo>
                    <a:cubicBezTo>
                      <a:pt x="1147" y="568"/>
                      <a:pt x="1147" y="568"/>
                      <a:pt x="1149" y="568"/>
                    </a:cubicBezTo>
                    <a:cubicBezTo>
                      <a:pt x="1149" y="568"/>
                      <a:pt x="1149" y="568"/>
                      <a:pt x="1151" y="568"/>
                    </a:cubicBezTo>
                    <a:cubicBezTo>
                      <a:pt x="1151" y="568"/>
                      <a:pt x="1151" y="568"/>
                      <a:pt x="1152" y="567"/>
                    </a:cubicBezTo>
                    <a:cubicBezTo>
                      <a:pt x="1152" y="567"/>
                      <a:pt x="1152" y="567"/>
                      <a:pt x="1153" y="568"/>
                    </a:cubicBezTo>
                    <a:cubicBezTo>
                      <a:pt x="1153" y="568"/>
                      <a:pt x="1153" y="568"/>
                      <a:pt x="1155" y="568"/>
                    </a:cubicBezTo>
                    <a:cubicBezTo>
                      <a:pt x="1155" y="568"/>
                      <a:pt x="1155" y="568"/>
                      <a:pt x="1157" y="568"/>
                    </a:cubicBezTo>
                    <a:cubicBezTo>
                      <a:pt x="1157" y="568"/>
                      <a:pt x="1157" y="568"/>
                      <a:pt x="1158" y="566"/>
                    </a:cubicBezTo>
                    <a:cubicBezTo>
                      <a:pt x="1158" y="566"/>
                      <a:pt x="1158" y="566"/>
                      <a:pt x="1159" y="567"/>
                    </a:cubicBezTo>
                    <a:cubicBezTo>
                      <a:pt x="1159" y="567"/>
                      <a:pt x="1159" y="567"/>
                      <a:pt x="1159" y="568"/>
                    </a:cubicBezTo>
                    <a:cubicBezTo>
                      <a:pt x="1159" y="568"/>
                      <a:pt x="1159" y="568"/>
                      <a:pt x="1160" y="569"/>
                    </a:cubicBezTo>
                    <a:cubicBezTo>
                      <a:pt x="1160" y="569"/>
                      <a:pt x="1160" y="569"/>
                      <a:pt x="1163" y="569"/>
                    </a:cubicBezTo>
                    <a:cubicBezTo>
                      <a:pt x="1163" y="569"/>
                      <a:pt x="1163" y="569"/>
                      <a:pt x="1164" y="569"/>
                    </a:cubicBezTo>
                    <a:cubicBezTo>
                      <a:pt x="1164" y="569"/>
                      <a:pt x="1164" y="569"/>
                      <a:pt x="1166" y="569"/>
                    </a:cubicBezTo>
                    <a:cubicBezTo>
                      <a:pt x="1166" y="569"/>
                      <a:pt x="1166" y="569"/>
                      <a:pt x="1168" y="568"/>
                    </a:cubicBezTo>
                    <a:cubicBezTo>
                      <a:pt x="1168" y="568"/>
                      <a:pt x="1168" y="568"/>
                      <a:pt x="1169" y="567"/>
                    </a:cubicBezTo>
                    <a:cubicBezTo>
                      <a:pt x="1169" y="567"/>
                      <a:pt x="1169" y="567"/>
                      <a:pt x="1169" y="566"/>
                    </a:cubicBezTo>
                    <a:cubicBezTo>
                      <a:pt x="1169" y="566"/>
                      <a:pt x="1169" y="566"/>
                      <a:pt x="1170" y="565"/>
                    </a:cubicBezTo>
                    <a:cubicBezTo>
                      <a:pt x="1170" y="565"/>
                      <a:pt x="1170" y="565"/>
                      <a:pt x="1171" y="565"/>
                    </a:cubicBezTo>
                    <a:cubicBezTo>
                      <a:pt x="1171" y="565"/>
                      <a:pt x="1171" y="565"/>
                      <a:pt x="1173" y="565"/>
                    </a:cubicBezTo>
                    <a:cubicBezTo>
                      <a:pt x="1173" y="565"/>
                      <a:pt x="1173" y="565"/>
                      <a:pt x="1174" y="564"/>
                    </a:cubicBezTo>
                    <a:cubicBezTo>
                      <a:pt x="1174" y="564"/>
                      <a:pt x="1174" y="564"/>
                      <a:pt x="1175" y="564"/>
                    </a:cubicBezTo>
                    <a:cubicBezTo>
                      <a:pt x="1175" y="564"/>
                      <a:pt x="1175" y="564"/>
                      <a:pt x="1176" y="564"/>
                    </a:cubicBezTo>
                    <a:cubicBezTo>
                      <a:pt x="1176" y="564"/>
                      <a:pt x="1176" y="564"/>
                      <a:pt x="1177" y="563"/>
                    </a:cubicBezTo>
                    <a:cubicBezTo>
                      <a:pt x="1177" y="563"/>
                      <a:pt x="1177" y="563"/>
                      <a:pt x="1177" y="562"/>
                    </a:cubicBezTo>
                    <a:cubicBezTo>
                      <a:pt x="1177" y="562"/>
                      <a:pt x="1177" y="562"/>
                      <a:pt x="1179" y="561"/>
                    </a:cubicBezTo>
                    <a:cubicBezTo>
                      <a:pt x="1179" y="561"/>
                      <a:pt x="1179" y="561"/>
                      <a:pt x="1181" y="561"/>
                    </a:cubicBezTo>
                    <a:cubicBezTo>
                      <a:pt x="1181" y="561"/>
                      <a:pt x="1181" y="561"/>
                      <a:pt x="1184" y="558"/>
                    </a:cubicBezTo>
                    <a:cubicBezTo>
                      <a:pt x="1184" y="558"/>
                      <a:pt x="1184" y="558"/>
                      <a:pt x="1186" y="559"/>
                    </a:cubicBezTo>
                    <a:cubicBezTo>
                      <a:pt x="1186" y="559"/>
                      <a:pt x="1186" y="559"/>
                      <a:pt x="1188" y="558"/>
                    </a:cubicBezTo>
                    <a:cubicBezTo>
                      <a:pt x="1188" y="558"/>
                      <a:pt x="1188" y="558"/>
                      <a:pt x="1189" y="558"/>
                    </a:cubicBezTo>
                    <a:cubicBezTo>
                      <a:pt x="1189" y="558"/>
                      <a:pt x="1189" y="558"/>
                      <a:pt x="1191" y="559"/>
                    </a:cubicBezTo>
                    <a:cubicBezTo>
                      <a:pt x="1191" y="559"/>
                      <a:pt x="1191" y="559"/>
                      <a:pt x="1192" y="559"/>
                    </a:cubicBezTo>
                    <a:cubicBezTo>
                      <a:pt x="1192" y="559"/>
                      <a:pt x="1192" y="559"/>
                      <a:pt x="1193" y="557"/>
                    </a:cubicBezTo>
                    <a:cubicBezTo>
                      <a:pt x="1193" y="557"/>
                      <a:pt x="1193" y="557"/>
                      <a:pt x="1195" y="558"/>
                    </a:cubicBezTo>
                    <a:cubicBezTo>
                      <a:pt x="1195" y="558"/>
                      <a:pt x="1195" y="558"/>
                      <a:pt x="1196" y="558"/>
                    </a:cubicBezTo>
                    <a:cubicBezTo>
                      <a:pt x="1196" y="558"/>
                      <a:pt x="1196" y="558"/>
                      <a:pt x="1197" y="556"/>
                    </a:cubicBezTo>
                    <a:cubicBezTo>
                      <a:pt x="1197" y="556"/>
                      <a:pt x="1197" y="556"/>
                      <a:pt x="1198" y="557"/>
                    </a:cubicBezTo>
                    <a:cubicBezTo>
                      <a:pt x="1198" y="557"/>
                      <a:pt x="1198" y="557"/>
                      <a:pt x="1199" y="557"/>
                    </a:cubicBezTo>
                    <a:cubicBezTo>
                      <a:pt x="1199" y="557"/>
                      <a:pt x="1199" y="557"/>
                      <a:pt x="1200" y="557"/>
                    </a:cubicBezTo>
                    <a:cubicBezTo>
                      <a:pt x="1200" y="557"/>
                      <a:pt x="1200" y="557"/>
                      <a:pt x="1202" y="556"/>
                    </a:cubicBezTo>
                    <a:cubicBezTo>
                      <a:pt x="1202" y="556"/>
                      <a:pt x="1202" y="556"/>
                      <a:pt x="1203" y="557"/>
                    </a:cubicBezTo>
                    <a:cubicBezTo>
                      <a:pt x="1203" y="557"/>
                      <a:pt x="1203" y="557"/>
                      <a:pt x="1205" y="557"/>
                    </a:cubicBezTo>
                    <a:cubicBezTo>
                      <a:pt x="1205" y="557"/>
                      <a:pt x="1205" y="557"/>
                      <a:pt x="1205" y="558"/>
                    </a:cubicBezTo>
                    <a:cubicBezTo>
                      <a:pt x="1205" y="558"/>
                      <a:pt x="1205" y="558"/>
                      <a:pt x="1207" y="558"/>
                    </a:cubicBezTo>
                    <a:cubicBezTo>
                      <a:pt x="1207" y="558"/>
                      <a:pt x="1207" y="558"/>
                      <a:pt x="1208" y="557"/>
                    </a:cubicBezTo>
                    <a:cubicBezTo>
                      <a:pt x="1208" y="557"/>
                      <a:pt x="1208" y="557"/>
                      <a:pt x="1209" y="557"/>
                    </a:cubicBezTo>
                    <a:cubicBezTo>
                      <a:pt x="1209" y="557"/>
                      <a:pt x="1209" y="557"/>
                      <a:pt x="1210" y="557"/>
                    </a:cubicBezTo>
                    <a:cubicBezTo>
                      <a:pt x="1210" y="557"/>
                      <a:pt x="1210" y="557"/>
                      <a:pt x="1210" y="556"/>
                    </a:cubicBezTo>
                    <a:cubicBezTo>
                      <a:pt x="1210" y="556"/>
                      <a:pt x="1210" y="556"/>
                      <a:pt x="1212" y="556"/>
                    </a:cubicBezTo>
                    <a:cubicBezTo>
                      <a:pt x="1212" y="556"/>
                      <a:pt x="1212" y="556"/>
                      <a:pt x="1212" y="555"/>
                    </a:cubicBezTo>
                    <a:cubicBezTo>
                      <a:pt x="1212" y="555"/>
                      <a:pt x="1212" y="555"/>
                      <a:pt x="1213" y="555"/>
                    </a:cubicBezTo>
                    <a:cubicBezTo>
                      <a:pt x="1213" y="555"/>
                      <a:pt x="1213" y="555"/>
                      <a:pt x="1214" y="556"/>
                    </a:cubicBezTo>
                    <a:cubicBezTo>
                      <a:pt x="1214" y="556"/>
                      <a:pt x="1214" y="556"/>
                      <a:pt x="1214" y="557"/>
                    </a:cubicBezTo>
                    <a:cubicBezTo>
                      <a:pt x="1214" y="557"/>
                      <a:pt x="1214" y="557"/>
                      <a:pt x="1216" y="557"/>
                    </a:cubicBezTo>
                    <a:cubicBezTo>
                      <a:pt x="1216" y="557"/>
                      <a:pt x="1216" y="557"/>
                      <a:pt x="1218" y="556"/>
                    </a:cubicBezTo>
                    <a:cubicBezTo>
                      <a:pt x="1218" y="556"/>
                      <a:pt x="1218" y="556"/>
                      <a:pt x="1218" y="555"/>
                    </a:cubicBezTo>
                    <a:cubicBezTo>
                      <a:pt x="1218" y="555"/>
                      <a:pt x="1218" y="555"/>
                      <a:pt x="1219" y="556"/>
                    </a:cubicBezTo>
                    <a:cubicBezTo>
                      <a:pt x="1219" y="556"/>
                      <a:pt x="1219" y="556"/>
                      <a:pt x="1221" y="557"/>
                    </a:cubicBezTo>
                    <a:cubicBezTo>
                      <a:pt x="1221" y="557"/>
                      <a:pt x="1221" y="557"/>
                      <a:pt x="1223" y="556"/>
                    </a:cubicBezTo>
                    <a:cubicBezTo>
                      <a:pt x="1223" y="556"/>
                      <a:pt x="1223" y="556"/>
                      <a:pt x="1224" y="556"/>
                    </a:cubicBezTo>
                    <a:cubicBezTo>
                      <a:pt x="1224" y="556"/>
                      <a:pt x="1224" y="556"/>
                      <a:pt x="1226" y="556"/>
                    </a:cubicBezTo>
                    <a:cubicBezTo>
                      <a:pt x="1226" y="556"/>
                      <a:pt x="1226" y="556"/>
                      <a:pt x="1228" y="555"/>
                    </a:cubicBezTo>
                    <a:cubicBezTo>
                      <a:pt x="1228" y="555"/>
                      <a:pt x="1228" y="555"/>
                      <a:pt x="1230" y="554"/>
                    </a:cubicBezTo>
                    <a:cubicBezTo>
                      <a:pt x="1230" y="554"/>
                      <a:pt x="1230" y="554"/>
                      <a:pt x="1232" y="554"/>
                    </a:cubicBezTo>
                    <a:cubicBezTo>
                      <a:pt x="1232" y="554"/>
                      <a:pt x="1232" y="554"/>
                      <a:pt x="1233" y="554"/>
                    </a:cubicBezTo>
                    <a:cubicBezTo>
                      <a:pt x="1233" y="554"/>
                      <a:pt x="1233" y="554"/>
                      <a:pt x="1234" y="553"/>
                    </a:cubicBezTo>
                    <a:cubicBezTo>
                      <a:pt x="1234" y="553"/>
                      <a:pt x="1234" y="553"/>
                      <a:pt x="1235" y="554"/>
                    </a:cubicBezTo>
                    <a:cubicBezTo>
                      <a:pt x="1235" y="554"/>
                      <a:pt x="1235" y="554"/>
                      <a:pt x="1235" y="555"/>
                    </a:cubicBezTo>
                    <a:cubicBezTo>
                      <a:pt x="1235" y="555"/>
                      <a:pt x="1235" y="555"/>
                      <a:pt x="1236" y="558"/>
                    </a:cubicBezTo>
                    <a:cubicBezTo>
                      <a:pt x="1236" y="558"/>
                      <a:pt x="1236" y="558"/>
                      <a:pt x="1237" y="558"/>
                    </a:cubicBezTo>
                    <a:cubicBezTo>
                      <a:pt x="1237" y="558"/>
                      <a:pt x="1237" y="558"/>
                      <a:pt x="1238" y="557"/>
                    </a:cubicBezTo>
                    <a:cubicBezTo>
                      <a:pt x="1238" y="557"/>
                      <a:pt x="1238" y="557"/>
                      <a:pt x="1240" y="555"/>
                    </a:cubicBezTo>
                    <a:cubicBezTo>
                      <a:pt x="1240" y="555"/>
                      <a:pt x="1240" y="555"/>
                      <a:pt x="1240" y="556"/>
                    </a:cubicBezTo>
                    <a:cubicBezTo>
                      <a:pt x="1240" y="556"/>
                      <a:pt x="1240" y="556"/>
                      <a:pt x="1240" y="557"/>
                    </a:cubicBezTo>
                    <a:cubicBezTo>
                      <a:pt x="1240" y="557"/>
                      <a:pt x="1240" y="557"/>
                      <a:pt x="1239" y="559"/>
                    </a:cubicBezTo>
                    <a:cubicBezTo>
                      <a:pt x="1239" y="559"/>
                      <a:pt x="1239" y="559"/>
                      <a:pt x="1239" y="560"/>
                    </a:cubicBezTo>
                    <a:cubicBezTo>
                      <a:pt x="1239" y="560"/>
                      <a:pt x="1239" y="560"/>
                      <a:pt x="1238" y="561"/>
                    </a:cubicBezTo>
                    <a:cubicBezTo>
                      <a:pt x="1238" y="561"/>
                      <a:pt x="1238" y="561"/>
                      <a:pt x="1237" y="562"/>
                    </a:cubicBezTo>
                    <a:cubicBezTo>
                      <a:pt x="1237" y="562"/>
                      <a:pt x="1237" y="562"/>
                      <a:pt x="1239" y="565"/>
                    </a:cubicBezTo>
                    <a:cubicBezTo>
                      <a:pt x="1239" y="565"/>
                      <a:pt x="1239" y="565"/>
                      <a:pt x="1241" y="565"/>
                    </a:cubicBezTo>
                    <a:cubicBezTo>
                      <a:pt x="1241" y="565"/>
                      <a:pt x="1241" y="565"/>
                      <a:pt x="1241" y="567"/>
                    </a:cubicBezTo>
                    <a:cubicBezTo>
                      <a:pt x="1241" y="567"/>
                      <a:pt x="1241" y="567"/>
                      <a:pt x="1241" y="568"/>
                    </a:cubicBezTo>
                    <a:cubicBezTo>
                      <a:pt x="1241" y="568"/>
                      <a:pt x="1241" y="568"/>
                      <a:pt x="1241" y="569"/>
                    </a:cubicBezTo>
                    <a:cubicBezTo>
                      <a:pt x="1241" y="569"/>
                      <a:pt x="1241" y="569"/>
                      <a:pt x="1241" y="570"/>
                    </a:cubicBezTo>
                    <a:cubicBezTo>
                      <a:pt x="1241" y="570"/>
                      <a:pt x="1241" y="570"/>
                      <a:pt x="1239" y="572"/>
                    </a:cubicBezTo>
                    <a:cubicBezTo>
                      <a:pt x="1239" y="572"/>
                      <a:pt x="1239" y="572"/>
                      <a:pt x="1236" y="574"/>
                    </a:cubicBezTo>
                    <a:cubicBezTo>
                      <a:pt x="1236" y="574"/>
                      <a:pt x="1236" y="574"/>
                      <a:pt x="1235" y="576"/>
                    </a:cubicBezTo>
                    <a:cubicBezTo>
                      <a:pt x="1235" y="576"/>
                      <a:pt x="1235" y="576"/>
                      <a:pt x="1236" y="578"/>
                    </a:cubicBezTo>
                    <a:cubicBezTo>
                      <a:pt x="1236" y="578"/>
                      <a:pt x="1236" y="578"/>
                      <a:pt x="1238" y="580"/>
                    </a:cubicBezTo>
                    <a:cubicBezTo>
                      <a:pt x="1238" y="580"/>
                      <a:pt x="1238" y="580"/>
                      <a:pt x="1239" y="579"/>
                    </a:cubicBezTo>
                    <a:cubicBezTo>
                      <a:pt x="1239" y="579"/>
                      <a:pt x="1239" y="579"/>
                      <a:pt x="1239" y="580"/>
                    </a:cubicBezTo>
                    <a:cubicBezTo>
                      <a:pt x="1239" y="580"/>
                      <a:pt x="1239" y="580"/>
                      <a:pt x="1240" y="581"/>
                    </a:cubicBezTo>
                    <a:cubicBezTo>
                      <a:pt x="1240" y="581"/>
                      <a:pt x="1240" y="581"/>
                      <a:pt x="1241" y="580"/>
                    </a:cubicBezTo>
                    <a:cubicBezTo>
                      <a:pt x="1241" y="580"/>
                      <a:pt x="1241" y="580"/>
                      <a:pt x="1242" y="580"/>
                    </a:cubicBezTo>
                    <a:cubicBezTo>
                      <a:pt x="1242" y="580"/>
                      <a:pt x="1242" y="580"/>
                      <a:pt x="1242" y="581"/>
                    </a:cubicBezTo>
                    <a:cubicBezTo>
                      <a:pt x="1242" y="581"/>
                      <a:pt x="1242" y="581"/>
                      <a:pt x="1242" y="582"/>
                    </a:cubicBezTo>
                    <a:cubicBezTo>
                      <a:pt x="1242" y="582"/>
                      <a:pt x="1242" y="582"/>
                      <a:pt x="1244" y="583"/>
                    </a:cubicBezTo>
                    <a:cubicBezTo>
                      <a:pt x="1244" y="583"/>
                      <a:pt x="1244" y="583"/>
                      <a:pt x="1245" y="583"/>
                    </a:cubicBezTo>
                    <a:cubicBezTo>
                      <a:pt x="1245" y="583"/>
                      <a:pt x="1245" y="583"/>
                      <a:pt x="1246" y="583"/>
                    </a:cubicBezTo>
                    <a:cubicBezTo>
                      <a:pt x="1246" y="583"/>
                      <a:pt x="1246" y="583"/>
                      <a:pt x="1247" y="584"/>
                    </a:cubicBezTo>
                    <a:cubicBezTo>
                      <a:pt x="1247" y="584"/>
                      <a:pt x="1247" y="584"/>
                      <a:pt x="1250" y="585"/>
                    </a:cubicBezTo>
                    <a:cubicBezTo>
                      <a:pt x="1250" y="585"/>
                      <a:pt x="1250" y="585"/>
                      <a:pt x="1255" y="584"/>
                    </a:cubicBezTo>
                    <a:cubicBezTo>
                      <a:pt x="1255" y="584"/>
                      <a:pt x="1255" y="584"/>
                      <a:pt x="1257" y="585"/>
                    </a:cubicBezTo>
                    <a:cubicBezTo>
                      <a:pt x="1257" y="585"/>
                      <a:pt x="1257" y="585"/>
                      <a:pt x="1260" y="585"/>
                    </a:cubicBezTo>
                    <a:cubicBezTo>
                      <a:pt x="1260" y="585"/>
                      <a:pt x="1260" y="585"/>
                      <a:pt x="1262" y="586"/>
                    </a:cubicBezTo>
                    <a:cubicBezTo>
                      <a:pt x="1262" y="586"/>
                      <a:pt x="1262" y="586"/>
                      <a:pt x="1266" y="587"/>
                    </a:cubicBezTo>
                    <a:cubicBezTo>
                      <a:pt x="1266" y="587"/>
                      <a:pt x="1266" y="587"/>
                      <a:pt x="1268" y="589"/>
                    </a:cubicBezTo>
                    <a:cubicBezTo>
                      <a:pt x="1268" y="589"/>
                      <a:pt x="1268" y="589"/>
                      <a:pt x="1268" y="591"/>
                    </a:cubicBezTo>
                    <a:cubicBezTo>
                      <a:pt x="1268" y="591"/>
                      <a:pt x="1268" y="591"/>
                      <a:pt x="1270" y="595"/>
                    </a:cubicBezTo>
                    <a:cubicBezTo>
                      <a:pt x="1270" y="595"/>
                      <a:pt x="1270" y="595"/>
                      <a:pt x="1272" y="596"/>
                    </a:cubicBezTo>
                    <a:cubicBezTo>
                      <a:pt x="1272" y="596"/>
                      <a:pt x="1272" y="596"/>
                      <a:pt x="1274" y="596"/>
                    </a:cubicBezTo>
                    <a:cubicBezTo>
                      <a:pt x="1274" y="596"/>
                      <a:pt x="1274" y="596"/>
                      <a:pt x="1275" y="595"/>
                    </a:cubicBezTo>
                    <a:cubicBezTo>
                      <a:pt x="1275" y="595"/>
                      <a:pt x="1275" y="595"/>
                      <a:pt x="1277" y="596"/>
                    </a:cubicBezTo>
                    <a:cubicBezTo>
                      <a:pt x="1277" y="596"/>
                      <a:pt x="1277" y="596"/>
                      <a:pt x="1282" y="598"/>
                    </a:cubicBezTo>
                    <a:cubicBezTo>
                      <a:pt x="1282" y="598"/>
                      <a:pt x="1282" y="598"/>
                      <a:pt x="1285" y="599"/>
                    </a:cubicBezTo>
                    <a:cubicBezTo>
                      <a:pt x="1285" y="599"/>
                      <a:pt x="1285" y="599"/>
                      <a:pt x="1287" y="601"/>
                    </a:cubicBezTo>
                    <a:cubicBezTo>
                      <a:pt x="1287" y="601"/>
                      <a:pt x="1287" y="601"/>
                      <a:pt x="1289" y="603"/>
                    </a:cubicBezTo>
                    <a:cubicBezTo>
                      <a:pt x="1289" y="603"/>
                      <a:pt x="1289" y="603"/>
                      <a:pt x="1292" y="604"/>
                    </a:cubicBezTo>
                    <a:cubicBezTo>
                      <a:pt x="1292" y="604"/>
                      <a:pt x="1292" y="604"/>
                      <a:pt x="1293" y="603"/>
                    </a:cubicBezTo>
                    <a:cubicBezTo>
                      <a:pt x="1293" y="603"/>
                      <a:pt x="1293" y="603"/>
                      <a:pt x="1295" y="601"/>
                    </a:cubicBezTo>
                    <a:cubicBezTo>
                      <a:pt x="1295" y="601"/>
                      <a:pt x="1295" y="601"/>
                      <a:pt x="1297" y="599"/>
                    </a:cubicBezTo>
                    <a:cubicBezTo>
                      <a:pt x="1297" y="599"/>
                      <a:pt x="1297" y="599"/>
                      <a:pt x="1298" y="598"/>
                    </a:cubicBezTo>
                    <a:cubicBezTo>
                      <a:pt x="1298" y="598"/>
                      <a:pt x="1298" y="598"/>
                      <a:pt x="1297" y="595"/>
                    </a:cubicBezTo>
                    <a:cubicBezTo>
                      <a:pt x="1297" y="595"/>
                      <a:pt x="1297" y="595"/>
                      <a:pt x="1296" y="593"/>
                    </a:cubicBezTo>
                    <a:cubicBezTo>
                      <a:pt x="1296" y="593"/>
                      <a:pt x="1296" y="593"/>
                      <a:pt x="1296" y="590"/>
                    </a:cubicBezTo>
                    <a:cubicBezTo>
                      <a:pt x="1296" y="590"/>
                      <a:pt x="1296" y="590"/>
                      <a:pt x="1297" y="590"/>
                    </a:cubicBezTo>
                    <a:cubicBezTo>
                      <a:pt x="1297" y="590"/>
                      <a:pt x="1297" y="590"/>
                      <a:pt x="1297" y="588"/>
                    </a:cubicBezTo>
                    <a:cubicBezTo>
                      <a:pt x="1297" y="588"/>
                      <a:pt x="1297" y="588"/>
                      <a:pt x="1299" y="586"/>
                    </a:cubicBezTo>
                    <a:cubicBezTo>
                      <a:pt x="1299" y="586"/>
                      <a:pt x="1299" y="586"/>
                      <a:pt x="1301" y="585"/>
                    </a:cubicBezTo>
                    <a:cubicBezTo>
                      <a:pt x="1301" y="585"/>
                      <a:pt x="1301" y="585"/>
                      <a:pt x="1304" y="585"/>
                    </a:cubicBezTo>
                    <a:cubicBezTo>
                      <a:pt x="1304" y="585"/>
                      <a:pt x="1304" y="585"/>
                      <a:pt x="1306" y="584"/>
                    </a:cubicBezTo>
                    <a:cubicBezTo>
                      <a:pt x="1306" y="584"/>
                      <a:pt x="1306" y="584"/>
                      <a:pt x="1307" y="584"/>
                    </a:cubicBezTo>
                    <a:cubicBezTo>
                      <a:pt x="1307" y="584"/>
                      <a:pt x="1307" y="584"/>
                      <a:pt x="1308" y="585"/>
                    </a:cubicBezTo>
                    <a:cubicBezTo>
                      <a:pt x="1308" y="585"/>
                      <a:pt x="1308" y="585"/>
                      <a:pt x="1309" y="584"/>
                    </a:cubicBezTo>
                    <a:cubicBezTo>
                      <a:pt x="1309" y="584"/>
                      <a:pt x="1309" y="584"/>
                      <a:pt x="1311" y="585"/>
                    </a:cubicBezTo>
                    <a:cubicBezTo>
                      <a:pt x="1311" y="585"/>
                      <a:pt x="1311" y="585"/>
                      <a:pt x="1313" y="585"/>
                    </a:cubicBezTo>
                    <a:cubicBezTo>
                      <a:pt x="1313" y="585"/>
                      <a:pt x="1313" y="585"/>
                      <a:pt x="1315" y="586"/>
                    </a:cubicBezTo>
                    <a:cubicBezTo>
                      <a:pt x="1315" y="586"/>
                      <a:pt x="1315" y="586"/>
                      <a:pt x="1316" y="587"/>
                    </a:cubicBezTo>
                    <a:cubicBezTo>
                      <a:pt x="1316" y="587"/>
                      <a:pt x="1316" y="587"/>
                      <a:pt x="1315" y="587"/>
                    </a:cubicBezTo>
                    <a:cubicBezTo>
                      <a:pt x="1315" y="587"/>
                      <a:pt x="1315" y="587"/>
                      <a:pt x="1316" y="588"/>
                    </a:cubicBezTo>
                    <a:cubicBezTo>
                      <a:pt x="1316" y="588"/>
                      <a:pt x="1316" y="588"/>
                      <a:pt x="1318" y="589"/>
                    </a:cubicBezTo>
                    <a:cubicBezTo>
                      <a:pt x="1318" y="589"/>
                      <a:pt x="1318" y="589"/>
                      <a:pt x="1319" y="589"/>
                    </a:cubicBezTo>
                    <a:cubicBezTo>
                      <a:pt x="1319" y="589"/>
                      <a:pt x="1319" y="589"/>
                      <a:pt x="1320" y="589"/>
                    </a:cubicBezTo>
                    <a:cubicBezTo>
                      <a:pt x="1320" y="589"/>
                      <a:pt x="1320" y="589"/>
                      <a:pt x="1324" y="590"/>
                    </a:cubicBezTo>
                    <a:cubicBezTo>
                      <a:pt x="1324" y="590"/>
                      <a:pt x="1324" y="590"/>
                      <a:pt x="1326" y="590"/>
                    </a:cubicBezTo>
                    <a:cubicBezTo>
                      <a:pt x="1326" y="590"/>
                      <a:pt x="1326" y="590"/>
                      <a:pt x="1327" y="590"/>
                    </a:cubicBezTo>
                    <a:cubicBezTo>
                      <a:pt x="1327" y="590"/>
                      <a:pt x="1327" y="590"/>
                      <a:pt x="1328" y="591"/>
                    </a:cubicBezTo>
                    <a:cubicBezTo>
                      <a:pt x="1328" y="591"/>
                      <a:pt x="1328" y="591"/>
                      <a:pt x="1328" y="593"/>
                    </a:cubicBezTo>
                    <a:cubicBezTo>
                      <a:pt x="1328" y="593"/>
                      <a:pt x="1328" y="593"/>
                      <a:pt x="1329" y="593"/>
                    </a:cubicBezTo>
                    <a:cubicBezTo>
                      <a:pt x="1329" y="593"/>
                      <a:pt x="1329" y="593"/>
                      <a:pt x="1332" y="592"/>
                    </a:cubicBezTo>
                    <a:cubicBezTo>
                      <a:pt x="1332" y="592"/>
                      <a:pt x="1332" y="592"/>
                      <a:pt x="1334" y="593"/>
                    </a:cubicBezTo>
                    <a:cubicBezTo>
                      <a:pt x="1334" y="593"/>
                      <a:pt x="1334" y="593"/>
                      <a:pt x="1339" y="594"/>
                    </a:cubicBezTo>
                    <a:cubicBezTo>
                      <a:pt x="1339" y="594"/>
                      <a:pt x="1339" y="594"/>
                      <a:pt x="1341" y="594"/>
                    </a:cubicBezTo>
                    <a:cubicBezTo>
                      <a:pt x="1341" y="594"/>
                      <a:pt x="1341" y="594"/>
                      <a:pt x="1343" y="595"/>
                    </a:cubicBezTo>
                    <a:cubicBezTo>
                      <a:pt x="1343" y="595"/>
                      <a:pt x="1343" y="595"/>
                      <a:pt x="1344" y="595"/>
                    </a:cubicBezTo>
                    <a:cubicBezTo>
                      <a:pt x="1344" y="595"/>
                      <a:pt x="1344" y="595"/>
                      <a:pt x="1345" y="595"/>
                    </a:cubicBezTo>
                    <a:cubicBezTo>
                      <a:pt x="1345" y="595"/>
                      <a:pt x="1345" y="595"/>
                      <a:pt x="1346" y="596"/>
                    </a:cubicBezTo>
                    <a:cubicBezTo>
                      <a:pt x="1346" y="596"/>
                      <a:pt x="1346" y="596"/>
                      <a:pt x="1349" y="596"/>
                    </a:cubicBezTo>
                    <a:cubicBezTo>
                      <a:pt x="1349" y="596"/>
                      <a:pt x="1349" y="596"/>
                      <a:pt x="1350" y="596"/>
                    </a:cubicBezTo>
                    <a:cubicBezTo>
                      <a:pt x="1350" y="596"/>
                      <a:pt x="1350" y="596"/>
                      <a:pt x="1352" y="597"/>
                    </a:cubicBezTo>
                    <a:cubicBezTo>
                      <a:pt x="1352" y="597"/>
                      <a:pt x="1352" y="597"/>
                      <a:pt x="1354" y="597"/>
                    </a:cubicBezTo>
                    <a:cubicBezTo>
                      <a:pt x="1354" y="597"/>
                      <a:pt x="1354" y="597"/>
                      <a:pt x="1355" y="597"/>
                    </a:cubicBezTo>
                    <a:cubicBezTo>
                      <a:pt x="1355" y="597"/>
                      <a:pt x="1355" y="597"/>
                      <a:pt x="1356" y="596"/>
                    </a:cubicBezTo>
                    <a:cubicBezTo>
                      <a:pt x="1356" y="596"/>
                      <a:pt x="1356" y="596"/>
                      <a:pt x="1358" y="595"/>
                    </a:cubicBezTo>
                    <a:cubicBezTo>
                      <a:pt x="1358" y="595"/>
                      <a:pt x="1358" y="595"/>
                      <a:pt x="1360" y="594"/>
                    </a:cubicBezTo>
                    <a:cubicBezTo>
                      <a:pt x="1360" y="594"/>
                      <a:pt x="1360" y="594"/>
                      <a:pt x="1361" y="593"/>
                    </a:cubicBezTo>
                    <a:cubicBezTo>
                      <a:pt x="1361" y="593"/>
                      <a:pt x="1361" y="593"/>
                      <a:pt x="1362" y="593"/>
                    </a:cubicBezTo>
                    <a:cubicBezTo>
                      <a:pt x="1362" y="593"/>
                      <a:pt x="1362" y="593"/>
                      <a:pt x="1362" y="594"/>
                    </a:cubicBezTo>
                    <a:cubicBezTo>
                      <a:pt x="1362" y="594"/>
                      <a:pt x="1362" y="594"/>
                      <a:pt x="1363" y="594"/>
                    </a:cubicBezTo>
                    <a:cubicBezTo>
                      <a:pt x="1363" y="594"/>
                      <a:pt x="1363" y="594"/>
                      <a:pt x="1365" y="594"/>
                    </a:cubicBezTo>
                    <a:cubicBezTo>
                      <a:pt x="1365" y="594"/>
                      <a:pt x="1365" y="594"/>
                      <a:pt x="1366" y="594"/>
                    </a:cubicBezTo>
                    <a:cubicBezTo>
                      <a:pt x="1366" y="594"/>
                      <a:pt x="1366" y="594"/>
                      <a:pt x="1366" y="593"/>
                    </a:cubicBezTo>
                    <a:cubicBezTo>
                      <a:pt x="1366" y="593"/>
                      <a:pt x="1366" y="593"/>
                      <a:pt x="1367" y="593"/>
                    </a:cubicBezTo>
                    <a:cubicBezTo>
                      <a:pt x="1367" y="593"/>
                      <a:pt x="1367" y="593"/>
                      <a:pt x="1368" y="594"/>
                    </a:cubicBezTo>
                    <a:cubicBezTo>
                      <a:pt x="1368" y="594"/>
                      <a:pt x="1368" y="594"/>
                      <a:pt x="1369" y="593"/>
                    </a:cubicBezTo>
                    <a:cubicBezTo>
                      <a:pt x="1369" y="593"/>
                      <a:pt x="1369" y="593"/>
                      <a:pt x="1370" y="594"/>
                    </a:cubicBezTo>
                    <a:cubicBezTo>
                      <a:pt x="1370" y="594"/>
                      <a:pt x="1370" y="594"/>
                      <a:pt x="1369" y="594"/>
                    </a:cubicBezTo>
                    <a:cubicBezTo>
                      <a:pt x="1369" y="594"/>
                      <a:pt x="1369" y="594"/>
                      <a:pt x="1370" y="595"/>
                    </a:cubicBezTo>
                    <a:cubicBezTo>
                      <a:pt x="1370" y="595"/>
                      <a:pt x="1370" y="595"/>
                      <a:pt x="1371" y="596"/>
                    </a:cubicBezTo>
                    <a:cubicBezTo>
                      <a:pt x="1371" y="596"/>
                      <a:pt x="1371" y="596"/>
                      <a:pt x="1372" y="597"/>
                    </a:cubicBezTo>
                    <a:cubicBezTo>
                      <a:pt x="1372" y="597"/>
                      <a:pt x="1372" y="597"/>
                      <a:pt x="1371" y="595"/>
                    </a:cubicBezTo>
                    <a:cubicBezTo>
                      <a:pt x="1371" y="595"/>
                      <a:pt x="1371" y="595"/>
                      <a:pt x="1371" y="594"/>
                    </a:cubicBezTo>
                    <a:cubicBezTo>
                      <a:pt x="1371" y="594"/>
                      <a:pt x="1371" y="594"/>
                      <a:pt x="1374" y="596"/>
                    </a:cubicBezTo>
                    <a:cubicBezTo>
                      <a:pt x="1374" y="596"/>
                      <a:pt x="1374" y="596"/>
                      <a:pt x="1377" y="595"/>
                    </a:cubicBezTo>
                    <a:cubicBezTo>
                      <a:pt x="1377" y="595"/>
                      <a:pt x="1377" y="595"/>
                      <a:pt x="1381" y="596"/>
                    </a:cubicBezTo>
                    <a:cubicBezTo>
                      <a:pt x="1381" y="596"/>
                      <a:pt x="1381" y="596"/>
                      <a:pt x="1382" y="595"/>
                    </a:cubicBezTo>
                    <a:cubicBezTo>
                      <a:pt x="1382" y="595"/>
                      <a:pt x="1382" y="595"/>
                      <a:pt x="1383" y="594"/>
                    </a:cubicBezTo>
                    <a:cubicBezTo>
                      <a:pt x="1383" y="594"/>
                      <a:pt x="1383" y="594"/>
                      <a:pt x="1385" y="591"/>
                    </a:cubicBezTo>
                    <a:cubicBezTo>
                      <a:pt x="1385" y="591"/>
                      <a:pt x="1385" y="591"/>
                      <a:pt x="1387" y="588"/>
                    </a:cubicBezTo>
                    <a:cubicBezTo>
                      <a:pt x="1387" y="588"/>
                      <a:pt x="1387" y="588"/>
                      <a:pt x="1387" y="583"/>
                    </a:cubicBezTo>
                    <a:cubicBezTo>
                      <a:pt x="1387" y="583"/>
                      <a:pt x="1387" y="583"/>
                      <a:pt x="1389" y="582"/>
                    </a:cubicBezTo>
                    <a:cubicBezTo>
                      <a:pt x="1389" y="582"/>
                      <a:pt x="1389" y="582"/>
                      <a:pt x="1389" y="581"/>
                    </a:cubicBezTo>
                    <a:cubicBezTo>
                      <a:pt x="1389" y="581"/>
                      <a:pt x="1389" y="581"/>
                      <a:pt x="1389" y="580"/>
                    </a:cubicBezTo>
                    <a:cubicBezTo>
                      <a:pt x="1389" y="580"/>
                      <a:pt x="1389" y="580"/>
                      <a:pt x="1390" y="578"/>
                    </a:cubicBezTo>
                    <a:cubicBezTo>
                      <a:pt x="1390" y="578"/>
                      <a:pt x="1390" y="578"/>
                      <a:pt x="1391" y="576"/>
                    </a:cubicBezTo>
                    <a:cubicBezTo>
                      <a:pt x="1391" y="576"/>
                      <a:pt x="1391" y="576"/>
                      <a:pt x="1391" y="572"/>
                    </a:cubicBezTo>
                    <a:cubicBezTo>
                      <a:pt x="1391" y="572"/>
                      <a:pt x="1391" y="572"/>
                      <a:pt x="1392" y="572"/>
                    </a:cubicBezTo>
                    <a:cubicBezTo>
                      <a:pt x="1392" y="572"/>
                      <a:pt x="1392" y="572"/>
                      <a:pt x="1392" y="571"/>
                    </a:cubicBezTo>
                    <a:cubicBezTo>
                      <a:pt x="1392" y="571"/>
                      <a:pt x="1392" y="571"/>
                      <a:pt x="1392" y="569"/>
                    </a:cubicBezTo>
                    <a:cubicBezTo>
                      <a:pt x="1392" y="569"/>
                      <a:pt x="1392" y="569"/>
                      <a:pt x="1393" y="568"/>
                    </a:cubicBezTo>
                    <a:cubicBezTo>
                      <a:pt x="1393" y="568"/>
                      <a:pt x="1393" y="568"/>
                      <a:pt x="1392" y="566"/>
                    </a:cubicBezTo>
                    <a:cubicBezTo>
                      <a:pt x="1392" y="566"/>
                      <a:pt x="1392" y="566"/>
                      <a:pt x="1391" y="564"/>
                    </a:cubicBezTo>
                    <a:cubicBezTo>
                      <a:pt x="1391" y="564"/>
                      <a:pt x="1391" y="564"/>
                      <a:pt x="1391" y="562"/>
                    </a:cubicBezTo>
                    <a:cubicBezTo>
                      <a:pt x="1391" y="562"/>
                      <a:pt x="1391" y="562"/>
                      <a:pt x="1392" y="562"/>
                    </a:cubicBezTo>
                    <a:cubicBezTo>
                      <a:pt x="1392" y="562"/>
                      <a:pt x="1392" y="562"/>
                      <a:pt x="1392" y="561"/>
                    </a:cubicBezTo>
                    <a:cubicBezTo>
                      <a:pt x="1392" y="561"/>
                      <a:pt x="1392" y="561"/>
                      <a:pt x="1391" y="559"/>
                    </a:cubicBezTo>
                    <a:cubicBezTo>
                      <a:pt x="1391" y="559"/>
                      <a:pt x="1391" y="559"/>
                      <a:pt x="1392" y="558"/>
                    </a:cubicBezTo>
                    <a:cubicBezTo>
                      <a:pt x="1392" y="558"/>
                      <a:pt x="1392" y="558"/>
                      <a:pt x="1393" y="556"/>
                    </a:cubicBezTo>
                    <a:cubicBezTo>
                      <a:pt x="1393" y="556"/>
                      <a:pt x="1393" y="556"/>
                      <a:pt x="1393" y="555"/>
                    </a:cubicBezTo>
                    <a:cubicBezTo>
                      <a:pt x="1393" y="555"/>
                      <a:pt x="1393" y="555"/>
                      <a:pt x="1392" y="555"/>
                    </a:cubicBezTo>
                    <a:cubicBezTo>
                      <a:pt x="1392" y="555"/>
                      <a:pt x="1392" y="555"/>
                      <a:pt x="1391" y="556"/>
                    </a:cubicBezTo>
                    <a:cubicBezTo>
                      <a:pt x="1391" y="556"/>
                      <a:pt x="1391" y="556"/>
                      <a:pt x="1390" y="557"/>
                    </a:cubicBezTo>
                    <a:cubicBezTo>
                      <a:pt x="1390" y="557"/>
                      <a:pt x="1390" y="557"/>
                      <a:pt x="1389" y="557"/>
                    </a:cubicBezTo>
                    <a:cubicBezTo>
                      <a:pt x="1389" y="557"/>
                      <a:pt x="1389" y="557"/>
                      <a:pt x="1387" y="556"/>
                    </a:cubicBezTo>
                    <a:cubicBezTo>
                      <a:pt x="1387" y="556"/>
                      <a:pt x="1387" y="556"/>
                      <a:pt x="1384" y="555"/>
                    </a:cubicBezTo>
                    <a:cubicBezTo>
                      <a:pt x="1384" y="555"/>
                      <a:pt x="1384" y="555"/>
                      <a:pt x="1381" y="559"/>
                    </a:cubicBezTo>
                    <a:cubicBezTo>
                      <a:pt x="1381" y="559"/>
                      <a:pt x="1381" y="559"/>
                      <a:pt x="1381" y="560"/>
                    </a:cubicBezTo>
                    <a:cubicBezTo>
                      <a:pt x="1381" y="560"/>
                      <a:pt x="1381" y="560"/>
                      <a:pt x="1380" y="560"/>
                    </a:cubicBezTo>
                    <a:cubicBezTo>
                      <a:pt x="1380" y="560"/>
                      <a:pt x="1380" y="560"/>
                      <a:pt x="1379" y="560"/>
                    </a:cubicBezTo>
                    <a:cubicBezTo>
                      <a:pt x="1379" y="560"/>
                      <a:pt x="1379" y="560"/>
                      <a:pt x="1377" y="561"/>
                    </a:cubicBezTo>
                    <a:cubicBezTo>
                      <a:pt x="1377" y="561"/>
                      <a:pt x="1377" y="561"/>
                      <a:pt x="1372" y="561"/>
                    </a:cubicBezTo>
                    <a:cubicBezTo>
                      <a:pt x="1372" y="561"/>
                      <a:pt x="1372" y="561"/>
                      <a:pt x="1370" y="560"/>
                    </a:cubicBezTo>
                    <a:cubicBezTo>
                      <a:pt x="1370" y="560"/>
                      <a:pt x="1370" y="560"/>
                      <a:pt x="1368" y="558"/>
                    </a:cubicBezTo>
                    <a:cubicBezTo>
                      <a:pt x="1368" y="558"/>
                      <a:pt x="1368" y="558"/>
                      <a:pt x="1367" y="558"/>
                    </a:cubicBezTo>
                    <a:cubicBezTo>
                      <a:pt x="1367" y="558"/>
                      <a:pt x="1367" y="558"/>
                      <a:pt x="1364" y="556"/>
                    </a:cubicBezTo>
                    <a:cubicBezTo>
                      <a:pt x="1364" y="556"/>
                      <a:pt x="1364" y="556"/>
                      <a:pt x="1362" y="556"/>
                    </a:cubicBezTo>
                    <a:cubicBezTo>
                      <a:pt x="1362" y="556"/>
                      <a:pt x="1362" y="556"/>
                      <a:pt x="1359" y="556"/>
                    </a:cubicBezTo>
                    <a:cubicBezTo>
                      <a:pt x="1359" y="556"/>
                      <a:pt x="1359" y="556"/>
                      <a:pt x="1359" y="557"/>
                    </a:cubicBezTo>
                    <a:cubicBezTo>
                      <a:pt x="1359" y="557"/>
                      <a:pt x="1359" y="557"/>
                      <a:pt x="1359" y="558"/>
                    </a:cubicBezTo>
                    <a:cubicBezTo>
                      <a:pt x="1359" y="558"/>
                      <a:pt x="1359" y="558"/>
                      <a:pt x="1359" y="560"/>
                    </a:cubicBezTo>
                    <a:cubicBezTo>
                      <a:pt x="1359" y="560"/>
                      <a:pt x="1359" y="560"/>
                      <a:pt x="1358" y="560"/>
                    </a:cubicBezTo>
                    <a:cubicBezTo>
                      <a:pt x="1358" y="560"/>
                      <a:pt x="1358" y="560"/>
                      <a:pt x="1357" y="560"/>
                    </a:cubicBezTo>
                    <a:cubicBezTo>
                      <a:pt x="1357" y="560"/>
                      <a:pt x="1357" y="560"/>
                      <a:pt x="1356" y="560"/>
                    </a:cubicBezTo>
                    <a:cubicBezTo>
                      <a:pt x="1356" y="560"/>
                      <a:pt x="1356" y="560"/>
                      <a:pt x="1355" y="560"/>
                    </a:cubicBezTo>
                    <a:cubicBezTo>
                      <a:pt x="1355" y="560"/>
                      <a:pt x="1355" y="560"/>
                      <a:pt x="1355" y="561"/>
                    </a:cubicBezTo>
                    <a:cubicBezTo>
                      <a:pt x="1355" y="561"/>
                      <a:pt x="1355" y="561"/>
                      <a:pt x="1353" y="561"/>
                    </a:cubicBezTo>
                    <a:cubicBezTo>
                      <a:pt x="1353" y="561"/>
                      <a:pt x="1353" y="561"/>
                      <a:pt x="1352" y="560"/>
                    </a:cubicBezTo>
                    <a:cubicBezTo>
                      <a:pt x="1352" y="560"/>
                      <a:pt x="1352" y="560"/>
                      <a:pt x="1351" y="561"/>
                    </a:cubicBezTo>
                    <a:cubicBezTo>
                      <a:pt x="1351" y="561"/>
                      <a:pt x="1351" y="561"/>
                      <a:pt x="1350" y="560"/>
                    </a:cubicBezTo>
                    <a:cubicBezTo>
                      <a:pt x="1350" y="560"/>
                      <a:pt x="1350" y="560"/>
                      <a:pt x="1350" y="559"/>
                    </a:cubicBezTo>
                    <a:cubicBezTo>
                      <a:pt x="1350" y="559"/>
                      <a:pt x="1350" y="559"/>
                      <a:pt x="1349" y="558"/>
                    </a:cubicBezTo>
                    <a:cubicBezTo>
                      <a:pt x="1349" y="558"/>
                      <a:pt x="1349" y="558"/>
                      <a:pt x="1350" y="558"/>
                    </a:cubicBezTo>
                    <a:cubicBezTo>
                      <a:pt x="1350" y="558"/>
                      <a:pt x="1350" y="558"/>
                      <a:pt x="1350" y="557"/>
                    </a:cubicBezTo>
                    <a:cubicBezTo>
                      <a:pt x="1350" y="557"/>
                      <a:pt x="1350" y="557"/>
                      <a:pt x="1349" y="557"/>
                    </a:cubicBezTo>
                    <a:cubicBezTo>
                      <a:pt x="1349" y="557"/>
                      <a:pt x="1349" y="557"/>
                      <a:pt x="1348" y="558"/>
                    </a:cubicBezTo>
                    <a:cubicBezTo>
                      <a:pt x="1348" y="558"/>
                      <a:pt x="1348" y="558"/>
                      <a:pt x="1347" y="557"/>
                    </a:cubicBezTo>
                    <a:cubicBezTo>
                      <a:pt x="1347" y="557"/>
                      <a:pt x="1347" y="557"/>
                      <a:pt x="1346" y="557"/>
                    </a:cubicBezTo>
                    <a:cubicBezTo>
                      <a:pt x="1346" y="557"/>
                      <a:pt x="1346" y="557"/>
                      <a:pt x="1346" y="556"/>
                    </a:cubicBezTo>
                    <a:cubicBezTo>
                      <a:pt x="1346" y="556"/>
                      <a:pt x="1346" y="556"/>
                      <a:pt x="1345" y="556"/>
                    </a:cubicBezTo>
                    <a:cubicBezTo>
                      <a:pt x="1345" y="556"/>
                      <a:pt x="1345" y="556"/>
                      <a:pt x="1344" y="557"/>
                    </a:cubicBezTo>
                    <a:cubicBezTo>
                      <a:pt x="1344" y="557"/>
                      <a:pt x="1344" y="557"/>
                      <a:pt x="1343" y="558"/>
                    </a:cubicBezTo>
                    <a:cubicBezTo>
                      <a:pt x="1343" y="558"/>
                      <a:pt x="1343" y="558"/>
                      <a:pt x="1343" y="557"/>
                    </a:cubicBezTo>
                    <a:cubicBezTo>
                      <a:pt x="1343" y="557"/>
                      <a:pt x="1343" y="557"/>
                      <a:pt x="1342" y="557"/>
                    </a:cubicBezTo>
                    <a:cubicBezTo>
                      <a:pt x="1342" y="557"/>
                      <a:pt x="1342" y="557"/>
                      <a:pt x="1341" y="557"/>
                    </a:cubicBezTo>
                    <a:cubicBezTo>
                      <a:pt x="1341" y="557"/>
                      <a:pt x="1341" y="557"/>
                      <a:pt x="1343" y="556"/>
                    </a:cubicBezTo>
                    <a:cubicBezTo>
                      <a:pt x="1343" y="556"/>
                      <a:pt x="1343" y="556"/>
                      <a:pt x="1343" y="555"/>
                    </a:cubicBezTo>
                    <a:cubicBezTo>
                      <a:pt x="1343" y="555"/>
                      <a:pt x="1343" y="555"/>
                      <a:pt x="1341" y="555"/>
                    </a:cubicBezTo>
                    <a:cubicBezTo>
                      <a:pt x="1341" y="555"/>
                      <a:pt x="1341" y="555"/>
                      <a:pt x="1339" y="555"/>
                    </a:cubicBezTo>
                    <a:cubicBezTo>
                      <a:pt x="1339" y="555"/>
                      <a:pt x="1339" y="555"/>
                      <a:pt x="1340" y="554"/>
                    </a:cubicBezTo>
                    <a:cubicBezTo>
                      <a:pt x="1340" y="554"/>
                      <a:pt x="1340" y="554"/>
                      <a:pt x="1338" y="552"/>
                    </a:cubicBezTo>
                    <a:cubicBezTo>
                      <a:pt x="1338" y="552"/>
                      <a:pt x="1338" y="552"/>
                      <a:pt x="1338" y="551"/>
                    </a:cubicBezTo>
                    <a:cubicBezTo>
                      <a:pt x="1338" y="551"/>
                      <a:pt x="1338" y="551"/>
                      <a:pt x="1337" y="551"/>
                    </a:cubicBezTo>
                    <a:cubicBezTo>
                      <a:pt x="1337" y="551"/>
                      <a:pt x="1337" y="551"/>
                      <a:pt x="1338" y="550"/>
                    </a:cubicBezTo>
                    <a:cubicBezTo>
                      <a:pt x="1338" y="550"/>
                      <a:pt x="1338" y="550"/>
                      <a:pt x="1337" y="548"/>
                    </a:cubicBezTo>
                    <a:cubicBezTo>
                      <a:pt x="1337" y="548"/>
                      <a:pt x="1337" y="548"/>
                      <a:pt x="1336" y="547"/>
                    </a:cubicBezTo>
                    <a:cubicBezTo>
                      <a:pt x="1336" y="547"/>
                      <a:pt x="1336" y="547"/>
                      <a:pt x="1335" y="547"/>
                    </a:cubicBezTo>
                    <a:cubicBezTo>
                      <a:pt x="1335" y="547"/>
                      <a:pt x="1335" y="547"/>
                      <a:pt x="1334" y="546"/>
                    </a:cubicBezTo>
                    <a:cubicBezTo>
                      <a:pt x="1334" y="546"/>
                      <a:pt x="1334" y="546"/>
                      <a:pt x="1333" y="547"/>
                    </a:cubicBezTo>
                    <a:cubicBezTo>
                      <a:pt x="1333" y="547"/>
                      <a:pt x="1333" y="547"/>
                      <a:pt x="1332" y="546"/>
                    </a:cubicBezTo>
                    <a:cubicBezTo>
                      <a:pt x="1332" y="546"/>
                      <a:pt x="1332" y="546"/>
                      <a:pt x="1332" y="545"/>
                    </a:cubicBezTo>
                    <a:cubicBezTo>
                      <a:pt x="1332" y="545"/>
                      <a:pt x="1332" y="545"/>
                      <a:pt x="1333" y="545"/>
                    </a:cubicBezTo>
                    <a:cubicBezTo>
                      <a:pt x="1333" y="545"/>
                      <a:pt x="1333" y="545"/>
                      <a:pt x="1332" y="544"/>
                    </a:cubicBezTo>
                    <a:cubicBezTo>
                      <a:pt x="1332" y="544"/>
                      <a:pt x="1332" y="544"/>
                      <a:pt x="1333" y="543"/>
                    </a:cubicBezTo>
                    <a:cubicBezTo>
                      <a:pt x="1333" y="543"/>
                      <a:pt x="1333" y="543"/>
                      <a:pt x="1334" y="544"/>
                    </a:cubicBezTo>
                    <a:cubicBezTo>
                      <a:pt x="1334" y="544"/>
                      <a:pt x="1334" y="544"/>
                      <a:pt x="1335" y="543"/>
                    </a:cubicBezTo>
                    <a:cubicBezTo>
                      <a:pt x="1335" y="543"/>
                      <a:pt x="1335" y="543"/>
                      <a:pt x="1334" y="542"/>
                    </a:cubicBezTo>
                    <a:cubicBezTo>
                      <a:pt x="1334" y="542"/>
                      <a:pt x="1334" y="542"/>
                      <a:pt x="1336" y="541"/>
                    </a:cubicBezTo>
                    <a:cubicBezTo>
                      <a:pt x="1336" y="541"/>
                      <a:pt x="1336" y="541"/>
                      <a:pt x="1337" y="541"/>
                    </a:cubicBezTo>
                    <a:cubicBezTo>
                      <a:pt x="1337" y="541"/>
                      <a:pt x="1337" y="541"/>
                      <a:pt x="1337" y="540"/>
                    </a:cubicBezTo>
                    <a:cubicBezTo>
                      <a:pt x="1337" y="540"/>
                      <a:pt x="1337" y="540"/>
                      <a:pt x="1335" y="541"/>
                    </a:cubicBezTo>
                    <a:cubicBezTo>
                      <a:pt x="1335" y="541"/>
                      <a:pt x="1335" y="541"/>
                      <a:pt x="1335" y="540"/>
                    </a:cubicBezTo>
                    <a:cubicBezTo>
                      <a:pt x="1335" y="540"/>
                      <a:pt x="1335" y="540"/>
                      <a:pt x="1335" y="539"/>
                    </a:cubicBezTo>
                    <a:cubicBezTo>
                      <a:pt x="1335" y="539"/>
                      <a:pt x="1335" y="539"/>
                      <a:pt x="1335" y="538"/>
                    </a:cubicBezTo>
                    <a:cubicBezTo>
                      <a:pt x="1335" y="538"/>
                      <a:pt x="1335" y="538"/>
                      <a:pt x="1334" y="537"/>
                    </a:cubicBezTo>
                    <a:cubicBezTo>
                      <a:pt x="1334" y="537"/>
                      <a:pt x="1334" y="537"/>
                      <a:pt x="1336" y="536"/>
                    </a:cubicBezTo>
                    <a:cubicBezTo>
                      <a:pt x="1336" y="536"/>
                      <a:pt x="1336" y="536"/>
                      <a:pt x="1334" y="536"/>
                    </a:cubicBezTo>
                    <a:cubicBezTo>
                      <a:pt x="1334" y="536"/>
                      <a:pt x="1334" y="536"/>
                      <a:pt x="1333" y="536"/>
                    </a:cubicBezTo>
                    <a:cubicBezTo>
                      <a:pt x="1333" y="536"/>
                      <a:pt x="1333" y="536"/>
                      <a:pt x="1331" y="536"/>
                    </a:cubicBezTo>
                    <a:cubicBezTo>
                      <a:pt x="1331" y="536"/>
                      <a:pt x="1331" y="536"/>
                      <a:pt x="1331" y="535"/>
                    </a:cubicBezTo>
                    <a:cubicBezTo>
                      <a:pt x="1331" y="535"/>
                      <a:pt x="1331" y="535"/>
                      <a:pt x="1331" y="534"/>
                    </a:cubicBezTo>
                    <a:cubicBezTo>
                      <a:pt x="1331" y="534"/>
                      <a:pt x="1331" y="534"/>
                      <a:pt x="1331" y="533"/>
                    </a:cubicBezTo>
                    <a:cubicBezTo>
                      <a:pt x="1331" y="533"/>
                      <a:pt x="1331" y="533"/>
                      <a:pt x="1331" y="532"/>
                    </a:cubicBezTo>
                    <a:cubicBezTo>
                      <a:pt x="1331" y="532"/>
                      <a:pt x="1331" y="532"/>
                      <a:pt x="1331" y="531"/>
                    </a:cubicBezTo>
                    <a:cubicBezTo>
                      <a:pt x="1331" y="531"/>
                      <a:pt x="1331" y="531"/>
                      <a:pt x="1334" y="529"/>
                    </a:cubicBezTo>
                    <a:cubicBezTo>
                      <a:pt x="1334" y="529"/>
                      <a:pt x="1334" y="529"/>
                      <a:pt x="1336" y="529"/>
                    </a:cubicBezTo>
                    <a:cubicBezTo>
                      <a:pt x="1336" y="529"/>
                      <a:pt x="1336" y="529"/>
                      <a:pt x="1337" y="530"/>
                    </a:cubicBezTo>
                    <a:cubicBezTo>
                      <a:pt x="1337" y="530"/>
                      <a:pt x="1337" y="530"/>
                      <a:pt x="1338" y="530"/>
                    </a:cubicBezTo>
                    <a:cubicBezTo>
                      <a:pt x="1338" y="530"/>
                      <a:pt x="1338" y="530"/>
                      <a:pt x="1339" y="529"/>
                    </a:cubicBezTo>
                    <a:cubicBezTo>
                      <a:pt x="1339" y="529"/>
                      <a:pt x="1339" y="529"/>
                      <a:pt x="1340" y="529"/>
                    </a:cubicBezTo>
                    <a:cubicBezTo>
                      <a:pt x="1340" y="529"/>
                      <a:pt x="1340" y="529"/>
                      <a:pt x="1341" y="530"/>
                    </a:cubicBezTo>
                    <a:cubicBezTo>
                      <a:pt x="1341" y="530"/>
                      <a:pt x="1341" y="530"/>
                      <a:pt x="1342" y="529"/>
                    </a:cubicBezTo>
                    <a:cubicBezTo>
                      <a:pt x="1342" y="529"/>
                      <a:pt x="1342" y="529"/>
                      <a:pt x="1344" y="530"/>
                    </a:cubicBezTo>
                    <a:cubicBezTo>
                      <a:pt x="1344" y="530"/>
                      <a:pt x="1344" y="530"/>
                      <a:pt x="1347" y="530"/>
                    </a:cubicBezTo>
                    <a:cubicBezTo>
                      <a:pt x="1347" y="530"/>
                      <a:pt x="1347" y="530"/>
                      <a:pt x="1348" y="529"/>
                    </a:cubicBezTo>
                    <a:cubicBezTo>
                      <a:pt x="1348" y="529"/>
                      <a:pt x="1348" y="529"/>
                      <a:pt x="1347" y="528"/>
                    </a:cubicBezTo>
                    <a:cubicBezTo>
                      <a:pt x="1347" y="528"/>
                      <a:pt x="1347" y="528"/>
                      <a:pt x="1346" y="529"/>
                    </a:cubicBezTo>
                    <a:cubicBezTo>
                      <a:pt x="1346" y="529"/>
                      <a:pt x="1346" y="529"/>
                      <a:pt x="1345" y="528"/>
                    </a:cubicBezTo>
                    <a:cubicBezTo>
                      <a:pt x="1345" y="528"/>
                      <a:pt x="1345" y="528"/>
                      <a:pt x="1346" y="527"/>
                    </a:cubicBezTo>
                    <a:cubicBezTo>
                      <a:pt x="1346" y="527"/>
                      <a:pt x="1346" y="527"/>
                      <a:pt x="1348" y="527"/>
                    </a:cubicBezTo>
                    <a:cubicBezTo>
                      <a:pt x="1348" y="527"/>
                      <a:pt x="1348" y="527"/>
                      <a:pt x="1351" y="526"/>
                    </a:cubicBezTo>
                    <a:cubicBezTo>
                      <a:pt x="1351" y="526"/>
                      <a:pt x="1351" y="526"/>
                      <a:pt x="1350" y="526"/>
                    </a:cubicBezTo>
                    <a:cubicBezTo>
                      <a:pt x="1350" y="526"/>
                      <a:pt x="1350" y="526"/>
                      <a:pt x="1348" y="526"/>
                    </a:cubicBezTo>
                    <a:cubicBezTo>
                      <a:pt x="1348" y="526"/>
                      <a:pt x="1348" y="526"/>
                      <a:pt x="1347" y="524"/>
                    </a:cubicBezTo>
                    <a:cubicBezTo>
                      <a:pt x="1347" y="524"/>
                      <a:pt x="1347" y="524"/>
                      <a:pt x="1347" y="523"/>
                    </a:cubicBezTo>
                    <a:cubicBezTo>
                      <a:pt x="1347" y="523"/>
                      <a:pt x="1347" y="523"/>
                      <a:pt x="1349" y="522"/>
                    </a:cubicBezTo>
                    <a:cubicBezTo>
                      <a:pt x="1349" y="522"/>
                      <a:pt x="1349" y="522"/>
                      <a:pt x="1350" y="523"/>
                    </a:cubicBezTo>
                    <a:cubicBezTo>
                      <a:pt x="1350" y="523"/>
                      <a:pt x="1350" y="523"/>
                      <a:pt x="1352" y="522"/>
                    </a:cubicBezTo>
                    <a:cubicBezTo>
                      <a:pt x="1352" y="522"/>
                      <a:pt x="1352" y="522"/>
                      <a:pt x="1353" y="522"/>
                    </a:cubicBezTo>
                    <a:cubicBezTo>
                      <a:pt x="1353" y="522"/>
                      <a:pt x="1353" y="522"/>
                      <a:pt x="1354" y="522"/>
                    </a:cubicBezTo>
                    <a:cubicBezTo>
                      <a:pt x="1354" y="522"/>
                      <a:pt x="1354" y="522"/>
                      <a:pt x="1355" y="522"/>
                    </a:cubicBezTo>
                    <a:cubicBezTo>
                      <a:pt x="1355" y="522"/>
                      <a:pt x="1355" y="522"/>
                      <a:pt x="1358" y="523"/>
                    </a:cubicBezTo>
                    <a:cubicBezTo>
                      <a:pt x="1358" y="523"/>
                      <a:pt x="1358" y="523"/>
                      <a:pt x="1360" y="523"/>
                    </a:cubicBezTo>
                    <a:cubicBezTo>
                      <a:pt x="1360" y="523"/>
                      <a:pt x="1360" y="523"/>
                      <a:pt x="1360" y="522"/>
                    </a:cubicBezTo>
                    <a:cubicBezTo>
                      <a:pt x="1360" y="522"/>
                      <a:pt x="1360" y="522"/>
                      <a:pt x="1361" y="522"/>
                    </a:cubicBezTo>
                    <a:cubicBezTo>
                      <a:pt x="1361" y="522"/>
                      <a:pt x="1361" y="522"/>
                      <a:pt x="1361" y="520"/>
                    </a:cubicBezTo>
                    <a:cubicBezTo>
                      <a:pt x="1361" y="520"/>
                      <a:pt x="1361" y="520"/>
                      <a:pt x="1362" y="520"/>
                    </a:cubicBezTo>
                    <a:cubicBezTo>
                      <a:pt x="1362" y="520"/>
                      <a:pt x="1362" y="520"/>
                      <a:pt x="1363" y="519"/>
                    </a:cubicBezTo>
                    <a:cubicBezTo>
                      <a:pt x="1363" y="519"/>
                      <a:pt x="1363" y="519"/>
                      <a:pt x="1364" y="519"/>
                    </a:cubicBezTo>
                    <a:cubicBezTo>
                      <a:pt x="1364" y="519"/>
                      <a:pt x="1364" y="519"/>
                      <a:pt x="1365" y="518"/>
                    </a:cubicBezTo>
                    <a:cubicBezTo>
                      <a:pt x="1365" y="518"/>
                      <a:pt x="1365" y="518"/>
                      <a:pt x="1367" y="517"/>
                    </a:cubicBezTo>
                    <a:cubicBezTo>
                      <a:pt x="1367" y="517"/>
                      <a:pt x="1367" y="517"/>
                      <a:pt x="1368" y="517"/>
                    </a:cubicBezTo>
                    <a:cubicBezTo>
                      <a:pt x="1368" y="517"/>
                      <a:pt x="1368" y="517"/>
                      <a:pt x="1371" y="516"/>
                    </a:cubicBezTo>
                    <a:cubicBezTo>
                      <a:pt x="1371" y="516"/>
                      <a:pt x="1371" y="516"/>
                      <a:pt x="1373" y="516"/>
                    </a:cubicBezTo>
                    <a:cubicBezTo>
                      <a:pt x="1373" y="516"/>
                      <a:pt x="1373" y="516"/>
                      <a:pt x="1376" y="516"/>
                    </a:cubicBezTo>
                    <a:cubicBezTo>
                      <a:pt x="1376" y="516"/>
                      <a:pt x="1376" y="516"/>
                      <a:pt x="1377" y="515"/>
                    </a:cubicBezTo>
                    <a:cubicBezTo>
                      <a:pt x="1377" y="515"/>
                      <a:pt x="1377" y="515"/>
                      <a:pt x="1378" y="516"/>
                    </a:cubicBezTo>
                    <a:cubicBezTo>
                      <a:pt x="1378" y="516"/>
                      <a:pt x="1378" y="516"/>
                      <a:pt x="1380" y="516"/>
                    </a:cubicBezTo>
                    <a:cubicBezTo>
                      <a:pt x="1380" y="516"/>
                      <a:pt x="1380" y="516"/>
                      <a:pt x="1382" y="515"/>
                    </a:cubicBezTo>
                    <a:cubicBezTo>
                      <a:pt x="1382" y="515"/>
                      <a:pt x="1382" y="515"/>
                      <a:pt x="1382" y="516"/>
                    </a:cubicBezTo>
                    <a:cubicBezTo>
                      <a:pt x="1382" y="516"/>
                      <a:pt x="1382" y="516"/>
                      <a:pt x="1385" y="518"/>
                    </a:cubicBezTo>
                    <a:cubicBezTo>
                      <a:pt x="1385" y="518"/>
                      <a:pt x="1385" y="518"/>
                      <a:pt x="1386" y="518"/>
                    </a:cubicBezTo>
                    <a:cubicBezTo>
                      <a:pt x="1386" y="518"/>
                      <a:pt x="1386" y="518"/>
                      <a:pt x="1387" y="517"/>
                    </a:cubicBezTo>
                    <a:cubicBezTo>
                      <a:pt x="1387" y="517"/>
                      <a:pt x="1387" y="517"/>
                      <a:pt x="1388" y="517"/>
                    </a:cubicBezTo>
                    <a:cubicBezTo>
                      <a:pt x="1388" y="517"/>
                      <a:pt x="1388" y="517"/>
                      <a:pt x="1389" y="518"/>
                    </a:cubicBezTo>
                    <a:cubicBezTo>
                      <a:pt x="1389" y="518"/>
                      <a:pt x="1389" y="518"/>
                      <a:pt x="1389" y="519"/>
                    </a:cubicBezTo>
                    <a:cubicBezTo>
                      <a:pt x="1389" y="519"/>
                      <a:pt x="1389" y="519"/>
                      <a:pt x="1390" y="521"/>
                    </a:cubicBezTo>
                    <a:cubicBezTo>
                      <a:pt x="1390" y="521"/>
                      <a:pt x="1390" y="521"/>
                      <a:pt x="1391" y="521"/>
                    </a:cubicBezTo>
                    <a:cubicBezTo>
                      <a:pt x="1391" y="521"/>
                      <a:pt x="1391" y="521"/>
                      <a:pt x="1392" y="520"/>
                    </a:cubicBezTo>
                    <a:cubicBezTo>
                      <a:pt x="1392" y="520"/>
                      <a:pt x="1392" y="520"/>
                      <a:pt x="1395" y="521"/>
                    </a:cubicBezTo>
                    <a:cubicBezTo>
                      <a:pt x="1395" y="521"/>
                      <a:pt x="1395" y="521"/>
                      <a:pt x="1396" y="522"/>
                    </a:cubicBezTo>
                    <a:cubicBezTo>
                      <a:pt x="1396" y="522"/>
                      <a:pt x="1396" y="522"/>
                      <a:pt x="1398" y="523"/>
                    </a:cubicBezTo>
                    <a:cubicBezTo>
                      <a:pt x="1398" y="523"/>
                      <a:pt x="1398" y="523"/>
                      <a:pt x="1399" y="522"/>
                    </a:cubicBezTo>
                    <a:cubicBezTo>
                      <a:pt x="1399" y="522"/>
                      <a:pt x="1399" y="522"/>
                      <a:pt x="1401" y="523"/>
                    </a:cubicBezTo>
                    <a:cubicBezTo>
                      <a:pt x="1401" y="523"/>
                      <a:pt x="1401" y="523"/>
                      <a:pt x="1403" y="524"/>
                    </a:cubicBezTo>
                    <a:cubicBezTo>
                      <a:pt x="1403" y="524"/>
                      <a:pt x="1403" y="524"/>
                      <a:pt x="1405" y="523"/>
                    </a:cubicBezTo>
                    <a:cubicBezTo>
                      <a:pt x="1405" y="523"/>
                      <a:pt x="1405" y="523"/>
                      <a:pt x="1408" y="522"/>
                    </a:cubicBezTo>
                    <a:cubicBezTo>
                      <a:pt x="1408" y="522"/>
                      <a:pt x="1408" y="522"/>
                      <a:pt x="1409" y="522"/>
                    </a:cubicBezTo>
                    <a:cubicBezTo>
                      <a:pt x="1409" y="522"/>
                      <a:pt x="1409" y="522"/>
                      <a:pt x="1410" y="522"/>
                    </a:cubicBezTo>
                    <a:cubicBezTo>
                      <a:pt x="1410" y="522"/>
                      <a:pt x="1410" y="522"/>
                      <a:pt x="1411" y="523"/>
                    </a:cubicBezTo>
                    <a:cubicBezTo>
                      <a:pt x="1411" y="523"/>
                      <a:pt x="1411" y="523"/>
                      <a:pt x="1413" y="523"/>
                    </a:cubicBezTo>
                    <a:cubicBezTo>
                      <a:pt x="1413" y="523"/>
                      <a:pt x="1413" y="523"/>
                      <a:pt x="1414" y="523"/>
                    </a:cubicBezTo>
                    <a:cubicBezTo>
                      <a:pt x="1414" y="523"/>
                      <a:pt x="1414" y="523"/>
                      <a:pt x="1416" y="523"/>
                    </a:cubicBezTo>
                    <a:cubicBezTo>
                      <a:pt x="1416" y="523"/>
                      <a:pt x="1416" y="523"/>
                      <a:pt x="1417" y="522"/>
                    </a:cubicBezTo>
                    <a:cubicBezTo>
                      <a:pt x="1417" y="522"/>
                      <a:pt x="1417" y="522"/>
                      <a:pt x="1419" y="521"/>
                    </a:cubicBezTo>
                    <a:cubicBezTo>
                      <a:pt x="1419" y="521"/>
                      <a:pt x="1419" y="521"/>
                      <a:pt x="1420" y="520"/>
                    </a:cubicBezTo>
                    <a:cubicBezTo>
                      <a:pt x="1420" y="520"/>
                      <a:pt x="1420" y="520"/>
                      <a:pt x="1421" y="518"/>
                    </a:cubicBezTo>
                    <a:cubicBezTo>
                      <a:pt x="1421" y="517"/>
                      <a:pt x="1421" y="517"/>
                      <a:pt x="1421" y="517"/>
                    </a:cubicBezTo>
                    <a:cubicBezTo>
                      <a:pt x="1421" y="516"/>
                      <a:pt x="1421" y="516"/>
                      <a:pt x="1421" y="516"/>
                    </a:cubicBezTo>
                    <a:cubicBezTo>
                      <a:pt x="1422" y="516"/>
                      <a:pt x="1422" y="516"/>
                      <a:pt x="1422" y="516"/>
                    </a:cubicBezTo>
                    <a:cubicBezTo>
                      <a:pt x="1420" y="514"/>
                      <a:pt x="1420" y="514"/>
                      <a:pt x="1420" y="514"/>
                    </a:cubicBezTo>
                    <a:cubicBezTo>
                      <a:pt x="1420" y="511"/>
                      <a:pt x="1420" y="511"/>
                      <a:pt x="1420" y="511"/>
                    </a:cubicBezTo>
                    <a:cubicBezTo>
                      <a:pt x="1419" y="510"/>
                      <a:pt x="1419" y="510"/>
                      <a:pt x="1419" y="510"/>
                    </a:cubicBezTo>
                    <a:cubicBezTo>
                      <a:pt x="1418" y="508"/>
                      <a:pt x="1418" y="508"/>
                      <a:pt x="1418" y="508"/>
                    </a:cubicBezTo>
                    <a:cubicBezTo>
                      <a:pt x="1417" y="508"/>
                      <a:pt x="1417" y="508"/>
                      <a:pt x="1417" y="508"/>
                    </a:cubicBezTo>
                    <a:cubicBezTo>
                      <a:pt x="1416" y="507"/>
                      <a:pt x="1416" y="507"/>
                      <a:pt x="1416" y="507"/>
                    </a:cubicBezTo>
                    <a:cubicBezTo>
                      <a:pt x="1415" y="506"/>
                      <a:pt x="1415" y="506"/>
                      <a:pt x="1415" y="506"/>
                    </a:cubicBezTo>
                    <a:cubicBezTo>
                      <a:pt x="1414" y="506"/>
                      <a:pt x="1414" y="506"/>
                      <a:pt x="1414" y="506"/>
                    </a:cubicBezTo>
                    <a:cubicBezTo>
                      <a:pt x="1412" y="505"/>
                      <a:pt x="1412" y="505"/>
                      <a:pt x="1412" y="505"/>
                    </a:cubicBezTo>
                    <a:cubicBezTo>
                      <a:pt x="1411" y="504"/>
                      <a:pt x="1411" y="504"/>
                      <a:pt x="1411" y="504"/>
                    </a:cubicBezTo>
                    <a:cubicBezTo>
                      <a:pt x="1409" y="504"/>
                      <a:pt x="1409" y="504"/>
                      <a:pt x="1409" y="504"/>
                    </a:cubicBezTo>
                    <a:cubicBezTo>
                      <a:pt x="1409" y="503"/>
                      <a:pt x="1409" y="503"/>
                      <a:pt x="1409" y="503"/>
                    </a:cubicBezTo>
                    <a:cubicBezTo>
                      <a:pt x="1408" y="503"/>
                      <a:pt x="1408" y="503"/>
                      <a:pt x="1408" y="503"/>
                    </a:cubicBezTo>
                    <a:cubicBezTo>
                      <a:pt x="1407" y="502"/>
                      <a:pt x="1407" y="502"/>
                      <a:pt x="1407" y="502"/>
                    </a:cubicBezTo>
                    <a:cubicBezTo>
                      <a:pt x="1407" y="501"/>
                      <a:pt x="1407" y="501"/>
                      <a:pt x="1407" y="501"/>
                    </a:cubicBezTo>
                    <a:cubicBezTo>
                      <a:pt x="1406" y="501"/>
                      <a:pt x="1406" y="501"/>
                      <a:pt x="1406" y="501"/>
                    </a:cubicBezTo>
                    <a:cubicBezTo>
                      <a:pt x="1405" y="499"/>
                      <a:pt x="1405" y="499"/>
                      <a:pt x="1405" y="499"/>
                    </a:cubicBezTo>
                    <a:cubicBezTo>
                      <a:pt x="1401" y="496"/>
                      <a:pt x="1401" y="496"/>
                      <a:pt x="1401" y="496"/>
                    </a:cubicBezTo>
                    <a:cubicBezTo>
                      <a:pt x="1399" y="496"/>
                      <a:pt x="1399" y="496"/>
                      <a:pt x="1399" y="496"/>
                    </a:cubicBezTo>
                    <a:cubicBezTo>
                      <a:pt x="1397" y="494"/>
                      <a:pt x="1397" y="494"/>
                      <a:pt x="1397" y="494"/>
                    </a:cubicBezTo>
                    <a:cubicBezTo>
                      <a:pt x="1394" y="494"/>
                      <a:pt x="1394" y="494"/>
                      <a:pt x="1394" y="494"/>
                    </a:cubicBezTo>
                    <a:cubicBezTo>
                      <a:pt x="1393" y="493"/>
                      <a:pt x="1393" y="493"/>
                      <a:pt x="1393" y="493"/>
                    </a:cubicBezTo>
                    <a:cubicBezTo>
                      <a:pt x="1393" y="492"/>
                      <a:pt x="1393" y="492"/>
                      <a:pt x="1393" y="492"/>
                    </a:cubicBezTo>
                    <a:cubicBezTo>
                      <a:pt x="1391" y="491"/>
                      <a:pt x="1391" y="491"/>
                      <a:pt x="1391" y="491"/>
                    </a:cubicBezTo>
                    <a:cubicBezTo>
                      <a:pt x="1390" y="491"/>
                      <a:pt x="1390" y="491"/>
                      <a:pt x="1390" y="491"/>
                    </a:cubicBezTo>
                    <a:cubicBezTo>
                      <a:pt x="1389" y="491"/>
                      <a:pt x="1389" y="491"/>
                      <a:pt x="1389" y="491"/>
                    </a:cubicBezTo>
                    <a:cubicBezTo>
                      <a:pt x="1390" y="490"/>
                      <a:pt x="1390" y="490"/>
                      <a:pt x="1390" y="490"/>
                    </a:cubicBezTo>
                    <a:cubicBezTo>
                      <a:pt x="1391" y="489"/>
                      <a:pt x="1391" y="489"/>
                      <a:pt x="1391" y="489"/>
                    </a:cubicBezTo>
                    <a:cubicBezTo>
                      <a:pt x="1390" y="488"/>
                      <a:pt x="1390" y="488"/>
                      <a:pt x="1390" y="488"/>
                    </a:cubicBezTo>
                    <a:cubicBezTo>
                      <a:pt x="1392" y="488"/>
                      <a:pt x="1392" y="488"/>
                      <a:pt x="1392" y="488"/>
                    </a:cubicBezTo>
                    <a:cubicBezTo>
                      <a:pt x="1393" y="489"/>
                      <a:pt x="1393" y="489"/>
                      <a:pt x="1393" y="489"/>
                    </a:cubicBezTo>
                    <a:cubicBezTo>
                      <a:pt x="1394" y="489"/>
                      <a:pt x="1394" y="489"/>
                      <a:pt x="1394" y="489"/>
                    </a:cubicBezTo>
                    <a:cubicBezTo>
                      <a:pt x="1394" y="487"/>
                      <a:pt x="1394" y="487"/>
                      <a:pt x="1394" y="487"/>
                    </a:cubicBezTo>
                    <a:cubicBezTo>
                      <a:pt x="1394" y="485"/>
                      <a:pt x="1394" y="485"/>
                      <a:pt x="1394" y="485"/>
                    </a:cubicBezTo>
                    <a:cubicBezTo>
                      <a:pt x="1395" y="484"/>
                      <a:pt x="1395" y="484"/>
                      <a:pt x="1395" y="484"/>
                    </a:cubicBezTo>
                    <a:cubicBezTo>
                      <a:pt x="1396" y="483"/>
                      <a:pt x="1396" y="483"/>
                      <a:pt x="1396" y="483"/>
                    </a:cubicBezTo>
                    <a:cubicBezTo>
                      <a:pt x="1397" y="483"/>
                      <a:pt x="1397" y="483"/>
                      <a:pt x="1397" y="483"/>
                    </a:cubicBezTo>
                    <a:cubicBezTo>
                      <a:pt x="1398" y="482"/>
                      <a:pt x="1398" y="482"/>
                      <a:pt x="1398" y="482"/>
                    </a:cubicBezTo>
                    <a:cubicBezTo>
                      <a:pt x="1397" y="481"/>
                      <a:pt x="1397" y="481"/>
                      <a:pt x="1397" y="481"/>
                    </a:cubicBezTo>
                    <a:cubicBezTo>
                      <a:pt x="1396" y="481"/>
                      <a:pt x="1396" y="481"/>
                      <a:pt x="1396" y="481"/>
                    </a:cubicBezTo>
                    <a:cubicBezTo>
                      <a:pt x="1395" y="480"/>
                      <a:pt x="1395" y="480"/>
                      <a:pt x="1395" y="480"/>
                    </a:cubicBezTo>
                    <a:cubicBezTo>
                      <a:pt x="1394" y="479"/>
                      <a:pt x="1394" y="479"/>
                      <a:pt x="1394" y="479"/>
                    </a:cubicBezTo>
                    <a:cubicBezTo>
                      <a:pt x="1396" y="478"/>
                      <a:pt x="1396" y="478"/>
                      <a:pt x="1396" y="478"/>
                    </a:cubicBezTo>
                    <a:cubicBezTo>
                      <a:pt x="1398" y="479"/>
                      <a:pt x="1398" y="479"/>
                      <a:pt x="1398" y="479"/>
                    </a:cubicBezTo>
                    <a:cubicBezTo>
                      <a:pt x="1398" y="478"/>
                      <a:pt x="1398" y="478"/>
                      <a:pt x="1398" y="478"/>
                    </a:cubicBezTo>
                    <a:cubicBezTo>
                      <a:pt x="1397" y="477"/>
                      <a:pt x="1397" y="477"/>
                      <a:pt x="1397" y="477"/>
                    </a:cubicBezTo>
                    <a:cubicBezTo>
                      <a:pt x="1398" y="476"/>
                      <a:pt x="1398" y="476"/>
                      <a:pt x="1398" y="476"/>
                    </a:cubicBezTo>
                    <a:cubicBezTo>
                      <a:pt x="1402" y="474"/>
                      <a:pt x="1402" y="474"/>
                      <a:pt x="1402" y="474"/>
                    </a:cubicBezTo>
                    <a:cubicBezTo>
                      <a:pt x="1402" y="473"/>
                      <a:pt x="1402" y="473"/>
                      <a:pt x="1402" y="473"/>
                    </a:cubicBezTo>
                    <a:cubicBezTo>
                      <a:pt x="1400" y="473"/>
                      <a:pt x="1400" y="473"/>
                      <a:pt x="1400" y="473"/>
                    </a:cubicBezTo>
                    <a:cubicBezTo>
                      <a:pt x="1398" y="474"/>
                      <a:pt x="1398" y="474"/>
                      <a:pt x="1398" y="474"/>
                    </a:cubicBezTo>
                    <a:cubicBezTo>
                      <a:pt x="1397" y="474"/>
                      <a:pt x="1397" y="474"/>
                      <a:pt x="1397" y="474"/>
                    </a:cubicBezTo>
                    <a:cubicBezTo>
                      <a:pt x="1397" y="474"/>
                      <a:pt x="1397" y="474"/>
                      <a:pt x="1396" y="474"/>
                    </a:cubicBezTo>
                    <a:cubicBezTo>
                      <a:pt x="1396" y="474"/>
                      <a:pt x="1396" y="474"/>
                      <a:pt x="1395" y="474"/>
                    </a:cubicBezTo>
                    <a:cubicBezTo>
                      <a:pt x="1395" y="474"/>
                      <a:pt x="1395" y="474"/>
                      <a:pt x="1393" y="474"/>
                    </a:cubicBezTo>
                    <a:cubicBezTo>
                      <a:pt x="1393" y="474"/>
                      <a:pt x="1393" y="474"/>
                      <a:pt x="1392" y="474"/>
                    </a:cubicBezTo>
                    <a:cubicBezTo>
                      <a:pt x="1392" y="474"/>
                      <a:pt x="1392" y="474"/>
                      <a:pt x="1391" y="475"/>
                    </a:cubicBezTo>
                    <a:cubicBezTo>
                      <a:pt x="1391" y="475"/>
                      <a:pt x="1391" y="475"/>
                      <a:pt x="1390" y="476"/>
                    </a:cubicBezTo>
                    <a:cubicBezTo>
                      <a:pt x="1390" y="476"/>
                      <a:pt x="1390" y="476"/>
                      <a:pt x="1389" y="476"/>
                    </a:cubicBezTo>
                    <a:cubicBezTo>
                      <a:pt x="1389" y="476"/>
                      <a:pt x="1389" y="476"/>
                      <a:pt x="1388" y="477"/>
                    </a:cubicBezTo>
                    <a:cubicBezTo>
                      <a:pt x="1388" y="477"/>
                      <a:pt x="1388" y="477"/>
                      <a:pt x="1387" y="478"/>
                    </a:cubicBezTo>
                    <a:cubicBezTo>
                      <a:pt x="1387" y="478"/>
                      <a:pt x="1387" y="478"/>
                      <a:pt x="1385" y="478"/>
                    </a:cubicBezTo>
                    <a:cubicBezTo>
                      <a:pt x="1385" y="478"/>
                      <a:pt x="1385" y="478"/>
                      <a:pt x="1384" y="479"/>
                    </a:cubicBezTo>
                    <a:cubicBezTo>
                      <a:pt x="1384" y="479"/>
                      <a:pt x="1384" y="479"/>
                      <a:pt x="1383" y="479"/>
                    </a:cubicBezTo>
                    <a:cubicBezTo>
                      <a:pt x="1383" y="479"/>
                      <a:pt x="1383" y="479"/>
                      <a:pt x="1381" y="479"/>
                    </a:cubicBezTo>
                    <a:cubicBezTo>
                      <a:pt x="1381" y="479"/>
                      <a:pt x="1381" y="479"/>
                      <a:pt x="1380" y="478"/>
                    </a:cubicBezTo>
                    <a:cubicBezTo>
                      <a:pt x="1380" y="478"/>
                      <a:pt x="1380" y="478"/>
                      <a:pt x="1379" y="478"/>
                    </a:cubicBezTo>
                    <a:cubicBezTo>
                      <a:pt x="1379" y="478"/>
                      <a:pt x="1379" y="478"/>
                      <a:pt x="1380" y="479"/>
                    </a:cubicBezTo>
                    <a:cubicBezTo>
                      <a:pt x="1380" y="479"/>
                      <a:pt x="1380" y="479"/>
                      <a:pt x="1380" y="480"/>
                    </a:cubicBezTo>
                    <a:cubicBezTo>
                      <a:pt x="1380" y="480"/>
                      <a:pt x="1380" y="480"/>
                      <a:pt x="1379" y="482"/>
                    </a:cubicBezTo>
                    <a:cubicBezTo>
                      <a:pt x="1379" y="482"/>
                      <a:pt x="1379" y="482"/>
                      <a:pt x="1378" y="483"/>
                    </a:cubicBezTo>
                    <a:cubicBezTo>
                      <a:pt x="1378" y="483"/>
                      <a:pt x="1378" y="483"/>
                      <a:pt x="1378" y="482"/>
                    </a:cubicBezTo>
                    <a:cubicBezTo>
                      <a:pt x="1378" y="482"/>
                      <a:pt x="1378" y="482"/>
                      <a:pt x="1379" y="480"/>
                    </a:cubicBezTo>
                    <a:cubicBezTo>
                      <a:pt x="1379" y="480"/>
                      <a:pt x="1379" y="480"/>
                      <a:pt x="1378" y="480"/>
                    </a:cubicBezTo>
                    <a:cubicBezTo>
                      <a:pt x="1378" y="480"/>
                      <a:pt x="1378" y="480"/>
                      <a:pt x="1376" y="482"/>
                    </a:cubicBezTo>
                    <a:cubicBezTo>
                      <a:pt x="1376" y="482"/>
                      <a:pt x="1376" y="482"/>
                      <a:pt x="1375" y="482"/>
                    </a:cubicBezTo>
                    <a:cubicBezTo>
                      <a:pt x="1375" y="482"/>
                      <a:pt x="1375" y="482"/>
                      <a:pt x="1375" y="483"/>
                    </a:cubicBezTo>
                    <a:cubicBezTo>
                      <a:pt x="1375" y="483"/>
                      <a:pt x="1375" y="483"/>
                      <a:pt x="1374" y="483"/>
                    </a:cubicBezTo>
                    <a:cubicBezTo>
                      <a:pt x="1374" y="483"/>
                      <a:pt x="1374" y="483"/>
                      <a:pt x="1373" y="483"/>
                    </a:cubicBezTo>
                    <a:cubicBezTo>
                      <a:pt x="1373" y="483"/>
                      <a:pt x="1373" y="483"/>
                      <a:pt x="1372" y="483"/>
                    </a:cubicBezTo>
                    <a:cubicBezTo>
                      <a:pt x="1372" y="483"/>
                      <a:pt x="1372" y="483"/>
                      <a:pt x="1371" y="483"/>
                    </a:cubicBezTo>
                    <a:cubicBezTo>
                      <a:pt x="1371" y="483"/>
                      <a:pt x="1371" y="483"/>
                      <a:pt x="1370" y="483"/>
                    </a:cubicBezTo>
                    <a:cubicBezTo>
                      <a:pt x="1370" y="483"/>
                      <a:pt x="1370" y="483"/>
                      <a:pt x="1369" y="483"/>
                    </a:cubicBezTo>
                    <a:cubicBezTo>
                      <a:pt x="1369" y="483"/>
                      <a:pt x="1369" y="483"/>
                      <a:pt x="1369" y="484"/>
                    </a:cubicBezTo>
                    <a:cubicBezTo>
                      <a:pt x="1369" y="484"/>
                      <a:pt x="1369" y="484"/>
                      <a:pt x="1368" y="484"/>
                    </a:cubicBezTo>
                    <a:cubicBezTo>
                      <a:pt x="1368" y="484"/>
                      <a:pt x="1368" y="484"/>
                      <a:pt x="1366" y="483"/>
                    </a:cubicBezTo>
                    <a:cubicBezTo>
                      <a:pt x="1366" y="483"/>
                      <a:pt x="1366" y="483"/>
                      <a:pt x="1365" y="483"/>
                    </a:cubicBezTo>
                    <a:cubicBezTo>
                      <a:pt x="1365" y="483"/>
                      <a:pt x="1365" y="483"/>
                      <a:pt x="1363" y="484"/>
                    </a:cubicBezTo>
                    <a:cubicBezTo>
                      <a:pt x="1363" y="484"/>
                      <a:pt x="1363" y="484"/>
                      <a:pt x="1362" y="483"/>
                    </a:cubicBezTo>
                    <a:cubicBezTo>
                      <a:pt x="1362" y="483"/>
                      <a:pt x="1362" y="483"/>
                      <a:pt x="1361" y="483"/>
                    </a:cubicBezTo>
                    <a:cubicBezTo>
                      <a:pt x="1361" y="483"/>
                      <a:pt x="1361" y="483"/>
                      <a:pt x="1360" y="482"/>
                    </a:cubicBezTo>
                    <a:cubicBezTo>
                      <a:pt x="1360" y="482"/>
                      <a:pt x="1360" y="482"/>
                      <a:pt x="1361" y="482"/>
                    </a:cubicBezTo>
                    <a:cubicBezTo>
                      <a:pt x="1361" y="482"/>
                      <a:pt x="1361" y="482"/>
                      <a:pt x="1361" y="481"/>
                    </a:cubicBezTo>
                    <a:cubicBezTo>
                      <a:pt x="1361" y="481"/>
                      <a:pt x="1361" y="481"/>
                      <a:pt x="1359" y="481"/>
                    </a:cubicBezTo>
                    <a:cubicBezTo>
                      <a:pt x="1359" y="481"/>
                      <a:pt x="1359" y="481"/>
                      <a:pt x="1357" y="481"/>
                    </a:cubicBezTo>
                    <a:cubicBezTo>
                      <a:pt x="1357" y="481"/>
                      <a:pt x="1357" y="481"/>
                      <a:pt x="1357" y="480"/>
                    </a:cubicBezTo>
                    <a:cubicBezTo>
                      <a:pt x="1357" y="480"/>
                      <a:pt x="1357" y="480"/>
                      <a:pt x="1358" y="480"/>
                    </a:cubicBezTo>
                    <a:cubicBezTo>
                      <a:pt x="1358" y="480"/>
                      <a:pt x="1358" y="480"/>
                      <a:pt x="1360" y="480"/>
                    </a:cubicBezTo>
                    <a:cubicBezTo>
                      <a:pt x="1360" y="480"/>
                      <a:pt x="1360" y="480"/>
                      <a:pt x="1361" y="480"/>
                    </a:cubicBezTo>
                    <a:cubicBezTo>
                      <a:pt x="1361" y="480"/>
                      <a:pt x="1361" y="480"/>
                      <a:pt x="1362" y="480"/>
                    </a:cubicBezTo>
                    <a:cubicBezTo>
                      <a:pt x="1362" y="480"/>
                      <a:pt x="1362" y="480"/>
                      <a:pt x="1363" y="479"/>
                    </a:cubicBezTo>
                    <a:cubicBezTo>
                      <a:pt x="1363" y="479"/>
                      <a:pt x="1363" y="479"/>
                      <a:pt x="1362" y="479"/>
                    </a:cubicBezTo>
                    <a:cubicBezTo>
                      <a:pt x="1362" y="479"/>
                      <a:pt x="1362" y="479"/>
                      <a:pt x="1361" y="479"/>
                    </a:cubicBezTo>
                    <a:cubicBezTo>
                      <a:pt x="1361" y="479"/>
                      <a:pt x="1361" y="479"/>
                      <a:pt x="1360" y="478"/>
                    </a:cubicBezTo>
                    <a:cubicBezTo>
                      <a:pt x="1360" y="478"/>
                      <a:pt x="1360" y="478"/>
                      <a:pt x="1359" y="478"/>
                    </a:cubicBezTo>
                    <a:cubicBezTo>
                      <a:pt x="1359" y="478"/>
                      <a:pt x="1359" y="478"/>
                      <a:pt x="1359" y="479"/>
                    </a:cubicBezTo>
                    <a:cubicBezTo>
                      <a:pt x="1359" y="479"/>
                      <a:pt x="1359" y="479"/>
                      <a:pt x="1358" y="479"/>
                    </a:cubicBezTo>
                    <a:cubicBezTo>
                      <a:pt x="1358" y="479"/>
                      <a:pt x="1358" y="479"/>
                      <a:pt x="1357" y="479"/>
                    </a:cubicBezTo>
                    <a:cubicBezTo>
                      <a:pt x="1357" y="479"/>
                      <a:pt x="1357" y="479"/>
                      <a:pt x="1357" y="478"/>
                    </a:cubicBezTo>
                    <a:cubicBezTo>
                      <a:pt x="1357" y="478"/>
                      <a:pt x="1357" y="478"/>
                      <a:pt x="1355" y="480"/>
                    </a:cubicBezTo>
                    <a:cubicBezTo>
                      <a:pt x="1355" y="480"/>
                      <a:pt x="1355" y="480"/>
                      <a:pt x="1354" y="480"/>
                    </a:cubicBezTo>
                    <a:cubicBezTo>
                      <a:pt x="1354" y="480"/>
                      <a:pt x="1354" y="480"/>
                      <a:pt x="1353" y="481"/>
                    </a:cubicBezTo>
                    <a:cubicBezTo>
                      <a:pt x="1353" y="481"/>
                      <a:pt x="1353" y="481"/>
                      <a:pt x="1353" y="482"/>
                    </a:cubicBezTo>
                    <a:cubicBezTo>
                      <a:pt x="1353" y="482"/>
                      <a:pt x="1353" y="482"/>
                      <a:pt x="1352" y="484"/>
                    </a:cubicBezTo>
                    <a:cubicBezTo>
                      <a:pt x="1352" y="484"/>
                      <a:pt x="1352" y="484"/>
                      <a:pt x="1351" y="484"/>
                    </a:cubicBezTo>
                    <a:cubicBezTo>
                      <a:pt x="1351" y="484"/>
                      <a:pt x="1351" y="484"/>
                      <a:pt x="1351" y="485"/>
                    </a:cubicBezTo>
                    <a:cubicBezTo>
                      <a:pt x="1351" y="485"/>
                      <a:pt x="1351" y="485"/>
                      <a:pt x="1349" y="488"/>
                    </a:cubicBezTo>
                    <a:cubicBezTo>
                      <a:pt x="1349" y="488"/>
                      <a:pt x="1349" y="488"/>
                      <a:pt x="1348" y="488"/>
                    </a:cubicBezTo>
                    <a:cubicBezTo>
                      <a:pt x="1348" y="488"/>
                      <a:pt x="1348" y="488"/>
                      <a:pt x="1347" y="488"/>
                    </a:cubicBezTo>
                    <a:cubicBezTo>
                      <a:pt x="1347" y="488"/>
                      <a:pt x="1347" y="488"/>
                      <a:pt x="1348" y="489"/>
                    </a:cubicBezTo>
                    <a:cubicBezTo>
                      <a:pt x="1348" y="489"/>
                      <a:pt x="1348" y="489"/>
                      <a:pt x="1348" y="490"/>
                    </a:cubicBezTo>
                    <a:cubicBezTo>
                      <a:pt x="1348" y="490"/>
                      <a:pt x="1348" y="490"/>
                      <a:pt x="1347" y="491"/>
                    </a:cubicBezTo>
                    <a:cubicBezTo>
                      <a:pt x="1347" y="491"/>
                      <a:pt x="1347" y="491"/>
                      <a:pt x="1348" y="491"/>
                    </a:cubicBezTo>
                    <a:cubicBezTo>
                      <a:pt x="1348" y="491"/>
                      <a:pt x="1348" y="491"/>
                      <a:pt x="1348" y="492"/>
                    </a:cubicBezTo>
                    <a:cubicBezTo>
                      <a:pt x="1348" y="492"/>
                      <a:pt x="1348" y="492"/>
                      <a:pt x="1347" y="494"/>
                    </a:cubicBezTo>
                    <a:cubicBezTo>
                      <a:pt x="1347" y="494"/>
                      <a:pt x="1347" y="494"/>
                      <a:pt x="1346" y="494"/>
                    </a:cubicBezTo>
                    <a:cubicBezTo>
                      <a:pt x="1346" y="494"/>
                      <a:pt x="1346" y="494"/>
                      <a:pt x="1343" y="494"/>
                    </a:cubicBezTo>
                    <a:cubicBezTo>
                      <a:pt x="1343" y="494"/>
                      <a:pt x="1343" y="494"/>
                      <a:pt x="1343" y="496"/>
                    </a:cubicBezTo>
                    <a:cubicBezTo>
                      <a:pt x="1343" y="496"/>
                      <a:pt x="1343" y="496"/>
                      <a:pt x="1342" y="497"/>
                    </a:cubicBezTo>
                    <a:cubicBezTo>
                      <a:pt x="1342" y="497"/>
                      <a:pt x="1342" y="497"/>
                      <a:pt x="1343" y="498"/>
                    </a:cubicBezTo>
                    <a:cubicBezTo>
                      <a:pt x="1343" y="498"/>
                      <a:pt x="1343" y="498"/>
                      <a:pt x="1343" y="499"/>
                    </a:cubicBezTo>
                    <a:cubicBezTo>
                      <a:pt x="1343" y="499"/>
                      <a:pt x="1343" y="499"/>
                      <a:pt x="1342" y="500"/>
                    </a:cubicBezTo>
                    <a:cubicBezTo>
                      <a:pt x="1342" y="500"/>
                      <a:pt x="1342" y="500"/>
                      <a:pt x="1343" y="502"/>
                    </a:cubicBezTo>
                    <a:cubicBezTo>
                      <a:pt x="1343" y="502"/>
                      <a:pt x="1343" y="502"/>
                      <a:pt x="1342" y="505"/>
                    </a:cubicBezTo>
                    <a:cubicBezTo>
                      <a:pt x="1342" y="505"/>
                      <a:pt x="1342" y="505"/>
                      <a:pt x="1340" y="505"/>
                    </a:cubicBezTo>
                    <a:cubicBezTo>
                      <a:pt x="1340" y="505"/>
                      <a:pt x="1340" y="505"/>
                      <a:pt x="1339" y="507"/>
                    </a:cubicBezTo>
                    <a:cubicBezTo>
                      <a:pt x="1339" y="507"/>
                      <a:pt x="1339" y="507"/>
                      <a:pt x="1339" y="510"/>
                    </a:cubicBezTo>
                    <a:cubicBezTo>
                      <a:pt x="1339" y="510"/>
                      <a:pt x="1339" y="510"/>
                      <a:pt x="1339" y="511"/>
                    </a:cubicBezTo>
                    <a:cubicBezTo>
                      <a:pt x="1339" y="511"/>
                      <a:pt x="1339" y="511"/>
                      <a:pt x="1337" y="512"/>
                    </a:cubicBezTo>
                    <a:cubicBezTo>
                      <a:pt x="1337" y="512"/>
                      <a:pt x="1337" y="512"/>
                      <a:pt x="1337" y="513"/>
                    </a:cubicBezTo>
                    <a:cubicBezTo>
                      <a:pt x="1337" y="513"/>
                      <a:pt x="1337" y="513"/>
                      <a:pt x="1338" y="513"/>
                    </a:cubicBezTo>
                    <a:cubicBezTo>
                      <a:pt x="1338" y="513"/>
                      <a:pt x="1338" y="513"/>
                      <a:pt x="1339" y="515"/>
                    </a:cubicBezTo>
                    <a:cubicBezTo>
                      <a:pt x="1339" y="515"/>
                      <a:pt x="1339" y="515"/>
                      <a:pt x="1340" y="516"/>
                    </a:cubicBezTo>
                    <a:cubicBezTo>
                      <a:pt x="1340" y="516"/>
                      <a:pt x="1340" y="516"/>
                      <a:pt x="1340" y="519"/>
                    </a:cubicBezTo>
                    <a:cubicBezTo>
                      <a:pt x="1340" y="519"/>
                      <a:pt x="1340" y="519"/>
                      <a:pt x="1342" y="520"/>
                    </a:cubicBezTo>
                    <a:cubicBezTo>
                      <a:pt x="1342" y="520"/>
                      <a:pt x="1342" y="520"/>
                      <a:pt x="1344" y="520"/>
                    </a:cubicBezTo>
                    <a:cubicBezTo>
                      <a:pt x="1344" y="520"/>
                      <a:pt x="1344" y="520"/>
                      <a:pt x="1345" y="522"/>
                    </a:cubicBezTo>
                    <a:cubicBezTo>
                      <a:pt x="1345" y="522"/>
                      <a:pt x="1345" y="522"/>
                      <a:pt x="1346" y="523"/>
                    </a:cubicBezTo>
                    <a:cubicBezTo>
                      <a:pt x="1346" y="523"/>
                      <a:pt x="1346" y="523"/>
                      <a:pt x="1345" y="525"/>
                    </a:cubicBezTo>
                    <a:cubicBezTo>
                      <a:pt x="1345" y="525"/>
                      <a:pt x="1345" y="525"/>
                      <a:pt x="1344" y="524"/>
                    </a:cubicBezTo>
                    <a:cubicBezTo>
                      <a:pt x="1344" y="524"/>
                      <a:pt x="1344" y="524"/>
                      <a:pt x="1343" y="524"/>
                    </a:cubicBezTo>
                    <a:cubicBezTo>
                      <a:pt x="1343" y="524"/>
                      <a:pt x="1343" y="524"/>
                      <a:pt x="1341" y="524"/>
                    </a:cubicBezTo>
                    <a:cubicBezTo>
                      <a:pt x="1341" y="524"/>
                      <a:pt x="1341" y="524"/>
                      <a:pt x="1339" y="524"/>
                    </a:cubicBezTo>
                    <a:cubicBezTo>
                      <a:pt x="1339" y="524"/>
                      <a:pt x="1339" y="524"/>
                      <a:pt x="1338" y="525"/>
                    </a:cubicBezTo>
                    <a:cubicBezTo>
                      <a:pt x="1338" y="525"/>
                      <a:pt x="1338" y="525"/>
                      <a:pt x="1337" y="527"/>
                    </a:cubicBezTo>
                    <a:cubicBezTo>
                      <a:pt x="1337" y="527"/>
                      <a:pt x="1337" y="527"/>
                      <a:pt x="1334" y="528"/>
                    </a:cubicBezTo>
                    <a:cubicBezTo>
                      <a:pt x="1334" y="528"/>
                      <a:pt x="1334" y="528"/>
                      <a:pt x="1331" y="531"/>
                    </a:cubicBezTo>
                    <a:cubicBezTo>
                      <a:pt x="1331" y="531"/>
                      <a:pt x="1331" y="531"/>
                      <a:pt x="1331" y="530"/>
                    </a:cubicBezTo>
                    <a:cubicBezTo>
                      <a:pt x="1331" y="530"/>
                      <a:pt x="1331" y="530"/>
                      <a:pt x="1331" y="528"/>
                    </a:cubicBezTo>
                    <a:cubicBezTo>
                      <a:pt x="1331" y="528"/>
                      <a:pt x="1331" y="528"/>
                      <a:pt x="1332" y="528"/>
                    </a:cubicBezTo>
                    <a:cubicBezTo>
                      <a:pt x="1332" y="528"/>
                      <a:pt x="1332" y="528"/>
                      <a:pt x="1333" y="527"/>
                    </a:cubicBezTo>
                    <a:cubicBezTo>
                      <a:pt x="1333" y="527"/>
                      <a:pt x="1333" y="527"/>
                      <a:pt x="1332" y="527"/>
                    </a:cubicBezTo>
                    <a:cubicBezTo>
                      <a:pt x="1332" y="527"/>
                      <a:pt x="1332" y="527"/>
                      <a:pt x="1331" y="527"/>
                    </a:cubicBezTo>
                    <a:cubicBezTo>
                      <a:pt x="1331" y="527"/>
                      <a:pt x="1331" y="527"/>
                      <a:pt x="1330" y="526"/>
                    </a:cubicBezTo>
                    <a:cubicBezTo>
                      <a:pt x="1330" y="526"/>
                      <a:pt x="1330" y="526"/>
                      <a:pt x="1329" y="525"/>
                    </a:cubicBezTo>
                    <a:cubicBezTo>
                      <a:pt x="1329" y="525"/>
                      <a:pt x="1329" y="525"/>
                      <a:pt x="1327" y="525"/>
                    </a:cubicBezTo>
                    <a:cubicBezTo>
                      <a:pt x="1327" y="525"/>
                      <a:pt x="1327" y="525"/>
                      <a:pt x="1325" y="525"/>
                    </a:cubicBezTo>
                    <a:cubicBezTo>
                      <a:pt x="1325" y="525"/>
                      <a:pt x="1325" y="525"/>
                      <a:pt x="1324" y="524"/>
                    </a:cubicBezTo>
                    <a:cubicBezTo>
                      <a:pt x="1324" y="524"/>
                      <a:pt x="1324" y="524"/>
                      <a:pt x="1323" y="524"/>
                    </a:cubicBezTo>
                    <a:cubicBezTo>
                      <a:pt x="1323" y="524"/>
                      <a:pt x="1323" y="524"/>
                      <a:pt x="1322" y="526"/>
                    </a:cubicBezTo>
                    <a:cubicBezTo>
                      <a:pt x="1322" y="527"/>
                      <a:pt x="1322" y="527"/>
                      <a:pt x="1322" y="527"/>
                    </a:cubicBezTo>
                    <a:cubicBezTo>
                      <a:pt x="1321" y="528"/>
                      <a:pt x="1321" y="528"/>
                      <a:pt x="1321" y="528"/>
                    </a:cubicBezTo>
                    <a:cubicBezTo>
                      <a:pt x="1321" y="527"/>
                      <a:pt x="1321" y="527"/>
                      <a:pt x="1321" y="527"/>
                    </a:cubicBezTo>
                    <a:cubicBezTo>
                      <a:pt x="1320" y="527"/>
                      <a:pt x="1320" y="527"/>
                      <a:pt x="1320" y="527"/>
                    </a:cubicBezTo>
                    <a:cubicBezTo>
                      <a:pt x="1321" y="526"/>
                      <a:pt x="1321" y="526"/>
                      <a:pt x="1321" y="526"/>
                    </a:cubicBezTo>
                    <a:cubicBezTo>
                      <a:pt x="1321" y="526"/>
                      <a:pt x="1321" y="526"/>
                      <a:pt x="1320" y="524"/>
                    </a:cubicBezTo>
                    <a:cubicBezTo>
                      <a:pt x="1320" y="524"/>
                      <a:pt x="1320" y="524"/>
                      <a:pt x="1319" y="525"/>
                    </a:cubicBezTo>
                    <a:cubicBezTo>
                      <a:pt x="1319" y="525"/>
                      <a:pt x="1319" y="525"/>
                      <a:pt x="1318" y="526"/>
                    </a:cubicBezTo>
                    <a:cubicBezTo>
                      <a:pt x="1318" y="526"/>
                      <a:pt x="1318" y="526"/>
                      <a:pt x="1317" y="527"/>
                    </a:cubicBezTo>
                    <a:cubicBezTo>
                      <a:pt x="1317" y="527"/>
                      <a:pt x="1317" y="527"/>
                      <a:pt x="1316" y="527"/>
                    </a:cubicBezTo>
                    <a:cubicBezTo>
                      <a:pt x="1316" y="527"/>
                      <a:pt x="1316" y="527"/>
                      <a:pt x="1315" y="527"/>
                    </a:cubicBezTo>
                    <a:cubicBezTo>
                      <a:pt x="1315" y="527"/>
                      <a:pt x="1315" y="527"/>
                      <a:pt x="1317" y="529"/>
                    </a:cubicBezTo>
                    <a:cubicBezTo>
                      <a:pt x="1317" y="529"/>
                      <a:pt x="1317" y="529"/>
                      <a:pt x="1318" y="529"/>
                    </a:cubicBezTo>
                    <a:cubicBezTo>
                      <a:pt x="1318" y="529"/>
                      <a:pt x="1318" y="529"/>
                      <a:pt x="1319" y="530"/>
                    </a:cubicBezTo>
                    <a:cubicBezTo>
                      <a:pt x="1319" y="530"/>
                      <a:pt x="1319" y="530"/>
                      <a:pt x="1319" y="531"/>
                    </a:cubicBezTo>
                    <a:cubicBezTo>
                      <a:pt x="1319" y="531"/>
                      <a:pt x="1319" y="531"/>
                      <a:pt x="1318" y="530"/>
                    </a:cubicBezTo>
                    <a:cubicBezTo>
                      <a:pt x="1318" y="530"/>
                      <a:pt x="1318" y="530"/>
                      <a:pt x="1316" y="530"/>
                    </a:cubicBezTo>
                    <a:cubicBezTo>
                      <a:pt x="1316" y="530"/>
                      <a:pt x="1316" y="530"/>
                      <a:pt x="1317" y="531"/>
                    </a:cubicBezTo>
                    <a:cubicBezTo>
                      <a:pt x="1317" y="531"/>
                      <a:pt x="1317" y="531"/>
                      <a:pt x="1317" y="532"/>
                    </a:cubicBezTo>
                    <a:cubicBezTo>
                      <a:pt x="1317" y="532"/>
                      <a:pt x="1317" y="532"/>
                      <a:pt x="1316" y="532"/>
                    </a:cubicBezTo>
                    <a:cubicBezTo>
                      <a:pt x="1316" y="532"/>
                      <a:pt x="1316" y="532"/>
                      <a:pt x="1315" y="531"/>
                    </a:cubicBezTo>
                    <a:cubicBezTo>
                      <a:pt x="1315" y="531"/>
                      <a:pt x="1315" y="531"/>
                      <a:pt x="1314" y="530"/>
                    </a:cubicBezTo>
                    <a:cubicBezTo>
                      <a:pt x="1314" y="530"/>
                      <a:pt x="1314" y="530"/>
                      <a:pt x="1314" y="531"/>
                    </a:cubicBezTo>
                    <a:cubicBezTo>
                      <a:pt x="1314" y="531"/>
                      <a:pt x="1314" y="531"/>
                      <a:pt x="1314" y="532"/>
                    </a:cubicBezTo>
                    <a:cubicBezTo>
                      <a:pt x="1314" y="532"/>
                      <a:pt x="1314" y="532"/>
                      <a:pt x="1315" y="533"/>
                    </a:cubicBezTo>
                    <a:cubicBezTo>
                      <a:pt x="1315" y="533"/>
                      <a:pt x="1315" y="533"/>
                      <a:pt x="1314" y="533"/>
                    </a:cubicBezTo>
                    <a:cubicBezTo>
                      <a:pt x="1314" y="533"/>
                      <a:pt x="1314" y="533"/>
                      <a:pt x="1313" y="532"/>
                    </a:cubicBezTo>
                    <a:cubicBezTo>
                      <a:pt x="1313" y="532"/>
                      <a:pt x="1313" y="532"/>
                      <a:pt x="1312" y="530"/>
                    </a:cubicBezTo>
                    <a:cubicBezTo>
                      <a:pt x="1312" y="530"/>
                      <a:pt x="1312" y="530"/>
                      <a:pt x="1310" y="529"/>
                    </a:cubicBezTo>
                    <a:cubicBezTo>
                      <a:pt x="1310" y="529"/>
                      <a:pt x="1310" y="529"/>
                      <a:pt x="1311" y="529"/>
                    </a:cubicBezTo>
                    <a:cubicBezTo>
                      <a:pt x="1311" y="529"/>
                      <a:pt x="1311" y="529"/>
                      <a:pt x="1311" y="527"/>
                    </a:cubicBezTo>
                    <a:cubicBezTo>
                      <a:pt x="1311" y="527"/>
                      <a:pt x="1311" y="527"/>
                      <a:pt x="1309" y="528"/>
                    </a:cubicBezTo>
                    <a:cubicBezTo>
                      <a:pt x="1309" y="528"/>
                      <a:pt x="1309" y="528"/>
                      <a:pt x="1308" y="529"/>
                    </a:cubicBezTo>
                    <a:cubicBezTo>
                      <a:pt x="1308" y="529"/>
                      <a:pt x="1308" y="529"/>
                      <a:pt x="1309" y="531"/>
                    </a:cubicBezTo>
                    <a:cubicBezTo>
                      <a:pt x="1309" y="531"/>
                      <a:pt x="1309" y="531"/>
                      <a:pt x="1308" y="532"/>
                    </a:cubicBezTo>
                    <a:cubicBezTo>
                      <a:pt x="1308" y="532"/>
                      <a:pt x="1308" y="532"/>
                      <a:pt x="1310" y="533"/>
                    </a:cubicBezTo>
                    <a:cubicBezTo>
                      <a:pt x="1310" y="533"/>
                      <a:pt x="1310" y="533"/>
                      <a:pt x="1310" y="534"/>
                    </a:cubicBezTo>
                    <a:cubicBezTo>
                      <a:pt x="1310" y="534"/>
                      <a:pt x="1310" y="534"/>
                      <a:pt x="1311" y="535"/>
                    </a:cubicBezTo>
                    <a:cubicBezTo>
                      <a:pt x="1311" y="535"/>
                      <a:pt x="1311" y="535"/>
                      <a:pt x="1313" y="537"/>
                    </a:cubicBezTo>
                    <a:cubicBezTo>
                      <a:pt x="1313" y="537"/>
                      <a:pt x="1313" y="537"/>
                      <a:pt x="1313" y="538"/>
                    </a:cubicBezTo>
                    <a:cubicBezTo>
                      <a:pt x="1313" y="538"/>
                      <a:pt x="1313" y="538"/>
                      <a:pt x="1312" y="538"/>
                    </a:cubicBezTo>
                    <a:cubicBezTo>
                      <a:pt x="1312" y="538"/>
                      <a:pt x="1312" y="538"/>
                      <a:pt x="1311" y="537"/>
                    </a:cubicBezTo>
                    <a:cubicBezTo>
                      <a:pt x="1311" y="537"/>
                      <a:pt x="1311" y="537"/>
                      <a:pt x="1311" y="538"/>
                    </a:cubicBezTo>
                    <a:cubicBezTo>
                      <a:pt x="1311" y="538"/>
                      <a:pt x="1311" y="538"/>
                      <a:pt x="1310" y="539"/>
                    </a:cubicBezTo>
                    <a:cubicBezTo>
                      <a:pt x="1310" y="539"/>
                      <a:pt x="1310" y="539"/>
                      <a:pt x="1311" y="539"/>
                    </a:cubicBezTo>
                    <a:cubicBezTo>
                      <a:pt x="1311" y="539"/>
                      <a:pt x="1311" y="539"/>
                      <a:pt x="1311" y="540"/>
                    </a:cubicBezTo>
                    <a:cubicBezTo>
                      <a:pt x="1311" y="540"/>
                      <a:pt x="1311" y="540"/>
                      <a:pt x="1311" y="541"/>
                    </a:cubicBezTo>
                    <a:cubicBezTo>
                      <a:pt x="1311" y="541"/>
                      <a:pt x="1311" y="541"/>
                      <a:pt x="1309" y="541"/>
                    </a:cubicBezTo>
                    <a:cubicBezTo>
                      <a:pt x="1309" y="541"/>
                      <a:pt x="1309" y="541"/>
                      <a:pt x="1311" y="542"/>
                    </a:cubicBezTo>
                    <a:cubicBezTo>
                      <a:pt x="1311" y="542"/>
                      <a:pt x="1311" y="542"/>
                      <a:pt x="1312" y="542"/>
                    </a:cubicBezTo>
                    <a:cubicBezTo>
                      <a:pt x="1312" y="542"/>
                      <a:pt x="1312" y="542"/>
                      <a:pt x="1312" y="543"/>
                    </a:cubicBezTo>
                    <a:cubicBezTo>
                      <a:pt x="1312" y="543"/>
                      <a:pt x="1312" y="543"/>
                      <a:pt x="1313" y="543"/>
                    </a:cubicBezTo>
                    <a:cubicBezTo>
                      <a:pt x="1313" y="543"/>
                      <a:pt x="1313" y="543"/>
                      <a:pt x="1314" y="544"/>
                    </a:cubicBezTo>
                    <a:cubicBezTo>
                      <a:pt x="1314" y="544"/>
                      <a:pt x="1314" y="544"/>
                      <a:pt x="1317" y="546"/>
                    </a:cubicBezTo>
                    <a:cubicBezTo>
                      <a:pt x="1317" y="546"/>
                      <a:pt x="1317" y="546"/>
                      <a:pt x="1318" y="546"/>
                    </a:cubicBezTo>
                    <a:cubicBezTo>
                      <a:pt x="1318" y="546"/>
                      <a:pt x="1318" y="546"/>
                      <a:pt x="1318" y="548"/>
                    </a:cubicBezTo>
                    <a:cubicBezTo>
                      <a:pt x="1318" y="548"/>
                      <a:pt x="1318" y="548"/>
                      <a:pt x="1319" y="549"/>
                    </a:cubicBezTo>
                    <a:cubicBezTo>
                      <a:pt x="1319" y="549"/>
                      <a:pt x="1319" y="549"/>
                      <a:pt x="1318" y="550"/>
                    </a:cubicBezTo>
                    <a:cubicBezTo>
                      <a:pt x="1318" y="550"/>
                      <a:pt x="1318" y="550"/>
                      <a:pt x="1317" y="550"/>
                    </a:cubicBezTo>
                    <a:cubicBezTo>
                      <a:pt x="1317" y="550"/>
                      <a:pt x="1317" y="550"/>
                      <a:pt x="1317" y="549"/>
                    </a:cubicBezTo>
                    <a:cubicBezTo>
                      <a:pt x="1317" y="549"/>
                      <a:pt x="1317" y="549"/>
                      <a:pt x="1315" y="548"/>
                    </a:cubicBezTo>
                    <a:cubicBezTo>
                      <a:pt x="1315" y="548"/>
                      <a:pt x="1315" y="548"/>
                      <a:pt x="1314" y="549"/>
                    </a:cubicBezTo>
                    <a:cubicBezTo>
                      <a:pt x="1314" y="549"/>
                      <a:pt x="1314" y="549"/>
                      <a:pt x="1313" y="549"/>
                    </a:cubicBezTo>
                    <a:cubicBezTo>
                      <a:pt x="1313" y="549"/>
                      <a:pt x="1313" y="549"/>
                      <a:pt x="1312" y="549"/>
                    </a:cubicBezTo>
                    <a:cubicBezTo>
                      <a:pt x="1312" y="549"/>
                      <a:pt x="1312" y="549"/>
                      <a:pt x="1313" y="550"/>
                    </a:cubicBezTo>
                    <a:cubicBezTo>
                      <a:pt x="1313" y="550"/>
                      <a:pt x="1313" y="550"/>
                      <a:pt x="1313" y="551"/>
                    </a:cubicBezTo>
                    <a:cubicBezTo>
                      <a:pt x="1313" y="551"/>
                      <a:pt x="1313" y="551"/>
                      <a:pt x="1314" y="552"/>
                    </a:cubicBezTo>
                    <a:cubicBezTo>
                      <a:pt x="1314" y="552"/>
                      <a:pt x="1314" y="552"/>
                      <a:pt x="1315" y="552"/>
                    </a:cubicBezTo>
                    <a:cubicBezTo>
                      <a:pt x="1315" y="552"/>
                      <a:pt x="1315" y="552"/>
                      <a:pt x="1316" y="553"/>
                    </a:cubicBezTo>
                    <a:cubicBezTo>
                      <a:pt x="1316" y="553"/>
                      <a:pt x="1316" y="553"/>
                      <a:pt x="1314" y="553"/>
                    </a:cubicBezTo>
                    <a:cubicBezTo>
                      <a:pt x="1314" y="553"/>
                      <a:pt x="1314" y="553"/>
                      <a:pt x="1313" y="553"/>
                    </a:cubicBezTo>
                    <a:cubicBezTo>
                      <a:pt x="1313" y="553"/>
                      <a:pt x="1313" y="553"/>
                      <a:pt x="1313" y="552"/>
                    </a:cubicBezTo>
                    <a:cubicBezTo>
                      <a:pt x="1313" y="552"/>
                      <a:pt x="1313" y="552"/>
                      <a:pt x="1312" y="552"/>
                    </a:cubicBezTo>
                    <a:cubicBezTo>
                      <a:pt x="1312" y="552"/>
                      <a:pt x="1312" y="552"/>
                      <a:pt x="1311" y="552"/>
                    </a:cubicBezTo>
                    <a:cubicBezTo>
                      <a:pt x="1311" y="552"/>
                      <a:pt x="1311" y="552"/>
                      <a:pt x="1312" y="553"/>
                    </a:cubicBezTo>
                    <a:cubicBezTo>
                      <a:pt x="1312" y="553"/>
                      <a:pt x="1312" y="553"/>
                      <a:pt x="1313" y="555"/>
                    </a:cubicBezTo>
                    <a:cubicBezTo>
                      <a:pt x="1313" y="555"/>
                      <a:pt x="1313" y="555"/>
                      <a:pt x="1313" y="557"/>
                    </a:cubicBezTo>
                    <a:cubicBezTo>
                      <a:pt x="1313" y="557"/>
                      <a:pt x="1313" y="557"/>
                      <a:pt x="1313" y="558"/>
                    </a:cubicBezTo>
                    <a:cubicBezTo>
                      <a:pt x="1313" y="558"/>
                      <a:pt x="1313" y="558"/>
                      <a:pt x="1314" y="559"/>
                    </a:cubicBezTo>
                    <a:cubicBezTo>
                      <a:pt x="1314" y="559"/>
                      <a:pt x="1314" y="559"/>
                      <a:pt x="1312" y="558"/>
                    </a:cubicBezTo>
                    <a:cubicBezTo>
                      <a:pt x="1312" y="558"/>
                      <a:pt x="1312" y="558"/>
                      <a:pt x="1312" y="556"/>
                    </a:cubicBezTo>
                    <a:cubicBezTo>
                      <a:pt x="1312" y="556"/>
                      <a:pt x="1312" y="556"/>
                      <a:pt x="1311" y="556"/>
                    </a:cubicBezTo>
                    <a:cubicBezTo>
                      <a:pt x="1311" y="556"/>
                      <a:pt x="1311" y="556"/>
                      <a:pt x="1310" y="558"/>
                    </a:cubicBezTo>
                    <a:cubicBezTo>
                      <a:pt x="1310" y="558"/>
                      <a:pt x="1310" y="558"/>
                      <a:pt x="1309" y="557"/>
                    </a:cubicBezTo>
                    <a:cubicBezTo>
                      <a:pt x="1309" y="557"/>
                      <a:pt x="1309" y="557"/>
                      <a:pt x="1308" y="556"/>
                    </a:cubicBezTo>
                    <a:cubicBezTo>
                      <a:pt x="1308" y="556"/>
                      <a:pt x="1308" y="556"/>
                      <a:pt x="1307" y="555"/>
                    </a:cubicBezTo>
                    <a:cubicBezTo>
                      <a:pt x="1307" y="555"/>
                      <a:pt x="1307" y="555"/>
                      <a:pt x="1307" y="556"/>
                    </a:cubicBezTo>
                    <a:cubicBezTo>
                      <a:pt x="1307" y="556"/>
                      <a:pt x="1307" y="556"/>
                      <a:pt x="1307" y="557"/>
                    </a:cubicBezTo>
                    <a:cubicBezTo>
                      <a:pt x="1307" y="557"/>
                      <a:pt x="1307" y="557"/>
                      <a:pt x="1306" y="556"/>
                    </a:cubicBezTo>
                    <a:cubicBezTo>
                      <a:pt x="1306" y="556"/>
                      <a:pt x="1306" y="556"/>
                      <a:pt x="1305" y="555"/>
                    </a:cubicBezTo>
                    <a:cubicBezTo>
                      <a:pt x="1305" y="555"/>
                      <a:pt x="1305" y="555"/>
                      <a:pt x="1305" y="554"/>
                    </a:cubicBezTo>
                    <a:cubicBezTo>
                      <a:pt x="1305" y="554"/>
                      <a:pt x="1305" y="554"/>
                      <a:pt x="1305" y="553"/>
                    </a:cubicBezTo>
                    <a:cubicBezTo>
                      <a:pt x="1305" y="553"/>
                      <a:pt x="1305" y="553"/>
                      <a:pt x="1305" y="552"/>
                    </a:cubicBezTo>
                    <a:cubicBezTo>
                      <a:pt x="1305" y="552"/>
                      <a:pt x="1305" y="552"/>
                      <a:pt x="1304" y="551"/>
                    </a:cubicBezTo>
                    <a:cubicBezTo>
                      <a:pt x="1304" y="551"/>
                      <a:pt x="1304" y="551"/>
                      <a:pt x="1302" y="550"/>
                    </a:cubicBezTo>
                    <a:cubicBezTo>
                      <a:pt x="1302" y="550"/>
                      <a:pt x="1302" y="550"/>
                      <a:pt x="1301" y="549"/>
                    </a:cubicBezTo>
                    <a:cubicBezTo>
                      <a:pt x="1301" y="549"/>
                      <a:pt x="1301" y="549"/>
                      <a:pt x="1301" y="548"/>
                    </a:cubicBezTo>
                    <a:cubicBezTo>
                      <a:pt x="1301" y="548"/>
                      <a:pt x="1301" y="548"/>
                      <a:pt x="1302" y="548"/>
                    </a:cubicBezTo>
                    <a:cubicBezTo>
                      <a:pt x="1302" y="548"/>
                      <a:pt x="1302" y="548"/>
                      <a:pt x="1303" y="546"/>
                    </a:cubicBezTo>
                    <a:cubicBezTo>
                      <a:pt x="1303" y="546"/>
                      <a:pt x="1303" y="546"/>
                      <a:pt x="1304" y="547"/>
                    </a:cubicBezTo>
                    <a:cubicBezTo>
                      <a:pt x="1304" y="547"/>
                      <a:pt x="1304" y="547"/>
                      <a:pt x="1305" y="546"/>
                    </a:cubicBezTo>
                    <a:cubicBezTo>
                      <a:pt x="1305" y="546"/>
                      <a:pt x="1305" y="546"/>
                      <a:pt x="1306" y="546"/>
                    </a:cubicBezTo>
                    <a:cubicBezTo>
                      <a:pt x="1306" y="546"/>
                      <a:pt x="1306" y="546"/>
                      <a:pt x="1309" y="548"/>
                    </a:cubicBezTo>
                    <a:cubicBezTo>
                      <a:pt x="1309" y="548"/>
                      <a:pt x="1309" y="548"/>
                      <a:pt x="1310" y="548"/>
                    </a:cubicBezTo>
                    <a:cubicBezTo>
                      <a:pt x="1310" y="548"/>
                      <a:pt x="1310" y="548"/>
                      <a:pt x="1311" y="549"/>
                    </a:cubicBezTo>
                    <a:cubicBezTo>
                      <a:pt x="1311" y="549"/>
                      <a:pt x="1311" y="549"/>
                      <a:pt x="1311" y="548"/>
                    </a:cubicBezTo>
                    <a:cubicBezTo>
                      <a:pt x="1311" y="548"/>
                      <a:pt x="1311" y="548"/>
                      <a:pt x="1312" y="547"/>
                    </a:cubicBezTo>
                    <a:cubicBezTo>
                      <a:pt x="1312" y="547"/>
                      <a:pt x="1312" y="547"/>
                      <a:pt x="1311" y="547"/>
                    </a:cubicBezTo>
                    <a:cubicBezTo>
                      <a:pt x="1311" y="547"/>
                      <a:pt x="1311" y="547"/>
                      <a:pt x="1310" y="546"/>
                    </a:cubicBezTo>
                    <a:cubicBezTo>
                      <a:pt x="1310" y="546"/>
                      <a:pt x="1310" y="546"/>
                      <a:pt x="1309" y="546"/>
                    </a:cubicBezTo>
                    <a:cubicBezTo>
                      <a:pt x="1309" y="546"/>
                      <a:pt x="1309" y="546"/>
                      <a:pt x="1308" y="546"/>
                    </a:cubicBezTo>
                    <a:cubicBezTo>
                      <a:pt x="1308" y="546"/>
                      <a:pt x="1308" y="546"/>
                      <a:pt x="1307" y="545"/>
                    </a:cubicBezTo>
                    <a:cubicBezTo>
                      <a:pt x="1307" y="545"/>
                      <a:pt x="1307" y="545"/>
                      <a:pt x="1306" y="545"/>
                    </a:cubicBezTo>
                    <a:cubicBezTo>
                      <a:pt x="1306" y="545"/>
                      <a:pt x="1306" y="545"/>
                      <a:pt x="1305" y="546"/>
                    </a:cubicBezTo>
                    <a:cubicBezTo>
                      <a:pt x="1305" y="546"/>
                      <a:pt x="1305" y="546"/>
                      <a:pt x="1304" y="546"/>
                    </a:cubicBezTo>
                    <a:cubicBezTo>
                      <a:pt x="1304" y="546"/>
                      <a:pt x="1304" y="546"/>
                      <a:pt x="1303" y="544"/>
                    </a:cubicBezTo>
                    <a:cubicBezTo>
                      <a:pt x="1303" y="544"/>
                      <a:pt x="1303" y="544"/>
                      <a:pt x="1302" y="546"/>
                    </a:cubicBezTo>
                    <a:cubicBezTo>
                      <a:pt x="1302" y="546"/>
                      <a:pt x="1302" y="546"/>
                      <a:pt x="1301" y="545"/>
                    </a:cubicBezTo>
                    <a:cubicBezTo>
                      <a:pt x="1301" y="545"/>
                      <a:pt x="1301" y="545"/>
                      <a:pt x="1300" y="544"/>
                    </a:cubicBezTo>
                    <a:cubicBezTo>
                      <a:pt x="1300" y="544"/>
                      <a:pt x="1300" y="544"/>
                      <a:pt x="1299" y="541"/>
                    </a:cubicBezTo>
                    <a:cubicBezTo>
                      <a:pt x="1299" y="541"/>
                      <a:pt x="1299" y="541"/>
                      <a:pt x="1298" y="541"/>
                    </a:cubicBezTo>
                    <a:cubicBezTo>
                      <a:pt x="1298" y="541"/>
                      <a:pt x="1298" y="541"/>
                      <a:pt x="1297" y="539"/>
                    </a:cubicBezTo>
                    <a:cubicBezTo>
                      <a:pt x="1297" y="539"/>
                      <a:pt x="1297" y="539"/>
                      <a:pt x="1295" y="537"/>
                    </a:cubicBezTo>
                    <a:cubicBezTo>
                      <a:pt x="1295" y="537"/>
                      <a:pt x="1295" y="537"/>
                      <a:pt x="1295" y="535"/>
                    </a:cubicBezTo>
                    <a:cubicBezTo>
                      <a:pt x="1295" y="535"/>
                      <a:pt x="1295" y="535"/>
                      <a:pt x="1294" y="535"/>
                    </a:cubicBezTo>
                    <a:cubicBezTo>
                      <a:pt x="1294" y="535"/>
                      <a:pt x="1294" y="535"/>
                      <a:pt x="1293" y="534"/>
                    </a:cubicBezTo>
                    <a:cubicBezTo>
                      <a:pt x="1293" y="534"/>
                      <a:pt x="1293" y="534"/>
                      <a:pt x="1292" y="531"/>
                    </a:cubicBezTo>
                    <a:cubicBezTo>
                      <a:pt x="1292" y="531"/>
                      <a:pt x="1292" y="531"/>
                      <a:pt x="1290" y="531"/>
                    </a:cubicBezTo>
                    <a:cubicBezTo>
                      <a:pt x="1290" y="531"/>
                      <a:pt x="1290" y="531"/>
                      <a:pt x="1289" y="530"/>
                    </a:cubicBezTo>
                    <a:cubicBezTo>
                      <a:pt x="1289" y="530"/>
                      <a:pt x="1289" y="530"/>
                      <a:pt x="1290" y="529"/>
                    </a:cubicBezTo>
                    <a:cubicBezTo>
                      <a:pt x="1290" y="529"/>
                      <a:pt x="1290" y="529"/>
                      <a:pt x="1289" y="528"/>
                    </a:cubicBezTo>
                    <a:cubicBezTo>
                      <a:pt x="1289" y="528"/>
                      <a:pt x="1289" y="528"/>
                      <a:pt x="1289" y="526"/>
                    </a:cubicBezTo>
                    <a:cubicBezTo>
                      <a:pt x="1289" y="526"/>
                      <a:pt x="1289" y="526"/>
                      <a:pt x="1290" y="525"/>
                    </a:cubicBezTo>
                    <a:cubicBezTo>
                      <a:pt x="1290" y="525"/>
                      <a:pt x="1290" y="525"/>
                      <a:pt x="1289" y="523"/>
                    </a:cubicBezTo>
                    <a:cubicBezTo>
                      <a:pt x="1289" y="523"/>
                      <a:pt x="1289" y="523"/>
                      <a:pt x="1289" y="520"/>
                    </a:cubicBezTo>
                    <a:cubicBezTo>
                      <a:pt x="1289" y="520"/>
                      <a:pt x="1289" y="520"/>
                      <a:pt x="1290" y="520"/>
                    </a:cubicBezTo>
                    <a:cubicBezTo>
                      <a:pt x="1290" y="520"/>
                      <a:pt x="1290" y="520"/>
                      <a:pt x="1290" y="519"/>
                    </a:cubicBezTo>
                    <a:cubicBezTo>
                      <a:pt x="1290" y="519"/>
                      <a:pt x="1290" y="519"/>
                      <a:pt x="1288" y="518"/>
                    </a:cubicBezTo>
                    <a:cubicBezTo>
                      <a:pt x="1288" y="518"/>
                      <a:pt x="1288" y="518"/>
                      <a:pt x="1287" y="517"/>
                    </a:cubicBezTo>
                    <a:cubicBezTo>
                      <a:pt x="1287" y="517"/>
                      <a:pt x="1287" y="517"/>
                      <a:pt x="1284" y="514"/>
                    </a:cubicBezTo>
                    <a:cubicBezTo>
                      <a:pt x="1284" y="514"/>
                      <a:pt x="1284" y="514"/>
                      <a:pt x="1283" y="513"/>
                    </a:cubicBezTo>
                    <a:cubicBezTo>
                      <a:pt x="1283" y="513"/>
                      <a:pt x="1283" y="513"/>
                      <a:pt x="1283" y="512"/>
                    </a:cubicBezTo>
                    <a:cubicBezTo>
                      <a:pt x="1283" y="512"/>
                      <a:pt x="1283" y="512"/>
                      <a:pt x="1281" y="511"/>
                    </a:cubicBezTo>
                    <a:cubicBezTo>
                      <a:pt x="1281" y="511"/>
                      <a:pt x="1281" y="511"/>
                      <a:pt x="1278" y="511"/>
                    </a:cubicBezTo>
                    <a:cubicBezTo>
                      <a:pt x="1278" y="511"/>
                      <a:pt x="1278" y="511"/>
                      <a:pt x="1278" y="510"/>
                    </a:cubicBezTo>
                    <a:cubicBezTo>
                      <a:pt x="1278" y="510"/>
                      <a:pt x="1278" y="510"/>
                      <a:pt x="1275" y="507"/>
                    </a:cubicBezTo>
                    <a:cubicBezTo>
                      <a:pt x="1275" y="507"/>
                      <a:pt x="1275" y="507"/>
                      <a:pt x="1273" y="506"/>
                    </a:cubicBezTo>
                    <a:cubicBezTo>
                      <a:pt x="1273" y="506"/>
                      <a:pt x="1273" y="506"/>
                      <a:pt x="1270" y="506"/>
                    </a:cubicBezTo>
                    <a:cubicBezTo>
                      <a:pt x="1270" y="506"/>
                      <a:pt x="1270" y="506"/>
                      <a:pt x="1269" y="506"/>
                    </a:cubicBezTo>
                    <a:cubicBezTo>
                      <a:pt x="1269" y="506"/>
                      <a:pt x="1269" y="506"/>
                      <a:pt x="1268" y="505"/>
                    </a:cubicBezTo>
                    <a:cubicBezTo>
                      <a:pt x="1268" y="505"/>
                      <a:pt x="1268" y="505"/>
                      <a:pt x="1268" y="504"/>
                    </a:cubicBezTo>
                    <a:cubicBezTo>
                      <a:pt x="1268" y="504"/>
                      <a:pt x="1268" y="504"/>
                      <a:pt x="1267" y="504"/>
                    </a:cubicBezTo>
                    <a:cubicBezTo>
                      <a:pt x="1267" y="504"/>
                      <a:pt x="1267" y="504"/>
                      <a:pt x="1265" y="502"/>
                    </a:cubicBezTo>
                    <a:cubicBezTo>
                      <a:pt x="1265" y="502"/>
                      <a:pt x="1265" y="502"/>
                      <a:pt x="1264" y="502"/>
                    </a:cubicBezTo>
                    <a:cubicBezTo>
                      <a:pt x="1264" y="502"/>
                      <a:pt x="1264" y="502"/>
                      <a:pt x="1263" y="501"/>
                    </a:cubicBezTo>
                    <a:cubicBezTo>
                      <a:pt x="1263" y="501"/>
                      <a:pt x="1263" y="501"/>
                      <a:pt x="1264" y="500"/>
                    </a:cubicBezTo>
                    <a:cubicBezTo>
                      <a:pt x="1264" y="500"/>
                      <a:pt x="1264" y="500"/>
                      <a:pt x="1265" y="500"/>
                    </a:cubicBezTo>
                    <a:cubicBezTo>
                      <a:pt x="1265" y="500"/>
                      <a:pt x="1265" y="500"/>
                      <a:pt x="1266" y="500"/>
                    </a:cubicBezTo>
                    <a:cubicBezTo>
                      <a:pt x="1266" y="500"/>
                      <a:pt x="1266" y="500"/>
                      <a:pt x="1265" y="499"/>
                    </a:cubicBezTo>
                    <a:cubicBezTo>
                      <a:pt x="1265" y="499"/>
                      <a:pt x="1265" y="499"/>
                      <a:pt x="1264" y="499"/>
                    </a:cubicBezTo>
                    <a:cubicBezTo>
                      <a:pt x="1264" y="499"/>
                      <a:pt x="1264" y="499"/>
                      <a:pt x="1262" y="497"/>
                    </a:cubicBezTo>
                    <a:cubicBezTo>
                      <a:pt x="1262" y="497"/>
                      <a:pt x="1262" y="497"/>
                      <a:pt x="1261" y="496"/>
                    </a:cubicBezTo>
                    <a:cubicBezTo>
                      <a:pt x="1261" y="496"/>
                      <a:pt x="1261" y="496"/>
                      <a:pt x="1261" y="494"/>
                    </a:cubicBezTo>
                    <a:cubicBezTo>
                      <a:pt x="1261" y="494"/>
                      <a:pt x="1261" y="494"/>
                      <a:pt x="1260" y="493"/>
                    </a:cubicBezTo>
                    <a:cubicBezTo>
                      <a:pt x="1260" y="493"/>
                      <a:pt x="1260" y="493"/>
                      <a:pt x="1259" y="492"/>
                    </a:cubicBezTo>
                    <a:cubicBezTo>
                      <a:pt x="1259" y="492"/>
                      <a:pt x="1259" y="492"/>
                      <a:pt x="1258" y="492"/>
                    </a:cubicBezTo>
                    <a:cubicBezTo>
                      <a:pt x="1258" y="492"/>
                      <a:pt x="1258" y="492"/>
                      <a:pt x="1257" y="493"/>
                    </a:cubicBezTo>
                    <a:cubicBezTo>
                      <a:pt x="1257" y="493"/>
                      <a:pt x="1257" y="493"/>
                      <a:pt x="1257" y="494"/>
                    </a:cubicBezTo>
                    <a:cubicBezTo>
                      <a:pt x="1257" y="494"/>
                      <a:pt x="1257" y="494"/>
                      <a:pt x="1255" y="496"/>
                    </a:cubicBezTo>
                    <a:cubicBezTo>
                      <a:pt x="1255" y="496"/>
                      <a:pt x="1255" y="496"/>
                      <a:pt x="1253" y="494"/>
                    </a:cubicBezTo>
                    <a:cubicBezTo>
                      <a:pt x="1253" y="494"/>
                      <a:pt x="1253" y="494"/>
                      <a:pt x="1253" y="492"/>
                    </a:cubicBezTo>
                    <a:cubicBezTo>
                      <a:pt x="1253" y="492"/>
                      <a:pt x="1253" y="492"/>
                      <a:pt x="1253" y="490"/>
                    </a:cubicBezTo>
                    <a:cubicBezTo>
                      <a:pt x="1253" y="490"/>
                      <a:pt x="1253" y="490"/>
                      <a:pt x="1254" y="490"/>
                    </a:cubicBezTo>
                    <a:cubicBezTo>
                      <a:pt x="1254" y="490"/>
                      <a:pt x="1254" y="490"/>
                      <a:pt x="1254" y="489"/>
                    </a:cubicBezTo>
                    <a:cubicBezTo>
                      <a:pt x="1254" y="489"/>
                      <a:pt x="1254" y="489"/>
                      <a:pt x="1253" y="489"/>
                    </a:cubicBezTo>
                    <a:cubicBezTo>
                      <a:pt x="1253" y="489"/>
                      <a:pt x="1253" y="489"/>
                      <a:pt x="1251" y="488"/>
                    </a:cubicBezTo>
                    <a:cubicBezTo>
                      <a:pt x="1251" y="488"/>
                      <a:pt x="1251" y="488"/>
                      <a:pt x="1250" y="489"/>
                    </a:cubicBezTo>
                    <a:cubicBezTo>
                      <a:pt x="1250" y="489"/>
                      <a:pt x="1250" y="489"/>
                      <a:pt x="1250" y="490"/>
                    </a:cubicBezTo>
                    <a:cubicBezTo>
                      <a:pt x="1250" y="490"/>
                      <a:pt x="1250" y="490"/>
                      <a:pt x="1248" y="490"/>
                    </a:cubicBezTo>
                    <a:cubicBezTo>
                      <a:pt x="1248" y="490"/>
                      <a:pt x="1248" y="490"/>
                      <a:pt x="1247" y="491"/>
                    </a:cubicBezTo>
                    <a:cubicBezTo>
                      <a:pt x="1247" y="491"/>
                      <a:pt x="1247" y="491"/>
                      <a:pt x="1246" y="491"/>
                    </a:cubicBezTo>
                    <a:cubicBezTo>
                      <a:pt x="1246" y="491"/>
                      <a:pt x="1246" y="491"/>
                      <a:pt x="1245" y="492"/>
                    </a:cubicBezTo>
                    <a:cubicBezTo>
                      <a:pt x="1245" y="492"/>
                      <a:pt x="1245" y="492"/>
                      <a:pt x="1246" y="493"/>
                    </a:cubicBezTo>
                    <a:cubicBezTo>
                      <a:pt x="1246" y="493"/>
                      <a:pt x="1246" y="493"/>
                      <a:pt x="1247" y="494"/>
                    </a:cubicBezTo>
                    <a:cubicBezTo>
                      <a:pt x="1247" y="494"/>
                      <a:pt x="1247" y="494"/>
                      <a:pt x="1246" y="496"/>
                    </a:cubicBezTo>
                    <a:cubicBezTo>
                      <a:pt x="1246" y="496"/>
                      <a:pt x="1246" y="496"/>
                      <a:pt x="1245" y="496"/>
                    </a:cubicBezTo>
                    <a:cubicBezTo>
                      <a:pt x="1245" y="496"/>
                      <a:pt x="1245" y="496"/>
                      <a:pt x="1246" y="498"/>
                    </a:cubicBezTo>
                    <a:cubicBezTo>
                      <a:pt x="1246" y="498"/>
                      <a:pt x="1246" y="498"/>
                      <a:pt x="1246" y="500"/>
                    </a:cubicBezTo>
                    <a:cubicBezTo>
                      <a:pt x="1246" y="500"/>
                      <a:pt x="1246" y="500"/>
                      <a:pt x="1247" y="501"/>
                    </a:cubicBezTo>
                    <a:cubicBezTo>
                      <a:pt x="1247" y="501"/>
                      <a:pt x="1247" y="501"/>
                      <a:pt x="1249" y="502"/>
                    </a:cubicBezTo>
                    <a:cubicBezTo>
                      <a:pt x="1249" y="502"/>
                      <a:pt x="1249" y="502"/>
                      <a:pt x="1251" y="503"/>
                    </a:cubicBezTo>
                    <a:cubicBezTo>
                      <a:pt x="1251" y="503"/>
                      <a:pt x="1251" y="503"/>
                      <a:pt x="1252" y="504"/>
                    </a:cubicBezTo>
                    <a:cubicBezTo>
                      <a:pt x="1252" y="504"/>
                      <a:pt x="1252" y="504"/>
                      <a:pt x="1256" y="508"/>
                    </a:cubicBezTo>
                    <a:cubicBezTo>
                      <a:pt x="1256" y="508"/>
                      <a:pt x="1256" y="508"/>
                      <a:pt x="1256" y="509"/>
                    </a:cubicBezTo>
                    <a:cubicBezTo>
                      <a:pt x="1256" y="509"/>
                      <a:pt x="1256" y="509"/>
                      <a:pt x="1256" y="511"/>
                    </a:cubicBezTo>
                    <a:cubicBezTo>
                      <a:pt x="1256" y="511"/>
                      <a:pt x="1256" y="511"/>
                      <a:pt x="1257" y="512"/>
                    </a:cubicBezTo>
                    <a:cubicBezTo>
                      <a:pt x="1257" y="512"/>
                      <a:pt x="1257" y="512"/>
                      <a:pt x="1258" y="513"/>
                    </a:cubicBezTo>
                    <a:cubicBezTo>
                      <a:pt x="1258" y="513"/>
                      <a:pt x="1258" y="513"/>
                      <a:pt x="1259" y="515"/>
                    </a:cubicBezTo>
                    <a:cubicBezTo>
                      <a:pt x="1259" y="515"/>
                      <a:pt x="1259" y="515"/>
                      <a:pt x="1261" y="516"/>
                    </a:cubicBezTo>
                    <a:cubicBezTo>
                      <a:pt x="1261" y="516"/>
                      <a:pt x="1261" y="516"/>
                      <a:pt x="1262" y="517"/>
                    </a:cubicBezTo>
                    <a:cubicBezTo>
                      <a:pt x="1262" y="517"/>
                      <a:pt x="1262" y="517"/>
                      <a:pt x="1263" y="517"/>
                    </a:cubicBezTo>
                    <a:cubicBezTo>
                      <a:pt x="1263" y="517"/>
                      <a:pt x="1263" y="517"/>
                      <a:pt x="1264" y="518"/>
                    </a:cubicBezTo>
                    <a:cubicBezTo>
                      <a:pt x="1264" y="518"/>
                      <a:pt x="1264" y="518"/>
                      <a:pt x="1266" y="518"/>
                    </a:cubicBezTo>
                    <a:cubicBezTo>
                      <a:pt x="1266" y="518"/>
                      <a:pt x="1266" y="518"/>
                      <a:pt x="1267" y="518"/>
                    </a:cubicBezTo>
                    <a:cubicBezTo>
                      <a:pt x="1267" y="518"/>
                      <a:pt x="1267" y="518"/>
                      <a:pt x="1269" y="518"/>
                    </a:cubicBezTo>
                    <a:cubicBezTo>
                      <a:pt x="1269" y="518"/>
                      <a:pt x="1269" y="518"/>
                      <a:pt x="1270" y="518"/>
                    </a:cubicBezTo>
                    <a:cubicBezTo>
                      <a:pt x="1270" y="518"/>
                      <a:pt x="1270" y="518"/>
                      <a:pt x="1270" y="519"/>
                    </a:cubicBezTo>
                    <a:cubicBezTo>
                      <a:pt x="1270" y="519"/>
                      <a:pt x="1270" y="519"/>
                      <a:pt x="1268" y="520"/>
                    </a:cubicBezTo>
                    <a:cubicBezTo>
                      <a:pt x="1268" y="520"/>
                      <a:pt x="1268" y="520"/>
                      <a:pt x="1268" y="521"/>
                    </a:cubicBezTo>
                    <a:cubicBezTo>
                      <a:pt x="1268" y="521"/>
                      <a:pt x="1268" y="521"/>
                      <a:pt x="1269" y="522"/>
                    </a:cubicBezTo>
                    <a:cubicBezTo>
                      <a:pt x="1269" y="522"/>
                      <a:pt x="1269" y="522"/>
                      <a:pt x="1270" y="522"/>
                    </a:cubicBezTo>
                    <a:cubicBezTo>
                      <a:pt x="1270" y="522"/>
                      <a:pt x="1270" y="522"/>
                      <a:pt x="1272" y="522"/>
                    </a:cubicBezTo>
                    <a:cubicBezTo>
                      <a:pt x="1272" y="522"/>
                      <a:pt x="1272" y="522"/>
                      <a:pt x="1277" y="525"/>
                    </a:cubicBezTo>
                    <a:cubicBezTo>
                      <a:pt x="1277" y="525"/>
                      <a:pt x="1277" y="525"/>
                      <a:pt x="1279" y="526"/>
                    </a:cubicBezTo>
                    <a:cubicBezTo>
                      <a:pt x="1279" y="526"/>
                      <a:pt x="1279" y="526"/>
                      <a:pt x="1281" y="528"/>
                    </a:cubicBezTo>
                    <a:cubicBezTo>
                      <a:pt x="1281" y="528"/>
                      <a:pt x="1281" y="528"/>
                      <a:pt x="1283" y="528"/>
                    </a:cubicBezTo>
                    <a:cubicBezTo>
                      <a:pt x="1283" y="528"/>
                      <a:pt x="1283" y="528"/>
                      <a:pt x="1284" y="529"/>
                    </a:cubicBezTo>
                    <a:cubicBezTo>
                      <a:pt x="1284" y="529"/>
                      <a:pt x="1284" y="529"/>
                      <a:pt x="1284" y="530"/>
                    </a:cubicBezTo>
                    <a:cubicBezTo>
                      <a:pt x="1284" y="530"/>
                      <a:pt x="1284" y="530"/>
                      <a:pt x="1284" y="531"/>
                    </a:cubicBezTo>
                    <a:cubicBezTo>
                      <a:pt x="1284" y="531"/>
                      <a:pt x="1284" y="531"/>
                      <a:pt x="1283" y="532"/>
                    </a:cubicBezTo>
                    <a:cubicBezTo>
                      <a:pt x="1283" y="532"/>
                      <a:pt x="1283" y="532"/>
                      <a:pt x="1284" y="533"/>
                    </a:cubicBezTo>
                    <a:cubicBezTo>
                      <a:pt x="1284" y="533"/>
                      <a:pt x="1284" y="533"/>
                      <a:pt x="1283" y="533"/>
                    </a:cubicBezTo>
                    <a:cubicBezTo>
                      <a:pt x="1283" y="533"/>
                      <a:pt x="1283" y="533"/>
                      <a:pt x="1283" y="534"/>
                    </a:cubicBezTo>
                    <a:cubicBezTo>
                      <a:pt x="1283" y="534"/>
                      <a:pt x="1283" y="534"/>
                      <a:pt x="1282" y="533"/>
                    </a:cubicBezTo>
                    <a:cubicBezTo>
                      <a:pt x="1282" y="533"/>
                      <a:pt x="1282" y="533"/>
                      <a:pt x="1281" y="532"/>
                    </a:cubicBezTo>
                    <a:cubicBezTo>
                      <a:pt x="1281" y="532"/>
                      <a:pt x="1281" y="532"/>
                      <a:pt x="1281" y="531"/>
                    </a:cubicBezTo>
                    <a:cubicBezTo>
                      <a:pt x="1281" y="531"/>
                      <a:pt x="1281" y="531"/>
                      <a:pt x="1281" y="530"/>
                    </a:cubicBezTo>
                    <a:cubicBezTo>
                      <a:pt x="1281" y="530"/>
                      <a:pt x="1281" y="530"/>
                      <a:pt x="1280" y="530"/>
                    </a:cubicBezTo>
                    <a:cubicBezTo>
                      <a:pt x="1280" y="530"/>
                      <a:pt x="1280" y="530"/>
                      <a:pt x="1278" y="530"/>
                    </a:cubicBezTo>
                    <a:cubicBezTo>
                      <a:pt x="1278" y="530"/>
                      <a:pt x="1278" y="530"/>
                      <a:pt x="1278" y="529"/>
                    </a:cubicBezTo>
                    <a:cubicBezTo>
                      <a:pt x="1278" y="529"/>
                      <a:pt x="1278" y="529"/>
                      <a:pt x="1276" y="529"/>
                    </a:cubicBezTo>
                    <a:cubicBezTo>
                      <a:pt x="1276" y="529"/>
                      <a:pt x="1276" y="529"/>
                      <a:pt x="1275" y="529"/>
                    </a:cubicBezTo>
                    <a:cubicBezTo>
                      <a:pt x="1275" y="529"/>
                      <a:pt x="1275" y="529"/>
                      <a:pt x="1275" y="531"/>
                    </a:cubicBezTo>
                    <a:cubicBezTo>
                      <a:pt x="1275" y="531"/>
                      <a:pt x="1275" y="531"/>
                      <a:pt x="1274" y="531"/>
                    </a:cubicBezTo>
                    <a:cubicBezTo>
                      <a:pt x="1274" y="531"/>
                      <a:pt x="1274" y="531"/>
                      <a:pt x="1274" y="532"/>
                    </a:cubicBezTo>
                    <a:cubicBezTo>
                      <a:pt x="1274" y="532"/>
                      <a:pt x="1274" y="532"/>
                      <a:pt x="1274" y="533"/>
                    </a:cubicBezTo>
                    <a:cubicBezTo>
                      <a:pt x="1274" y="533"/>
                      <a:pt x="1274" y="533"/>
                      <a:pt x="1273" y="534"/>
                    </a:cubicBezTo>
                    <a:cubicBezTo>
                      <a:pt x="1273" y="534"/>
                      <a:pt x="1273" y="534"/>
                      <a:pt x="1273" y="535"/>
                    </a:cubicBezTo>
                    <a:cubicBezTo>
                      <a:pt x="1273" y="535"/>
                      <a:pt x="1273" y="535"/>
                      <a:pt x="1274" y="535"/>
                    </a:cubicBezTo>
                    <a:cubicBezTo>
                      <a:pt x="1274" y="535"/>
                      <a:pt x="1274" y="535"/>
                      <a:pt x="1276" y="537"/>
                    </a:cubicBezTo>
                    <a:cubicBezTo>
                      <a:pt x="1276" y="537"/>
                      <a:pt x="1276" y="537"/>
                      <a:pt x="1276" y="538"/>
                    </a:cubicBezTo>
                    <a:cubicBezTo>
                      <a:pt x="1276" y="538"/>
                      <a:pt x="1276" y="538"/>
                      <a:pt x="1276" y="539"/>
                    </a:cubicBezTo>
                    <a:cubicBezTo>
                      <a:pt x="1276" y="539"/>
                      <a:pt x="1276" y="539"/>
                      <a:pt x="1277" y="540"/>
                    </a:cubicBezTo>
                    <a:cubicBezTo>
                      <a:pt x="1277" y="540"/>
                      <a:pt x="1277" y="540"/>
                      <a:pt x="1276" y="541"/>
                    </a:cubicBezTo>
                    <a:cubicBezTo>
                      <a:pt x="1276" y="541"/>
                      <a:pt x="1276" y="541"/>
                      <a:pt x="1275" y="541"/>
                    </a:cubicBezTo>
                    <a:cubicBezTo>
                      <a:pt x="1275" y="541"/>
                      <a:pt x="1275" y="541"/>
                      <a:pt x="1274" y="542"/>
                    </a:cubicBezTo>
                    <a:cubicBezTo>
                      <a:pt x="1274" y="542"/>
                      <a:pt x="1274" y="542"/>
                      <a:pt x="1274" y="545"/>
                    </a:cubicBezTo>
                    <a:cubicBezTo>
                      <a:pt x="1274" y="545"/>
                      <a:pt x="1274" y="545"/>
                      <a:pt x="1272" y="546"/>
                    </a:cubicBezTo>
                    <a:cubicBezTo>
                      <a:pt x="1272" y="546"/>
                      <a:pt x="1272" y="546"/>
                      <a:pt x="1272" y="548"/>
                    </a:cubicBezTo>
                    <a:cubicBezTo>
                      <a:pt x="1272" y="548"/>
                      <a:pt x="1272" y="548"/>
                      <a:pt x="1271" y="549"/>
                    </a:cubicBezTo>
                    <a:cubicBezTo>
                      <a:pt x="1271" y="549"/>
                      <a:pt x="1271" y="549"/>
                      <a:pt x="1269" y="549"/>
                    </a:cubicBezTo>
                    <a:cubicBezTo>
                      <a:pt x="1269" y="549"/>
                      <a:pt x="1269" y="549"/>
                      <a:pt x="1268" y="548"/>
                    </a:cubicBezTo>
                    <a:cubicBezTo>
                      <a:pt x="1268" y="548"/>
                      <a:pt x="1268" y="548"/>
                      <a:pt x="1268" y="547"/>
                    </a:cubicBezTo>
                    <a:cubicBezTo>
                      <a:pt x="1268" y="547"/>
                      <a:pt x="1268" y="547"/>
                      <a:pt x="1268" y="546"/>
                    </a:cubicBezTo>
                    <a:cubicBezTo>
                      <a:pt x="1268" y="546"/>
                      <a:pt x="1268" y="546"/>
                      <a:pt x="1269" y="546"/>
                    </a:cubicBezTo>
                    <a:cubicBezTo>
                      <a:pt x="1269" y="546"/>
                      <a:pt x="1269" y="546"/>
                      <a:pt x="1270" y="545"/>
                    </a:cubicBezTo>
                    <a:cubicBezTo>
                      <a:pt x="1270" y="545"/>
                      <a:pt x="1270" y="545"/>
                      <a:pt x="1270" y="544"/>
                    </a:cubicBezTo>
                    <a:cubicBezTo>
                      <a:pt x="1270" y="544"/>
                      <a:pt x="1270" y="544"/>
                      <a:pt x="1270" y="543"/>
                    </a:cubicBezTo>
                    <a:cubicBezTo>
                      <a:pt x="1270" y="543"/>
                      <a:pt x="1270" y="543"/>
                      <a:pt x="1270" y="542"/>
                    </a:cubicBezTo>
                    <a:cubicBezTo>
                      <a:pt x="1270" y="542"/>
                      <a:pt x="1270" y="542"/>
                      <a:pt x="1271" y="542"/>
                    </a:cubicBezTo>
                    <a:cubicBezTo>
                      <a:pt x="1271" y="542"/>
                      <a:pt x="1271" y="542"/>
                      <a:pt x="1271" y="540"/>
                    </a:cubicBezTo>
                    <a:cubicBezTo>
                      <a:pt x="1271" y="540"/>
                      <a:pt x="1271" y="540"/>
                      <a:pt x="1270" y="539"/>
                    </a:cubicBezTo>
                    <a:cubicBezTo>
                      <a:pt x="1270" y="539"/>
                      <a:pt x="1270" y="539"/>
                      <a:pt x="1270" y="537"/>
                    </a:cubicBezTo>
                    <a:cubicBezTo>
                      <a:pt x="1270" y="537"/>
                      <a:pt x="1270" y="537"/>
                      <a:pt x="1269" y="536"/>
                    </a:cubicBezTo>
                    <a:cubicBezTo>
                      <a:pt x="1269" y="536"/>
                      <a:pt x="1269" y="536"/>
                      <a:pt x="1269" y="534"/>
                    </a:cubicBezTo>
                    <a:cubicBezTo>
                      <a:pt x="1269" y="534"/>
                      <a:pt x="1269" y="534"/>
                      <a:pt x="1268" y="532"/>
                    </a:cubicBezTo>
                    <a:cubicBezTo>
                      <a:pt x="1268" y="532"/>
                      <a:pt x="1268" y="532"/>
                      <a:pt x="1267" y="532"/>
                    </a:cubicBezTo>
                    <a:cubicBezTo>
                      <a:pt x="1267" y="532"/>
                      <a:pt x="1267" y="532"/>
                      <a:pt x="1265" y="532"/>
                    </a:cubicBezTo>
                    <a:cubicBezTo>
                      <a:pt x="1265" y="532"/>
                      <a:pt x="1265" y="532"/>
                      <a:pt x="1265" y="531"/>
                    </a:cubicBezTo>
                    <a:cubicBezTo>
                      <a:pt x="1265" y="531"/>
                      <a:pt x="1265" y="531"/>
                      <a:pt x="1263" y="531"/>
                    </a:cubicBezTo>
                    <a:cubicBezTo>
                      <a:pt x="1263" y="531"/>
                      <a:pt x="1263" y="531"/>
                      <a:pt x="1263" y="530"/>
                    </a:cubicBezTo>
                    <a:cubicBezTo>
                      <a:pt x="1263" y="530"/>
                      <a:pt x="1263" y="530"/>
                      <a:pt x="1263" y="528"/>
                    </a:cubicBezTo>
                    <a:cubicBezTo>
                      <a:pt x="1263" y="528"/>
                      <a:pt x="1263" y="528"/>
                      <a:pt x="1262" y="527"/>
                    </a:cubicBezTo>
                    <a:cubicBezTo>
                      <a:pt x="1262" y="527"/>
                      <a:pt x="1262" y="527"/>
                      <a:pt x="1261" y="527"/>
                    </a:cubicBezTo>
                    <a:cubicBezTo>
                      <a:pt x="1261" y="527"/>
                      <a:pt x="1261" y="527"/>
                      <a:pt x="1260" y="527"/>
                    </a:cubicBezTo>
                    <a:cubicBezTo>
                      <a:pt x="1260" y="527"/>
                      <a:pt x="1260" y="527"/>
                      <a:pt x="1260" y="526"/>
                    </a:cubicBezTo>
                    <a:cubicBezTo>
                      <a:pt x="1260" y="526"/>
                      <a:pt x="1260" y="526"/>
                      <a:pt x="1259" y="526"/>
                    </a:cubicBezTo>
                    <a:cubicBezTo>
                      <a:pt x="1259" y="526"/>
                      <a:pt x="1259" y="526"/>
                      <a:pt x="1258" y="526"/>
                    </a:cubicBezTo>
                    <a:cubicBezTo>
                      <a:pt x="1258" y="526"/>
                      <a:pt x="1258" y="526"/>
                      <a:pt x="1256" y="523"/>
                    </a:cubicBezTo>
                    <a:cubicBezTo>
                      <a:pt x="1256" y="523"/>
                      <a:pt x="1256" y="523"/>
                      <a:pt x="1255" y="523"/>
                    </a:cubicBezTo>
                    <a:cubicBezTo>
                      <a:pt x="1255" y="523"/>
                      <a:pt x="1255" y="523"/>
                      <a:pt x="1254" y="523"/>
                    </a:cubicBezTo>
                    <a:cubicBezTo>
                      <a:pt x="1254" y="523"/>
                      <a:pt x="1254" y="523"/>
                      <a:pt x="1253" y="524"/>
                    </a:cubicBezTo>
                    <a:cubicBezTo>
                      <a:pt x="1253" y="524"/>
                      <a:pt x="1253" y="524"/>
                      <a:pt x="1252" y="524"/>
                    </a:cubicBezTo>
                    <a:cubicBezTo>
                      <a:pt x="1252" y="524"/>
                      <a:pt x="1252" y="524"/>
                      <a:pt x="1252" y="522"/>
                    </a:cubicBezTo>
                    <a:cubicBezTo>
                      <a:pt x="1252" y="522"/>
                      <a:pt x="1252" y="522"/>
                      <a:pt x="1251" y="522"/>
                    </a:cubicBezTo>
                    <a:cubicBezTo>
                      <a:pt x="1251" y="522"/>
                      <a:pt x="1251" y="522"/>
                      <a:pt x="1249" y="522"/>
                    </a:cubicBezTo>
                    <a:cubicBezTo>
                      <a:pt x="1249" y="522"/>
                      <a:pt x="1249" y="522"/>
                      <a:pt x="1247" y="520"/>
                    </a:cubicBezTo>
                    <a:cubicBezTo>
                      <a:pt x="1247" y="520"/>
                      <a:pt x="1247" y="520"/>
                      <a:pt x="1244" y="516"/>
                    </a:cubicBezTo>
                    <a:cubicBezTo>
                      <a:pt x="1244" y="516"/>
                      <a:pt x="1244" y="516"/>
                      <a:pt x="1243" y="515"/>
                    </a:cubicBezTo>
                    <a:cubicBezTo>
                      <a:pt x="1243" y="515"/>
                      <a:pt x="1243" y="515"/>
                      <a:pt x="1242" y="514"/>
                    </a:cubicBezTo>
                    <a:cubicBezTo>
                      <a:pt x="1242" y="514"/>
                      <a:pt x="1242" y="514"/>
                      <a:pt x="1240" y="514"/>
                    </a:cubicBezTo>
                    <a:cubicBezTo>
                      <a:pt x="1240" y="514"/>
                      <a:pt x="1240" y="514"/>
                      <a:pt x="1240" y="512"/>
                    </a:cubicBezTo>
                    <a:cubicBezTo>
                      <a:pt x="1240" y="512"/>
                      <a:pt x="1240" y="512"/>
                      <a:pt x="1238" y="511"/>
                    </a:cubicBezTo>
                    <a:cubicBezTo>
                      <a:pt x="1238" y="511"/>
                      <a:pt x="1238" y="511"/>
                      <a:pt x="1237" y="510"/>
                    </a:cubicBezTo>
                    <a:cubicBezTo>
                      <a:pt x="1237" y="510"/>
                      <a:pt x="1237" y="510"/>
                      <a:pt x="1236" y="509"/>
                    </a:cubicBezTo>
                    <a:cubicBezTo>
                      <a:pt x="1236" y="509"/>
                      <a:pt x="1236" y="509"/>
                      <a:pt x="1236" y="507"/>
                    </a:cubicBezTo>
                    <a:cubicBezTo>
                      <a:pt x="1236" y="507"/>
                      <a:pt x="1236" y="507"/>
                      <a:pt x="1235" y="507"/>
                    </a:cubicBezTo>
                    <a:cubicBezTo>
                      <a:pt x="1235" y="507"/>
                      <a:pt x="1235" y="507"/>
                      <a:pt x="1235" y="505"/>
                    </a:cubicBezTo>
                    <a:cubicBezTo>
                      <a:pt x="1235" y="505"/>
                      <a:pt x="1235" y="505"/>
                      <a:pt x="1234" y="504"/>
                    </a:cubicBezTo>
                    <a:cubicBezTo>
                      <a:pt x="1234" y="504"/>
                      <a:pt x="1234" y="504"/>
                      <a:pt x="1233" y="503"/>
                    </a:cubicBezTo>
                    <a:cubicBezTo>
                      <a:pt x="1233" y="503"/>
                      <a:pt x="1233" y="503"/>
                      <a:pt x="1233" y="502"/>
                    </a:cubicBezTo>
                    <a:cubicBezTo>
                      <a:pt x="1233" y="502"/>
                      <a:pt x="1233" y="502"/>
                      <a:pt x="1233" y="501"/>
                    </a:cubicBezTo>
                    <a:cubicBezTo>
                      <a:pt x="1233" y="501"/>
                      <a:pt x="1233" y="501"/>
                      <a:pt x="1231" y="500"/>
                    </a:cubicBezTo>
                    <a:cubicBezTo>
                      <a:pt x="1231" y="500"/>
                      <a:pt x="1231" y="500"/>
                      <a:pt x="1229" y="500"/>
                    </a:cubicBezTo>
                    <a:cubicBezTo>
                      <a:pt x="1229" y="500"/>
                      <a:pt x="1229" y="500"/>
                      <a:pt x="1225" y="499"/>
                    </a:cubicBezTo>
                    <a:cubicBezTo>
                      <a:pt x="1225" y="499"/>
                      <a:pt x="1225" y="499"/>
                      <a:pt x="1222" y="500"/>
                    </a:cubicBezTo>
                    <a:cubicBezTo>
                      <a:pt x="1222" y="500"/>
                      <a:pt x="1222" y="500"/>
                      <a:pt x="1222" y="501"/>
                    </a:cubicBezTo>
                    <a:cubicBezTo>
                      <a:pt x="1222" y="501"/>
                      <a:pt x="1222" y="501"/>
                      <a:pt x="1221" y="503"/>
                    </a:cubicBezTo>
                    <a:cubicBezTo>
                      <a:pt x="1221" y="503"/>
                      <a:pt x="1221" y="503"/>
                      <a:pt x="1218" y="503"/>
                    </a:cubicBezTo>
                    <a:cubicBezTo>
                      <a:pt x="1218" y="503"/>
                      <a:pt x="1218" y="503"/>
                      <a:pt x="1214" y="506"/>
                    </a:cubicBezTo>
                    <a:cubicBezTo>
                      <a:pt x="1214" y="506"/>
                      <a:pt x="1214" y="506"/>
                      <a:pt x="1213" y="508"/>
                    </a:cubicBezTo>
                    <a:cubicBezTo>
                      <a:pt x="1213" y="508"/>
                      <a:pt x="1213" y="508"/>
                      <a:pt x="1212" y="509"/>
                    </a:cubicBezTo>
                    <a:cubicBezTo>
                      <a:pt x="1212" y="509"/>
                      <a:pt x="1212" y="509"/>
                      <a:pt x="1209" y="509"/>
                    </a:cubicBezTo>
                    <a:cubicBezTo>
                      <a:pt x="1209" y="509"/>
                      <a:pt x="1209" y="509"/>
                      <a:pt x="1208" y="508"/>
                    </a:cubicBezTo>
                    <a:cubicBezTo>
                      <a:pt x="1208" y="508"/>
                      <a:pt x="1208" y="508"/>
                      <a:pt x="1204" y="506"/>
                    </a:cubicBezTo>
                    <a:cubicBezTo>
                      <a:pt x="1204" y="506"/>
                      <a:pt x="1204" y="506"/>
                      <a:pt x="1203" y="506"/>
                    </a:cubicBezTo>
                    <a:cubicBezTo>
                      <a:pt x="1203" y="506"/>
                      <a:pt x="1203" y="506"/>
                      <a:pt x="1202" y="507"/>
                    </a:cubicBezTo>
                    <a:cubicBezTo>
                      <a:pt x="1202" y="507"/>
                      <a:pt x="1202" y="507"/>
                      <a:pt x="1201" y="507"/>
                    </a:cubicBezTo>
                    <a:cubicBezTo>
                      <a:pt x="1201" y="507"/>
                      <a:pt x="1201" y="507"/>
                      <a:pt x="1200" y="506"/>
                    </a:cubicBezTo>
                    <a:cubicBezTo>
                      <a:pt x="1200" y="506"/>
                      <a:pt x="1200" y="506"/>
                      <a:pt x="1198" y="506"/>
                    </a:cubicBezTo>
                    <a:cubicBezTo>
                      <a:pt x="1198" y="506"/>
                      <a:pt x="1198" y="506"/>
                      <a:pt x="1197" y="505"/>
                    </a:cubicBezTo>
                    <a:cubicBezTo>
                      <a:pt x="1197" y="505"/>
                      <a:pt x="1197" y="505"/>
                      <a:pt x="1195" y="507"/>
                    </a:cubicBezTo>
                    <a:cubicBezTo>
                      <a:pt x="1195" y="507"/>
                      <a:pt x="1195" y="507"/>
                      <a:pt x="1193" y="509"/>
                    </a:cubicBezTo>
                    <a:cubicBezTo>
                      <a:pt x="1193" y="509"/>
                      <a:pt x="1193" y="509"/>
                      <a:pt x="1193" y="510"/>
                    </a:cubicBezTo>
                    <a:cubicBezTo>
                      <a:pt x="1193" y="510"/>
                      <a:pt x="1193" y="510"/>
                      <a:pt x="1193" y="512"/>
                    </a:cubicBezTo>
                    <a:cubicBezTo>
                      <a:pt x="1193" y="512"/>
                      <a:pt x="1193" y="512"/>
                      <a:pt x="1193" y="514"/>
                    </a:cubicBezTo>
                    <a:cubicBezTo>
                      <a:pt x="1193" y="515"/>
                      <a:pt x="1193" y="515"/>
                      <a:pt x="1193" y="515"/>
                    </a:cubicBezTo>
                    <a:cubicBezTo>
                      <a:pt x="1192" y="516"/>
                      <a:pt x="1192" y="516"/>
                      <a:pt x="1192" y="516"/>
                    </a:cubicBezTo>
                    <a:cubicBezTo>
                      <a:pt x="1192" y="518"/>
                      <a:pt x="1192" y="518"/>
                      <a:pt x="1192" y="518"/>
                    </a:cubicBezTo>
                    <a:cubicBezTo>
                      <a:pt x="1192" y="519"/>
                      <a:pt x="1192" y="519"/>
                      <a:pt x="1192" y="519"/>
                    </a:cubicBezTo>
                    <a:cubicBezTo>
                      <a:pt x="1192" y="520"/>
                      <a:pt x="1192" y="520"/>
                      <a:pt x="1192" y="520"/>
                    </a:cubicBezTo>
                    <a:cubicBezTo>
                      <a:pt x="1189" y="522"/>
                      <a:pt x="1189" y="522"/>
                      <a:pt x="1189" y="522"/>
                    </a:cubicBezTo>
                    <a:cubicBezTo>
                      <a:pt x="1189" y="522"/>
                      <a:pt x="1189" y="522"/>
                      <a:pt x="1188" y="523"/>
                    </a:cubicBezTo>
                    <a:cubicBezTo>
                      <a:pt x="1188" y="523"/>
                      <a:pt x="1188" y="523"/>
                      <a:pt x="1186" y="524"/>
                    </a:cubicBezTo>
                    <a:cubicBezTo>
                      <a:pt x="1184" y="524"/>
                      <a:pt x="1184" y="524"/>
                      <a:pt x="1184" y="524"/>
                    </a:cubicBezTo>
                    <a:cubicBezTo>
                      <a:pt x="1182" y="525"/>
                      <a:pt x="1182" y="525"/>
                      <a:pt x="1182" y="525"/>
                    </a:cubicBezTo>
                    <a:cubicBezTo>
                      <a:pt x="1181" y="526"/>
                      <a:pt x="1181" y="526"/>
                      <a:pt x="1181" y="526"/>
                    </a:cubicBezTo>
                    <a:cubicBezTo>
                      <a:pt x="1182" y="526"/>
                      <a:pt x="1182" y="526"/>
                      <a:pt x="1182" y="526"/>
                    </a:cubicBezTo>
                    <a:cubicBezTo>
                      <a:pt x="1181" y="528"/>
                      <a:pt x="1181" y="528"/>
                      <a:pt x="1181" y="528"/>
                    </a:cubicBezTo>
                    <a:cubicBezTo>
                      <a:pt x="1180" y="528"/>
                      <a:pt x="1180" y="528"/>
                      <a:pt x="1180" y="528"/>
                    </a:cubicBezTo>
                    <a:cubicBezTo>
                      <a:pt x="1178" y="531"/>
                      <a:pt x="1178" y="531"/>
                      <a:pt x="1178" y="531"/>
                    </a:cubicBezTo>
                    <a:cubicBezTo>
                      <a:pt x="1177" y="531"/>
                      <a:pt x="1177" y="531"/>
                      <a:pt x="1177" y="531"/>
                    </a:cubicBezTo>
                    <a:cubicBezTo>
                      <a:pt x="1174" y="535"/>
                      <a:pt x="1174" y="535"/>
                      <a:pt x="1174" y="535"/>
                    </a:cubicBezTo>
                    <a:cubicBezTo>
                      <a:pt x="1174" y="536"/>
                      <a:pt x="1174" y="536"/>
                      <a:pt x="1174" y="536"/>
                    </a:cubicBezTo>
                    <a:cubicBezTo>
                      <a:pt x="1175" y="538"/>
                      <a:pt x="1175" y="538"/>
                      <a:pt x="1175" y="538"/>
                    </a:cubicBezTo>
                    <a:cubicBezTo>
                      <a:pt x="1175" y="539"/>
                      <a:pt x="1175" y="539"/>
                      <a:pt x="1175" y="539"/>
                    </a:cubicBezTo>
                    <a:cubicBezTo>
                      <a:pt x="1176" y="540"/>
                      <a:pt x="1176" y="540"/>
                      <a:pt x="1176" y="540"/>
                    </a:cubicBezTo>
                    <a:cubicBezTo>
                      <a:pt x="1177" y="542"/>
                      <a:pt x="1177" y="542"/>
                      <a:pt x="1177" y="542"/>
                    </a:cubicBezTo>
                    <a:cubicBezTo>
                      <a:pt x="1176" y="543"/>
                      <a:pt x="1176" y="543"/>
                      <a:pt x="1176" y="543"/>
                    </a:cubicBezTo>
                    <a:cubicBezTo>
                      <a:pt x="1174" y="544"/>
                      <a:pt x="1174" y="544"/>
                      <a:pt x="1174" y="544"/>
                    </a:cubicBezTo>
                    <a:cubicBezTo>
                      <a:pt x="1174" y="545"/>
                      <a:pt x="1174" y="545"/>
                      <a:pt x="1174" y="545"/>
                    </a:cubicBezTo>
                    <a:cubicBezTo>
                      <a:pt x="1172" y="548"/>
                      <a:pt x="1172" y="548"/>
                      <a:pt x="1172" y="548"/>
                    </a:cubicBezTo>
                    <a:cubicBezTo>
                      <a:pt x="1172" y="550"/>
                      <a:pt x="1172" y="550"/>
                      <a:pt x="1172" y="550"/>
                    </a:cubicBezTo>
                    <a:cubicBezTo>
                      <a:pt x="1172" y="551"/>
                      <a:pt x="1172" y="551"/>
                      <a:pt x="1172" y="551"/>
                    </a:cubicBezTo>
                    <a:cubicBezTo>
                      <a:pt x="1170" y="552"/>
                      <a:pt x="1170" y="552"/>
                      <a:pt x="1170" y="552"/>
                    </a:cubicBezTo>
                    <a:cubicBezTo>
                      <a:pt x="1166" y="553"/>
                      <a:pt x="1166" y="553"/>
                      <a:pt x="1166" y="553"/>
                    </a:cubicBezTo>
                    <a:cubicBezTo>
                      <a:pt x="1166" y="555"/>
                      <a:pt x="1166" y="555"/>
                      <a:pt x="1166" y="555"/>
                    </a:cubicBezTo>
                    <a:cubicBezTo>
                      <a:pt x="1164" y="557"/>
                      <a:pt x="1164" y="557"/>
                      <a:pt x="1164" y="557"/>
                    </a:cubicBezTo>
                    <a:cubicBezTo>
                      <a:pt x="1163" y="556"/>
                      <a:pt x="1163" y="556"/>
                      <a:pt x="1163" y="556"/>
                    </a:cubicBezTo>
                    <a:cubicBezTo>
                      <a:pt x="1162" y="555"/>
                      <a:pt x="1162" y="555"/>
                      <a:pt x="1162" y="555"/>
                    </a:cubicBezTo>
                    <a:cubicBezTo>
                      <a:pt x="1161" y="556"/>
                      <a:pt x="1161" y="556"/>
                      <a:pt x="1161" y="556"/>
                    </a:cubicBezTo>
                    <a:cubicBezTo>
                      <a:pt x="1160" y="557"/>
                      <a:pt x="1160" y="557"/>
                      <a:pt x="1160" y="557"/>
                    </a:cubicBezTo>
                    <a:cubicBezTo>
                      <a:pt x="1159" y="556"/>
                      <a:pt x="1159" y="556"/>
                      <a:pt x="1159" y="556"/>
                    </a:cubicBezTo>
                    <a:cubicBezTo>
                      <a:pt x="1158" y="556"/>
                      <a:pt x="1158" y="556"/>
                      <a:pt x="1158" y="556"/>
                    </a:cubicBezTo>
                    <a:cubicBezTo>
                      <a:pt x="1158" y="557"/>
                      <a:pt x="1158" y="557"/>
                      <a:pt x="1158" y="557"/>
                    </a:cubicBezTo>
                    <a:cubicBezTo>
                      <a:pt x="1156" y="557"/>
                      <a:pt x="1156" y="557"/>
                      <a:pt x="1156" y="557"/>
                    </a:cubicBezTo>
                    <a:cubicBezTo>
                      <a:pt x="1153" y="556"/>
                      <a:pt x="1153" y="556"/>
                      <a:pt x="1153" y="556"/>
                    </a:cubicBezTo>
                    <a:cubicBezTo>
                      <a:pt x="1152" y="557"/>
                      <a:pt x="1152" y="557"/>
                      <a:pt x="1152" y="557"/>
                    </a:cubicBezTo>
                    <a:cubicBezTo>
                      <a:pt x="1150" y="557"/>
                      <a:pt x="1150" y="557"/>
                      <a:pt x="1150" y="557"/>
                    </a:cubicBezTo>
                    <a:cubicBezTo>
                      <a:pt x="1148" y="559"/>
                      <a:pt x="1148" y="559"/>
                      <a:pt x="1148" y="559"/>
                    </a:cubicBezTo>
                    <a:cubicBezTo>
                      <a:pt x="1146" y="559"/>
                      <a:pt x="1146" y="559"/>
                      <a:pt x="1146" y="559"/>
                    </a:cubicBezTo>
                    <a:cubicBezTo>
                      <a:pt x="1145" y="560"/>
                      <a:pt x="1145" y="560"/>
                      <a:pt x="1145" y="560"/>
                    </a:cubicBezTo>
                    <a:cubicBezTo>
                      <a:pt x="1145" y="561"/>
                      <a:pt x="1145" y="561"/>
                      <a:pt x="1145" y="561"/>
                    </a:cubicBezTo>
                    <a:cubicBezTo>
                      <a:pt x="1143" y="562"/>
                      <a:pt x="1143" y="562"/>
                      <a:pt x="1143" y="562"/>
                    </a:cubicBezTo>
                    <a:cubicBezTo>
                      <a:pt x="1141" y="562"/>
                      <a:pt x="1141" y="562"/>
                      <a:pt x="1141" y="562"/>
                    </a:cubicBezTo>
                    <a:cubicBezTo>
                      <a:pt x="1139" y="560"/>
                      <a:pt x="1139" y="560"/>
                      <a:pt x="1139" y="560"/>
                    </a:cubicBezTo>
                    <a:cubicBezTo>
                      <a:pt x="1138" y="557"/>
                      <a:pt x="1138" y="557"/>
                      <a:pt x="1138" y="557"/>
                    </a:cubicBezTo>
                    <a:cubicBezTo>
                      <a:pt x="1138" y="556"/>
                      <a:pt x="1138" y="556"/>
                      <a:pt x="1138" y="556"/>
                    </a:cubicBezTo>
                    <a:cubicBezTo>
                      <a:pt x="1135" y="554"/>
                      <a:pt x="1135" y="554"/>
                      <a:pt x="1135" y="554"/>
                    </a:cubicBezTo>
                    <a:cubicBezTo>
                      <a:pt x="1134" y="554"/>
                      <a:pt x="1134" y="554"/>
                      <a:pt x="1134" y="554"/>
                    </a:cubicBezTo>
                    <a:cubicBezTo>
                      <a:pt x="1133" y="553"/>
                      <a:pt x="1133" y="553"/>
                      <a:pt x="1133" y="553"/>
                    </a:cubicBezTo>
                    <a:cubicBezTo>
                      <a:pt x="1133" y="553"/>
                      <a:pt x="1133" y="553"/>
                      <a:pt x="1132" y="553"/>
                    </a:cubicBezTo>
                    <a:cubicBezTo>
                      <a:pt x="1132" y="553"/>
                      <a:pt x="1132" y="553"/>
                      <a:pt x="1132" y="554"/>
                    </a:cubicBezTo>
                    <a:cubicBezTo>
                      <a:pt x="1132" y="554"/>
                      <a:pt x="1132" y="554"/>
                      <a:pt x="1131" y="554"/>
                    </a:cubicBezTo>
                    <a:cubicBezTo>
                      <a:pt x="1131" y="554"/>
                      <a:pt x="1131" y="554"/>
                      <a:pt x="1129" y="555"/>
                    </a:cubicBezTo>
                    <a:cubicBezTo>
                      <a:pt x="1129" y="555"/>
                      <a:pt x="1129" y="555"/>
                      <a:pt x="1127" y="554"/>
                    </a:cubicBezTo>
                    <a:cubicBezTo>
                      <a:pt x="1127" y="554"/>
                      <a:pt x="1127" y="554"/>
                      <a:pt x="1125" y="553"/>
                    </a:cubicBezTo>
                    <a:cubicBezTo>
                      <a:pt x="1125" y="553"/>
                      <a:pt x="1125" y="553"/>
                      <a:pt x="1123" y="554"/>
                    </a:cubicBezTo>
                    <a:cubicBezTo>
                      <a:pt x="1123" y="554"/>
                      <a:pt x="1123" y="554"/>
                      <a:pt x="1123" y="553"/>
                    </a:cubicBezTo>
                    <a:cubicBezTo>
                      <a:pt x="1123" y="553"/>
                      <a:pt x="1123" y="553"/>
                      <a:pt x="1124" y="551"/>
                    </a:cubicBezTo>
                    <a:cubicBezTo>
                      <a:pt x="1124" y="551"/>
                      <a:pt x="1124" y="551"/>
                      <a:pt x="1124" y="548"/>
                    </a:cubicBezTo>
                    <a:cubicBezTo>
                      <a:pt x="1124" y="548"/>
                      <a:pt x="1124" y="548"/>
                      <a:pt x="1124" y="546"/>
                    </a:cubicBezTo>
                    <a:cubicBezTo>
                      <a:pt x="1124" y="546"/>
                      <a:pt x="1124" y="546"/>
                      <a:pt x="1124" y="545"/>
                    </a:cubicBezTo>
                    <a:cubicBezTo>
                      <a:pt x="1124" y="545"/>
                      <a:pt x="1124" y="545"/>
                      <a:pt x="1124" y="544"/>
                    </a:cubicBezTo>
                    <a:cubicBezTo>
                      <a:pt x="1124" y="544"/>
                      <a:pt x="1124" y="544"/>
                      <a:pt x="1123" y="544"/>
                    </a:cubicBezTo>
                    <a:cubicBezTo>
                      <a:pt x="1123" y="544"/>
                      <a:pt x="1123" y="544"/>
                      <a:pt x="1122" y="545"/>
                    </a:cubicBezTo>
                    <a:cubicBezTo>
                      <a:pt x="1122" y="545"/>
                      <a:pt x="1122" y="545"/>
                      <a:pt x="1121" y="544"/>
                    </a:cubicBezTo>
                    <a:cubicBezTo>
                      <a:pt x="1121" y="544"/>
                      <a:pt x="1121" y="544"/>
                      <a:pt x="1121" y="543"/>
                    </a:cubicBezTo>
                    <a:cubicBezTo>
                      <a:pt x="1121" y="543"/>
                      <a:pt x="1121" y="543"/>
                      <a:pt x="1123" y="542"/>
                    </a:cubicBezTo>
                    <a:cubicBezTo>
                      <a:pt x="1123" y="542"/>
                      <a:pt x="1123" y="542"/>
                      <a:pt x="1123" y="541"/>
                    </a:cubicBezTo>
                    <a:cubicBezTo>
                      <a:pt x="1123" y="541"/>
                      <a:pt x="1123" y="541"/>
                      <a:pt x="1123" y="540"/>
                    </a:cubicBezTo>
                    <a:cubicBezTo>
                      <a:pt x="1123" y="540"/>
                      <a:pt x="1123" y="540"/>
                      <a:pt x="1122" y="541"/>
                    </a:cubicBezTo>
                    <a:cubicBezTo>
                      <a:pt x="1122" y="541"/>
                      <a:pt x="1122" y="541"/>
                      <a:pt x="1121" y="542"/>
                    </a:cubicBezTo>
                    <a:cubicBezTo>
                      <a:pt x="1121" y="542"/>
                      <a:pt x="1121" y="542"/>
                      <a:pt x="1120" y="542"/>
                    </a:cubicBezTo>
                    <a:cubicBezTo>
                      <a:pt x="1120" y="542"/>
                      <a:pt x="1120" y="542"/>
                      <a:pt x="1120" y="541"/>
                    </a:cubicBezTo>
                    <a:cubicBezTo>
                      <a:pt x="1120" y="541"/>
                      <a:pt x="1120" y="541"/>
                      <a:pt x="1121" y="537"/>
                    </a:cubicBezTo>
                    <a:cubicBezTo>
                      <a:pt x="1121" y="537"/>
                      <a:pt x="1121" y="537"/>
                      <a:pt x="1122" y="535"/>
                    </a:cubicBezTo>
                    <a:cubicBezTo>
                      <a:pt x="1122" y="535"/>
                      <a:pt x="1122" y="535"/>
                      <a:pt x="1122" y="534"/>
                    </a:cubicBezTo>
                    <a:cubicBezTo>
                      <a:pt x="1122" y="534"/>
                      <a:pt x="1122" y="534"/>
                      <a:pt x="1124" y="532"/>
                    </a:cubicBezTo>
                    <a:cubicBezTo>
                      <a:pt x="1124" y="532"/>
                      <a:pt x="1124" y="532"/>
                      <a:pt x="1124" y="530"/>
                    </a:cubicBezTo>
                    <a:cubicBezTo>
                      <a:pt x="1124" y="530"/>
                      <a:pt x="1124" y="530"/>
                      <a:pt x="1125" y="528"/>
                    </a:cubicBezTo>
                    <a:cubicBezTo>
                      <a:pt x="1125" y="528"/>
                      <a:pt x="1125" y="528"/>
                      <a:pt x="1125" y="527"/>
                    </a:cubicBezTo>
                    <a:cubicBezTo>
                      <a:pt x="1125" y="527"/>
                      <a:pt x="1125" y="527"/>
                      <a:pt x="1124" y="526"/>
                    </a:cubicBezTo>
                    <a:cubicBezTo>
                      <a:pt x="1124" y="526"/>
                      <a:pt x="1124" y="526"/>
                      <a:pt x="1125" y="524"/>
                    </a:cubicBezTo>
                    <a:cubicBezTo>
                      <a:pt x="1125" y="524"/>
                      <a:pt x="1125" y="524"/>
                      <a:pt x="1125" y="520"/>
                    </a:cubicBezTo>
                    <a:cubicBezTo>
                      <a:pt x="1125" y="520"/>
                      <a:pt x="1125" y="520"/>
                      <a:pt x="1124" y="518"/>
                    </a:cubicBezTo>
                    <a:cubicBezTo>
                      <a:pt x="1124" y="518"/>
                      <a:pt x="1124" y="518"/>
                      <a:pt x="1124" y="516"/>
                    </a:cubicBezTo>
                    <a:cubicBezTo>
                      <a:pt x="1125" y="515"/>
                      <a:pt x="1125" y="515"/>
                      <a:pt x="1125" y="515"/>
                    </a:cubicBezTo>
                    <a:cubicBezTo>
                      <a:pt x="1124" y="515"/>
                      <a:pt x="1124" y="515"/>
                      <a:pt x="1124" y="515"/>
                    </a:cubicBezTo>
                    <a:cubicBezTo>
                      <a:pt x="1125" y="514"/>
                      <a:pt x="1125" y="514"/>
                      <a:pt x="1125" y="514"/>
                    </a:cubicBezTo>
                    <a:cubicBezTo>
                      <a:pt x="1125" y="513"/>
                      <a:pt x="1125" y="513"/>
                      <a:pt x="1125" y="513"/>
                    </a:cubicBezTo>
                    <a:cubicBezTo>
                      <a:pt x="1125" y="512"/>
                      <a:pt x="1125" y="512"/>
                      <a:pt x="1125" y="512"/>
                    </a:cubicBezTo>
                    <a:cubicBezTo>
                      <a:pt x="1124" y="513"/>
                      <a:pt x="1124" y="513"/>
                      <a:pt x="1124" y="513"/>
                    </a:cubicBezTo>
                    <a:cubicBezTo>
                      <a:pt x="1123" y="513"/>
                      <a:pt x="1123" y="513"/>
                      <a:pt x="1123" y="513"/>
                    </a:cubicBezTo>
                    <a:cubicBezTo>
                      <a:pt x="1124" y="511"/>
                      <a:pt x="1124" y="511"/>
                      <a:pt x="1124" y="511"/>
                    </a:cubicBezTo>
                    <a:cubicBezTo>
                      <a:pt x="1123" y="511"/>
                      <a:pt x="1123" y="511"/>
                      <a:pt x="1123" y="511"/>
                    </a:cubicBezTo>
                    <a:cubicBezTo>
                      <a:pt x="1123" y="510"/>
                      <a:pt x="1123" y="510"/>
                      <a:pt x="1123" y="510"/>
                    </a:cubicBezTo>
                    <a:cubicBezTo>
                      <a:pt x="1122" y="510"/>
                      <a:pt x="1122" y="510"/>
                      <a:pt x="1122" y="510"/>
                    </a:cubicBezTo>
                    <a:cubicBezTo>
                      <a:pt x="1122" y="509"/>
                      <a:pt x="1122" y="509"/>
                      <a:pt x="1122" y="509"/>
                    </a:cubicBezTo>
                    <a:cubicBezTo>
                      <a:pt x="1123" y="508"/>
                      <a:pt x="1123" y="508"/>
                      <a:pt x="1123" y="508"/>
                    </a:cubicBezTo>
                    <a:cubicBezTo>
                      <a:pt x="1125" y="507"/>
                      <a:pt x="1125" y="507"/>
                      <a:pt x="1125" y="507"/>
                    </a:cubicBezTo>
                    <a:cubicBezTo>
                      <a:pt x="1126" y="507"/>
                      <a:pt x="1126" y="507"/>
                      <a:pt x="1126" y="507"/>
                    </a:cubicBezTo>
                    <a:cubicBezTo>
                      <a:pt x="1128" y="507"/>
                      <a:pt x="1128" y="507"/>
                      <a:pt x="1128" y="507"/>
                    </a:cubicBezTo>
                    <a:cubicBezTo>
                      <a:pt x="1129" y="506"/>
                      <a:pt x="1129" y="506"/>
                      <a:pt x="1129" y="506"/>
                    </a:cubicBezTo>
                    <a:cubicBezTo>
                      <a:pt x="1128" y="506"/>
                      <a:pt x="1128" y="506"/>
                      <a:pt x="1128" y="506"/>
                    </a:cubicBezTo>
                    <a:cubicBezTo>
                      <a:pt x="1128" y="505"/>
                      <a:pt x="1128" y="505"/>
                      <a:pt x="1128" y="505"/>
                    </a:cubicBezTo>
                    <a:cubicBezTo>
                      <a:pt x="1130" y="504"/>
                      <a:pt x="1130" y="504"/>
                      <a:pt x="1130" y="504"/>
                    </a:cubicBezTo>
                    <a:cubicBezTo>
                      <a:pt x="1131" y="503"/>
                      <a:pt x="1131" y="503"/>
                      <a:pt x="1131" y="503"/>
                    </a:cubicBezTo>
                    <a:cubicBezTo>
                      <a:pt x="1133" y="504"/>
                      <a:pt x="1133" y="504"/>
                      <a:pt x="1133" y="504"/>
                    </a:cubicBezTo>
                    <a:cubicBezTo>
                      <a:pt x="1134" y="505"/>
                      <a:pt x="1134" y="505"/>
                      <a:pt x="1134" y="505"/>
                    </a:cubicBezTo>
                    <a:cubicBezTo>
                      <a:pt x="1135" y="504"/>
                      <a:pt x="1135" y="504"/>
                      <a:pt x="1135" y="504"/>
                    </a:cubicBezTo>
                    <a:cubicBezTo>
                      <a:pt x="1137" y="504"/>
                      <a:pt x="1137" y="504"/>
                      <a:pt x="1137" y="504"/>
                    </a:cubicBezTo>
                    <a:cubicBezTo>
                      <a:pt x="1138" y="505"/>
                      <a:pt x="1138" y="505"/>
                      <a:pt x="1138" y="505"/>
                    </a:cubicBezTo>
                    <a:cubicBezTo>
                      <a:pt x="1140" y="504"/>
                      <a:pt x="1140" y="504"/>
                      <a:pt x="1140" y="504"/>
                    </a:cubicBezTo>
                    <a:cubicBezTo>
                      <a:pt x="1142" y="504"/>
                      <a:pt x="1142" y="504"/>
                      <a:pt x="1142" y="504"/>
                    </a:cubicBezTo>
                    <a:cubicBezTo>
                      <a:pt x="1144" y="505"/>
                      <a:pt x="1144" y="505"/>
                      <a:pt x="1144" y="505"/>
                    </a:cubicBezTo>
                    <a:cubicBezTo>
                      <a:pt x="1148" y="506"/>
                      <a:pt x="1148" y="506"/>
                      <a:pt x="1148" y="506"/>
                    </a:cubicBezTo>
                    <a:cubicBezTo>
                      <a:pt x="1150" y="506"/>
                      <a:pt x="1150" y="506"/>
                      <a:pt x="1150" y="506"/>
                    </a:cubicBezTo>
                    <a:cubicBezTo>
                      <a:pt x="1153" y="505"/>
                      <a:pt x="1153" y="505"/>
                      <a:pt x="1153" y="505"/>
                    </a:cubicBezTo>
                    <a:cubicBezTo>
                      <a:pt x="1156" y="505"/>
                      <a:pt x="1156" y="505"/>
                      <a:pt x="1156" y="505"/>
                    </a:cubicBezTo>
                    <a:cubicBezTo>
                      <a:pt x="1156" y="506"/>
                      <a:pt x="1156" y="506"/>
                      <a:pt x="1156" y="506"/>
                    </a:cubicBezTo>
                    <a:cubicBezTo>
                      <a:pt x="1158" y="507"/>
                      <a:pt x="1158" y="507"/>
                      <a:pt x="1158" y="507"/>
                    </a:cubicBezTo>
                    <a:cubicBezTo>
                      <a:pt x="1159" y="506"/>
                      <a:pt x="1159" y="506"/>
                      <a:pt x="1159" y="506"/>
                    </a:cubicBezTo>
                    <a:cubicBezTo>
                      <a:pt x="1161" y="506"/>
                      <a:pt x="1161" y="506"/>
                      <a:pt x="1161" y="506"/>
                    </a:cubicBezTo>
                    <a:cubicBezTo>
                      <a:pt x="1164" y="508"/>
                      <a:pt x="1164" y="508"/>
                      <a:pt x="1164" y="508"/>
                    </a:cubicBezTo>
                    <a:cubicBezTo>
                      <a:pt x="1164" y="507"/>
                      <a:pt x="1164" y="507"/>
                      <a:pt x="1164" y="507"/>
                    </a:cubicBezTo>
                    <a:cubicBezTo>
                      <a:pt x="1165" y="507"/>
                      <a:pt x="1165" y="507"/>
                      <a:pt x="1165" y="507"/>
                    </a:cubicBezTo>
                    <a:cubicBezTo>
                      <a:pt x="1166" y="506"/>
                      <a:pt x="1166" y="506"/>
                      <a:pt x="1166" y="506"/>
                    </a:cubicBezTo>
                    <a:cubicBezTo>
                      <a:pt x="1166" y="506"/>
                      <a:pt x="1166" y="506"/>
                      <a:pt x="1167" y="505"/>
                    </a:cubicBezTo>
                    <a:cubicBezTo>
                      <a:pt x="1167" y="505"/>
                      <a:pt x="1167" y="505"/>
                      <a:pt x="1168" y="502"/>
                    </a:cubicBezTo>
                    <a:cubicBezTo>
                      <a:pt x="1168" y="502"/>
                      <a:pt x="1168" y="502"/>
                      <a:pt x="1169" y="497"/>
                    </a:cubicBezTo>
                    <a:cubicBezTo>
                      <a:pt x="1169" y="497"/>
                      <a:pt x="1169" y="497"/>
                      <a:pt x="1170" y="497"/>
                    </a:cubicBezTo>
                    <a:cubicBezTo>
                      <a:pt x="1170" y="497"/>
                      <a:pt x="1170" y="497"/>
                      <a:pt x="1169" y="496"/>
                    </a:cubicBezTo>
                    <a:cubicBezTo>
                      <a:pt x="1169" y="496"/>
                      <a:pt x="1169" y="496"/>
                      <a:pt x="1169" y="494"/>
                    </a:cubicBezTo>
                    <a:cubicBezTo>
                      <a:pt x="1169" y="494"/>
                      <a:pt x="1169" y="494"/>
                      <a:pt x="1169" y="491"/>
                    </a:cubicBezTo>
                    <a:cubicBezTo>
                      <a:pt x="1169" y="491"/>
                      <a:pt x="1169" y="491"/>
                      <a:pt x="1170" y="490"/>
                    </a:cubicBezTo>
                    <a:cubicBezTo>
                      <a:pt x="1170" y="490"/>
                      <a:pt x="1170" y="490"/>
                      <a:pt x="1171" y="491"/>
                    </a:cubicBezTo>
                    <a:cubicBezTo>
                      <a:pt x="1171" y="491"/>
                      <a:pt x="1171" y="491"/>
                      <a:pt x="1172" y="492"/>
                    </a:cubicBezTo>
                    <a:cubicBezTo>
                      <a:pt x="1172" y="492"/>
                      <a:pt x="1172" y="492"/>
                      <a:pt x="1173" y="494"/>
                    </a:cubicBezTo>
                    <a:cubicBezTo>
                      <a:pt x="1173" y="494"/>
                      <a:pt x="1173" y="494"/>
                      <a:pt x="1172" y="490"/>
                    </a:cubicBezTo>
                    <a:cubicBezTo>
                      <a:pt x="1172" y="490"/>
                      <a:pt x="1172" y="490"/>
                      <a:pt x="1170" y="489"/>
                    </a:cubicBezTo>
                    <a:cubicBezTo>
                      <a:pt x="1170" y="489"/>
                      <a:pt x="1170" y="489"/>
                      <a:pt x="1169" y="489"/>
                    </a:cubicBezTo>
                    <a:cubicBezTo>
                      <a:pt x="1169" y="489"/>
                      <a:pt x="1169" y="489"/>
                      <a:pt x="1169" y="488"/>
                    </a:cubicBezTo>
                    <a:cubicBezTo>
                      <a:pt x="1169" y="488"/>
                      <a:pt x="1169" y="488"/>
                      <a:pt x="1170" y="486"/>
                    </a:cubicBezTo>
                    <a:cubicBezTo>
                      <a:pt x="1170" y="486"/>
                      <a:pt x="1170" y="486"/>
                      <a:pt x="1169" y="485"/>
                    </a:cubicBezTo>
                    <a:cubicBezTo>
                      <a:pt x="1169" y="485"/>
                      <a:pt x="1169" y="485"/>
                      <a:pt x="1169" y="484"/>
                    </a:cubicBezTo>
                    <a:cubicBezTo>
                      <a:pt x="1169" y="484"/>
                      <a:pt x="1169" y="484"/>
                      <a:pt x="1168" y="483"/>
                    </a:cubicBezTo>
                    <a:cubicBezTo>
                      <a:pt x="1168" y="483"/>
                      <a:pt x="1168" y="483"/>
                      <a:pt x="1166" y="483"/>
                    </a:cubicBezTo>
                    <a:cubicBezTo>
                      <a:pt x="1166" y="483"/>
                      <a:pt x="1166" y="483"/>
                      <a:pt x="1165" y="481"/>
                    </a:cubicBezTo>
                    <a:cubicBezTo>
                      <a:pt x="1165" y="481"/>
                      <a:pt x="1165" y="481"/>
                      <a:pt x="1164" y="481"/>
                    </a:cubicBezTo>
                    <a:cubicBezTo>
                      <a:pt x="1164" y="481"/>
                      <a:pt x="1164" y="481"/>
                      <a:pt x="1163" y="480"/>
                    </a:cubicBezTo>
                    <a:cubicBezTo>
                      <a:pt x="1163" y="480"/>
                      <a:pt x="1163" y="480"/>
                      <a:pt x="1164" y="479"/>
                    </a:cubicBezTo>
                    <a:cubicBezTo>
                      <a:pt x="1164" y="479"/>
                      <a:pt x="1164" y="479"/>
                      <a:pt x="1164" y="478"/>
                    </a:cubicBezTo>
                    <a:cubicBezTo>
                      <a:pt x="1164" y="478"/>
                      <a:pt x="1164" y="478"/>
                      <a:pt x="1163" y="478"/>
                    </a:cubicBezTo>
                    <a:cubicBezTo>
                      <a:pt x="1163" y="478"/>
                      <a:pt x="1163" y="478"/>
                      <a:pt x="1164" y="477"/>
                    </a:cubicBezTo>
                    <a:cubicBezTo>
                      <a:pt x="1164" y="477"/>
                      <a:pt x="1164" y="477"/>
                      <a:pt x="1165" y="477"/>
                    </a:cubicBezTo>
                    <a:cubicBezTo>
                      <a:pt x="1165" y="477"/>
                      <a:pt x="1165" y="477"/>
                      <a:pt x="1166" y="477"/>
                    </a:cubicBezTo>
                    <a:cubicBezTo>
                      <a:pt x="1166" y="477"/>
                      <a:pt x="1166" y="477"/>
                      <a:pt x="1165" y="476"/>
                    </a:cubicBezTo>
                    <a:cubicBezTo>
                      <a:pt x="1165" y="476"/>
                      <a:pt x="1165" y="476"/>
                      <a:pt x="1164" y="476"/>
                    </a:cubicBezTo>
                    <a:cubicBezTo>
                      <a:pt x="1164" y="476"/>
                      <a:pt x="1164" y="476"/>
                      <a:pt x="1163" y="477"/>
                    </a:cubicBezTo>
                    <a:cubicBezTo>
                      <a:pt x="1163" y="477"/>
                      <a:pt x="1163" y="477"/>
                      <a:pt x="1162" y="477"/>
                    </a:cubicBezTo>
                    <a:cubicBezTo>
                      <a:pt x="1162" y="477"/>
                      <a:pt x="1162" y="477"/>
                      <a:pt x="1161" y="476"/>
                    </a:cubicBezTo>
                    <a:cubicBezTo>
                      <a:pt x="1161" y="476"/>
                      <a:pt x="1161" y="476"/>
                      <a:pt x="1162" y="475"/>
                    </a:cubicBezTo>
                    <a:cubicBezTo>
                      <a:pt x="1162" y="475"/>
                      <a:pt x="1162" y="475"/>
                      <a:pt x="1161" y="474"/>
                    </a:cubicBezTo>
                    <a:cubicBezTo>
                      <a:pt x="1161" y="474"/>
                      <a:pt x="1161" y="474"/>
                      <a:pt x="1160" y="475"/>
                    </a:cubicBezTo>
                    <a:cubicBezTo>
                      <a:pt x="1160" y="475"/>
                      <a:pt x="1160" y="475"/>
                      <a:pt x="1160" y="474"/>
                    </a:cubicBezTo>
                    <a:cubicBezTo>
                      <a:pt x="1160" y="474"/>
                      <a:pt x="1160" y="474"/>
                      <a:pt x="1160" y="473"/>
                    </a:cubicBezTo>
                    <a:cubicBezTo>
                      <a:pt x="1160" y="473"/>
                      <a:pt x="1160" y="473"/>
                      <a:pt x="1159" y="473"/>
                    </a:cubicBezTo>
                    <a:cubicBezTo>
                      <a:pt x="1159" y="473"/>
                      <a:pt x="1159" y="473"/>
                      <a:pt x="1158" y="474"/>
                    </a:cubicBezTo>
                    <a:cubicBezTo>
                      <a:pt x="1158" y="474"/>
                      <a:pt x="1158" y="474"/>
                      <a:pt x="1157" y="473"/>
                    </a:cubicBezTo>
                    <a:cubicBezTo>
                      <a:pt x="1157" y="473"/>
                      <a:pt x="1157" y="473"/>
                      <a:pt x="1156" y="473"/>
                    </a:cubicBezTo>
                    <a:cubicBezTo>
                      <a:pt x="1156" y="473"/>
                      <a:pt x="1156" y="473"/>
                      <a:pt x="1154" y="472"/>
                    </a:cubicBezTo>
                    <a:cubicBezTo>
                      <a:pt x="1154" y="472"/>
                      <a:pt x="1154" y="472"/>
                      <a:pt x="1153" y="472"/>
                    </a:cubicBezTo>
                    <a:cubicBezTo>
                      <a:pt x="1153" y="472"/>
                      <a:pt x="1153" y="472"/>
                      <a:pt x="1152" y="472"/>
                    </a:cubicBezTo>
                    <a:cubicBezTo>
                      <a:pt x="1152" y="472"/>
                      <a:pt x="1152" y="472"/>
                      <a:pt x="1151" y="473"/>
                    </a:cubicBezTo>
                    <a:cubicBezTo>
                      <a:pt x="1151" y="473"/>
                      <a:pt x="1151" y="473"/>
                      <a:pt x="1151" y="472"/>
                    </a:cubicBezTo>
                    <a:cubicBezTo>
                      <a:pt x="1151" y="472"/>
                      <a:pt x="1151" y="472"/>
                      <a:pt x="1151" y="470"/>
                    </a:cubicBezTo>
                    <a:cubicBezTo>
                      <a:pt x="1151" y="470"/>
                      <a:pt x="1151" y="470"/>
                      <a:pt x="1151" y="469"/>
                    </a:cubicBezTo>
                    <a:cubicBezTo>
                      <a:pt x="1151" y="469"/>
                      <a:pt x="1151" y="469"/>
                      <a:pt x="1150" y="468"/>
                    </a:cubicBezTo>
                    <a:cubicBezTo>
                      <a:pt x="1150" y="468"/>
                      <a:pt x="1150" y="468"/>
                      <a:pt x="1151" y="468"/>
                    </a:cubicBezTo>
                    <a:cubicBezTo>
                      <a:pt x="1151" y="468"/>
                      <a:pt x="1151" y="468"/>
                      <a:pt x="1150" y="467"/>
                    </a:cubicBezTo>
                    <a:cubicBezTo>
                      <a:pt x="1150" y="467"/>
                      <a:pt x="1150" y="467"/>
                      <a:pt x="1149" y="468"/>
                    </a:cubicBezTo>
                    <a:cubicBezTo>
                      <a:pt x="1149" y="468"/>
                      <a:pt x="1149" y="468"/>
                      <a:pt x="1148" y="467"/>
                    </a:cubicBezTo>
                    <a:cubicBezTo>
                      <a:pt x="1148" y="467"/>
                      <a:pt x="1148" y="467"/>
                      <a:pt x="1149" y="466"/>
                    </a:cubicBezTo>
                    <a:cubicBezTo>
                      <a:pt x="1149" y="466"/>
                      <a:pt x="1149" y="466"/>
                      <a:pt x="1151" y="466"/>
                    </a:cubicBezTo>
                    <a:cubicBezTo>
                      <a:pt x="1151" y="466"/>
                      <a:pt x="1151" y="466"/>
                      <a:pt x="1152" y="465"/>
                    </a:cubicBezTo>
                    <a:cubicBezTo>
                      <a:pt x="1152" y="465"/>
                      <a:pt x="1152" y="465"/>
                      <a:pt x="1153" y="465"/>
                    </a:cubicBezTo>
                    <a:cubicBezTo>
                      <a:pt x="1153" y="465"/>
                      <a:pt x="1153" y="465"/>
                      <a:pt x="1154" y="465"/>
                    </a:cubicBezTo>
                    <a:cubicBezTo>
                      <a:pt x="1154" y="465"/>
                      <a:pt x="1154" y="465"/>
                      <a:pt x="1155" y="465"/>
                    </a:cubicBezTo>
                    <a:cubicBezTo>
                      <a:pt x="1155" y="465"/>
                      <a:pt x="1155" y="465"/>
                      <a:pt x="1156" y="464"/>
                    </a:cubicBezTo>
                    <a:cubicBezTo>
                      <a:pt x="1156" y="464"/>
                      <a:pt x="1156" y="464"/>
                      <a:pt x="1158" y="464"/>
                    </a:cubicBezTo>
                    <a:cubicBezTo>
                      <a:pt x="1158" y="464"/>
                      <a:pt x="1158" y="464"/>
                      <a:pt x="1159" y="464"/>
                    </a:cubicBezTo>
                    <a:cubicBezTo>
                      <a:pt x="1159" y="464"/>
                      <a:pt x="1159" y="464"/>
                      <a:pt x="1161" y="466"/>
                    </a:cubicBezTo>
                    <a:cubicBezTo>
                      <a:pt x="1161" y="466"/>
                      <a:pt x="1161" y="466"/>
                      <a:pt x="1162" y="465"/>
                    </a:cubicBezTo>
                    <a:cubicBezTo>
                      <a:pt x="1162" y="465"/>
                      <a:pt x="1162" y="465"/>
                      <a:pt x="1162" y="466"/>
                    </a:cubicBezTo>
                    <a:cubicBezTo>
                      <a:pt x="1162" y="466"/>
                      <a:pt x="1162" y="466"/>
                      <a:pt x="1164" y="465"/>
                    </a:cubicBezTo>
                    <a:cubicBezTo>
                      <a:pt x="1164" y="465"/>
                      <a:pt x="1164" y="465"/>
                      <a:pt x="1164" y="466"/>
                    </a:cubicBezTo>
                    <a:cubicBezTo>
                      <a:pt x="1164" y="466"/>
                      <a:pt x="1164" y="466"/>
                      <a:pt x="1165" y="465"/>
                    </a:cubicBezTo>
                    <a:cubicBezTo>
                      <a:pt x="1165" y="465"/>
                      <a:pt x="1165" y="465"/>
                      <a:pt x="1168" y="465"/>
                    </a:cubicBezTo>
                    <a:cubicBezTo>
                      <a:pt x="1168" y="465"/>
                      <a:pt x="1168" y="465"/>
                      <a:pt x="1167" y="464"/>
                    </a:cubicBezTo>
                    <a:cubicBezTo>
                      <a:pt x="1167" y="464"/>
                      <a:pt x="1167" y="464"/>
                      <a:pt x="1167" y="463"/>
                    </a:cubicBezTo>
                    <a:cubicBezTo>
                      <a:pt x="1167" y="463"/>
                      <a:pt x="1167" y="463"/>
                      <a:pt x="1167" y="462"/>
                    </a:cubicBezTo>
                    <a:cubicBezTo>
                      <a:pt x="1167" y="462"/>
                      <a:pt x="1167" y="462"/>
                      <a:pt x="1167" y="461"/>
                    </a:cubicBezTo>
                    <a:cubicBezTo>
                      <a:pt x="1167" y="461"/>
                      <a:pt x="1167" y="461"/>
                      <a:pt x="1165" y="459"/>
                    </a:cubicBezTo>
                    <a:cubicBezTo>
                      <a:pt x="1165" y="459"/>
                      <a:pt x="1165" y="459"/>
                      <a:pt x="1165" y="458"/>
                    </a:cubicBezTo>
                    <a:cubicBezTo>
                      <a:pt x="1165" y="458"/>
                      <a:pt x="1165" y="458"/>
                      <a:pt x="1165" y="457"/>
                    </a:cubicBezTo>
                    <a:cubicBezTo>
                      <a:pt x="1165" y="457"/>
                      <a:pt x="1165" y="457"/>
                      <a:pt x="1166" y="457"/>
                    </a:cubicBezTo>
                    <a:cubicBezTo>
                      <a:pt x="1166" y="457"/>
                      <a:pt x="1166" y="457"/>
                      <a:pt x="1167" y="457"/>
                    </a:cubicBezTo>
                    <a:cubicBezTo>
                      <a:pt x="1167" y="457"/>
                      <a:pt x="1167" y="457"/>
                      <a:pt x="1168" y="457"/>
                    </a:cubicBezTo>
                    <a:cubicBezTo>
                      <a:pt x="1168" y="457"/>
                      <a:pt x="1168" y="457"/>
                      <a:pt x="1169" y="457"/>
                    </a:cubicBezTo>
                    <a:cubicBezTo>
                      <a:pt x="1169" y="457"/>
                      <a:pt x="1169" y="457"/>
                      <a:pt x="1169" y="458"/>
                    </a:cubicBezTo>
                    <a:cubicBezTo>
                      <a:pt x="1169" y="458"/>
                      <a:pt x="1169" y="458"/>
                      <a:pt x="1169" y="459"/>
                    </a:cubicBezTo>
                    <a:cubicBezTo>
                      <a:pt x="1169" y="459"/>
                      <a:pt x="1169" y="459"/>
                      <a:pt x="1170" y="460"/>
                    </a:cubicBezTo>
                    <a:cubicBezTo>
                      <a:pt x="1170" y="460"/>
                      <a:pt x="1170" y="460"/>
                      <a:pt x="1171" y="459"/>
                    </a:cubicBezTo>
                    <a:cubicBezTo>
                      <a:pt x="1171" y="459"/>
                      <a:pt x="1171" y="459"/>
                      <a:pt x="1172" y="460"/>
                    </a:cubicBezTo>
                    <a:cubicBezTo>
                      <a:pt x="1172" y="460"/>
                      <a:pt x="1172" y="460"/>
                      <a:pt x="1174" y="460"/>
                    </a:cubicBezTo>
                    <a:cubicBezTo>
                      <a:pt x="1174" y="460"/>
                      <a:pt x="1174" y="460"/>
                      <a:pt x="1176" y="460"/>
                    </a:cubicBezTo>
                    <a:cubicBezTo>
                      <a:pt x="1176" y="460"/>
                      <a:pt x="1176" y="460"/>
                      <a:pt x="1178" y="459"/>
                    </a:cubicBezTo>
                    <a:cubicBezTo>
                      <a:pt x="1178" y="459"/>
                      <a:pt x="1178" y="459"/>
                      <a:pt x="1176" y="458"/>
                    </a:cubicBezTo>
                    <a:cubicBezTo>
                      <a:pt x="1176" y="458"/>
                      <a:pt x="1176" y="458"/>
                      <a:pt x="1177" y="457"/>
                    </a:cubicBezTo>
                    <a:cubicBezTo>
                      <a:pt x="1177" y="457"/>
                      <a:pt x="1177" y="457"/>
                      <a:pt x="1179" y="455"/>
                    </a:cubicBezTo>
                    <a:cubicBezTo>
                      <a:pt x="1179" y="455"/>
                      <a:pt x="1179" y="455"/>
                      <a:pt x="1180" y="456"/>
                    </a:cubicBezTo>
                    <a:cubicBezTo>
                      <a:pt x="1180" y="456"/>
                      <a:pt x="1180" y="456"/>
                      <a:pt x="1181" y="456"/>
                    </a:cubicBezTo>
                    <a:cubicBezTo>
                      <a:pt x="1181" y="456"/>
                      <a:pt x="1181" y="456"/>
                      <a:pt x="1183" y="455"/>
                    </a:cubicBezTo>
                    <a:cubicBezTo>
                      <a:pt x="1183" y="455"/>
                      <a:pt x="1183" y="455"/>
                      <a:pt x="1183" y="454"/>
                    </a:cubicBezTo>
                    <a:cubicBezTo>
                      <a:pt x="1183" y="454"/>
                      <a:pt x="1183" y="454"/>
                      <a:pt x="1185" y="453"/>
                    </a:cubicBezTo>
                    <a:cubicBezTo>
                      <a:pt x="1185" y="453"/>
                      <a:pt x="1185" y="453"/>
                      <a:pt x="1185" y="450"/>
                    </a:cubicBezTo>
                    <a:cubicBezTo>
                      <a:pt x="1185" y="450"/>
                      <a:pt x="1185" y="450"/>
                      <a:pt x="1185" y="449"/>
                    </a:cubicBezTo>
                    <a:cubicBezTo>
                      <a:pt x="1185" y="449"/>
                      <a:pt x="1185" y="449"/>
                      <a:pt x="1186" y="448"/>
                    </a:cubicBezTo>
                    <a:cubicBezTo>
                      <a:pt x="1186" y="448"/>
                      <a:pt x="1186" y="448"/>
                      <a:pt x="1187" y="447"/>
                    </a:cubicBezTo>
                    <a:cubicBezTo>
                      <a:pt x="1187" y="447"/>
                      <a:pt x="1187" y="447"/>
                      <a:pt x="1188" y="447"/>
                    </a:cubicBezTo>
                    <a:cubicBezTo>
                      <a:pt x="1188" y="447"/>
                      <a:pt x="1188" y="447"/>
                      <a:pt x="1190" y="446"/>
                    </a:cubicBezTo>
                    <a:cubicBezTo>
                      <a:pt x="1190" y="446"/>
                      <a:pt x="1190" y="446"/>
                      <a:pt x="1191" y="444"/>
                    </a:cubicBezTo>
                    <a:cubicBezTo>
                      <a:pt x="1191" y="444"/>
                      <a:pt x="1191" y="444"/>
                      <a:pt x="1192" y="443"/>
                    </a:cubicBezTo>
                    <a:cubicBezTo>
                      <a:pt x="1192" y="443"/>
                      <a:pt x="1192" y="443"/>
                      <a:pt x="1194" y="443"/>
                    </a:cubicBezTo>
                    <a:cubicBezTo>
                      <a:pt x="1194" y="443"/>
                      <a:pt x="1194" y="443"/>
                      <a:pt x="1195" y="444"/>
                    </a:cubicBezTo>
                    <a:cubicBezTo>
                      <a:pt x="1195" y="444"/>
                      <a:pt x="1195" y="444"/>
                      <a:pt x="1196" y="444"/>
                    </a:cubicBezTo>
                    <a:cubicBezTo>
                      <a:pt x="1196" y="444"/>
                      <a:pt x="1196" y="444"/>
                      <a:pt x="1197" y="444"/>
                    </a:cubicBezTo>
                    <a:cubicBezTo>
                      <a:pt x="1197" y="444"/>
                      <a:pt x="1197" y="444"/>
                      <a:pt x="1196" y="443"/>
                    </a:cubicBezTo>
                    <a:cubicBezTo>
                      <a:pt x="1196" y="443"/>
                      <a:pt x="1196" y="443"/>
                      <a:pt x="1198" y="443"/>
                    </a:cubicBezTo>
                    <a:cubicBezTo>
                      <a:pt x="1198" y="443"/>
                      <a:pt x="1198" y="443"/>
                      <a:pt x="1197" y="442"/>
                    </a:cubicBezTo>
                    <a:cubicBezTo>
                      <a:pt x="1197" y="442"/>
                      <a:pt x="1197" y="442"/>
                      <a:pt x="1196" y="442"/>
                    </a:cubicBezTo>
                    <a:cubicBezTo>
                      <a:pt x="1196" y="442"/>
                      <a:pt x="1196" y="442"/>
                      <a:pt x="1197" y="441"/>
                    </a:cubicBezTo>
                    <a:cubicBezTo>
                      <a:pt x="1197" y="441"/>
                      <a:pt x="1197" y="441"/>
                      <a:pt x="1199" y="441"/>
                    </a:cubicBezTo>
                    <a:cubicBezTo>
                      <a:pt x="1199" y="441"/>
                      <a:pt x="1199" y="441"/>
                      <a:pt x="1198" y="440"/>
                    </a:cubicBezTo>
                    <a:cubicBezTo>
                      <a:pt x="1198" y="440"/>
                      <a:pt x="1198" y="440"/>
                      <a:pt x="1196" y="439"/>
                    </a:cubicBezTo>
                    <a:cubicBezTo>
                      <a:pt x="1196" y="439"/>
                      <a:pt x="1196" y="439"/>
                      <a:pt x="1196" y="438"/>
                    </a:cubicBezTo>
                    <a:cubicBezTo>
                      <a:pt x="1196" y="438"/>
                      <a:pt x="1196" y="438"/>
                      <a:pt x="1197" y="437"/>
                    </a:cubicBezTo>
                    <a:cubicBezTo>
                      <a:pt x="1197" y="437"/>
                      <a:pt x="1197" y="437"/>
                      <a:pt x="1198" y="436"/>
                    </a:cubicBezTo>
                    <a:cubicBezTo>
                      <a:pt x="1198" y="436"/>
                      <a:pt x="1198" y="436"/>
                      <a:pt x="1198" y="434"/>
                    </a:cubicBezTo>
                    <a:cubicBezTo>
                      <a:pt x="1198" y="434"/>
                      <a:pt x="1198" y="434"/>
                      <a:pt x="1198" y="433"/>
                    </a:cubicBezTo>
                    <a:cubicBezTo>
                      <a:pt x="1198" y="433"/>
                      <a:pt x="1198" y="433"/>
                      <a:pt x="1199" y="432"/>
                    </a:cubicBezTo>
                    <a:cubicBezTo>
                      <a:pt x="1199" y="432"/>
                      <a:pt x="1199" y="432"/>
                      <a:pt x="1199" y="430"/>
                    </a:cubicBezTo>
                    <a:cubicBezTo>
                      <a:pt x="1199" y="430"/>
                      <a:pt x="1199" y="430"/>
                      <a:pt x="1200" y="430"/>
                    </a:cubicBezTo>
                    <a:cubicBezTo>
                      <a:pt x="1200" y="430"/>
                      <a:pt x="1200" y="430"/>
                      <a:pt x="1201" y="430"/>
                    </a:cubicBezTo>
                    <a:cubicBezTo>
                      <a:pt x="1201" y="430"/>
                      <a:pt x="1201" y="430"/>
                      <a:pt x="1203" y="429"/>
                    </a:cubicBezTo>
                    <a:cubicBezTo>
                      <a:pt x="1203" y="429"/>
                      <a:pt x="1203" y="429"/>
                      <a:pt x="1205" y="427"/>
                    </a:cubicBezTo>
                    <a:cubicBezTo>
                      <a:pt x="1205" y="427"/>
                      <a:pt x="1205" y="427"/>
                      <a:pt x="1206" y="427"/>
                    </a:cubicBezTo>
                    <a:cubicBezTo>
                      <a:pt x="1206" y="427"/>
                      <a:pt x="1206" y="427"/>
                      <a:pt x="1207" y="427"/>
                    </a:cubicBezTo>
                    <a:cubicBezTo>
                      <a:pt x="1207" y="427"/>
                      <a:pt x="1207" y="427"/>
                      <a:pt x="1208" y="427"/>
                    </a:cubicBezTo>
                    <a:cubicBezTo>
                      <a:pt x="1208" y="427"/>
                      <a:pt x="1208" y="427"/>
                      <a:pt x="1209" y="426"/>
                    </a:cubicBezTo>
                    <a:cubicBezTo>
                      <a:pt x="1209" y="426"/>
                      <a:pt x="1209" y="426"/>
                      <a:pt x="1211" y="426"/>
                    </a:cubicBezTo>
                    <a:cubicBezTo>
                      <a:pt x="1211" y="426"/>
                      <a:pt x="1211" y="426"/>
                      <a:pt x="1213" y="427"/>
                    </a:cubicBezTo>
                    <a:cubicBezTo>
                      <a:pt x="1213" y="427"/>
                      <a:pt x="1213" y="427"/>
                      <a:pt x="1214" y="428"/>
                    </a:cubicBezTo>
                    <a:cubicBezTo>
                      <a:pt x="1214" y="428"/>
                      <a:pt x="1214" y="428"/>
                      <a:pt x="1215" y="428"/>
                    </a:cubicBezTo>
                    <a:cubicBezTo>
                      <a:pt x="1215" y="428"/>
                      <a:pt x="1215" y="428"/>
                      <a:pt x="1215" y="427"/>
                    </a:cubicBezTo>
                    <a:cubicBezTo>
                      <a:pt x="1215" y="427"/>
                      <a:pt x="1215" y="427"/>
                      <a:pt x="1213" y="427"/>
                    </a:cubicBezTo>
                    <a:cubicBezTo>
                      <a:pt x="1213" y="427"/>
                      <a:pt x="1213" y="427"/>
                      <a:pt x="1213" y="426"/>
                    </a:cubicBezTo>
                    <a:cubicBezTo>
                      <a:pt x="1213" y="426"/>
                      <a:pt x="1213" y="426"/>
                      <a:pt x="1213" y="424"/>
                    </a:cubicBezTo>
                    <a:cubicBezTo>
                      <a:pt x="1213" y="424"/>
                      <a:pt x="1213" y="424"/>
                      <a:pt x="1216" y="424"/>
                    </a:cubicBezTo>
                    <a:cubicBezTo>
                      <a:pt x="1216" y="424"/>
                      <a:pt x="1216" y="424"/>
                      <a:pt x="1216" y="423"/>
                    </a:cubicBezTo>
                    <a:cubicBezTo>
                      <a:pt x="1216" y="423"/>
                      <a:pt x="1216" y="423"/>
                      <a:pt x="1218" y="424"/>
                    </a:cubicBezTo>
                    <a:cubicBezTo>
                      <a:pt x="1218" y="424"/>
                      <a:pt x="1218" y="424"/>
                      <a:pt x="1218" y="426"/>
                    </a:cubicBezTo>
                    <a:cubicBezTo>
                      <a:pt x="1218" y="426"/>
                      <a:pt x="1218" y="426"/>
                      <a:pt x="1219" y="427"/>
                    </a:cubicBezTo>
                    <a:cubicBezTo>
                      <a:pt x="1219" y="427"/>
                      <a:pt x="1219" y="427"/>
                      <a:pt x="1220" y="426"/>
                    </a:cubicBezTo>
                    <a:cubicBezTo>
                      <a:pt x="1220" y="426"/>
                      <a:pt x="1220" y="426"/>
                      <a:pt x="1221" y="427"/>
                    </a:cubicBezTo>
                    <a:cubicBezTo>
                      <a:pt x="1221" y="427"/>
                      <a:pt x="1221" y="427"/>
                      <a:pt x="1221" y="425"/>
                    </a:cubicBezTo>
                    <a:cubicBezTo>
                      <a:pt x="1221" y="425"/>
                      <a:pt x="1221" y="425"/>
                      <a:pt x="1221" y="424"/>
                    </a:cubicBezTo>
                    <a:cubicBezTo>
                      <a:pt x="1221" y="424"/>
                      <a:pt x="1221" y="424"/>
                      <a:pt x="1222" y="423"/>
                    </a:cubicBezTo>
                    <a:cubicBezTo>
                      <a:pt x="1222" y="423"/>
                      <a:pt x="1222" y="423"/>
                      <a:pt x="1223" y="422"/>
                    </a:cubicBezTo>
                    <a:cubicBezTo>
                      <a:pt x="1223" y="422"/>
                      <a:pt x="1223" y="422"/>
                      <a:pt x="1224" y="423"/>
                    </a:cubicBezTo>
                    <a:cubicBezTo>
                      <a:pt x="1224" y="423"/>
                      <a:pt x="1224" y="423"/>
                      <a:pt x="1225" y="422"/>
                    </a:cubicBezTo>
                    <a:cubicBezTo>
                      <a:pt x="1225" y="422"/>
                      <a:pt x="1225" y="422"/>
                      <a:pt x="1227" y="425"/>
                    </a:cubicBezTo>
                    <a:cubicBezTo>
                      <a:pt x="1227" y="425"/>
                      <a:pt x="1227" y="425"/>
                      <a:pt x="1230" y="425"/>
                    </a:cubicBezTo>
                    <a:cubicBezTo>
                      <a:pt x="1230" y="425"/>
                      <a:pt x="1230" y="425"/>
                      <a:pt x="1227" y="424"/>
                    </a:cubicBezTo>
                    <a:cubicBezTo>
                      <a:pt x="1227" y="424"/>
                      <a:pt x="1227" y="424"/>
                      <a:pt x="1225" y="422"/>
                    </a:cubicBezTo>
                    <a:cubicBezTo>
                      <a:pt x="1225" y="422"/>
                      <a:pt x="1225" y="422"/>
                      <a:pt x="1224" y="422"/>
                    </a:cubicBezTo>
                    <a:cubicBezTo>
                      <a:pt x="1224" y="422"/>
                      <a:pt x="1224" y="422"/>
                      <a:pt x="1223" y="421"/>
                    </a:cubicBezTo>
                    <a:cubicBezTo>
                      <a:pt x="1223" y="421"/>
                      <a:pt x="1223" y="421"/>
                      <a:pt x="1223" y="420"/>
                    </a:cubicBezTo>
                    <a:cubicBezTo>
                      <a:pt x="1223" y="420"/>
                      <a:pt x="1223" y="420"/>
                      <a:pt x="1224" y="420"/>
                    </a:cubicBezTo>
                    <a:cubicBezTo>
                      <a:pt x="1224" y="420"/>
                      <a:pt x="1224" y="420"/>
                      <a:pt x="1223" y="419"/>
                    </a:cubicBezTo>
                    <a:cubicBezTo>
                      <a:pt x="1223" y="419"/>
                      <a:pt x="1223" y="419"/>
                      <a:pt x="1223" y="418"/>
                    </a:cubicBezTo>
                    <a:cubicBezTo>
                      <a:pt x="1223" y="418"/>
                      <a:pt x="1223" y="418"/>
                      <a:pt x="1221" y="418"/>
                    </a:cubicBezTo>
                    <a:cubicBezTo>
                      <a:pt x="1221" y="418"/>
                      <a:pt x="1221" y="418"/>
                      <a:pt x="1221" y="417"/>
                    </a:cubicBezTo>
                    <a:cubicBezTo>
                      <a:pt x="1221" y="417"/>
                      <a:pt x="1221" y="417"/>
                      <a:pt x="1222" y="417"/>
                    </a:cubicBezTo>
                    <a:cubicBezTo>
                      <a:pt x="1222" y="417"/>
                      <a:pt x="1222" y="417"/>
                      <a:pt x="1224" y="416"/>
                    </a:cubicBezTo>
                    <a:cubicBezTo>
                      <a:pt x="1224" y="416"/>
                      <a:pt x="1224" y="416"/>
                      <a:pt x="1222" y="415"/>
                    </a:cubicBezTo>
                    <a:cubicBezTo>
                      <a:pt x="1222" y="415"/>
                      <a:pt x="1222" y="415"/>
                      <a:pt x="1222" y="414"/>
                    </a:cubicBezTo>
                    <a:cubicBezTo>
                      <a:pt x="1222" y="414"/>
                      <a:pt x="1222" y="414"/>
                      <a:pt x="1221" y="414"/>
                    </a:cubicBezTo>
                    <a:cubicBezTo>
                      <a:pt x="1221" y="414"/>
                      <a:pt x="1221" y="414"/>
                      <a:pt x="1221" y="413"/>
                    </a:cubicBezTo>
                    <a:cubicBezTo>
                      <a:pt x="1221" y="413"/>
                      <a:pt x="1221" y="413"/>
                      <a:pt x="1221" y="412"/>
                    </a:cubicBezTo>
                    <a:cubicBezTo>
                      <a:pt x="1221" y="412"/>
                      <a:pt x="1221" y="412"/>
                      <a:pt x="1221" y="411"/>
                    </a:cubicBezTo>
                    <a:cubicBezTo>
                      <a:pt x="1221" y="411"/>
                      <a:pt x="1221" y="411"/>
                      <a:pt x="1221" y="409"/>
                    </a:cubicBezTo>
                    <a:cubicBezTo>
                      <a:pt x="1221" y="409"/>
                      <a:pt x="1221" y="409"/>
                      <a:pt x="1219" y="408"/>
                    </a:cubicBezTo>
                    <a:cubicBezTo>
                      <a:pt x="1219" y="408"/>
                      <a:pt x="1219" y="408"/>
                      <a:pt x="1218" y="408"/>
                    </a:cubicBezTo>
                    <a:cubicBezTo>
                      <a:pt x="1218" y="408"/>
                      <a:pt x="1218" y="408"/>
                      <a:pt x="1218" y="406"/>
                    </a:cubicBezTo>
                    <a:cubicBezTo>
                      <a:pt x="1218" y="406"/>
                      <a:pt x="1218" y="406"/>
                      <a:pt x="1220" y="405"/>
                    </a:cubicBezTo>
                    <a:cubicBezTo>
                      <a:pt x="1220" y="405"/>
                      <a:pt x="1220" y="405"/>
                      <a:pt x="1219" y="405"/>
                    </a:cubicBezTo>
                    <a:cubicBezTo>
                      <a:pt x="1219" y="405"/>
                      <a:pt x="1219" y="405"/>
                      <a:pt x="1219" y="403"/>
                    </a:cubicBezTo>
                    <a:cubicBezTo>
                      <a:pt x="1219" y="403"/>
                      <a:pt x="1219" y="403"/>
                      <a:pt x="1218" y="403"/>
                    </a:cubicBezTo>
                    <a:cubicBezTo>
                      <a:pt x="1218" y="403"/>
                      <a:pt x="1218" y="403"/>
                      <a:pt x="1218" y="401"/>
                    </a:cubicBezTo>
                    <a:cubicBezTo>
                      <a:pt x="1218" y="401"/>
                      <a:pt x="1218" y="401"/>
                      <a:pt x="1219" y="401"/>
                    </a:cubicBezTo>
                    <a:cubicBezTo>
                      <a:pt x="1219" y="401"/>
                      <a:pt x="1219" y="401"/>
                      <a:pt x="1220" y="402"/>
                    </a:cubicBezTo>
                    <a:cubicBezTo>
                      <a:pt x="1220" y="402"/>
                      <a:pt x="1220" y="402"/>
                      <a:pt x="1220" y="400"/>
                    </a:cubicBezTo>
                    <a:cubicBezTo>
                      <a:pt x="1220" y="400"/>
                      <a:pt x="1220" y="400"/>
                      <a:pt x="1218" y="399"/>
                    </a:cubicBezTo>
                    <a:cubicBezTo>
                      <a:pt x="1218" y="399"/>
                      <a:pt x="1218" y="399"/>
                      <a:pt x="1219" y="398"/>
                    </a:cubicBezTo>
                    <a:cubicBezTo>
                      <a:pt x="1219" y="398"/>
                      <a:pt x="1219" y="398"/>
                      <a:pt x="1220" y="399"/>
                    </a:cubicBezTo>
                    <a:cubicBezTo>
                      <a:pt x="1220" y="399"/>
                      <a:pt x="1220" y="399"/>
                      <a:pt x="1221" y="399"/>
                    </a:cubicBezTo>
                    <a:cubicBezTo>
                      <a:pt x="1221" y="399"/>
                      <a:pt x="1221" y="399"/>
                      <a:pt x="1222" y="400"/>
                    </a:cubicBezTo>
                    <a:cubicBezTo>
                      <a:pt x="1222" y="400"/>
                      <a:pt x="1222" y="400"/>
                      <a:pt x="1223" y="399"/>
                    </a:cubicBezTo>
                    <a:cubicBezTo>
                      <a:pt x="1223" y="399"/>
                      <a:pt x="1223" y="399"/>
                      <a:pt x="1224" y="399"/>
                    </a:cubicBezTo>
                    <a:cubicBezTo>
                      <a:pt x="1224" y="399"/>
                      <a:pt x="1224" y="399"/>
                      <a:pt x="1225" y="399"/>
                    </a:cubicBezTo>
                    <a:cubicBezTo>
                      <a:pt x="1225" y="399"/>
                      <a:pt x="1225" y="399"/>
                      <a:pt x="1226" y="399"/>
                    </a:cubicBezTo>
                    <a:cubicBezTo>
                      <a:pt x="1226" y="399"/>
                      <a:pt x="1226" y="399"/>
                      <a:pt x="1225" y="398"/>
                    </a:cubicBezTo>
                    <a:cubicBezTo>
                      <a:pt x="1225" y="398"/>
                      <a:pt x="1225" y="398"/>
                      <a:pt x="1225" y="397"/>
                    </a:cubicBezTo>
                    <a:cubicBezTo>
                      <a:pt x="1225" y="397"/>
                      <a:pt x="1225" y="397"/>
                      <a:pt x="1224" y="396"/>
                    </a:cubicBezTo>
                    <a:cubicBezTo>
                      <a:pt x="1224" y="396"/>
                      <a:pt x="1224" y="396"/>
                      <a:pt x="1224" y="395"/>
                    </a:cubicBezTo>
                    <a:cubicBezTo>
                      <a:pt x="1224" y="395"/>
                      <a:pt x="1224" y="395"/>
                      <a:pt x="1225" y="395"/>
                    </a:cubicBezTo>
                    <a:cubicBezTo>
                      <a:pt x="1225" y="395"/>
                      <a:pt x="1225" y="395"/>
                      <a:pt x="1226" y="395"/>
                    </a:cubicBezTo>
                    <a:cubicBezTo>
                      <a:pt x="1226" y="395"/>
                      <a:pt x="1226" y="395"/>
                      <a:pt x="1228" y="395"/>
                    </a:cubicBezTo>
                    <a:cubicBezTo>
                      <a:pt x="1228" y="395"/>
                      <a:pt x="1228" y="395"/>
                      <a:pt x="1229" y="396"/>
                    </a:cubicBezTo>
                    <a:cubicBezTo>
                      <a:pt x="1229" y="396"/>
                      <a:pt x="1229" y="396"/>
                      <a:pt x="1229" y="397"/>
                    </a:cubicBezTo>
                    <a:cubicBezTo>
                      <a:pt x="1229" y="397"/>
                      <a:pt x="1229" y="397"/>
                      <a:pt x="1229" y="398"/>
                    </a:cubicBezTo>
                    <a:cubicBezTo>
                      <a:pt x="1229" y="398"/>
                      <a:pt x="1229" y="398"/>
                      <a:pt x="1230" y="398"/>
                    </a:cubicBezTo>
                    <a:cubicBezTo>
                      <a:pt x="1230" y="398"/>
                      <a:pt x="1230" y="398"/>
                      <a:pt x="1230" y="399"/>
                    </a:cubicBezTo>
                    <a:cubicBezTo>
                      <a:pt x="1230" y="399"/>
                      <a:pt x="1230" y="399"/>
                      <a:pt x="1231" y="400"/>
                    </a:cubicBezTo>
                    <a:cubicBezTo>
                      <a:pt x="1231" y="400"/>
                      <a:pt x="1231" y="400"/>
                      <a:pt x="1232" y="400"/>
                    </a:cubicBezTo>
                    <a:cubicBezTo>
                      <a:pt x="1232" y="400"/>
                      <a:pt x="1232" y="400"/>
                      <a:pt x="1233" y="399"/>
                    </a:cubicBezTo>
                    <a:cubicBezTo>
                      <a:pt x="1233" y="399"/>
                      <a:pt x="1233" y="399"/>
                      <a:pt x="1234" y="400"/>
                    </a:cubicBezTo>
                    <a:cubicBezTo>
                      <a:pt x="1234" y="400"/>
                      <a:pt x="1234" y="400"/>
                      <a:pt x="1234" y="401"/>
                    </a:cubicBezTo>
                    <a:cubicBezTo>
                      <a:pt x="1234" y="401"/>
                      <a:pt x="1234" y="401"/>
                      <a:pt x="1233" y="402"/>
                    </a:cubicBezTo>
                    <a:cubicBezTo>
                      <a:pt x="1233" y="402"/>
                      <a:pt x="1233" y="402"/>
                      <a:pt x="1232" y="402"/>
                    </a:cubicBezTo>
                    <a:cubicBezTo>
                      <a:pt x="1232" y="402"/>
                      <a:pt x="1232" y="402"/>
                      <a:pt x="1232" y="401"/>
                    </a:cubicBezTo>
                    <a:cubicBezTo>
                      <a:pt x="1232" y="401"/>
                      <a:pt x="1232" y="401"/>
                      <a:pt x="1231" y="401"/>
                    </a:cubicBezTo>
                    <a:cubicBezTo>
                      <a:pt x="1231" y="401"/>
                      <a:pt x="1231" y="401"/>
                      <a:pt x="1230" y="402"/>
                    </a:cubicBezTo>
                    <a:cubicBezTo>
                      <a:pt x="1230" y="402"/>
                      <a:pt x="1230" y="402"/>
                      <a:pt x="1230" y="403"/>
                    </a:cubicBezTo>
                    <a:cubicBezTo>
                      <a:pt x="1230" y="403"/>
                      <a:pt x="1230" y="403"/>
                      <a:pt x="1230" y="405"/>
                    </a:cubicBezTo>
                    <a:cubicBezTo>
                      <a:pt x="1230" y="405"/>
                      <a:pt x="1230" y="405"/>
                      <a:pt x="1229" y="405"/>
                    </a:cubicBezTo>
                    <a:cubicBezTo>
                      <a:pt x="1229" y="405"/>
                      <a:pt x="1229" y="405"/>
                      <a:pt x="1228" y="406"/>
                    </a:cubicBezTo>
                    <a:cubicBezTo>
                      <a:pt x="1228" y="406"/>
                      <a:pt x="1228" y="406"/>
                      <a:pt x="1228" y="407"/>
                    </a:cubicBezTo>
                    <a:cubicBezTo>
                      <a:pt x="1228" y="407"/>
                      <a:pt x="1228" y="407"/>
                      <a:pt x="1226" y="408"/>
                    </a:cubicBezTo>
                    <a:cubicBezTo>
                      <a:pt x="1226" y="408"/>
                      <a:pt x="1226" y="408"/>
                      <a:pt x="1226" y="409"/>
                    </a:cubicBezTo>
                    <a:cubicBezTo>
                      <a:pt x="1226" y="409"/>
                      <a:pt x="1226" y="409"/>
                      <a:pt x="1226" y="410"/>
                    </a:cubicBezTo>
                    <a:cubicBezTo>
                      <a:pt x="1226" y="410"/>
                      <a:pt x="1226" y="410"/>
                      <a:pt x="1226" y="411"/>
                    </a:cubicBezTo>
                    <a:cubicBezTo>
                      <a:pt x="1226" y="411"/>
                      <a:pt x="1226" y="411"/>
                      <a:pt x="1227" y="412"/>
                    </a:cubicBezTo>
                    <a:cubicBezTo>
                      <a:pt x="1227" y="412"/>
                      <a:pt x="1227" y="412"/>
                      <a:pt x="1226" y="413"/>
                    </a:cubicBezTo>
                    <a:cubicBezTo>
                      <a:pt x="1226" y="413"/>
                      <a:pt x="1226" y="413"/>
                      <a:pt x="1227" y="413"/>
                    </a:cubicBezTo>
                    <a:cubicBezTo>
                      <a:pt x="1227" y="413"/>
                      <a:pt x="1227" y="413"/>
                      <a:pt x="1228" y="414"/>
                    </a:cubicBezTo>
                    <a:cubicBezTo>
                      <a:pt x="1228" y="414"/>
                      <a:pt x="1228" y="414"/>
                      <a:pt x="1229" y="414"/>
                    </a:cubicBezTo>
                    <a:cubicBezTo>
                      <a:pt x="1229" y="414"/>
                      <a:pt x="1229" y="414"/>
                      <a:pt x="1228" y="416"/>
                    </a:cubicBezTo>
                    <a:cubicBezTo>
                      <a:pt x="1228" y="416"/>
                      <a:pt x="1228" y="416"/>
                      <a:pt x="1228" y="417"/>
                    </a:cubicBezTo>
                    <a:cubicBezTo>
                      <a:pt x="1228" y="417"/>
                      <a:pt x="1228" y="417"/>
                      <a:pt x="1229" y="418"/>
                    </a:cubicBezTo>
                    <a:cubicBezTo>
                      <a:pt x="1229" y="418"/>
                      <a:pt x="1229" y="418"/>
                      <a:pt x="1229" y="419"/>
                    </a:cubicBezTo>
                    <a:cubicBezTo>
                      <a:pt x="1229" y="419"/>
                      <a:pt x="1229" y="419"/>
                      <a:pt x="1230" y="418"/>
                    </a:cubicBezTo>
                    <a:cubicBezTo>
                      <a:pt x="1230" y="418"/>
                      <a:pt x="1230" y="418"/>
                      <a:pt x="1231" y="417"/>
                    </a:cubicBezTo>
                    <a:cubicBezTo>
                      <a:pt x="1231" y="417"/>
                      <a:pt x="1231" y="417"/>
                      <a:pt x="1232" y="418"/>
                    </a:cubicBezTo>
                    <a:cubicBezTo>
                      <a:pt x="1232" y="418"/>
                      <a:pt x="1232" y="418"/>
                      <a:pt x="1233" y="419"/>
                    </a:cubicBezTo>
                    <a:cubicBezTo>
                      <a:pt x="1233" y="419"/>
                      <a:pt x="1233" y="419"/>
                      <a:pt x="1234" y="418"/>
                    </a:cubicBezTo>
                    <a:cubicBezTo>
                      <a:pt x="1234" y="418"/>
                      <a:pt x="1234" y="418"/>
                      <a:pt x="1235" y="417"/>
                    </a:cubicBezTo>
                    <a:cubicBezTo>
                      <a:pt x="1235" y="417"/>
                      <a:pt x="1235" y="417"/>
                      <a:pt x="1235" y="418"/>
                    </a:cubicBezTo>
                    <a:cubicBezTo>
                      <a:pt x="1235" y="418"/>
                      <a:pt x="1235" y="418"/>
                      <a:pt x="1235" y="419"/>
                    </a:cubicBezTo>
                    <a:cubicBezTo>
                      <a:pt x="1235" y="419"/>
                      <a:pt x="1235" y="419"/>
                      <a:pt x="1234" y="420"/>
                    </a:cubicBezTo>
                    <a:cubicBezTo>
                      <a:pt x="1234" y="420"/>
                      <a:pt x="1234" y="420"/>
                      <a:pt x="1233" y="420"/>
                    </a:cubicBezTo>
                    <a:cubicBezTo>
                      <a:pt x="1233" y="420"/>
                      <a:pt x="1233" y="420"/>
                      <a:pt x="1234" y="421"/>
                    </a:cubicBezTo>
                    <a:cubicBezTo>
                      <a:pt x="1234" y="421"/>
                      <a:pt x="1234" y="421"/>
                      <a:pt x="1235" y="421"/>
                    </a:cubicBezTo>
                    <a:cubicBezTo>
                      <a:pt x="1235" y="421"/>
                      <a:pt x="1235" y="421"/>
                      <a:pt x="1236" y="421"/>
                    </a:cubicBezTo>
                    <a:cubicBezTo>
                      <a:pt x="1236" y="421"/>
                      <a:pt x="1236" y="421"/>
                      <a:pt x="1238" y="421"/>
                    </a:cubicBezTo>
                    <a:cubicBezTo>
                      <a:pt x="1238" y="421"/>
                      <a:pt x="1238" y="421"/>
                      <a:pt x="1238" y="420"/>
                    </a:cubicBezTo>
                    <a:cubicBezTo>
                      <a:pt x="1238" y="420"/>
                      <a:pt x="1238" y="420"/>
                      <a:pt x="1239" y="419"/>
                    </a:cubicBezTo>
                    <a:cubicBezTo>
                      <a:pt x="1239" y="419"/>
                      <a:pt x="1239" y="419"/>
                      <a:pt x="1241" y="419"/>
                    </a:cubicBezTo>
                    <a:cubicBezTo>
                      <a:pt x="1241" y="419"/>
                      <a:pt x="1241" y="419"/>
                      <a:pt x="1241" y="418"/>
                    </a:cubicBezTo>
                    <a:cubicBezTo>
                      <a:pt x="1241" y="418"/>
                      <a:pt x="1241" y="418"/>
                      <a:pt x="1242" y="418"/>
                    </a:cubicBezTo>
                    <a:cubicBezTo>
                      <a:pt x="1242" y="418"/>
                      <a:pt x="1242" y="418"/>
                      <a:pt x="1242" y="419"/>
                    </a:cubicBezTo>
                    <a:cubicBezTo>
                      <a:pt x="1242" y="419"/>
                      <a:pt x="1242" y="419"/>
                      <a:pt x="1244" y="418"/>
                    </a:cubicBezTo>
                    <a:cubicBezTo>
                      <a:pt x="1244" y="418"/>
                      <a:pt x="1244" y="418"/>
                      <a:pt x="1245" y="418"/>
                    </a:cubicBezTo>
                    <a:cubicBezTo>
                      <a:pt x="1245" y="418"/>
                      <a:pt x="1245" y="418"/>
                      <a:pt x="1246" y="418"/>
                    </a:cubicBezTo>
                    <a:cubicBezTo>
                      <a:pt x="1246" y="418"/>
                      <a:pt x="1246" y="418"/>
                      <a:pt x="1246" y="417"/>
                    </a:cubicBezTo>
                    <a:cubicBezTo>
                      <a:pt x="1246" y="417"/>
                      <a:pt x="1246" y="417"/>
                      <a:pt x="1246" y="416"/>
                    </a:cubicBezTo>
                    <a:cubicBezTo>
                      <a:pt x="1246" y="416"/>
                      <a:pt x="1246" y="416"/>
                      <a:pt x="1246" y="415"/>
                    </a:cubicBezTo>
                    <a:cubicBezTo>
                      <a:pt x="1246" y="415"/>
                      <a:pt x="1246" y="415"/>
                      <a:pt x="1247" y="415"/>
                    </a:cubicBezTo>
                    <a:cubicBezTo>
                      <a:pt x="1247" y="415"/>
                      <a:pt x="1247" y="415"/>
                      <a:pt x="1248" y="415"/>
                    </a:cubicBezTo>
                    <a:cubicBezTo>
                      <a:pt x="1248" y="415"/>
                      <a:pt x="1248" y="415"/>
                      <a:pt x="1249" y="415"/>
                    </a:cubicBezTo>
                    <a:cubicBezTo>
                      <a:pt x="1249" y="415"/>
                      <a:pt x="1249" y="415"/>
                      <a:pt x="1249" y="416"/>
                    </a:cubicBezTo>
                    <a:cubicBezTo>
                      <a:pt x="1249" y="416"/>
                      <a:pt x="1249" y="416"/>
                      <a:pt x="1249" y="417"/>
                    </a:cubicBezTo>
                    <a:cubicBezTo>
                      <a:pt x="1249" y="417"/>
                      <a:pt x="1249" y="417"/>
                      <a:pt x="1248" y="417"/>
                    </a:cubicBezTo>
                    <a:cubicBezTo>
                      <a:pt x="1248" y="417"/>
                      <a:pt x="1248" y="417"/>
                      <a:pt x="1248" y="418"/>
                    </a:cubicBezTo>
                    <a:cubicBezTo>
                      <a:pt x="1248" y="418"/>
                      <a:pt x="1248" y="418"/>
                      <a:pt x="1247" y="418"/>
                    </a:cubicBezTo>
                    <a:cubicBezTo>
                      <a:pt x="1247" y="418"/>
                      <a:pt x="1247" y="418"/>
                      <a:pt x="1249" y="420"/>
                    </a:cubicBezTo>
                    <a:cubicBezTo>
                      <a:pt x="1249" y="420"/>
                      <a:pt x="1249" y="420"/>
                      <a:pt x="1250" y="420"/>
                    </a:cubicBezTo>
                    <a:cubicBezTo>
                      <a:pt x="1250" y="420"/>
                      <a:pt x="1250" y="420"/>
                      <a:pt x="1251" y="421"/>
                    </a:cubicBezTo>
                    <a:cubicBezTo>
                      <a:pt x="1251" y="421"/>
                      <a:pt x="1251" y="421"/>
                      <a:pt x="1250" y="422"/>
                    </a:cubicBezTo>
                    <a:cubicBezTo>
                      <a:pt x="1250" y="422"/>
                      <a:pt x="1250" y="422"/>
                      <a:pt x="1252" y="423"/>
                    </a:cubicBezTo>
                    <a:cubicBezTo>
                      <a:pt x="1252" y="423"/>
                      <a:pt x="1252" y="423"/>
                      <a:pt x="1253" y="423"/>
                    </a:cubicBezTo>
                    <a:cubicBezTo>
                      <a:pt x="1253" y="423"/>
                      <a:pt x="1253" y="423"/>
                      <a:pt x="1255" y="423"/>
                    </a:cubicBezTo>
                    <a:cubicBezTo>
                      <a:pt x="1255" y="423"/>
                      <a:pt x="1255" y="423"/>
                      <a:pt x="1255" y="422"/>
                    </a:cubicBezTo>
                    <a:cubicBezTo>
                      <a:pt x="1255" y="422"/>
                      <a:pt x="1255" y="422"/>
                      <a:pt x="1256" y="421"/>
                    </a:cubicBezTo>
                    <a:cubicBezTo>
                      <a:pt x="1256" y="421"/>
                      <a:pt x="1256" y="421"/>
                      <a:pt x="1257" y="419"/>
                    </a:cubicBezTo>
                    <a:cubicBezTo>
                      <a:pt x="1257" y="419"/>
                      <a:pt x="1257" y="419"/>
                      <a:pt x="1259" y="419"/>
                    </a:cubicBezTo>
                    <a:cubicBezTo>
                      <a:pt x="1259" y="419"/>
                      <a:pt x="1259" y="419"/>
                      <a:pt x="1262" y="418"/>
                    </a:cubicBezTo>
                    <a:cubicBezTo>
                      <a:pt x="1262" y="418"/>
                      <a:pt x="1262" y="418"/>
                      <a:pt x="1264" y="418"/>
                    </a:cubicBezTo>
                    <a:cubicBezTo>
                      <a:pt x="1264" y="418"/>
                      <a:pt x="1264" y="418"/>
                      <a:pt x="1264" y="417"/>
                    </a:cubicBezTo>
                    <a:cubicBezTo>
                      <a:pt x="1264" y="417"/>
                      <a:pt x="1264" y="417"/>
                      <a:pt x="1265" y="415"/>
                    </a:cubicBezTo>
                    <a:cubicBezTo>
                      <a:pt x="1265" y="415"/>
                      <a:pt x="1265" y="415"/>
                      <a:pt x="1267" y="415"/>
                    </a:cubicBezTo>
                    <a:cubicBezTo>
                      <a:pt x="1267" y="415"/>
                      <a:pt x="1267" y="415"/>
                      <a:pt x="1268" y="414"/>
                    </a:cubicBezTo>
                    <a:cubicBezTo>
                      <a:pt x="1268" y="414"/>
                      <a:pt x="1268" y="414"/>
                      <a:pt x="1270" y="413"/>
                    </a:cubicBezTo>
                    <a:cubicBezTo>
                      <a:pt x="1270" y="413"/>
                      <a:pt x="1270" y="413"/>
                      <a:pt x="1271" y="413"/>
                    </a:cubicBezTo>
                    <a:cubicBezTo>
                      <a:pt x="1271" y="413"/>
                      <a:pt x="1271" y="413"/>
                      <a:pt x="1274" y="412"/>
                    </a:cubicBezTo>
                    <a:cubicBezTo>
                      <a:pt x="1274" y="412"/>
                      <a:pt x="1274" y="412"/>
                      <a:pt x="1277" y="413"/>
                    </a:cubicBezTo>
                    <a:cubicBezTo>
                      <a:pt x="1277" y="413"/>
                      <a:pt x="1277" y="413"/>
                      <a:pt x="1276" y="414"/>
                    </a:cubicBezTo>
                    <a:cubicBezTo>
                      <a:pt x="1276" y="414"/>
                      <a:pt x="1276" y="414"/>
                      <a:pt x="1277" y="416"/>
                    </a:cubicBezTo>
                    <a:cubicBezTo>
                      <a:pt x="1277" y="416"/>
                      <a:pt x="1277" y="416"/>
                      <a:pt x="1279" y="417"/>
                    </a:cubicBezTo>
                    <a:cubicBezTo>
                      <a:pt x="1279" y="417"/>
                      <a:pt x="1279" y="417"/>
                      <a:pt x="1282" y="416"/>
                    </a:cubicBezTo>
                    <a:cubicBezTo>
                      <a:pt x="1282" y="416"/>
                      <a:pt x="1282" y="416"/>
                      <a:pt x="1280" y="417"/>
                    </a:cubicBezTo>
                    <a:cubicBezTo>
                      <a:pt x="1280" y="417"/>
                      <a:pt x="1280" y="417"/>
                      <a:pt x="1281" y="417"/>
                    </a:cubicBezTo>
                    <a:cubicBezTo>
                      <a:pt x="1281" y="417"/>
                      <a:pt x="1281" y="417"/>
                      <a:pt x="1282" y="417"/>
                    </a:cubicBezTo>
                    <a:cubicBezTo>
                      <a:pt x="1282" y="417"/>
                      <a:pt x="1282" y="417"/>
                      <a:pt x="1285" y="415"/>
                    </a:cubicBezTo>
                    <a:cubicBezTo>
                      <a:pt x="1285" y="415"/>
                      <a:pt x="1285" y="415"/>
                      <a:pt x="1293" y="415"/>
                    </a:cubicBezTo>
                    <a:cubicBezTo>
                      <a:pt x="1293" y="415"/>
                      <a:pt x="1293" y="415"/>
                      <a:pt x="1302" y="414"/>
                    </a:cubicBezTo>
                    <a:cubicBezTo>
                      <a:pt x="1302" y="414"/>
                      <a:pt x="1302" y="414"/>
                      <a:pt x="1300" y="414"/>
                    </a:cubicBezTo>
                    <a:cubicBezTo>
                      <a:pt x="1300" y="414"/>
                      <a:pt x="1300" y="414"/>
                      <a:pt x="1300" y="412"/>
                    </a:cubicBezTo>
                    <a:cubicBezTo>
                      <a:pt x="1300" y="412"/>
                      <a:pt x="1300" y="412"/>
                      <a:pt x="1301" y="411"/>
                    </a:cubicBezTo>
                    <a:cubicBezTo>
                      <a:pt x="1301" y="411"/>
                      <a:pt x="1301" y="411"/>
                      <a:pt x="1300" y="411"/>
                    </a:cubicBezTo>
                    <a:cubicBezTo>
                      <a:pt x="1300" y="411"/>
                      <a:pt x="1300" y="411"/>
                      <a:pt x="1299" y="410"/>
                    </a:cubicBezTo>
                    <a:cubicBezTo>
                      <a:pt x="1299" y="410"/>
                      <a:pt x="1299" y="410"/>
                      <a:pt x="1299" y="409"/>
                    </a:cubicBezTo>
                    <a:cubicBezTo>
                      <a:pt x="1299" y="409"/>
                      <a:pt x="1299" y="409"/>
                      <a:pt x="1298" y="409"/>
                    </a:cubicBezTo>
                    <a:cubicBezTo>
                      <a:pt x="1298" y="409"/>
                      <a:pt x="1298" y="409"/>
                      <a:pt x="1296" y="409"/>
                    </a:cubicBezTo>
                    <a:cubicBezTo>
                      <a:pt x="1296" y="409"/>
                      <a:pt x="1296" y="409"/>
                      <a:pt x="1294" y="408"/>
                    </a:cubicBezTo>
                    <a:cubicBezTo>
                      <a:pt x="1294" y="408"/>
                      <a:pt x="1294" y="408"/>
                      <a:pt x="1293" y="406"/>
                    </a:cubicBezTo>
                    <a:cubicBezTo>
                      <a:pt x="1293" y="406"/>
                      <a:pt x="1293" y="406"/>
                      <a:pt x="1291" y="407"/>
                    </a:cubicBezTo>
                    <a:cubicBezTo>
                      <a:pt x="1291" y="407"/>
                      <a:pt x="1291" y="407"/>
                      <a:pt x="1290" y="406"/>
                    </a:cubicBezTo>
                    <a:cubicBezTo>
                      <a:pt x="1290" y="406"/>
                      <a:pt x="1290" y="406"/>
                      <a:pt x="1291" y="405"/>
                    </a:cubicBezTo>
                    <a:cubicBezTo>
                      <a:pt x="1291" y="405"/>
                      <a:pt x="1291" y="405"/>
                      <a:pt x="1290" y="404"/>
                    </a:cubicBezTo>
                    <a:cubicBezTo>
                      <a:pt x="1290" y="404"/>
                      <a:pt x="1290" y="404"/>
                      <a:pt x="1290" y="402"/>
                    </a:cubicBezTo>
                    <a:cubicBezTo>
                      <a:pt x="1290" y="402"/>
                      <a:pt x="1290" y="402"/>
                      <a:pt x="1289" y="401"/>
                    </a:cubicBezTo>
                    <a:cubicBezTo>
                      <a:pt x="1289" y="401"/>
                      <a:pt x="1289" y="401"/>
                      <a:pt x="1289" y="398"/>
                    </a:cubicBezTo>
                    <a:cubicBezTo>
                      <a:pt x="1289" y="398"/>
                      <a:pt x="1289" y="398"/>
                      <a:pt x="1290" y="397"/>
                    </a:cubicBezTo>
                    <a:cubicBezTo>
                      <a:pt x="1290" y="397"/>
                      <a:pt x="1290" y="397"/>
                      <a:pt x="1290" y="396"/>
                    </a:cubicBezTo>
                    <a:cubicBezTo>
                      <a:pt x="1290" y="396"/>
                      <a:pt x="1290" y="396"/>
                      <a:pt x="1290" y="395"/>
                    </a:cubicBezTo>
                    <a:cubicBezTo>
                      <a:pt x="1290" y="395"/>
                      <a:pt x="1290" y="395"/>
                      <a:pt x="1291" y="393"/>
                    </a:cubicBezTo>
                    <a:cubicBezTo>
                      <a:pt x="1291" y="393"/>
                      <a:pt x="1291" y="393"/>
                      <a:pt x="1291" y="391"/>
                    </a:cubicBezTo>
                    <a:cubicBezTo>
                      <a:pt x="1291" y="391"/>
                      <a:pt x="1291" y="391"/>
                      <a:pt x="1292" y="391"/>
                    </a:cubicBezTo>
                    <a:cubicBezTo>
                      <a:pt x="1292" y="391"/>
                      <a:pt x="1292" y="391"/>
                      <a:pt x="1292" y="390"/>
                    </a:cubicBezTo>
                    <a:cubicBezTo>
                      <a:pt x="1292" y="390"/>
                      <a:pt x="1292" y="390"/>
                      <a:pt x="1293" y="388"/>
                    </a:cubicBezTo>
                    <a:cubicBezTo>
                      <a:pt x="1293" y="388"/>
                      <a:pt x="1293" y="388"/>
                      <a:pt x="1294" y="388"/>
                    </a:cubicBezTo>
                    <a:cubicBezTo>
                      <a:pt x="1294" y="388"/>
                      <a:pt x="1294" y="388"/>
                      <a:pt x="1295" y="388"/>
                    </a:cubicBezTo>
                    <a:cubicBezTo>
                      <a:pt x="1295" y="388"/>
                      <a:pt x="1295" y="388"/>
                      <a:pt x="1296" y="387"/>
                    </a:cubicBezTo>
                    <a:cubicBezTo>
                      <a:pt x="1296" y="387"/>
                      <a:pt x="1296" y="387"/>
                      <a:pt x="1297" y="386"/>
                    </a:cubicBezTo>
                    <a:cubicBezTo>
                      <a:pt x="1297" y="386"/>
                      <a:pt x="1297" y="386"/>
                      <a:pt x="1298" y="386"/>
                    </a:cubicBezTo>
                    <a:cubicBezTo>
                      <a:pt x="1298" y="386"/>
                      <a:pt x="1298" y="386"/>
                      <a:pt x="1298" y="388"/>
                    </a:cubicBezTo>
                    <a:cubicBezTo>
                      <a:pt x="1298" y="388"/>
                      <a:pt x="1298" y="388"/>
                      <a:pt x="1301" y="391"/>
                    </a:cubicBezTo>
                    <a:cubicBezTo>
                      <a:pt x="1301" y="391"/>
                      <a:pt x="1301" y="391"/>
                      <a:pt x="1301" y="392"/>
                    </a:cubicBezTo>
                    <a:cubicBezTo>
                      <a:pt x="1301" y="392"/>
                      <a:pt x="1301" y="392"/>
                      <a:pt x="1303" y="393"/>
                    </a:cubicBezTo>
                    <a:cubicBezTo>
                      <a:pt x="1303" y="393"/>
                      <a:pt x="1303" y="393"/>
                      <a:pt x="1304" y="393"/>
                    </a:cubicBezTo>
                    <a:cubicBezTo>
                      <a:pt x="1304" y="393"/>
                      <a:pt x="1304" y="393"/>
                      <a:pt x="1306" y="391"/>
                    </a:cubicBezTo>
                    <a:cubicBezTo>
                      <a:pt x="1306" y="391"/>
                      <a:pt x="1306" y="391"/>
                      <a:pt x="1307" y="389"/>
                    </a:cubicBezTo>
                    <a:cubicBezTo>
                      <a:pt x="1307" y="389"/>
                      <a:pt x="1307" y="389"/>
                      <a:pt x="1306" y="386"/>
                    </a:cubicBezTo>
                    <a:cubicBezTo>
                      <a:pt x="1306" y="386"/>
                      <a:pt x="1306" y="386"/>
                      <a:pt x="1306" y="385"/>
                    </a:cubicBezTo>
                    <a:cubicBezTo>
                      <a:pt x="1306" y="385"/>
                      <a:pt x="1306" y="385"/>
                      <a:pt x="1306" y="384"/>
                    </a:cubicBezTo>
                    <a:cubicBezTo>
                      <a:pt x="1306" y="384"/>
                      <a:pt x="1306" y="384"/>
                      <a:pt x="1307" y="381"/>
                    </a:cubicBezTo>
                    <a:cubicBezTo>
                      <a:pt x="1307" y="381"/>
                      <a:pt x="1307" y="381"/>
                      <a:pt x="1306" y="380"/>
                    </a:cubicBezTo>
                    <a:cubicBezTo>
                      <a:pt x="1306" y="380"/>
                      <a:pt x="1306" y="380"/>
                      <a:pt x="1305" y="381"/>
                    </a:cubicBezTo>
                    <a:cubicBezTo>
                      <a:pt x="1305" y="381"/>
                      <a:pt x="1305" y="381"/>
                      <a:pt x="1305" y="382"/>
                    </a:cubicBezTo>
                    <a:cubicBezTo>
                      <a:pt x="1305" y="382"/>
                      <a:pt x="1305" y="382"/>
                      <a:pt x="1303" y="380"/>
                    </a:cubicBezTo>
                    <a:cubicBezTo>
                      <a:pt x="1303" y="380"/>
                      <a:pt x="1303" y="380"/>
                      <a:pt x="1302" y="379"/>
                    </a:cubicBezTo>
                    <a:cubicBezTo>
                      <a:pt x="1302" y="379"/>
                      <a:pt x="1302" y="379"/>
                      <a:pt x="1302" y="377"/>
                    </a:cubicBezTo>
                    <a:cubicBezTo>
                      <a:pt x="1302" y="377"/>
                      <a:pt x="1302" y="377"/>
                      <a:pt x="1303" y="377"/>
                    </a:cubicBezTo>
                    <a:cubicBezTo>
                      <a:pt x="1303" y="377"/>
                      <a:pt x="1303" y="377"/>
                      <a:pt x="1303" y="376"/>
                    </a:cubicBezTo>
                    <a:cubicBezTo>
                      <a:pt x="1303" y="376"/>
                      <a:pt x="1303" y="376"/>
                      <a:pt x="1302" y="376"/>
                    </a:cubicBezTo>
                    <a:cubicBezTo>
                      <a:pt x="1302" y="376"/>
                      <a:pt x="1302" y="376"/>
                      <a:pt x="1302" y="377"/>
                    </a:cubicBezTo>
                    <a:cubicBezTo>
                      <a:pt x="1302" y="377"/>
                      <a:pt x="1302" y="377"/>
                      <a:pt x="1301" y="376"/>
                    </a:cubicBezTo>
                    <a:cubicBezTo>
                      <a:pt x="1301" y="376"/>
                      <a:pt x="1301" y="376"/>
                      <a:pt x="1301" y="372"/>
                    </a:cubicBezTo>
                    <a:cubicBezTo>
                      <a:pt x="1301" y="372"/>
                      <a:pt x="1301" y="372"/>
                      <a:pt x="1301" y="371"/>
                    </a:cubicBezTo>
                    <a:cubicBezTo>
                      <a:pt x="1301" y="371"/>
                      <a:pt x="1301" y="371"/>
                      <a:pt x="1303" y="370"/>
                    </a:cubicBezTo>
                    <a:cubicBezTo>
                      <a:pt x="1303" y="370"/>
                      <a:pt x="1303" y="370"/>
                      <a:pt x="1304" y="371"/>
                    </a:cubicBezTo>
                    <a:cubicBezTo>
                      <a:pt x="1304" y="371"/>
                      <a:pt x="1304" y="371"/>
                      <a:pt x="1304" y="369"/>
                    </a:cubicBezTo>
                    <a:cubicBezTo>
                      <a:pt x="1304" y="369"/>
                      <a:pt x="1304" y="369"/>
                      <a:pt x="1306" y="369"/>
                    </a:cubicBezTo>
                    <a:cubicBezTo>
                      <a:pt x="1306" y="369"/>
                      <a:pt x="1306" y="369"/>
                      <a:pt x="1307" y="369"/>
                    </a:cubicBezTo>
                    <a:cubicBezTo>
                      <a:pt x="1307" y="369"/>
                      <a:pt x="1307" y="369"/>
                      <a:pt x="1310" y="369"/>
                    </a:cubicBezTo>
                    <a:cubicBezTo>
                      <a:pt x="1310" y="369"/>
                      <a:pt x="1310" y="369"/>
                      <a:pt x="1311" y="368"/>
                    </a:cubicBezTo>
                    <a:cubicBezTo>
                      <a:pt x="1311" y="368"/>
                      <a:pt x="1311" y="368"/>
                      <a:pt x="1311" y="367"/>
                    </a:cubicBezTo>
                    <a:cubicBezTo>
                      <a:pt x="1311" y="367"/>
                      <a:pt x="1311" y="367"/>
                      <a:pt x="1312" y="367"/>
                    </a:cubicBezTo>
                    <a:cubicBezTo>
                      <a:pt x="1312" y="367"/>
                      <a:pt x="1312" y="367"/>
                      <a:pt x="1312" y="366"/>
                    </a:cubicBezTo>
                    <a:cubicBezTo>
                      <a:pt x="1312" y="366"/>
                      <a:pt x="1312" y="366"/>
                      <a:pt x="1313" y="368"/>
                    </a:cubicBezTo>
                    <a:cubicBezTo>
                      <a:pt x="1313" y="368"/>
                      <a:pt x="1313" y="368"/>
                      <a:pt x="1314" y="367"/>
                    </a:cubicBezTo>
                    <a:cubicBezTo>
                      <a:pt x="1314" y="367"/>
                      <a:pt x="1314" y="367"/>
                      <a:pt x="1315" y="368"/>
                    </a:cubicBezTo>
                    <a:cubicBezTo>
                      <a:pt x="1315" y="368"/>
                      <a:pt x="1315" y="368"/>
                      <a:pt x="1318" y="368"/>
                    </a:cubicBezTo>
                    <a:cubicBezTo>
                      <a:pt x="1318" y="368"/>
                      <a:pt x="1318" y="368"/>
                      <a:pt x="1320" y="369"/>
                    </a:cubicBezTo>
                    <a:cubicBezTo>
                      <a:pt x="1320" y="369"/>
                      <a:pt x="1320" y="369"/>
                      <a:pt x="1325" y="369"/>
                    </a:cubicBezTo>
                    <a:cubicBezTo>
                      <a:pt x="1325" y="367"/>
                      <a:pt x="1325" y="367"/>
                      <a:pt x="1325" y="367"/>
                    </a:cubicBezTo>
                    <a:cubicBezTo>
                      <a:pt x="1325" y="366"/>
                      <a:pt x="1325" y="366"/>
                      <a:pt x="1325" y="366"/>
                    </a:cubicBezTo>
                    <a:cubicBezTo>
                      <a:pt x="1326" y="367"/>
                      <a:pt x="1326" y="367"/>
                      <a:pt x="1326" y="367"/>
                    </a:cubicBezTo>
                    <a:cubicBezTo>
                      <a:pt x="1327" y="366"/>
                      <a:pt x="1327" y="366"/>
                      <a:pt x="1327" y="366"/>
                    </a:cubicBezTo>
                    <a:cubicBezTo>
                      <a:pt x="1327" y="365"/>
                      <a:pt x="1327" y="365"/>
                      <a:pt x="1327" y="365"/>
                    </a:cubicBezTo>
                    <a:cubicBezTo>
                      <a:pt x="1328" y="364"/>
                      <a:pt x="1328" y="364"/>
                      <a:pt x="1328" y="364"/>
                    </a:cubicBezTo>
                    <a:cubicBezTo>
                      <a:pt x="1329" y="365"/>
                      <a:pt x="1329" y="365"/>
                      <a:pt x="1329" y="365"/>
                    </a:cubicBezTo>
                    <a:cubicBezTo>
                      <a:pt x="1330" y="364"/>
                      <a:pt x="1330" y="364"/>
                      <a:pt x="1330" y="364"/>
                    </a:cubicBezTo>
                    <a:cubicBezTo>
                      <a:pt x="1331" y="363"/>
                      <a:pt x="1331" y="363"/>
                      <a:pt x="1331" y="363"/>
                    </a:cubicBezTo>
                    <a:cubicBezTo>
                      <a:pt x="1333" y="363"/>
                      <a:pt x="1333" y="363"/>
                      <a:pt x="1333" y="363"/>
                    </a:cubicBezTo>
                    <a:cubicBezTo>
                      <a:pt x="1334" y="362"/>
                      <a:pt x="1334" y="362"/>
                      <a:pt x="1334" y="362"/>
                    </a:cubicBezTo>
                    <a:cubicBezTo>
                      <a:pt x="1333" y="361"/>
                      <a:pt x="1333" y="361"/>
                      <a:pt x="1333" y="361"/>
                    </a:cubicBezTo>
                    <a:cubicBezTo>
                      <a:pt x="1332" y="361"/>
                      <a:pt x="1332" y="361"/>
                      <a:pt x="1332" y="361"/>
                    </a:cubicBezTo>
                    <a:cubicBezTo>
                      <a:pt x="1331" y="361"/>
                      <a:pt x="1331" y="361"/>
                      <a:pt x="1331" y="361"/>
                    </a:cubicBezTo>
                    <a:cubicBezTo>
                      <a:pt x="1330" y="361"/>
                      <a:pt x="1330" y="361"/>
                      <a:pt x="1330" y="361"/>
                    </a:cubicBezTo>
                    <a:cubicBezTo>
                      <a:pt x="1329" y="360"/>
                      <a:pt x="1329" y="360"/>
                      <a:pt x="1329" y="360"/>
                    </a:cubicBezTo>
                    <a:cubicBezTo>
                      <a:pt x="1328" y="360"/>
                      <a:pt x="1328" y="360"/>
                      <a:pt x="1328" y="360"/>
                    </a:cubicBezTo>
                    <a:cubicBezTo>
                      <a:pt x="1326" y="358"/>
                      <a:pt x="1326" y="358"/>
                      <a:pt x="1326" y="358"/>
                    </a:cubicBezTo>
                    <a:cubicBezTo>
                      <a:pt x="1326" y="357"/>
                      <a:pt x="1326" y="357"/>
                      <a:pt x="1326" y="357"/>
                    </a:cubicBezTo>
                    <a:cubicBezTo>
                      <a:pt x="1328" y="358"/>
                      <a:pt x="1328" y="358"/>
                      <a:pt x="1328" y="358"/>
                    </a:cubicBezTo>
                    <a:cubicBezTo>
                      <a:pt x="1328" y="357"/>
                      <a:pt x="1328" y="357"/>
                      <a:pt x="1328" y="357"/>
                    </a:cubicBezTo>
                    <a:cubicBezTo>
                      <a:pt x="1327" y="357"/>
                      <a:pt x="1327" y="357"/>
                      <a:pt x="1327" y="357"/>
                    </a:cubicBezTo>
                    <a:cubicBezTo>
                      <a:pt x="1328" y="356"/>
                      <a:pt x="1328" y="356"/>
                      <a:pt x="1328" y="356"/>
                    </a:cubicBezTo>
                    <a:cubicBezTo>
                      <a:pt x="1327" y="356"/>
                      <a:pt x="1327" y="356"/>
                      <a:pt x="1327" y="356"/>
                    </a:cubicBezTo>
                    <a:cubicBezTo>
                      <a:pt x="1327" y="356"/>
                      <a:pt x="1327" y="356"/>
                      <a:pt x="1325" y="357"/>
                    </a:cubicBezTo>
                    <a:cubicBezTo>
                      <a:pt x="1325" y="358"/>
                      <a:pt x="1324" y="358"/>
                      <a:pt x="1324" y="358"/>
                    </a:cubicBezTo>
                    <a:cubicBezTo>
                      <a:pt x="1324" y="358"/>
                      <a:pt x="1324" y="358"/>
                      <a:pt x="1323" y="358"/>
                    </a:cubicBezTo>
                    <a:cubicBezTo>
                      <a:pt x="1323" y="358"/>
                      <a:pt x="1323" y="358"/>
                      <a:pt x="1323" y="357"/>
                    </a:cubicBezTo>
                    <a:cubicBezTo>
                      <a:pt x="1323" y="357"/>
                      <a:pt x="1323" y="357"/>
                      <a:pt x="1322" y="357"/>
                    </a:cubicBezTo>
                    <a:cubicBezTo>
                      <a:pt x="1322" y="357"/>
                      <a:pt x="1322" y="357"/>
                      <a:pt x="1322" y="358"/>
                    </a:cubicBezTo>
                    <a:cubicBezTo>
                      <a:pt x="1322" y="358"/>
                      <a:pt x="1322" y="358"/>
                      <a:pt x="1322" y="359"/>
                    </a:cubicBezTo>
                    <a:cubicBezTo>
                      <a:pt x="1322" y="359"/>
                      <a:pt x="1322" y="359"/>
                      <a:pt x="1320" y="359"/>
                    </a:cubicBezTo>
                    <a:cubicBezTo>
                      <a:pt x="1320" y="359"/>
                      <a:pt x="1320" y="359"/>
                      <a:pt x="1319" y="358"/>
                    </a:cubicBezTo>
                    <a:cubicBezTo>
                      <a:pt x="1319" y="358"/>
                      <a:pt x="1319" y="358"/>
                      <a:pt x="1317" y="358"/>
                    </a:cubicBezTo>
                    <a:cubicBezTo>
                      <a:pt x="1317" y="358"/>
                      <a:pt x="1317" y="358"/>
                      <a:pt x="1317" y="359"/>
                    </a:cubicBezTo>
                    <a:cubicBezTo>
                      <a:pt x="1317" y="359"/>
                      <a:pt x="1317" y="359"/>
                      <a:pt x="1316" y="358"/>
                    </a:cubicBezTo>
                    <a:cubicBezTo>
                      <a:pt x="1316" y="358"/>
                      <a:pt x="1316" y="358"/>
                      <a:pt x="1316" y="359"/>
                    </a:cubicBezTo>
                    <a:cubicBezTo>
                      <a:pt x="1316" y="359"/>
                      <a:pt x="1316" y="359"/>
                      <a:pt x="1315" y="359"/>
                    </a:cubicBezTo>
                    <a:cubicBezTo>
                      <a:pt x="1315" y="359"/>
                      <a:pt x="1315" y="359"/>
                      <a:pt x="1314" y="358"/>
                    </a:cubicBezTo>
                    <a:cubicBezTo>
                      <a:pt x="1314" y="358"/>
                      <a:pt x="1314" y="358"/>
                      <a:pt x="1314" y="359"/>
                    </a:cubicBezTo>
                    <a:cubicBezTo>
                      <a:pt x="1314" y="359"/>
                      <a:pt x="1314" y="359"/>
                      <a:pt x="1313" y="359"/>
                    </a:cubicBezTo>
                    <a:cubicBezTo>
                      <a:pt x="1313" y="359"/>
                      <a:pt x="1313" y="359"/>
                      <a:pt x="1313" y="358"/>
                    </a:cubicBezTo>
                    <a:cubicBezTo>
                      <a:pt x="1313" y="358"/>
                      <a:pt x="1313" y="358"/>
                      <a:pt x="1312" y="358"/>
                    </a:cubicBezTo>
                    <a:cubicBezTo>
                      <a:pt x="1312" y="358"/>
                      <a:pt x="1312" y="358"/>
                      <a:pt x="1313" y="359"/>
                    </a:cubicBezTo>
                    <a:cubicBezTo>
                      <a:pt x="1313" y="359"/>
                      <a:pt x="1313" y="359"/>
                      <a:pt x="1312" y="359"/>
                    </a:cubicBezTo>
                    <a:cubicBezTo>
                      <a:pt x="1312" y="359"/>
                      <a:pt x="1312" y="359"/>
                      <a:pt x="1311" y="361"/>
                    </a:cubicBezTo>
                    <a:cubicBezTo>
                      <a:pt x="1311" y="361"/>
                      <a:pt x="1311" y="361"/>
                      <a:pt x="1311" y="360"/>
                    </a:cubicBezTo>
                    <a:cubicBezTo>
                      <a:pt x="1311" y="360"/>
                      <a:pt x="1311" y="360"/>
                      <a:pt x="1311" y="359"/>
                    </a:cubicBezTo>
                    <a:cubicBezTo>
                      <a:pt x="1311" y="359"/>
                      <a:pt x="1311" y="359"/>
                      <a:pt x="1310" y="360"/>
                    </a:cubicBezTo>
                    <a:cubicBezTo>
                      <a:pt x="1310" y="360"/>
                      <a:pt x="1310" y="360"/>
                      <a:pt x="1309" y="361"/>
                    </a:cubicBezTo>
                    <a:cubicBezTo>
                      <a:pt x="1309" y="361"/>
                      <a:pt x="1309" y="361"/>
                      <a:pt x="1307" y="360"/>
                    </a:cubicBezTo>
                    <a:cubicBezTo>
                      <a:pt x="1307" y="360"/>
                      <a:pt x="1307" y="360"/>
                      <a:pt x="1307" y="361"/>
                    </a:cubicBezTo>
                    <a:cubicBezTo>
                      <a:pt x="1307" y="361"/>
                      <a:pt x="1307" y="361"/>
                      <a:pt x="1305" y="362"/>
                    </a:cubicBezTo>
                    <a:cubicBezTo>
                      <a:pt x="1305" y="362"/>
                      <a:pt x="1305" y="362"/>
                      <a:pt x="1303" y="362"/>
                    </a:cubicBezTo>
                    <a:cubicBezTo>
                      <a:pt x="1303" y="362"/>
                      <a:pt x="1303" y="362"/>
                      <a:pt x="1301" y="364"/>
                    </a:cubicBezTo>
                    <a:cubicBezTo>
                      <a:pt x="1301" y="364"/>
                      <a:pt x="1301" y="364"/>
                      <a:pt x="1299" y="364"/>
                    </a:cubicBezTo>
                    <a:cubicBezTo>
                      <a:pt x="1299" y="364"/>
                      <a:pt x="1299" y="364"/>
                      <a:pt x="1298" y="366"/>
                    </a:cubicBezTo>
                    <a:cubicBezTo>
                      <a:pt x="1298" y="366"/>
                      <a:pt x="1298" y="366"/>
                      <a:pt x="1297" y="366"/>
                    </a:cubicBezTo>
                    <a:cubicBezTo>
                      <a:pt x="1297" y="366"/>
                      <a:pt x="1297" y="366"/>
                      <a:pt x="1298" y="364"/>
                    </a:cubicBezTo>
                    <a:cubicBezTo>
                      <a:pt x="1298" y="364"/>
                      <a:pt x="1298" y="364"/>
                      <a:pt x="1296" y="361"/>
                    </a:cubicBezTo>
                    <a:cubicBezTo>
                      <a:pt x="1296" y="361"/>
                      <a:pt x="1296" y="361"/>
                      <a:pt x="1297" y="360"/>
                    </a:cubicBezTo>
                    <a:cubicBezTo>
                      <a:pt x="1297" y="360"/>
                      <a:pt x="1297" y="360"/>
                      <a:pt x="1297" y="359"/>
                    </a:cubicBezTo>
                    <a:cubicBezTo>
                      <a:pt x="1297" y="359"/>
                      <a:pt x="1297" y="359"/>
                      <a:pt x="1295" y="360"/>
                    </a:cubicBezTo>
                    <a:cubicBezTo>
                      <a:pt x="1295" y="360"/>
                      <a:pt x="1295" y="360"/>
                      <a:pt x="1294" y="359"/>
                    </a:cubicBezTo>
                    <a:cubicBezTo>
                      <a:pt x="1294" y="359"/>
                      <a:pt x="1294" y="359"/>
                      <a:pt x="1293" y="360"/>
                    </a:cubicBezTo>
                    <a:cubicBezTo>
                      <a:pt x="1293" y="360"/>
                      <a:pt x="1293" y="360"/>
                      <a:pt x="1292" y="359"/>
                    </a:cubicBezTo>
                    <a:cubicBezTo>
                      <a:pt x="1292" y="359"/>
                      <a:pt x="1292" y="359"/>
                      <a:pt x="1291" y="359"/>
                    </a:cubicBezTo>
                    <a:cubicBezTo>
                      <a:pt x="1291" y="359"/>
                      <a:pt x="1291" y="359"/>
                      <a:pt x="1290" y="357"/>
                    </a:cubicBezTo>
                    <a:cubicBezTo>
                      <a:pt x="1290" y="357"/>
                      <a:pt x="1290" y="357"/>
                      <a:pt x="1289" y="358"/>
                    </a:cubicBezTo>
                    <a:cubicBezTo>
                      <a:pt x="1289" y="358"/>
                      <a:pt x="1289" y="358"/>
                      <a:pt x="1287" y="358"/>
                    </a:cubicBezTo>
                    <a:cubicBezTo>
                      <a:pt x="1287" y="358"/>
                      <a:pt x="1287" y="358"/>
                      <a:pt x="1287" y="357"/>
                    </a:cubicBezTo>
                    <a:cubicBezTo>
                      <a:pt x="1287" y="357"/>
                      <a:pt x="1287" y="357"/>
                      <a:pt x="1287" y="355"/>
                    </a:cubicBezTo>
                    <a:cubicBezTo>
                      <a:pt x="1287" y="355"/>
                      <a:pt x="1287" y="355"/>
                      <a:pt x="1286" y="355"/>
                    </a:cubicBezTo>
                    <a:cubicBezTo>
                      <a:pt x="1286" y="355"/>
                      <a:pt x="1286" y="355"/>
                      <a:pt x="1287" y="352"/>
                    </a:cubicBezTo>
                    <a:cubicBezTo>
                      <a:pt x="1287" y="352"/>
                      <a:pt x="1287" y="352"/>
                      <a:pt x="1287" y="351"/>
                    </a:cubicBezTo>
                    <a:cubicBezTo>
                      <a:pt x="1287" y="351"/>
                      <a:pt x="1287" y="351"/>
                      <a:pt x="1287" y="349"/>
                    </a:cubicBezTo>
                    <a:cubicBezTo>
                      <a:pt x="1287" y="349"/>
                      <a:pt x="1287" y="349"/>
                      <a:pt x="1288" y="349"/>
                    </a:cubicBezTo>
                    <a:cubicBezTo>
                      <a:pt x="1288" y="349"/>
                      <a:pt x="1288" y="349"/>
                      <a:pt x="1287" y="347"/>
                    </a:cubicBezTo>
                    <a:cubicBezTo>
                      <a:pt x="1287" y="347"/>
                      <a:pt x="1287" y="347"/>
                      <a:pt x="1287" y="346"/>
                    </a:cubicBezTo>
                    <a:cubicBezTo>
                      <a:pt x="1287" y="346"/>
                      <a:pt x="1287" y="346"/>
                      <a:pt x="1285" y="344"/>
                    </a:cubicBezTo>
                    <a:cubicBezTo>
                      <a:pt x="1285" y="344"/>
                      <a:pt x="1285" y="344"/>
                      <a:pt x="1286" y="344"/>
                    </a:cubicBezTo>
                    <a:cubicBezTo>
                      <a:pt x="1286" y="344"/>
                      <a:pt x="1286" y="344"/>
                      <a:pt x="1285" y="342"/>
                    </a:cubicBezTo>
                    <a:cubicBezTo>
                      <a:pt x="1285" y="342"/>
                      <a:pt x="1285" y="342"/>
                      <a:pt x="1286" y="340"/>
                    </a:cubicBezTo>
                    <a:cubicBezTo>
                      <a:pt x="1286" y="340"/>
                      <a:pt x="1286" y="340"/>
                      <a:pt x="1285" y="340"/>
                    </a:cubicBezTo>
                    <a:cubicBezTo>
                      <a:pt x="1285" y="340"/>
                      <a:pt x="1285" y="340"/>
                      <a:pt x="1284" y="340"/>
                    </a:cubicBezTo>
                    <a:cubicBezTo>
                      <a:pt x="1284" y="340"/>
                      <a:pt x="1284" y="340"/>
                      <a:pt x="1284" y="339"/>
                    </a:cubicBezTo>
                    <a:cubicBezTo>
                      <a:pt x="1284" y="339"/>
                      <a:pt x="1284" y="339"/>
                      <a:pt x="1284" y="338"/>
                    </a:cubicBezTo>
                    <a:cubicBezTo>
                      <a:pt x="1284" y="338"/>
                      <a:pt x="1284" y="338"/>
                      <a:pt x="1284" y="336"/>
                    </a:cubicBezTo>
                    <a:cubicBezTo>
                      <a:pt x="1284" y="336"/>
                      <a:pt x="1284" y="336"/>
                      <a:pt x="1284" y="335"/>
                    </a:cubicBezTo>
                    <a:cubicBezTo>
                      <a:pt x="1284" y="335"/>
                      <a:pt x="1284" y="335"/>
                      <a:pt x="1285" y="335"/>
                    </a:cubicBezTo>
                    <a:cubicBezTo>
                      <a:pt x="1285" y="335"/>
                      <a:pt x="1285" y="335"/>
                      <a:pt x="1285" y="334"/>
                    </a:cubicBezTo>
                    <a:cubicBezTo>
                      <a:pt x="1285" y="334"/>
                      <a:pt x="1285" y="334"/>
                      <a:pt x="1285" y="333"/>
                    </a:cubicBezTo>
                    <a:cubicBezTo>
                      <a:pt x="1285" y="333"/>
                      <a:pt x="1285" y="333"/>
                      <a:pt x="1285" y="332"/>
                    </a:cubicBezTo>
                    <a:cubicBezTo>
                      <a:pt x="1284" y="332"/>
                      <a:pt x="1284" y="332"/>
                      <a:pt x="1284" y="332"/>
                    </a:cubicBezTo>
                    <a:cubicBezTo>
                      <a:pt x="1283" y="331"/>
                      <a:pt x="1283" y="331"/>
                      <a:pt x="1283" y="331"/>
                    </a:cubicBezTo>
                    <a:cubicBezTo>
                      <a:pt x="1283" y="330"/>
                      <a:pt x="1283" y="330"/>
                      <a:pt x="1283" y="330"/>
                    </a:cubicBezTo>
                    <a:cubicBezTo>
                      <a:pt x="1284" y="331"/>
                      <a:pt x="1284" y="331"/>
                      <a:pt x="1284" y="331"/>
                    </a:cubicBezTo>
                    <a:cubicBezTo>
                      <a:pt x="1285" y="331"/>
                      <a:pt x="1285" y="331"/>
                      <a:pt x="1285" y="331"/>
                    </a:cubicBezTo>
                    <a:cubicBezTo>
                      <a:pt x="1285" y="331"/>
                      <a:pt x="1285" y="331"/>
                      <a:pt x="1286" y="331"/>
                    </a:cubicBezTo>
                    <a:cubicBezTo>
                      <a:pt x="1286" y="331"/>
                      <a:pt x="1286" y="331"/>
                      <a:pt x="1287" y="331"/>
                    </a:cubicBezTo>
                    <a:cubicBezTo>
                      <a:pt x="1287" y="331"/>
                      <a:pt x="1287" y="331"/>
                      <a:pt x="1287" y="332"/>
                    </a:cubicBezTo>
                    <a:cubicBezTo>
                      <a:pt x="1287" y="332"/>
                      <a:pt x="1287" y="332"/>
                      <a:pt x="1288" y="332"/>
                    </a:cubicBezTo>
                    <a:cubicBezTo>
                      <a:pt x="1288" y="332"/>
                      <a:pt x="1288" y="332"/>
                      <a:pt x="1289" y="331"/>
                    </a:cubicBezTo>
                    <a:cubicBezTo>
                      <a:pt x="1289" y="331"/>
                      <a:pt x="1289" y="331"/>
                      <a:pt x="1290" y="330"/>
                    </a:cubicBezTo>
                    <a:cubicBezTo>
                      <a:pt x="1290" y="330"/>
                      <a:pt x="1290" y="330"/>
                      <a:pt x="1290" y="329"/>
                    </a:cubicBezTo>
                    <a:cubicBezTo>
                      <a:pt x="1290" y="329"/>
                      <a:pt x="1290" y="329"/>
                      <a:pt x="1289" y="328"/>
                    </a:cubicBezTo>
                    <a:cubicBezTo>
                      <a:pt x="1289" y="328"/>
                      <a:pt x="1289" y="328"/>
                      <a:pt x="1290" y="328"/>
                    </a:cubicBezTo>
                    <a:cubicBezTo>
                      <a:pt x="1290" y="328"/>
                      <a:pt x="1290" y="328"/>
                      <a:pt x="1290" y="326"/>
                    </a:cubicBezTo>
                    <a:cubicBezTo>
                      <a:pt x="1290" y="326"/>
                      <a:pt x="1290" y="326"/>
                      <a:pt x="1291" y="326"/>
                    </a:cubicBezTo>
                    <a:cubicBezTo>
                      <a:pt x="1291" y="326"/>
                      <a:pt x="1291" y="326"/>
                      <a:pt x="1292" y="327"/>
                    </a:cubicBezTo>
                    <a:cubicBezTo>
                      <a:pt x="1292" y="327"/>
                      <a:pt x="1292" y="327"/>
                      <a:pt x="1293" y="327"/>
                    </a:cubicBezTo>
                    <a:cubicBezTo>
                      <a:pt x="1293" y="327"/>
                      <a:pt x="1293" y="327"/>
                      <a:pt x="1292" y="326"/>
                    </a:cubicBezTo>
                    <a:cubicBezTo>
                      <a:pt x="1292" y="326"/>
                      <a:pt x="1292" y="326"/>
                      <a:pt x="1292" y="325"/>
                    </a:cubicBezTo>
                    <a:cubicBezTo>
                      <a:pt x="1292" y="325"/>
                      <a:pt x="1292" y="325"/>
                      <a:pt x="1293" y="324"/>
                    </a:cubicBezTo>
                    <a:cubicBezTo>
                      <a:pt x="1293" y="324"/>
                      <a:pt x="1293" y="324"/>
                      <a:pt x="1294" y="324"/>
                    </a:cubicBezTo>
                    <a:cubicBezTo>
                      <a:pt x="1294" y="324"/>
                      <a:pt x="1294" y="324"/>
                      <a:pt x="1294" y="323"/>
                    </a:cubicBezTo>
                    <a:cubicBezTo>
                      <a:pt x="1294" y="323"/>
                      <a:pt x="1294" y="323"/>
                      <a:pt x="1294" y="321"/>
                    </a:cubicBezTo>
                    <a:cubicBezTo>
                      <a:pt x="1294" y="321"/>
                      <a:pt x="1294" y="321"/>
                      <a:pt x="1295" y="322"/>
                    </a:cubicBezTo>
                    <a:cubicBezTo>
                      <a:pt x="1295" y="322"/>
                      <a:pt x="1295" y="322"/>
                      <a:pt x="1296" y="320"/>
                    </a:cubicBezTo>
                    <a:cubicBezTo>
                      <a:pt x="1296" y="320"/>
                      <a:pt x="1296" y="320"/>
                      <a:pt x="1297" y="318"/>
                    </a:cubicBezTo>
                    <a:cubicBezTo>
                      <a:pt x="1297" y="318"/>
                      <a:pt x="1297" y="318"/>
                      <a:pt x="1298" y="317"/>
                    </a:cubicBezTo>
                    <a:cubicBezTo>
                      <a:pt x="1298" y="317"/>
                      <a:pt x="1298" y="317"/>
                      <a:pt x="1298" y="316"/>
                    </a:cubicBezTo>
                    <a:cubicBezTo>
                      <a:pt x="1298" y="316"/>
                      <a:pt x="1298" y="316"/>
                      <a:pt x="1299" y="315"/>
                    </a:cubicBezTo>
                    <a:cubicBezTo>
                      <a:pt x="1299" y="315"/>
                      <a:pt x="1299" y="315"/>
                      <a:pt x="1299" y="314"/>
                    </a:cubicBezTo>
                    <a:cubicBezTo>
                      <a:pt x="1299" y="314"/>
                      <a:pt x="1299" y="314"/>
                      <a:pt x="1301" y="313"/>
                    </a:cubicBezTo>
                    <a:cubicBezTo>
                      <a:pt x="1301" y="313"/>
                      <a:pt x="1301" y="313"/>
                      <a:pt x="1302" y="313"/>
                    </a:cubicBezTo>
                    <a:cubicBezTo>
                      <a:pt x="1302" y="313"/>
                      <a:pt x="1302" y="313"/>
                      <a:pt x="1304" y="314"/>
                    </a:cubicBezTo>
                    <a:cubicBezTo>
                      <a:pt x="1304" y="314"/>
                      <a:pt x="1304" y="314"/>
                      <a:pt x="1304" y="313"/>
                    </a:cubicBezTo>
                    <a:cubicBezTo>
                      <a:pt x="1304" y="313"/>
                      <a:pt x="1304" y="313"/>
                      <a:pt x="1303" y="312"/>
                    </a:cubicBezTo>
                    <a:cubicBezTo>
                      <a:pt x="1303" y="312"/>
                      <a:pt x="1303" y="312"/>
                      <a:pt x="1304" y="312"/>
                    </a:cubicBezTo>
                    <a:cubicBezTo>
                      <a:pt x="1304" y="312"/>
                      <a:pt x="1304" y="312"/>
                      <a:pt x="1303" y="310"/>
                    </a:cubicBezTo>
                    <a:cubicBezTo>
                      <a:pt x="1303" y="310"/>
                      <a:pt x="1303" y="310"/>
                      <a:pt x="1303" y="308"/>
                    </a:cubicBezTo>
                    <a:cubicBezTo>
                      <a:pt x="1303" y="308"/>
                      <a:pt x="1303" y="308"/>
                      <a:pt x="1302" y="307"/>
                    </a:cubicBezTo>
                    <a:cubicBezTo>
                      <a:pt x="1302" y="307"/>
                      <a:pt x="1302" y="307"/>
                      <a:pt x="1303" y="307"/>
                    </a:cubicBezTo>
                    <a:cubicBezTo>
                      <a:pt x="1303" y="307"/>
                      <a:pt x="1303" y="307"/>
                      <a:pt x="1302" y="305"/>
                    </a:cubicBezTo>
                    <a:cubicBezTo>
                      <a:pt x="1302" y="305"/>
                      <a:pt x="1302" y="305"/>
                      <a:pt x="1299" y="305"/>
                    </a:cubicBezTo>
                    <a:cubicBezTo>
                      <a:pt x="1299" y="305"/>
                      <a:pt x="1299" y="305"/>
                      <a:pt x="1298" y="304"/>
                    </a:cubicBezTo>
                    <a:cubicBezTo>
                      <a:pt x="1298" y="304"/>
                      <a:pt x="1298" y="304"/>
                      <a:pt x="1297" y="304"/>
                    </a:cubicBezTo>
                    <a:cubicBezTo>
                      <a:pt x="1297" y="304"/>
                      <a:pt x="1297" y="304"/>
                      <a:pt x="1296" y="304"/>
                    </a:cubicBezTo>
                    <a:cubicBezTo>
                      <a:pt x="1296" y="304"/>
                      <a:pt x="1296" y="304"/>
                      <a:pt x="1294" y="304"/>
                    </a:cubicBezTo>
                    <a:cubicBezTo>
                      <a:pt x="1294" y="304"/>
                      <a:pt x="1294" y="304"/>
                      <a:pt x="1294" y="303"/>
                    </a:cubicBezTo>
                    <a:cubicBezTo>
                      <a:pt x="1294" y="303"/>
                      <a:pt x="1294" y="303"/>
                      <a:pt x="1292" y="304"/>
                    </a:cubicBezTo>
                    <a:cubicBezTo>
                      <a:pt x="1292" y="304"/>
                      <a:pt x="1292" y="304"/>
                      <a:pt x="1291" y="304"/>
                    </a:cubicBezTo>
                    <a:cubicBezTo>
                      <a:pt x="1291" y="304"/>
                      <a:pt x="1291" y="304"/>
                      <a:pt x="1291" y="305"/>
                    </a:cubicBezTo>
                    <a:cubicBezTo>
                      <a:pt x="1291" y="305"/>
                      <a:pt x="1291" y="305"/>
                      <a:pt x="1290" y="304"/>
                    </a:cubicBezTo>
                    <a:cubicBezTo>
                      <a:pt x="1290" y="304"/>
                      <a:pt x="1290" y="304"/>
                      <a:pt x="1289" y="303"/>
                    </a:cubicBezTo>
                    <a:cubicBezTo>
                      <a:pt x="1289" y="303"/>
                      <a:pt x="1289" y="303"/>
                      <a:pt x="1288" y="304"/>
                    </a:cubicBezTo>
                    <a:cubicBezTo>
                      <a:pt x="1288" y="304"/>
                      <a:pt x="1288" y="304"/>
                      <a:pt x="1287" y="303"/>
                    </a:cubicBezTo>
                    <a:cubicBezTo>
                      <a:pt x="1287" y="303"/>
                      <a:pt x="1287" y="303"/>
                      <a:pt x="1287" y="304"/>
                    </a:cubicBezTo>
                    <a:cubicBezTo>
                      <a:pt x="1287" y="304"/>
                      <a:pt x="1287" y="304"/>
                      <a:pt x="1287" y="305"/>
                    </a:cubicBezTo>
                    <a:cubicBezTo>
                      <a:pt x="1287" y="305"/>
                      <a:pt x="1287" y="305"/>
                      <a:pt x="1286" y="306"/>
                    </a:cubicBezTo>
                    <a:cubicBezTo>
                      <a:pt x="1286" y="306"/>
                      <a:pt x="1286" y="306"/>
                      <a:pt x="1285" y="306"/>
                    </a:cubicBezTo>
                    <a:cubicBezTo>
                      <a:pt x="1285" y="306"/>
                      <a:pt x="1285" y="306"/>
                      <a:pt x="1285" y="305"/>
                    </a:cubicBezTo>
                    <a:cubicBezTo>
                      <a:pt x="1285" y="305"/>
                      <a:pt x="1285" y="305"/>
                      <a:pt x="1284" y="305"/>
                    </a:cubicBezTo>
                    <a:cubicBezTo>
                      <a:pt x="1284" y="305"/>
                      <a:pt x="1284" y="305"/>
                      <a:pt x="1285" y="306"/>
                    </a:cubicBezTo>
                    <a:cubicBezTo>
                      <a:pt x="1285" y="306"/>
                      <a:pt x="1285" y="306"/>
                      <a:pt x="1285" y="307"/>
                    </a:cubicBezTo>
                    <a:cubicBezTo>
                      <a:pt x="1285" y="307"/>
                      <a:pt x="1285" y="307"/>
                      <a:pt x="1284" y="308"/>
                    </a:cubicBezTo>
                    <a:cubicBezTo>
                      <a:pt x="1284" y="308"/>
                      <a:pt x="1284" y="308"/>
                      <a:pt x="1283" y="308"/>
                    </a:cubicBezTo>
                    <a:cubicBezTo>
                      <a:pt x="1283" y="308"/>
                      <a:pt x="1283" y="308"/>
                      <a:pt x="1282" y="308"/>
                    </a:cubicBezTo>
                    <a:cubicBezTo>
                      <a:pt x="1282" y="308"/>
                      <a:pt x="1282" y="308"/>
                      <a:pt x="1284" y="309"/>
                    </a:cubicBezTo>
                    <a:cubicBezTo>
                      <a:pt x="1284" y="309"/>
                      <a:pt x="1284" y="309"/>
                      <a:pt x="1284" y="310"/>
                    </a:cubicBezTo>
                    <a:cubicBezTo>
                      <a:pt x="1284" y="310"/>
                      <a:pt x="1284" y="310"/>
                      <a:pt x="1283" y="310"/>
                    </a:cubicBezTo>
                    <a:cubicBezTo>
                      <a:pt x="1283" y="310"/>
                      <a:pt x="1283" y="310"/>
                      <a:pt x="1283" y="309"/>
                    </a:cubicBezTo>
                    <a:cubicBezTo>
                      <a:pt x="1283" y="309"/>
                      <a:pt x="1283" y="309"/>
                      <a:pt x="1282" y="309"/>
                    </a:cubicBezTo>
                    <a:cubicBezTo>
                      <a:pt x="1282" y="309"/>
                      <a:pt x="1282" y="309"/>
                      <a:pt x="1282" y="310"/>
                    </a:cubicBezTo>
                    <a:cubicBezTo>
                      <a:pt x="1282" y="310"/>
                      <a:pt x="1282" y="310"/>
                      <a:pt x="1283" y="310"/>
                    </a:cubicBezTo>
                    <a:cubicBezTo>
                      <a:pt x="1283" y="310"/>
                      <a:pt x="1283" y="310"/>
                      <a:pt x="1284" y="311"/>
                    </a:cubicBezTo>
                    <a:cubicBezTo>
                      <a:pt x="1284" y="311"/>
                      <a:pt x="1284" y="311"/>
                      <a:pt x="1283" y="312"/>
                    </a:cubicBezTo>
                    <a:cubicBezTo>
                      <a:pt x="1283" y="312"/>
                      <a:pt x="1283" y="312"/>
                      <a:pt x="1282" y="314"/>
                    </a:cubicBezTo>
                    <a:cubicBezTo>
                      <a:pt x="1282" y="314"/>
                      <a:pt x="1282" y="314"/>
                      <a:pt x="1283" y="315"/>
                    </a:cubicBezTo>
                    <a:cubicBezTo>
                      <a:pt x="1283" y="315"/>
                      <a:pt x="1283" y="315"/>
                      <a:pt x="1281" y="315"/>
                    </a:cubicBezTo>
                    <a:cubicBezTo>
                      <a:pt x="1281" y="315"/>
                      <a:pt x="1281" y="315"/>
                      <a:pt x="1282" y="316"/>
                    </a:cubicBezTo>
                    <a:cubicBezTo>
                      <a:pt x="1282" y="316"/>
                      <a:pt x="1282" y="316"/>
                      <a:pt x="1283" y="316"/>
                    </a:cubicBezTo>
                    <a:cubicBezTo>
                      <a:pt x="1283" y="316"/>
                      <a:pt x="1283" y="316"/>
                      <a:pt x="1284" y="317"/>
                    </a:cubicBezTo>
                    <a:cubicBezTo>
                      <a:pt x="1284" y="317"/>
                      <a:pt x="1284" y="317"/>
                      <a:pt x="1283" y="317"/>
                    </a:cubicBezTo>
                    <a:cubicBezTo>
                      <a:pt x="1283" y="317"/>
                      <a:pt x="1283" y="317"/>
                      <a:pt x="1284" y="318"/>
                    </a:cubicBezTo>
                    <a:cubicBezTo>
                      <a:pt x="1284" y="318"/>
                      <a:pt x="1284" y="318"/>
                      <a:pt x="1285" y="318"/>
                    </a:cubicBezTo>
                    <a:cubicBezTo>
                      <a:pt x="1285" y="318"/>
                      <a:pt x="1285" y="318"/>
                      <a:pt x="1283" y="320"/>
                    </a:cubicBezTo>
                    <a:cubicBezTo>
                      <a:pt x="1283" y="320"/>
                      <a:pt x="1283" y="320"/>
                      <a:pt x="1282" y="321"/>
                    </a:cubicBezTo>
                    <a:cubicBezTo>
                      <a:pt x="1282" y="321"/>
                      <a:pt x="1282" y="321"/>
                      <a:pt x="1282" y="323"/>
                    </a:cubicBezTo>
                    <a:cubicBezTo>
                      <a:pt x="1282" y="323"/>
                      <a:pt x="1282" y="323"/>
                      <a:pt x="1281" y="325"/>
                    </a:cubicBezTo>
                    <a:cubicBezTo>
                      <a:pt x="1281" y="325"/>
                      <a:pt x="1281" y="325"/>
                      <a:pt x="1280" y="325"/>
                    </a:cubicBezTo>
                    <a:cubicBezTo>
                      <a:pt x="1280" y="325"/>
                      <a:pt x="1280" y="325"/>
                      <a:pt x="1279" y="327"/>
                    </a:cubicBezTo>
                    <a:cubicBezTo>
                      <a:pt x="1279" y="327"/>
                      <a:pt x="1279" y="327"/>
                      <a:pt x="1278" y="326"/>
                    </a:cubicBezTo>
                    <a:cubicBezTo>
                      <a:pt x="1278" y="326"/>
                      <a:pt x="1278" y="326"/>
                      <a:pt x="1278" y="327"/>
                    </a:cubicBezTo>
                    <a:cubicBezTo>
                      <a:pt x="1278" y="327"/>
                      <a:pt x="1278" y="327"/>
                      <a:pt x="1278" y="328"/>
                    </a:cubicBezTo>
                    <a:cubicBezTo>
                      <a:pt x="1278" y="328"/>
                      <a:pt x="1278" y="328"/>
                      <a:pt x="1277" y="329"/>
                    </a:cubicBezTo>
                    <a:cubicBezTo>
                      <a:pt x="1277" y="329"/>
                      <a:pt x="1277" y="329"/>
                      <a:pt x="1276" y="330"/>
                    </a:cubicBezTo>
                    <a:cubicBezTo>
                      <a:pt x="1276" y="330"/>
                      <a:pt x="1276" y="330"/>
                      <a:pt x="1275" y="330"/>
                    </a:cubicBezTo>
                    <a:cubicBezTo>
                      <a:pt x="1275" y="330"/>
                      <a:pt x="1275" y="330"/>
                      <a:pt x="1275" y="329"/>
                    </a:cubicBezTo>
                    <a:cubicBezTo>
                      <a:pt x="1275" y="329"/>
                      <a:pt x="1275" y="329"/>
                      <a:pt x="1274" y="329"/>
                    </a:cubicBezTo>
                    <a:cubicBezTo>
                      <a:pt x="1274" y="329"/>
                      <a:pt x="1274" y="329"/>
                      <a:pt x="1274" y="330"/>
                    </a:cubicBezTo>
                    <a:cubicBezTo>
                      <a:pt x="1274" y="330"/>
                      <a:pt x="1274" y="330"/>
                      <a:pt x="1274" y="332"/>
                    </a:cubicBezTo>
                    <a:cubicBezTo>
                      <a:pt x="1274" y="332"/>
                      <a:pt x="1274" y="332"/>
                      <a:pt x="1273" y="333"/>
                    </a:cubicBezTo>
                    <a:cubicBezTo>
                      <a:pt x="1273" y="333"/>
                      <a:pt x="1273" y="333"/>
                      <a:pt x="1272" y="332"/>
                    </a:cubicBezTo>
                    <a:cubicBezTo>
                      <a:pt x="1272" y="332"/>
                      <a:pt x="1272" y="332"/>
                      <a:pt x="1271" y="333"/>
                    </a:cubicBezTo>
                    <a:cubicBezTo>
                      <a:pt x="1271" y="333"/>
                      <a:pt x="1271" y="333"/>
                      <a:pt x="1270" y="333"/>
                    </a:cubicBezTo>
                    <a:cubicBezTo>
                      <a:pt x="1270" y="333"/>
                      <a:pt x="1270" y="333"/>
                      <a:pt x="1269" y="333"/>
                    </a:cubicBezTo>
                    <a:cubicBezTo>
                      <a:pt x="1269" y="333"/>
                      <a:pt x="1269" y="333"/>
                      <a:pt x="1269" y="334"/>
                    </a:cubicBezTo>
                    <a:cubicBezTo>
                      <a:pt x="1269" y="334"/>
                      <a:pt x="1269" y="334"/>
                      <a:pt x="1270" y="335"/>
                    </a:cubicBezTo>
                    <a:cubicBezTo>
                      <a:pt x="1270" y="335"/>
                      <a:pt x="1270" y="335"/>
                      <a:pt x="1268" y="337"/>
                    </a:cubicBezTo>
                    <a:cubicBezTo>
                      <a:pt x="1268" y="337"/>
                      <a:pt x="1268" y="337"/>
                      <a:pt x="1267" y="337"/>
                    </a:cubicBezTo>
                    <a:cubicBezTo>
                      <a:pt x="1267" y="337"/>
                      <a:pt x="1267" y="337"/>
                      <a:pt x="1267" y="338"/>
                    </a:cubicBezTo>
                    <a:cubicBezTo>
                      <a:pt x="1267" y="338"/>
                      <a:pt x="1267" y="338"/>
                      <a:pt x="1266" y="340"/>
                    </a:cubicBezTo>
                    <a:cubicBezTo>
                      <a:pt x="1266" y="340"/>
                      <a:pt x="1266" y="340"/>
                      <a:pt x="1264" y="340"/>
                    </a:cubicBezTo>
                    <a:cubicBezTo>
                      <a:pt x="1264" y="340"/>
                      <a:pt x="1264" y="340"/>
                      <a:pt x="1263" y="340"/>
                    </a:cubicBezTo>
                    <a:cubicBezTo>
                      <a:pt x="1263" y="340"/>
                      <a:pt x="1263" y="340"/>
                      <a:pt x="1265" y="342"/>
                    </a:cubicBezTo>
                    <a:cubicBezTo>
                      <a:pt x="1265" y="342"/>
                      <a:pt x="1265" y="342"/>
                      <a:pt x="1265" y="343"/>
                    </a:cubicBezTo>
                    <a:cubicBezTo>
                      <a:pt x="1265" y="343"/>
                      <a:pt x="1265" y="343"/>
                      <a:pt x="1265" y="344"/>
                    </a:cubicBezTo>
                    <a:cubicBezTo>
                      <a:pt x="1265" y="344"/>
                      <a:pt x="1265" y="344"/>
                      <a:pt x="1265" y="345"/>
                    </a:cubicBezTo>
                    <a:cubicBezTo>
                      <a:pt x="1265" y="345"/>
                      <a:pt x="1265" y="345"/>
                      <a:pt x="1265" y="347"/>
                    </a:cubicBezTo>
                    <a:cubicBezTo>
                      <a:pt x="1265" y="347"/>
                      <a:pt x="1265" y="347"/>
                      <a:pt x="1265" y="348"/>
                    </a:cubicBezTo>
                    <a:cubicBezTo>
                      <a:pt x="1265" y="348"/>
                      <a:pt x="1265" y="348"/>
                      <a:pt x="1264" y="349"/>
                    </a:cubicBezTo>
                    <a:cubicBezTo>
                      <a:pt x="1264" y="349"/>
                      <a:pt x="1264" y="349"/>
                      <a:pt x="1265" y="351"/>
                    </a:cubicBezTo>
                    <a:cubicBezTo>
                      <a:pt x="1265" y="351"/>
                      <a:pt x="1265" y="351"/>
                      <a:pt x="1264" y="352"/>
                    </a:cubicBezTo>
                    <a:cubicBezTo>
                      <a:pt x="1264" y="352"/>
                      <a:pt x="1264" y="352"/>
                      <a:pt x="1265" y="352"/>
                    </a:cubicBezTo>
                    <a:cubicBezTo>
                      <a:pt x="1265" y="352"/>
                      <a:pt x="1265" y="352"/>
                      <a:pt x="1265" y="353"/>
                    </a:cubicBezTo>
                    <a:cubicBezTo>
                      <a:pt x="1265" y="353"/>
                      <a:pt x="1265" y="353"/>
                      <a:pt x="1264" y="353"/>
                    </a:cubicBezTo>
                    <a:cubicBezTo>
                      <a:pt x="1264" y="353"/>
                      <a:pt x="1264" y="353"/>
                      <a:pt x="1265" y="355"/>
                    </a:cubicBezTo>
                    <a:cubicBezTo>
                      <a:pt x="1265" y="355"/>
                      <a:pt x="1265" y="355"/>
                      <a:pt x="1264" y="356"/>
                    </a:cubicBezTo>
                    <a:cubicBezTo>
                      <a:pt x="1264" y="356"/>
                      <a:pt x="1264" y="356"/>
                      <a:pt x="1265" y="357"/>
                    </a:cubicBezTo>
                    <a:cubicBezTo>
                      <a:pt x="1265" y="357"/>
                      <a:pt x="1265" y="357"/>
                      <a:pt x="1266" y="358"/>
                    </a:cubicBezTo>
                    <a:cubicBezTo>
                      <a:pt x="1266" y="358"/>
                      <a:pt x="1266" y="358"/>
                      <a:pt x="1266" y="359"/>
                    </a:cubicBezTo>
                    <a:cubicBezTo>
                      <a:pt x="1266" y="359"/>
                      <a:pt x="1266" y="359"/>
                      <a:pt x="1267" y="358"/>
                    </a:cubicBezTo>
                    <a:cubicBezTo>
                      <a:pt x="1267" y="358"/>
                      <a:pt x="1267" y="358"/>
                      <a:pt x="1267" y="360"/>
                    </a:cubicBezTo>
                    <a:cubicBezTo>
                      <a:pt x="1267" y="360"/>
                      <a:pt x="1267" y="360"/>
                      <a:pt x="1268" y="358"/>
                    </a:cubicBezTo>
                    <a:cubicBezTo>
                      <a:pt x="1268" y="358"/>
                      <a:pt x="1268" y="358"/>
                      <a:pt x="1269" y="359"/>
                    </a:cubicBezTo>
                    <a:cubicBezTo>
                      <a:pt x="1269" y="359"/>
                      <a:pt x="1269" y="359"/>
                      <a:pt x="1270" y="360"/>
                    </a:cubicBezTo>
                    <a:cubicBezTo>
                      <a:pt x="1270" y="360"/>
                      <a:pt x="1270" y="360"/>
                      <a:pt x="1272" y="362"/>
                    </a:cubicBezTo>
                    <a:cubicBezTo>
                      <a:pt x="1272" y="362"/>
                      <a:pt x="1272" y="362"/>
                      <a:pt x="1271" y="363"/>
                    </a:cubicBezTo>
                    <a:cubicBezTo>
                      <a:pt x="1271" y="363"/>
                      <a:pt x="1271" y="363"/>
                      <a:pt x="1273" y="364"/>
                    </a:cubicBezTo>
                    <a:cubicBezTo>
                      <a:pt x="1273" y="364"/>
                      <a:pt x="1273" y="364"/>
                      <a:pt x="1273" y="365"/>
                    </a:cubicBezTo>
                    <a:cubicBezTo>
                      <a:pt x="1273" y="365"/>
                      <a:pt x="1273" y="365"/>
                      <a:pt x="1275" y="366"/>
                    </a:cubicBezTo>
                    <a:cubicBezTo>
                      <a:pt x="1275" y="366"/>
                      <a:pt x="1275" y="366"/>
                      <a:pt x="1274" y="368"/>
                    </a:cubicBezTo>
                    <a:cubicBezTo>
                      <a:pt x="1274" y="368"/>
                      <a:pt x="1274" y="368"/>
                      <a:pt x="1272" y="369"/>
                    </a:cubicBezTo>
                    <a:cubicBezTo>
                      <a:pt x="1272" y="369"/>
                      <a:pt x="1272" y="369"/>
                      <a:pt x="1272" y="371"/>
                    </a:cubicBezTo>
                    <a:cubicBezTo>
                      <a:pt x="1272" y="371"/>
                      <a:pt x="1272" y="371"/>
                      <a:pt x="1270" y="371"/>
                    </a:cubicBezTo>
                    <a:cubicBezTo>
                      <a:pt x="1270" y="371"/>
                      <a:pt x="1270" y="371"/>
                      <a:pt x="1269" y="370"/>
                    </a:cubicBezTo>
                    <a:cubicBezTo>
                      <a:pt x="1269" y="370"/>
                      <a:pt x="1269" y="370"/>
                      <a:pt x="1268" y="369"/>
                    </a:cubicBezTo>
                    <a:cubicBezTo>
                      <a:pt x="1268" y="369"/>
                      <a:pt x="1268" y="369"/>
                      <a:pt x="1267" y="369"/>
                    </a:cubicBezTo>
                    <a:cubicBezTo>
                      <a:pt x="1267" y="369"/>
                      <a:pt x="1267" y="369"/>
                      <a:pt x="1266" y="369"/>
                    </a:cubicBezTo>
                    <a:cubicBezTo>
                      <a:pt x="1266" y="369"/>
                      <a:pt x="1266" y="369"/>
                      <a:pt x="1265" y="369"/>
                    </a:cubicBezTo>
                    <a:cubicBezTo>
                      <a:pt x="1265" y="369"/>
                      <a:pt x="1265" y="369"/>
                      <a:pt x="1264" y="369"/>
                    </a:cubicBezTo>
                    <a:cubicBezTo>
                      <a:pt x="1264" y="369"/>
                      <a:pt x="1264" y="369"/>
                      <a:pt x="1263" y="370"/>
                    </a:cubicBezTo>
                    <a:cubicBezTo>
                      <a:pt x="1263" y="370"/>
                      <a:pt x="1263" y="370"/>
                      <a:pt x="1263" y="369"/>
                    </a:cubicBezTo>
                    <a:cubicBezTo>
                      <a:pt x="1263" y="369"/>
                      <a:pt x="1263" y="369"/>
                      <a:pt x="1262" y="370"/>
                    </a:cubicBezTo>
                    <a:cubicBezTo>
                      <a:pt x="1262" y="370"/>
                      <a:pt x="1262" y="370"/>
                      <a:pt x="1261" y="370"/>
                    </a:cubicBezTo>
                    <a:cubicBezTo>
                      <a:pt x="1261" y="370"/>
                      <a:pt x="1261" y="370"/>
                      <a:pt x="1260" y="370"/>
                    </a:cubicBezTo>
                    <a:cubicBezTo>
                      <a:pt x="1260" y="370"/>
                      <a:pt x="1260" y="370"/>
                      <a:pt x="1260" y="371"/>
                    </a:cubicBezTo>
                    <a:cubicBezTo>
                      <a:pt x="1260" y="371"/>
                      <a:pt x="1260" y="371"/>
                      <a:pt x="1262" y="371"/>
                    </a:cubicBezTo>
                    <a:cubicBezTo>
                      <a:pt x="1262" y="371"/>
                      <a:pt x="1262" y="371"/>
                      <a:pt x="1264" y="371"/>
                    </a:cubicBezTo>
                    <a:cubicBezTo>
                      <a:pt x="1264" y="371"/>
                      <a:pt x="1264" y="371"/>
                      <a:pt x="1265" y="371"/>
                    </a:cubicBezTo>
                    <a:cubicBezTo>
                      <a:pt x="1265" y="371"/>
                      <a:pt x="1265" y="371"/>
                      <a:pt x="1266" y="371"/>
                    </a:cubicBezTo>
                    <a:cubicBezTo>
                      <a:pt x="1266" y="371"/>
                      <a:pt x="1266" y="371"/>
                      <a:pt x="1267" y="372"/>
                    </a:cubicBezTo>
                    <a:cubicBezTo>
                      <a:pt x="1267" y="372"/>
                      <a:pt x="1267" y="372"/>
                      <a:pt x="1268" y="372"/>
                    </a:cubicBezTo>
                    <a:cubicBezTo>
                      <a:pt x="1268" y="372"/>
                      <a:pt x="1268" y="372"/>
                      <a:pt x="1269" y="372"/>
                    </a:cubicBezTo>
                    <a:cubicBezTo>
                      <a:pt x="1269" y="372"/>
                      <a:pt x="1269" y="372"/>
                      <a:pt x="1270" y="371"/>
                    </a:cubicBezTo>
                    <a:cubicBezTo>
                      <a:pt x="1270" y="371"/>
                      <a:pt x="1270" y="371"/>
                      <a:pt x="1271" y="372"/>
                    </a:cubicBezTo>
                    <a:cubicBezTo>
                      <a:pt x="1271" y="372"/>
                      <a:pt x="1271" y="372"/>
                      <a:pt x="1272" y="373"/>
                    </a:cubicBezTo>
                    <a:cubicBezTo>
                      <a:pt x="1272" y="373"/>
                      <a:pt x="1272" y="373"/>
                      <a:pt x="1272" y="374"/>
                    </a:cubicBezTo>
                    <a:cubicBezTo>
                      <a:pt x="1272" y="374"/>
                      <a:pt x="1272" y="374"/>
                      <a:pt x="1271" y="374"/>
                    </a:cubicBezTo>
                    <a:cubicBezTo>
                      <a:pt x="1271" y="374"/>
                      <a:pt x="1271" y="374"/>
                      <a:pt x="1269" y="376"/>
                    </a:cubicBezTo>
                    <a:cubicBezTo>
                      <a:pt x="1269" y="376"/>
                      <a:pt x="1269" y="376"/>
                      <a:pt x="1269" y="375"/>
                    </a:cubicBezTo>
                    <a:cubicBezTo>
                      <a:pt x="1269" y="375"/>
                      <a:pt x="1269" y="375"/>
                      <a:pt x="1269" y="374"/>
                    </a:cubicBezTo>
                    <a:cubicBezTo>
                      <a:pt x="1269" y="374"/>
                      <a:pt x="1269" y="374"/>
                      <a:pt x="1268" y="375"/>
                    </a:cubicBezTo>
                    <a:cubicBezTo>
                      <a:pt x="1268" y="375"/>
                      <a:pt x="1268" y="375"/>
                      <a:pt x="1268" y="376"/>
                    </a:cubicBezTo>
                    <a:cubicBezTo>
                      <a:pt x="1268" y="376"/>
                      <a:pt x="1268" y="376"/>
                      <a:pt x="1267" y="376"/>
                    </a:cubicBezTo>
                    <a:cubicBezTo>
                      <a:pt x="1267" y="376"/>
                      <a:pt x="1267" y="376"/>
                      <a:pt x="1267" y="377"/>
                    </a:cubicBezTo>
                    <a:cubicBezTo>
                      <a:pt x="1267" y="377"/>
                      <a:pt x="1267" y="377"/>
                      <a:pt x="1266" y="378"/>
                    </a:cubicBezTo>
                    <a:cubicBezTo>
                      <a:pt x="1266" y="378"/>
                      <a:pt x="1266" y="378"/>
                      <a:pt x="1265" y="377"/>
                    </a:cubicBezTo>
                    <a:cubicBezTo>
                      <a:pt x="1265" y="377"/>
                      <a:pt x="1265" y="377"/>
                      <a:pt x="1265" y="378"/>
                    </a:cubicBezTo>
                    <a:cubicBezTo>
                      <a:pt x="1265" y="378"/>
                      <a:pt x="1265" y="378"/>
                      <a:pt x="1265" y="379"/>
                    </a:cubicBezTo>
                    <a:cubicBezTo>
                      <a:pt x="1265" y="379"/>
                      <a:pt x="1265" y="379"/>
                      <a:pt x="1264" y="379"/>
                    </a:cubicBezTo>
                    <a:cubicBezTo>
                      <a:pt x="1264" y="379"/>
                      <a:pt x="1264" y="379"/>
                      <a:pt x="1263" y="379"/>
                    </a:cubicBezTo>
                    <a:cubicBezTo>
                      <a:pt x="1263" y="379"/>
                      <a:pt x="1263" y="379"/>
                      <a:pt x="1264" y="380"/>
                    </a:cubicBezTo>
                    <a:cubicBezTo>
                      <a:pt x="1264" y="380"/>
                      <a:pt x="1264" y="380"/>
                      <a:pt x="1265" y="381"/>
                    </a:cubicBezTo>
                    <a:cubicBezTo>
                      <a:pt x="1265" y="381"/>
                      <a:pt x="1265" y="381"/>
                      <a:pt x="1263" y="381"/>
                    </a:cubicBezTo>
                    <a:cubicBezTo>
                      <a:pt x="1263" y="381"/>
                      <a:pt x="1263" y="381"/>
                      <a:pt x="1265" y="382"/>
                    </a:cubicBezTo>
                    <a:cubicBezTo>
                      <a:pt x="1265" y="382"/>
                      <a:pt x="1265" y="382"/>
                      <a:pt x="1264" y="384"/>
                    </a:cubicBezTo>
                    <a:cubicBezTo>
                      <a:pt x="1264" y="384"/>
                      <a:pt x="1264" y="384"/>
                      <a:pt x="1266" y="385"/>
                    </a:cubicBezTo>
                    <a:cubicBezTo>
                      <a:pt x="1266" y="385"/>
                      <a:pt x="1266" y="385"/>
                      <a:pt x="1264" y="385"/>
                    </a:cubicBezTo>
                    <a:cubicBezTo>
                      <a:pt x="1264" y="385"/>
                      <a:pt x="1264" y="385"/>
                      <a:pt x="1263" y="385"/>
                    </a:cubicBezTo>
                    <a:cubicBezTo>
                      <a:pt x="1263" y="385"/>
                      <a:pt x="1263" y="385"/>
                      <a:pt x="1264" y="386"/>
                    </a:cubicBezTo>
                    <a:cubicBezTo>
                      <a:pt x="1264" y="386"/>
                      <a:pt x="1264" y="386"/>
                      <a:pt x="1263" y="387"/>
                    </a:cubicBezTo>
                    <a:cubicBezTo>
                      <a:pt x="1263" y="387"/>
                      <a:pt x="1263" y="387"/>
                      <a:pt x="1264" y="388"/>
                    </a:cubicBezTo>
                    <a:cubicBezTo>
                      <a:pt x="1264" y="388"/>
                      <a:pt x="1264" y="388"/>
                      <a:pt x="1263" y="389"/>
                    </a:cubicBezTo>
                    <a:cubicBezTo>
                      <a:pt x="1263" y="389"/>
                      <a:pt x="1263" y="389"/>
                      <a:pt x="1264" y="390"/>
                    </a:cubicBezTo>
                    <a:cubicBezTo>
                      <a:pt x="1264" y="390"/>
                      <a:pt x="1264" y="390"/>
                      <a:pt x="1263" y="391"/>
                    </a:cubicBezTo>
                    <a:cubicBezTo>
                      <a:pt x="1263" y="391"/>
                      <a:pt x="1263" y="391"/>
                      <a:pt x="1263" y="393"/>
                    </a:cubicBezTo>
                    <a:cubicBezTo>
                      <a:pt x="1263" y="393"/>
                      <a:pt x="1263" y="393"/>
                      <a:pt x="1264" y="394"/>
                    </a:cubicBezTo>
                    <a:cubicBezTo>
                      <a:pt x="1264" y="394"/>
                      <a:pt x="1264" y="394"/>
                      <a:pt x="1264" y="395"/>
                    </a:cubicBezTo>
                    <a:cubicBezTo>
                      <a:pt x="1264" y="395"/>
                      <a:pt x="1264" y="395"/>
                      <a:pt x="1263" y="398"/>
                    </a:cubicBezTo>
                    <a:cubicBezTo>
                      <a:pt x="1263" y="398"/>
                      <a:pt x="1263" y="398"/>
                      <a:pt x="1262" y="399"/>
                    </a:cubicBezTo>
                    <a:cubicBezTo>
                      <a:pt x="1262" y="399"/>
                      <a:pt x="1262" y="399"/>
                      <a:pt x="1262" y="401"/>
                    </a:cubicBezTo>
                    <a:cubicBezTo>
                      <a:pt x="1262" y="401"/>
                      <a:pt x="1262" y="401"/>
                      <a:pt x="1261" y="403"/>
                    </a:cubicBezTo>
                    <a:cubicBezTo>
                      <a:pt x="1261" y="403"/>
                      <a:pt x="1261" y="403"/>
                      <a:pt x="1260" y="402"/>
                    </a:cubicBezTo>
                    <a:cubicBezTo>
                      <a:pt x="1260" y="402"/>
                      <a:pt x="1260" y="402"/>
                      <a:pt x="1259" y="401"/>
                    </a:cubicBezTo>
                    <a:cubicBezTo>
                      <a:pt x="1259" y="401"/>
                      <a:pt x="1259" y="401"/>
                      <a:pt x="1257" y="402"/>
                    </a:cubicBezTo>
                    <a:cubicBezTo>
                      <a:pt x="1257" y="402"/>
                      <a:pt x="1257" y="402"/>
                      <a:pt x="1255" y="402"/>
                    </a:cubicBezTo>
                    <a:cubicBezTo>
                      <a:pt x="1255" y="402"/>
                      <a:pt x="1255" y="402"/>
                      <a:pt x="1255" y="401"/>
                    </a:cubicBezTo>
                    <a:cubicBezTo>
                      <a:pt x="1255" y="401"/>
                      <a:pt x="1255" y="401"/>
                      <a:pt x="1254" y="403"/>
                    </a:cubicBezTo>
                    <a:cubicBezTo>
                      <a:pt x="1254" y="403"/>
                      <a:pt x="1254" y="403"/>
                      <a:pt x="1252" y="403"/>
                    </a:cubicBezTo>
                    <a:cubicBezTo>
                      <a:pt x="1252" y="403"/>
                      <a:pt x="1252" y="403"/>
                      <a:pt x="1252" y="405"/>
                    </a:cubicBezTo>
                    <a:cubicBezTo>
                      <a:pt x="1252" y="405"/>
                      <a:pt x="1252" y="405"/>
                      <a:pt x="1252" y="406"/>
                    </a:cubicBezTo>
                    <a:cubicBezTo>
                      <a:pt x="1252" y="406"/>
                      <a:pt x="1252" y="406"/>
                      <a:pt x="1252" y="407"/>
                    </a:cubicBezTo>
                    <a:cubicBezTo>
                      <a:pt x="1252" y="407"/>
                      <a:pt x="1252" y="407"/>
                      <a:pt x="1251" y="408"/>
                    </a:cubicBezTo>
                    <a:cubicBezTo>
                      <a:pt x="1251" y="408"/>
                      <a:pt x="1251" y="408"/>
                      <a:pt x="1250" y="407"/>
                    </a:cubicBezTo>
                    <a:cubicBezTo>
                      <a:pt x="1250" y="407"/>
                      <a:pt x="1250" y="407"/>
                      <a:pt x="1246" y="408"/>
                    </a:cubicBezTo>
                    <a:cubicBezTo>
                      <a:pt x="1246" y="408"/>
                      <a:pt x="1246" y="408"/>
                      <a:pt x="1245" y="408"/>
                    </a:cubicBezTo>
                    <a:cubicBezTo>
                      <a:pt x="1245" y="408"/>
                      <a:pt x="1245" y="408"/>
                      <a:pt x="1244" y="408"/>
                    </a:cubicBezTo>
                    <a:cubicBezTo>
                      <a:pt x="1244" y="408"/>
                      <a:pt x="1244" y="408"/>
                      <a:pt x="1245" y="407"/>
                    </a:cubicBezTo>
                    <a:cubicBezTo>
                      <a:pt x="1245" y="407"/>
                      <a:pt x="1245" y="407"/>
                      <a:pt x="1245" y="404"/>
                    </a:cubicBezTo>
                    <a:cubicBezTo>
                      <a:pt x="1245" y="404"/>
                      <a:pt x="1245" y="404"/>
                      <a:pt x="1243" y="403"/>
                    </a:cubicBezTo>
                    <a:cubicBezTo>
                      <a:pt x="1243" y="403"/>
                      <a:pt x="1243" y="403"/>
                      <a:pt x="1243" y="402"/>
                    </a:cubicBezTo>
                    <a:cubicBezTo>
                      <a:pt x="1243" y="402"/>
                      <a:pt x="1243" y="402"/>
                      <a:pt x="1242" y="402"/>
                    </a:cubicBezTo>
                    <a:cubicBezTo>
                      <a:pt x="1242" y="402"/>
                      <a:pt x="1242" y="402"/>
                      <a:pt x="1242" y="401"/>
                    </a:cubicBezTo>
                    <a:cubicBezTo>
                      <a:pt x="1242" y="401"/>
                      <a:pt x="1242" y="401"/>
                      <a:pt x="1244" y="401"/>
                    </a:cubicBezTo>
                    <a:cubicBezTo>
                      <a:pt x="1244" y="401"/>
                      <a:pt x="1244" y="401"/>
                      <a:pt x="1245" y="399"/>
                    </a:cubicBezTo>
                    <a:cubicBezTo>
                      <a:pt x="1245" y="399"/>
                      <a:pt x="1245" y="399"/>
                      <a:pt x="1245" y="397"/>
                    </a:cubicBezTo>
                    <a:cubicBezTo>
                      <a:pt x="1245" y="397"/>
                      <a:pt x="1245" y="397"/>
                      <a:pt x="1243" y="398"/>
                    </a:cubicBezTo>
                    <a:cubicBezTo>
                      <a:pt x="1243" y="398"/>
                      <a:pt x="1243" y="398"/>
                      <a:pt x="1242" y="397"/>
                    </a:cubicBezTo>
                    <a:cubicBezTo>
                      <a:pt x="1242" y="397"/>
                      <a:pt x="1242" y="397"/>
                      <a:pt x="1242" y="396"/>
                    </a:cubicBezTo>
                    <a:cubicBezTo>
                      <a:pt x="1242" y="396"/>
                      <a:pt x="1242" y="396"/>
                      <a:pt x="1240" y="395"/>
                    </a:cubicBezTo>
                    <a:cubicBezTo>
                      <a:pt x="1240" y="395"/>
                      <a:pt x="1240" y="395"/>
                      <a:pt x="1240" y="394"/>
                    </a:cubicBezTo>
                    <a:cubicBezTo>
                      <a:pt x="1240" y="394"/>
                      <a:pt x="1240" y="394"/>
                      <a:pt x="1239" y="391"/>
                    </a:cubicBezTo>
                    <a:cubicBezTo>
                      <a:pt x="1239" y="391"/>
                      <a:pt x="1239" y="391"/>
                      <a:pt x="1238" y="389"/>
                    </a:cubicBezTo>
                    <a:cubicBezTo>
                      <a:pt x="1238" y="389"/>
                      <a:pt x="1238" y="389"/>
                      <a:pt x="1237" y="389"/>
                    </a:cubicBezTo>
                    <a:cubicBezTo>
                      <a:pt x="1237" y="389"/>
                      <a:pt x="1237" y="389"/>
                      <a:pt x="1236" y="388"/>
                    </a:cubicBezTo>
                    <a:cubicBezTo>
                      <a:pt x="1236" y="388"/>
                      <a:pt x="1236" y="388"/>
                      <a:pt x="1237" y="387"/>
                    </a:cubicBezTo>
                    <a:cubicBezTo>
                      <a:pt x="1237" y="387"/>
                      <a:pt x="1237" y="387"/>
                      <a:pt x="1237" y="386"/>
                    </a:cubicBezTo>
                    <a:cubicBezTo>
                      <a:pt x="1237" y="386"/>
                      <a:pt x="1237" y="386"/>
                      <a:pt x="1237" y="385"/>
                    </a:cubicBezTo>
                    <a:cubicBezTo>
                      <a:pt x="1237" y="385"/>
                      <a:pt x="1237" y="385"/>
                      <a:pt x="1237" y="384"/>
                    </a:cubicBezTo>
                    <a:cubicBezTo>
                      <a:pt x="1237" y="384"/>
                      <a:pt x="1237" y="384"/>
                      <a:pt x="1238" y="383"/>
                    </a:cubicBezTo>
                    <a:cubicBezTo>
                      <a:pt x="1238" y="383"/>
                      <a:pt x="1238" y="383"/>
                      <a:pt x="1238" y="382"/>
                    </a:cubicBezTo>
                    <a:cubicBezTo>
                      <a:pt x="1238" y="382"/>
                      <a:pt x="1238" y="382"/>
                      <a:pt x="1237" y="382"/>
                    </a:cubicBezTo>
                    <a:cubicBezTo>
                      <a:pt x="1237" y="382"/>
                      <a:pt x="1237" y="382"/>
                      <a:pt x="1237" y="381"/>
                    </a:cubicBezTo>
                    <a:cubicBezTo>
                      <a:pt x="1237" y="381"/>
                      <a:pt x="1237" y="381"/>
                      <a:pt x="1236" y="381"/>
                    </a:cubicBezTo>
                    <a:cubicBezTo>
                      <a:pt x="1236" y="381"/>
                      <a:pt x="1236" y="381"/>
                      <a:pt x="1236" y="382"/>
                    </a:cubicBezTo>
                    <a:cubicBezTo>
                      <a:pt x="1236" y="382"/>
                      <a:pt x="1236" y="382"/>
                      <a:pt x="1235" y="381"/>
                    </a:cubicBezTo>
                    <a:cubicBezTo>
                      <a:pt x="1235" y="381"/>
                      <a:pt x="1235" y="381"/>
                      <a:pt x="1235" y="379"/>
                    </a:cubicBezTo>
                    <a:cubicBezTo>
                      <a:pt x="1235" y="379"/>
                      <a:pt x="1235" y="379"/>
                      <a:pt x="1234" y="378"/>
                    </a:cubicBezTo>
                    <a:cubicBezTo>
                      <a:pt x="1234" y="378"/>
                      <a:pt x="1234" y="378"/>
                      <a:pt x="1234" y="376"/>
                    </a:cubicBezTo>
                    <a:cubicBezTo>
                      <a:pt x="1234" y="376"/>
                      <a:pt x="1234" y="376"/>
                      <a:pt x="1235" y="375"/>
                    </a:cubicBezTo>
                    <a:cubicBezTo>
                      <a:pt x="1235" y="375"/>
                      <a:pt x="1235" y="375"/>
                      <a:pt x="1235" y="374"/>
                    </a:cubicBezTo>
                    <a:cubicBezTo>
                      <a:pt x="1235" y="374"/>
                      <a:pt x="1235" y="374"/>
                      <a:pt x="1233" y="374"/>
                    </a:cubicBezTo>
                    <a:cubicBezTo>
                      <a:pt x="1233" y="374"/>
                      <a:pt x="1233" y="374"/>
                      <a:pt x="1232" y="373"/>
                    </a:cubicBezTo>
                    <a:cubicBezTo>
                      <a:pt x="1232" y="373"/>
                      <a:pt x="1232" y="373"/>
                      <a:pt x="1232" y="372"/>
                    </a:cubicBezTo>
                    <a:cubicBezTo>
                      <a:pt x="1232" y="372"/>
                      <a:pt x="1232" y="372"/>
                      <a:pt x="1231" y="371"/>
                    </a:cubicBezTo>
                    <a:cubicBezTo>
                      <a:pt x="1231" y="371"/>
                      <a:pt x="1231" y="371"/>
                      <a:pt x="1231" y="370"/>
                    </a:cubicBezTo>
                    <a:cubicBezTo>
                      <a:pt x="1231" y="370"/>
                      <a:pt x="1231" y="370"/>
                      <a:pt x="1231" y="368"/>
                    </a:cubicBezTo>
                    <a:cubicBezTo>
                      <a:pt x="1231" y="368"/>
                      <a:pt x="1231" y="368"/>
                      <a:pt x="1232" y="367"/>
                    </a:cubicBezTo>
                    <a:cubicBezTo>
                      <a:pt x="1232" y="367"/>
                      <a:pt x="1232" y="367"/>
                      <a:pt x="1231" y="366"/>
                    </a:cubicBezTo>
                    <a:cubicBezTo>
                      <a:pt x="1231" y="366"/>
                      <a:pt x="1231" y="366"/>
                      <a:pt x="1230" y="367"/>
                    </a:cubicBezTo>
                    <a:cubicBezTo>
                      <a:pt x="1230" y="367"/>
                      <a:pt x="1230" y="367"/>
                      <a:pt x="1230" y="368"/>
                    </a:cubicBezTo>
                    <a:cubicBezTo>
                      <a:pt x="1230" y="368"/>
                      <a:pt x="1230" y="368"/>
                      <a:pt x="1230" y="369"/>
                    </a:cubicBezTo>
                    <a:cubicBezTo>
                      <a:pt x="1230" y="369"/>
                      <a:pt x="1230" y="369"/>
                      <a:pt x="1229" y="370"/>
                    </a:cubicBezTo>
                    <a:cubicBezTo>
                      <a:pt x="1229" y="370"/>
                      <a:pt x="1229" y="370"/>
                      <a:pt x="1229" y="371"/>
                    </a:cubicBezTo>
                    <a:cubicBezTo>
                      <a:pt x="1229" y="371"/>
                      <a:pt x="1229" y="371"/>
                      <a:pt x="1230" y="371"/>
                    </a:cubicBezTo>
                    <a:cubicBezTo>
                      <a:pt x="1230" y="371"/>
                      <a:pt x="1230" y="371"/>
                      <a:pt x="1230" y="373"/>
                    </a:cubicBezTo>
                    <a:cubicBezTo>
                      <a:pt x="1230" y="373"/>
                      <a:pt x="1230" y="373"/>
                      <a:pt x="1230" y="374"/>
                    </a:cubicBezTo>
                    <a:cubicBezTo>
                      <a:pt x="1230" y="374"/>
                      <a:pt x="1230" y="374"/>
                      <a:pt x="1228" y="376"/>
                    </a:cubicBezTo>
                    <a:cubicBezTo>
                      <a:pt x="1228" y="376"/>
                      <a:pt x="1228" y="376"/>
                      <a:pt x="1228" y="375"/>
                    </a:cubicBezTo>
                    <a:cubicBezTo>
                      <a:pt x="1228" y="375"/>
                      <a:pt x="1228" y="375"/>
                      <a:pt x="1227" y="374"/>
                    </a:cubicBezTo>
                    <a:cubicBezTo>
                      <a:pt x="1227" y="374"/>
                      <a:pt x="1227" y="374"/>
                      <a:pt x="1227" y="375"/>
                    </a:cubicBezTo>
                    <a:cubicBezTo>
                      <a:pt x="1227" y="375"/>
                      <a:pt x="1227" y="375"/>
                      <a:pt x="1228" y="376"/>
                    </a:cubicBezTo>
                    <a:cubicBezTo>
                      <a:pt x="1228" y="376"/>
                      <a:pt x="1228" y="376"/>
                      <a:pt x="1226" y="377"/>
                    </a:cubicBezTo>
                    <a:cubicBezTo>
                      <a:pt x="1226" y="377"/>
                      <a:pt x="1226" y="377"/>
                      <a:pt x="1226" y="376"/>
                    </a:cubicBezTo>
                    <a:cubicBezTo>
                      <a:pt x="1226" y="376"/>
                      <a:pt x="1226" y="376"/>
                      <a:pt x="1226" y="375"/>
                    </a:cubicBezTo>
                    <a:cubicBezTo>
                      <a:pt x="1226" y="375"/>
                      <a:pt x="1226" y="375"/>
                      <a:pt x="1225" y="375"/>
                    </a:cubicBezTo>
                    <a:cubicBezTo>
                      <a:pt x="1225" y="375"/>
                      <a:pt x="1225" y="375"/>
                      <a:pt x="1225" y="374"/>
                    </a:cubicBezTo>
                    <a:cubicBezTo>
                      <a:pt x="1225" y="374"/>
                      <a:pt x="1225" y="374"/>
                      <a:pt x="1225" y="374"/>
                    </a:cubicBezTo>
                    <a:cubicBezTo>
                      <a:pt x="1224" y="373"/>
                      <a:pt x="1224" y="373"/>
                      <a:pt x="1224" y="373"/>
                    </a:cubicBezTo>
                    <a:cubicBezTo>
                      <a:pt x="1224" y="374"/>
                      <a:pt x="1225" y="374"/>
                      <a:pt x="1225" y="374"/>
                    </a:cubicBezTo>
                    <a:cubicBezTo>
                      <a:pt x="1224" y="375"/>
                      <a:pt x="1224" y="375"/>
                      <a:pt x="1224" y="375"/>
                    </a:cubicBezTo>
                    <a:cubicBezTo>
                      <a:pt x="1224" y="375"/>
                      <a:pt x="1224" y="375"/>
                      <a:pt x="1225" y="376"/>
                    </a:cubicBezTo>
                    <a:cubicBezTo>
                      <a:pt x="1225" y="376"/>
                      <a:pt x="1225" y="376"/>
                      <a:pt x="1225" y="377"/>
                    </a:cubicBezTo>
                    <a:cubicBezTo>
                      <a:pt x="1225" y="377"/>
                      <a:pt x="1225" y="377"/>
                      <a:pt x="1224" y="377"/>
                    </a:cubicBezTo>
                    <a:cubicBezTo>
                      <a:pt x="1224" y="377"/>
                      <a:pt x="1224" y="377"/>
                      <a:pt x="1223" y="378"/>
                    </a:cubicBezTo>
                    <a:cubicBezTo>
                      <a:pt x="1223" y="378"/>
                      <a:pt x="1223" y="378"/>
                      <a:pt x="1223" y="379"/>
                    </a:cubicBezTo>
                    <a:cubicBezTo>
                      <a:pt x="1223" y="379"/>
                      <a:pt x="1223" y="379"/>
                      <a:pt x="1222" y="379"/>
                    </a:cubicBezTo>
                    <a:cubicBezTo>
                      <a:pt x="1222" y="379"/>
                      <a:pt x="1222" y="379"/>
                      <a:pt x="1223" y="380"/>
                    </a:cubicBezTo>
                    <a:cubicBezTo>
                      <a:pt x="1223" y="380"/>
                      <a:pt x="1223" y="380"/>
                      <a:pt x="1221" y="381"/>
                    </a:cubicBezTo>
                    <a:cubicBezTo>
                      <a:pt x="1221" y="381"/>
                      <a:pt x="1221" y="381"/>
                      <a:pt x="1221" y="382"/>
                    </a:cubicBezTo>
                    <a:cubicBezTo>
                      <a:pt x="1221" y="382"/>
                      <a:pt x="1221" y="382"/>
                      <a:pt x="1219" y="384"/>
                    </a:cubicBezTo>
                    <a:cubicBezTo>
                      <a:pt x="1219" y="384"/>
                      <a:pt x="1219" y="384"/>
                      <a:pt x="1218" y="384"/>
                    </a:cubicBezTo>
                    <a:cubicBezTo>
                      <a:pt x="1218" y="384"/>
                      <a:pt x="1218" y="384"/>
                      <a:pt x="1217" y="383"/>
                    </a:cubicBezTo>
                    <a:cubicBezTo>
                      <a:pt x="1217" y="383"/>
                      <a:pt x="1217" y="383"/>
                      <a:pt x="1217" y="384"/>
                    </a:cubicBezTo>
                    <a:cubicBezTo>
                      <a:pt x="1217" y="384"/>
                      <a:pt x="1217" y="384"/>
                      <a:pt x="1216" y="384"/>
                    </a:cubicBezTo>
                    <a:cubicBezTo>
                      <a:pt x="1216" y="384"/>
                      <a:pt x="1216" y="384"/>
                      <a:pt x="1215" y="385"/>
                    </a:cubicBezTo>
                    <a:cubicBezTo>
                      <a:pt x="1215" y="385"/>
                      <a:pt x="1215" y="385"/>
                      <a:pt x="1214" y="385"/>
                    </a:cubicBezTo>
                    <a:cubicBezTo>
                      <a:pt x="1214" y="385"/>
                      <a:pt x="1214" y="385"/>
                      <a:pt x="1213" y="385"/>
                    </a:cubicBezTo>
                    <a:cubicBezTo>
                      <a:pt x="1213" y="385"/>
                      <a:pt x="1213" y="385"/>
                      <a:pt x="1213" y="386"/>
                    </a:cubicBezTo>
                    <a:cubicBezTo>
                      <a:pt x="1213" y="386"/>
                      <a:pt x="1213" y="386"/>
                      <a:pt x="1211" y="384"/>
                    </a:cubicBezTo>
                    <a:cubicBezTo>
                      <a:pt x="1211" y="384"/>
                      <a:pt x="1211" y="384"/>
                      <a:pt x="1212" y="384"/>
                    </a:cubicBezTo>
                    <a:cubicBezTo>
                      <a:pt x="1212" y="384"/>
                      <a:pt x="1212" y="384"/>
                      <a:pt x="1211" y="383"/>
                    </a:cubicBezTo>
                    <a:cubicBezTo>
                      <a:pt x="1211" y="383"/>
                      <a:pt x="1211" y="383"/>
                      <a:pt x="1210" y="383"/>
                    </a:cubicBezTo>
                    <a:cubicBezTo>
                      <a:pt x="1210" y="383"/>
                      <a:pt x="1210" y="383"/>
                      <a:pt x="1210" y="385"/>
                    </a:cubicBezTo>
                    <a:cubicBezTo>
                      <a:pt x="1210" y="385"/>
                      <a:pt x="1210" y="385"/>
                      <a:pt x="1209" y="384"/>
                    </a:cubicBezTo>
                    <a:cubicBezTo>
                      <a:pt x="1209" y="384"/>
                      <a:pt x="1209" y="384"/>
                      <a:pt x="1209" y="383"/>
                    </a:cubicBezTo>
                    <a:cubicBezTo>
                      <a:pt x="1209" y="383"/>
                      <a:pt x="1209" y="383"/>
                      <a:pt x="1207" y="382"/>
                    </a:cubicBezTo>
                    <a:cubicBezTo>
                      <a:pt x="1207" y="382"/>
                      <a:pt x="1207" y="382"/>
                      <a:pt x="1205" y="381"/>
                    </a:cubicBezTo>
                    <a:cubicBezTo>
                      <a:pt x="1205" y="381"/>
                      <a:pt x="1205" y="381"/>
                      <a:pt x="1204" y="380"/>
                    </a:cubicBezTo>
                    <a:cubicBezTo>
                      <a:pt x="1204" y="380"/>
                      <a:pt x="1204" y="380"/>
                      <a:pt x="1202" y="378"/>
                    </a:cubicBezTo>
                    <a:cubicBezTo>
                      <a:pt x="1202" y="378"/>
                      <a:pt x="1202" y="378"/>
                      <a:pt x="1203" y="377"/>
                    </a:cubicBezTo>
                    <a:cubicBezTo>
                      <a:pt x="1203" y="377"/>
                      <a:pt x="1203" y="377"/>
                      <a:pt x="1203" y="376"/>
                    </a:cubicBezTo>
                    <a:cubicBezTo>
                      <a:pt x="1203" y="376"/>
                      <a:pt x="1203" y="376"/>
                      <a:pt x="1204" y="376"/>
                    </a:cubicBezTo>
                    <a:cubicBezTo>
                      <a:pt x="1204" y="376"/>
                      <a:pt x="1204" y="376"/>
                      <a:pt x="1204" y="377"/>
                    </a:cubicBezTo>
                    <a:cubicBezTo>
                      <a:pt x="1204" y="377"/>
                      <a:pt x="1204" y="377"/>
                      <a:pt x="1205" y="376"/>
                    </a:cubicBezTo>
                    <a:cubicBezTo>
                      <a:pt x="1205" y="376"/>
                      <a:pt x="1205" y="376"/>
                      <a:pt x="1207" y="378"/>
                    </a:cubicBezTo>
                    <a:cubicBezTo>
                      <a:pt x="1207" y="378"/>
                      <a:pt x="1207" y="378"/>
                      <a:pt x="1207" y="377"/>
                    </a:cubicBezTo>
                    <a:cubicBezTo>
                      <a:pt x="1207" y="377"/>
                      <a:pt x="1207" y="377"/>
                      <a:pt x="1207" y="376"/>
                    </a:cubicBezTo>
                    <a:cubicBezTo>
                      <a:pt x="1207" y="376"/>
                      <a:pt x="1207" y="376"/>
                      <a:pt x="1209" y="376"/>
                    </a:cubicBezTo>
                    <a:cubicBezTo>
                      <a:pt x="1209" y="376"/>
                      <a:pt x="1209" y="376"/>
                      <a:pt x="1208" y="375"/>
                    </a:cubicBezTo>
                    <a:cubicBezTo>
                      <a:pt x="1208" y="375"/>
                      <a:pt x="1208" y="375"/>
                      <a:pt x="1207" y="376"/>
                    </a:cubicBezTo>
                    <a:cubicBezTo>
                      <a:pt x="1207" y="376"/>
                      <a:pt x="1207" y="376"/>
                      <a:pt x="1206" y="376"/>
                    </a:cubicBezTo>
                    <a:cubicBezTo>
                      <a:pt x="1206" y="376"/>
                      <a:pt x="1206" y="376"/>
                      <a:pt x="1205" y="374"/>
                    </a:cubicBezTo>
                    <a:cubicBezTo>
                      <a:pt x="1205" y="374"/>
                      <a:pt x="1205" y="374"/>
                      <a:pt x="1206" y="374"/>
                    </a:cubicBezTo>
                    <a:cubicBezTo>
                      <a:pt x="1206" y="374"/>
                      <a:pt x="1206" y="374"/>
                      <a:pt x="1206" y="373"/>
                    </a:cubicBezTo>
                    <a:cubicBezTo>
                      <a:pt x="1206" y="373"/>
                      <a:pt x="1206" y="373"/>
                      <a:pt x="1206" y="372"/>
                    </a:cubicBezTo>
                    <a:cubicBezTo>
                      <a:pt x="1206" y="372"/>
                      <a:pt x="1206" y="372"/>
                      <a:pt x="1205" y="371"/>
                    </a:cubicBezTo>
                    <a:cubicBezTo>
                      <a:pt x="1205" y="371"/>
                      <a:pt x="1205" y="371"/>
                      <a:pt x="1204" y="372"/>
                    </a:cubicBezTo>
                    <a:cubicBezTo>
                      <a:pt x="1204" y="372"/>
                      <a:pt x="1204" y="372"/>
                      <a:pt x="1205" y="372"/>
                    </a:cubicBezTo>
                    <a:cubicBezTo>
                      <a:pt x="1205" y="372"/>
                      <a:pt x="1205" y="372"/>
                      <a:pt x="1204" y="373"/>
                    </a:cubicBezTo>
                    <a:cubicBezTo>
                      <a:pt x="1204" y="373"/>
                      <a:pt x="1204" y="373"/>
                      <a:pt x="1203" y="372"/>
                    </a:cubicBezTo>
                    <a:cubicBezTo>
                      <a:pt x="1203" y="372"/>
                      <a:pt x="1203" y="372"/>
                      <a:pt x="1203" y="373"/>
                    </a:cubicBezTo>
                    <a:cubicBezTo>
                      <a:pt x="1203" y="373"/>
                      <a:pt x="1203" y="373"/>
                      <a:pt x="1201" y="372"/>
                    </a:cubicBezTo>
                    <a:cubicBezTo>
                      <a:pt x="1201" y="372"/>
                      <a:pt x="1201" y="372"/>
                      <a:pt x="1201" y="371"/>
                    </a:cubicBezTo>
                    <a:cubicBezTo>
                      <a:pt x="1201" y="371"/>
                      <a:pt x="1201" y="371"/>
                      <a:pt x="1202" y="369"/>
                    </a:cubicBezTo>
                    <a:cubicBezTo>
                      <a:pt x="1202" y="369"/>
                      <a:pt x="1202" y="369"/>
                      <a:pt x="1203" y="369"/>
                    </a:cubicBezTo>
                    <a:cubicBezTo>
                      <a:pt x="1203" y="369"/>
                      <a:pt x="1203" y="369"/>
                      <a:pt x="1204" y="368"/>
                    </a:cubicBezTo>
                    <a:cubicBezTo>
                      <a:pt x="1204" y="368"/>
                      <a:pt x="1204" y="368"/>
                      <a:pt x="1205" y="369"/>
                    </a:cubicBezTo>
                    <a:cubicBezTo>
                      <a:pt x="1205" y="369"/>
                      <a:pt x="1205" y="369"/>
                      <a:pt x="1205" y="368"/>
                    </a:cubicBezTo>
                    <a:cubicBezTo>
                      <a:pt x="1205" y="368"/>
                      <a:pt x="1205" y="368"/>
                      <a:pt x="1206" y="368"/>
                    </a:cubicBezTo>
                    <a:cubicBezTo>
                      <a:pt x="1206" y="368"/>
                      <a:pt x="1206" y="368"/>
                      <a:pt x="1207" y="368"/>
                    </a:cubicBezTo>
                    <a:cubicBezTo>
                      <a:pt x="1207" y="368"/>
                      <a:pt x="1207" y="368"/>
                      <a:pt x="1207" y="367"/>
                    </a:cubicBezTo>
                    <a:cubicBezTo>
                      <a:pt x="1207" y="367"/>
                      <a:pt x="1207" y="367"/>
                      <a:pt x="1205" y="367"/>
                    </a:cubicBezTo>
                    <a:cubicBezTo>
                      <a:pt x="1205" y="367"/>
                      <a:pt x="1205" y="367"/>
                      <a:pt x="1204" y="367"/>
                    </a:cubicBezTo>
                    <a:cubicBezTo>
                      <a:pt x="1204" y="367"/>
                      <a:pt x="1204" y="367"/>
                      <a:pt x="1205" y="366"/>
                    </a:cubicBezTo>
                    <a:cubicBezTo>
                      <a:pt x="1205" y="366"/>
                      <a:pt x="1205" y="366"/>
                      <a:pt x="1206" y="364"/>
                    </a:cubicBezTo>
                    <a:cubicBezTo>
                      <a:pt x="1206" y="364"/>
                      <a:pt x="1206" y="364"/>
                      <a:pt x="1207" y="362"/>
                    </a:cubicBezTo>
                    <a:cubicBezTo>
                      <a:pt x="1207" y="362"/>
                      <a:pt x="1207" y="362"/>
                      <a:pt x="1208" y="364"/>
                    </a:cubicBezTo>
                    <a:cubicBezTo>
                      <a:pt x="1208" y="364"/>
                      <a:pt x="1208" y="364"/>
                      <a:pt x="1208" y="362"/>
                    </a:cubicBezTo>
                    <a:cubicBezTo>
                      <a:pt x="1208" y="362"/>
                      <a:pt x="1208" y="362"/>
                      <a:pt x="1209" y="361"/>
                    </a:cubicBezTo>
                    <a:cubicBezTo>
                      <a:pt x="1209" y="361"/>
                      <a:pt x="1209" y="361"/>
                      <a:pt x="1208" y="361"/>
                    </a:cubicBezTo>
                    <a:cubicBezTo>
                      <a:pt x="1208" y="361"/>
                      <a:pt x="1208" y="361"/>
                      <a:pt x="1206" y="362"/>
                    </a:cubicBezTo>
                    <a:cubicBezTo>
                      <a:pt x="1206" y="362"/>
                      <a:pt x="1206" y="362"/>
                      <a:pt x="1205" y="363"/>
                    </a:cubicBezTo>
                    <a:cubicBezTo>
                      <a:pt x="1205" y="363"/>
                      <a:pt x="1205" y="363"/>
                      <a:pt x="1205" y="364"/>
                    </a:cubicBezTo>
                    <a:cubicBezTo>
                      <a:pt x="1205" y="364"/>
                      <a:pt x="1205" y="364"/>
                      <a:pt x="1204" y="365"/>
                    </a:cubicBezTo>
                    <a:cubicBezTo>
                      <a:pt x="1204" y="365"/>
                      <a:pt x="1204" y="365"/>
                      <a:pt x="1203" y="365"/>
                    </a:cubicBezTo>
                    <a:cubicBezTo>
                      <a:pt x="1203" y="365"/>
                      <a:pt x="1203" y="365"/>
                      <a:pt x="1204" y="364"/>
                    </a:cubicBezTo>
                    <a:cubicBezTo>
                      <a:pt x="1204" y="364"/>
                      <a:pt x="1204" y="364"/>
                      <a:pt x="1203" y="363"/>
                    </a:cubicBezTo>
                    <a:cubicBezTo>
                      <a:pt x="1203" y="363"/>
                      <a:pt x="1203" y="363"/>
                      <a:pt x="1203" y="362"/>
                    </a:cubicBezTo>
                    <a:cubicBezTo>
                      <a:pt x="1203" y="362"/>
                      <a:pt x="1203" y="362"/>
                      <a:pt x="1202" y="362"/>
                    </a:cubicBezTo>
                    <a:cubicBezTo>
                      <a:pt x="1202" y="362"/>
                      <a:pt x="1202" y="362"/>
                      <a:pt x="1204" y="361"/>
                    </a:cubicBezTo>
                    <a:cubicBezTo>
                      <a:pt x="1204" y="361"/>
                      <a:pt x="1204" y="361"/>
                      <a:pt x="1204" y="360"/>
                    </a:cubicBezTo>
                    <a:cubicBezTo>
                      <a:pt x="1204" y="360"/>
                      <a:pt x="1204" y="360"/>
                      <a:pt x="1204" y="359"/>
                    </a:cubicBezTo>
                    <a:cubicBezTo>
                      <a:pt x="1204" y="359"/>
                      <a:pt x="1204" y="359"/>
                      <a:pt x="1203" y="359"/>
                    </a:cubicBezTo>
                    <a:cubicBezTo>
                      <a:pt x="1203" y="359"/>
                      <a:pt x="1203" y="359"/>
                      <a:pt x="1201" y="361"/>
                    </a:cubicBezTo>
                    <a:cubicBezTo>
                      <a:pt x="1201" y="361"/>
                      <a:pt x="1201" y="361"/>
                      <a:pt x="1200" y="360"/>
                    </a:cubicBezTo>
                    <a:cubicBezTo>
                      <a:pt x="1200" y="360"/>
                      <a:pt x="1200" y="360"/>
                      <a:pt x="1200" y="359"/>
                    </a:cubicBezTo>
                    <a:cubicBezTo>
                      <a:pt x="1200" y="359"/>
                      <a:pt x="1200" y="359"/>
                      <a:pt x="1201" y="359"/>
                    </a:cubicBezTo>
                    <a:cubicBezTo>
                      <a:pt x="1201" y="359"/>
                      <a:pt x="1201" y="359"/>
                      <a:pt x="1201" y="358"/>
                    </a:cubicBezTo>
                    <a:cubicBezTo>
                      <a:pt x="1201" y="358"/>
                      <a:pt x="1201" y="358"/>
                      <a:pt x="1202" y="357"/>
                    </a:cubicBezTo>
                    <a:cubicBezTo>
                      <a:pt x="1202" y="357"/>
                      <a:pt x="1202" y="357"/>
                      <a:pt x="1201" y="357"/>
                    </a:cubicBezTo>
                    <a:cubicBezTo>
                      <a:pt x="1201" y="357"/>
                      <a:pt x="1201" y="357"/>
                      <a:pt x="1200" y="358"/>
                    </a:cubicBezTo>
                    <a:cubicBezTo>
                      <a:pt x="1200" y="358"/>
                      <a:pt x="1200" y="358"/>
                      <a:pt x="1199" y="357"/>
                    </a:cubicBezTo>
                    <a:cubicBezTo>
                      <a:pt x="1199" y="357"/>
                      <a:pt x="1199" y="357"/>
                      <a:pt x="1200" y="357"/>
                    </a:cubicBezTo>
                    <a:cubicBezTo>
                      <a:pt x="1200" y="357"/>
                      <a:pt x="1200" y="357"/>
                      <a:pt x="1199" y="355"/>
                    </a:cubicBezTo>
                    <a:cubicBezTo>
                      <a:pt x="1199" y="355"/>
                      <a:pt x="1199" y="355"/>
                      <a:pt x="1200" y="355"/>
                    </a:cubicBezTo>
                    <a:cubicBezTo>
                      <a:pt x="1200" y="355"/>
                      <a:pt x="1200" y="355"/>
                      <a:pt x="1201" y="356"/>
                    </a:cubicBezTo>
                    <a:cubicBezTo>
                      <a:pt x="1201" y="356"/>
                      <a:pt x="1201" y="356"/>
                      <a:pt x="1203" y="355"/>
                    </a:cubicBezTo>
                    <a:cubicBezTo>
                      <a:pt x="1203" y="355"/>
                      <a:pt x="1203" y="355"/>
                      <a:pt x="1204" y="355"/>
                    </a:cubicBezTo>
                    <a:cubicBezTo>
                      <a:pt x="1204" y="355"/>
                      <a:pt x="1204" y="355"/>
                      <a:pt x="1205" y="355"/>
                    </a:cubicBezTo>
                    <a:cubicBezTo>
                      <a:pt x="1205" y="355"/>
                      <a:pt x="1205" y="355"/>
                      <a:pt x="1206" y="355"/>
                    </a:cubicBezTo>
                    <a:cubicBezTo>
                      <a:pt x="1206" y="355"/>
                      <a:pt x="1206" y="355"/>
                      <a:pt x="1207" y="356"/>
                    </a:cubicBezTo>
                    <a:cubicBezTo>
                      <a:pt x="1207" y="356"/>
                      <a:pt x="1207" y="356"/>
                      <a:pt x="1208" y="355"/>
                    </a:cubicBezTo>
                    <a:cubicBezTo>
                      <a:pt x="1208" y="355"/>
                      <a:pt x="1208" y="355"/>
                      <a:pt x="1210" y="355"/>
                    </a:cubicBezTo>
                    <a:cubicBezTo>
                      <a:pt x="1210" y="355"/>
                      <a:pt x="1210" y="355"/>
                      <a:pt x="1210" y="356"/>
                    </a:cubicBezTo>
                    <a:cubicBezTo>
                      <a:pt x="1210" y="356"/>
                      <a:pt x="1210" y="356"/>
                      <a:pt x="1209" y="356"/>
                    </a:cubicBezTo>
                    <a:cubicBezTo>
                      <a:pt x="1209" y="356"/>
                      <a:pt x="1209" y="356"/>
                      <a:pt x="1209" y="357"/>
                    </a:cubicBezTo>
                    <a:cubicBezTo>
                      <a:pt x="1209" y="357"/>
                      <a:pt x="1209" y="357"/>
                      <a:pt x="1210" y="357"/>
                    </a:cubicBezTo>
                    <a:cubicBezTo>
                      <a:pt x="1210" y="357"/>
                      <a:pt x="1210" y="357"/>
                      <a:pt x="1211" y="356"/>
                    </a:cubicBezTo>
                    <a:cubicBezTo>
                      <a:pt x="1211" y="356"/>
                      <a:pt x="1211" y="356"/>
                      <a:pt x="1211" y="355"/>
                    </a:cubicBezTo>
                    <a:cubicBezTo>
                      <a:pt x="1211" y="355"/>
                      <a:pt x="1211" y="355"/>
                      <a:pt x="1213" y="355"/>
                    </a:cubicBezTo>
                    <a:cubicBezTo>
                      <a:pt x="1213" y="355"/>
                      <a:pt x="1213" y="355"/>
                      <a:pt x="1214" y="354"/>
                    </a:cubicBezTo>
                    <a:cubicBezTo>
                      <a:pt x="1214" y="354"/>
                      <a:pt x="1214" y="354"/>
                      <a:pt x="1213" y="352"/>
                    </a:cubicBezTo>
                    <a:cubicBezTo>
                      <a:pt x="1213" y="352"/>
                      <a:pt x="1213" y="352"/>
                      <a:pt x="1213" y="351"/>
                    </a:cubicBezTo>
                    <a:cubicBezTo>
                      <a:pt x="1213" y="351"/>
                      <a:pt x="1213" y="351"/>
                      <a:pt x="1212" y="353"/>
                    </a:cubicBezTo>
                    <a:cubicBezTo>
                      <a:pt x="1212" y="353"/>
                      <a:pt x="1212" y="353"/>
                      <a:pt x="1212" y="354"/>
                    </a:cubicBezTo>
                    <a:cubicBezTo>
                      <a:pt x="1212" y="354"/>
                      <a:pt x="1212" y="354"/>
                      <a:pt x="1211" y="354"/>
                    </a:cubicBezTo>
                    <a:cubicBezTo>
                      <a:pt x="1211" y="354"/>
                      <a:pt x="1211" y="354"/>
                      <a:pt x="1211" y="353"/>
                    </a:cubicBezTo>
                    <a:cubicBezTo>
                      <a:pt x="1211" y="353"/>
                      <a:pt x="1211" y="353"/>
                      <a:pt x="1210" y="354"/>
                    </a:cubicBezTo>
                    <a:cubicBezTo>
                      <a:pt x="1210" y="354"/>
                      <a:pt x="1210" y="354"/>
                      <a:pt x="1209" y="354"/>
                    </a:cubicBezTo>
                    <a:cubicBezTo>
                      <a:pt x="1209" y="354"/>
                      <a:pt x="1209" y="354"/>
                      <a:pt x="1208" y="353"/>
                    </a:cubicBezTo>
                    <a:cubicBezTo>
                      <a:pt x="1208" y="353"/>
                      <a:pt x="1208" y="353"/>
                      <a:pt x="1207" y="353"/>
                    </a:cubicBezTo>
                    <a:cubicBezTo>
                      <a:pt x="1207" y="353"/>
                      <a:pt x="1207" y="353"/>
                      <a:pt x="1207" y="354"/>
                    </a:cubicBezTo>
                    <a:cubicBezTo>
                      <a:pt x="1207" y="354"/>
                      <a:pt x="1207" y="354"/>
                      <a:pt x="1206" y="354"/>
                    </a:cubicBezTo>
                    <a:cubicBezTo>
                      <a:pt x="1206" y="354"/>
                      <a:pt x="1206" y="354"/>
                      <a:pt x="1205" y="354"/>
                    </a:cubicBezTo>
                    <a:cubicBezTo>
                      <a:pt x="1205" y="354"/>
                      <a:pt x="1205" y="354"/>
                      <a:pt x="1203" y="354"/>
                    </a:cubicBezTo>
                    <a:cubicBezTo>
                      <a:pt x="1203" y="354"/>
                      <a:pt x="1203" y="354"/>
                      <a:pt x="1202" y="355"/>
                    </a:cubicBezTo>
                    <a:cubicBezTo>
                      <a:pt x="1202" y="355"/>
                      <a:pt x="1202" y="355"/>
                      <a:pt x="1201" y="355"/>
                    </a:cubicBezTo>
                    <a:cubicBezTo>
                      <a:pt x="1201" y="355"/>
                      <a:pt x="1201" y="355"/>
                      <a:pt x="1200" y="354"/>
                    </a:cubicBezTo>
                    <a:cubicBezTo>
                      <a:pt x="1200" y="354"/>
                      <a:pt x="1200" y="354"/>
                      <a:pt x="1200" y="353"/>
                    </a:cubicBezTo>
                    <a:cubicBezTo>
                      <a:pt x="1200" y="353"/>
                      <a:pt x="1200" y="353"/>
                      <a:pt x="1201" y="352"/>
                    </a:cubicBezTo>
                    <a:cubicBezTo>
                      <a:pt x="1201" y="352"/>
                      <a:pt x="1201" y="352"/>
                      <a:pt x="1200" y="352"/>
                    </a:cubicBezTo>
                    <a:cubicBezTo>
                      <a:pt x="1200" y="352"/>
                      <a:pt x="1200" y="352"/>
                      <a:pt x="1201" y="351"/>
                    </a:cubicBezTo>
                    <a:cubicBezTo>
                      <a:pt x="1201" y="351"/>
                      <a:pt x="1201" y="351"/>
                      <a:pt x="1200" y="351"/>
                    </a:cubicBezTo>
                    <a:cubicBezTo>
                      <a:pt x="1200" y="351"/>
                      <a:pt x="1200" y="351"/>
                      <a:pt x="1201" y="350"/>
                    </a:cubicBezTo>
                    <a:cubicBezTo>
                      <a:pt x="1201" y="350"/>
                      <a:pt x="1201" y="350"/>
                      <a:pt x="1199" y="349"/>
                    </a:cubicBezTo>
                    <a:cubicBezTo>
                      <a:pt x="1199" y="349"/>
                      <a:pt x="1199" y="349"/>
                      <a:pt x="1199" y="348"/>
                    </a:cubicBezTo>
                    <a:cubicBezTo>
                      <a:pt x="1198" y="347"/>
                      <a:pt x="1198" y="347"/>
                      <a:pt x="1198" y="347"/>
                    </a:cubicBezTo>
                    <a:cubicBezTo>
                      <a:pt x="1200" y="348"/>
                      <a:pt x="1200" y="348"/>
                      <a:pt x="1200" y="348"/>
                    </a:cubicBezTo>
                    <a:cubicBezTo>
                      <a:pt x="1200" y="348"/>
                      <a:pt x="1200" y="348"/>
                      <a:pt x="1201" y="347"/>
                    </a:cubicBezTo>
                    <a:cubicBezTo>
                      <a:pt x="1201" y="347"/>
                      <a:pt x="1201" y="347"/>
                      <a:pt x="1202" y="348"/>
                    </a:cubicBezTo>
                    <a:cubicBezTo>
                      <a:pt x="1202" y="348"/>
                      <a:pt x="1202" y="348"/>
                      <a:pt x="1203" y="347"/>
                    </a:cubicBezTo>
                    <a:cubicBezTo>
                      <a:pt x="1203" y="347"/>
                      <a:pt x="1203" y="347"/>
                      <a:pt x="1205" y="348"/>
                    </a:cubicBezTo>
                    <a:cubicBezTo>
                      <a:pt x="1205" y="348"/>
                      <a:pt x="1205" y="348"/>
                      <a:pt x="1204" y="347"/>
                    </a:cubicBezTo>
                    <a:cubicBezTo>
                      <a:pt x="1204" y="347"/>
                      <a:pt x="1204" y="347"/>
                      <a:pt x="1202" y="346"/>
                    </a:cubicBezTo>
                    <a:cubicBezTo>
                      <a:pt x="1202" y="346"/>
                      <a:pt x="1202" y="346"/>
                      <a:pt x="1202" y="345"/>
                    </a:cubicBezTo>
                    <a:cubicBezTo>
                      <a:pt x="1202" y="345"/>
                      <a:pt x="1202" y="345"/>
                      <a:pt x="1202" y="344"/>
                    </a:cubicBezTo>
                    <a:cubicBezTo>
                      <a:pt x="1202" y="344"/>
                      <a:pt x="1202" y="344"/>
                      <a:pt x="1203" y="344"/>
                    </a:cubicBezTo>
                    <a:cubicBezTo>
                      <a:pt x="1203" y="344"/>
                      <a:pt x="1203" y="344"/>
                      <a:pt x="1204" y="345"/>
                    </a:cubicBezTo>
                    <a:cubicBezTo>
                      <a:pt x="1204" y="345"/>
                      <a:pt x="1204" y="345"/>
                      <a:pt x="1205" y="345"/>
                    </a:cubicBezTo>
                    <a:cubicBezTo>
                      <a:pt x="1205" y="345"/>
                      <a:pt x="1205" y="345"/>
                      <a:pt x="1204" y="344"/>
                    </a:cubicBezTo>
                    <a:cubicBezTo>
                      <a:pt x="1204" y="344"/>
                      <a:pt x="1204" y="344"/>
                      <a:pt x="1205" y="343"/>
                    </a:cubicBezTo>
                    <a:cubicBezTo>
                      <a:pt x="1205" y="343"/>
                      <a:pt x="1205" y="343"/>
                      <a:pt x="1207" y="344"/>
                    </a:cubicBezTo>
                    <a:cubicBezTo>
                      <a:pt x="1207" y="344"/>
                      <a:pt x="1207" y="344"/>
                      <a:pt x="1207" y="343"/>
                    </a:cubicBezTo>
                    <a:cubicBezTo>
                      <a:pt x="1207" y="343"/>
                      <a:pt x="1207" y="343"/>
                      <a:pt x="1207" y="342"/>
                    </a:cubicBezTo>
                    <a:cubicBezTo>
                      <a:pt x="1207" y="342"/>
                      <a:pt x="1207" y="342"/>
                      <a:pt x="1208" y="342"/>
                    </a:cubicBezTo>
                    <a:cubicBezTo>
                      <a:pt x="1208" y="342"/>
                      <a:pt x="1208" y="342"/>
                      <a:pt x="1209" y="342"/>
                    </a:cubicBezTo>
                    <a:cubicBezTo>
                      <a:pt x="1209" y="342"/>
                      <a:pt x="1209" y="342"/>
                      <a:pt x="1209" y="344"/>
                    </a:cubicBezTo>
                    <a:cubicBezTo>
                      <a:pt x="1209" y="344"/>
                      <a:pt x="1209" y="344"/>
                      <a:pt x="1209" y="345"/>
                    </a:cubicBezTo>
                    <a:cubicBezTo>
                      <a:pt x="1209" y="345"/>
                      <a:pt x="1209" y="345"/>
                      <a:pt x="1210" y="344"/>
                    </a:cubicBezTo>
                    <a:cubicBezTo>
                      <a:pt x="1210" y="344"/>
                      <a:pt x="1210" y="344"/>
                      <a:pt x="1210" y="343"/>
                    </a:cubicBezTo>
                    <a:cubicBezTo>
                      <a:pt x="1210" y="343"/>
                      <a:pt x="1210" y="343"/>
                      <a:pt x="1210" y="342"/>
                    </a:cubicBezTo>
                    <a:cubicBezTo>
                      <a:pt x="1210" y="342"/>
                      <a:pt x="1210" y="342"/>
                      <a:pt x="1208" y="341"/>
                    </a:cubicBezTo>
                    <a:cubicBezTo>
                      <a:pt x="1208" y="341"/>
                      <a:pt x="1208" y="341"/>
                      <a:pt x="1207" y="341"/>
                    </a:cubicBezTo>
                    <a:cubicBezTo>
                      <a:pt x="1207" y="341"/>
                      <a:pt x="1207" y="341"/>
                      <a:pt x="1205" y="340"/>
                    </a:cubicBezTo>
                    <a:cubicBezTo>
                      <a:pt x="1205" y="340"/>
                      <a:pt x="1205" y="340"/>
                      <a:pt x="1206" y="339"/>
                    </a:cubicBezTo>
                    <a:cubicBezTo>
                      <a:pt x="1206" y="339"/>
                      <a:pt x="1206" y="339"/>
                      <a:pt x="1206" y="340"/>
                    </a:cubicBezTo>
                    <a:cubicBezTo>
                      <a:pt x="1206" y="340"/>
                      <a:pt x="1206" y="340"/>
                      <a:pt x="1207" y="339"/>
                    </a:cubicBezTo>
                    <a:cubicBezTo>
                      <a:pt x="1207" y="339"/>
                      <a:pt x="1207" y="339"/>
                      <a:pt x="1208" y="340"/>
                    </a:cubicBezTo>
                    <a:cubicBezTo>
                      <a:pt x="1208" y="340"/>
                      <a:pt x="1208" y="340"/>
                      <a:pt x="1209" y="339"/>
                    </a:cubicBezTo>
                    <a:cubicBezTo>
                      <a:pt x="1209" y="339"/>
                      <a:pt x="1209" y="339"/>
                      <a:pt x="1210" y="341"/>
                    </a:cubicBezTo>
                    <a:cubicBezTo>
                      <a:pt x="1210" y="341"/>
                      <a:pt x="1210" y="341"/>
                      <a:pt x="1212" y="341"/>
                    </a:cubicBezTo>
                    <a:cubicBezTo>
                      <a:pt x="1212" y="341"/>
                      <a:pt x="1212" y="341"/>
                      <a:pt x="1212" y="340"/>
                    </a:cubicBezTo>
                    <a:cubicBezTo>
                      <a:pt x="1212" y="340"/>
                      <a:pt x="1212" y="340"/>
                      <a:pt x="1214" y="339"/>
                    </a:cubicBezTo>
                    <a:cubicBezTo>
                      <a:pt x="1214" y="339"/>
                      <a:pt x="1214" y="339"/>
                      <a:pt x="1213" y="339"/>
                    </a:cubicBezTo>
                    <a:cubicBezTo>
                      <a:pt x="1213" y="339"/>
                      <a:pt x="1213" y="339"/>
                      <a:pt x="1212" y="338"/>
                    </a:cubicBezTo>
                    <a:cubicBezTo>
                      <a:pt x="1212" y="338"/>
                      <a:pt x="1212" y="338"/>
                      <a:pt x="1210" y="339"/>
                    </a:cubicBezTo>
                    <a:cubicBezTo>
                      <a:pt x="1210" y="339"/>
                      <a:pt x="1210" y="339"/>
                      <a:pt x="1209" y="338"/>
                    </a:cubicBezTo>
                    <a:cubicBezTo>
                      <a:pt x="1209" y="338"/>
                      <a:pt x="1209" y="338"/>
                      <a:pt x="1210" y="337"/>
                    </a:cubicBezTo>
                    <a:cubicBezTo>
                      <a:pt x="1210" y="337"/>
                      <a:pt x="1210" y="337"/>
                      <a:pt x="1210" y="336"/>
                    </a:cubicBezTo>
                    <a:cubicBezTo>
                      <a:pt x="1210" y="336"/>
                      <a:pt x="1210" y="336"/>
                      <a:pt x="1211" y="336"/>
                    </a:cubicBezTo>
                    <a:cubicBezTo>
                      <a:pt x="1211" y="336"/>
                      <a:pt x="1211" y="336"/>
                      <a:pt x="1212" y="336"/>
                    </a:cubicBezTo>
                    <a:cubicBezTo>
                      <a:pt x="1212" y="336"/>
                      <a:pt x="1212" y="336"/>
                      <a:pt x="1213" y="337"/>
                    </a:cubicBezTo>
                    <a:cubicBezTo>
                      <a:pt x="1213" y="337"/>
                      <a:pt x="1213" y="337"/>
                      <a:pt x="1214" y="336"/>
                    </a:cubicBezTo>
                    <a:cubicBezTo>
                      <a:pt x="1214" y="336"/>
                      <a:pt x="1214" y="336"/>
                      <a:pt x="1215" y="338"/>
                    </a:cubicBezTo>
                    <a:cubicBezTo>
                      <a:pt x="1215" y="338"/>
                      <a:pt x="1215" y="338"/>
                      <a:pt x="1217" y="339"/>
                    </a:cubicBezTo>
                    <a:cubicBezTo>
                      <a:pt x="1217" y="339"/>
                      <a:pt x="1217" y="339"/>
                      <a:pt x="1218" y="339"/>
                    </a:cubicBezTo>
                    <a:cubicBezTo>
                      <a:pt x="1218" y="339"/>
                      <a:pt x="1218" y="339"/>
                      <a:pt x="1218" y="338"/>
                    </a:cubicBezTo>
                    <a:cubicBezTo>
                      <a:pt x="1218" y="338"/>
                      <a:pt x="1218" y="338"/>
                      <a:pt x="1217" y="338"/>
                    </a:cubicBezTo>
                    <a:cubicBezTo>
                      <a:pt x="1217" y="338"/>
                      <a:pt x="1217" y="338"/>
                      <a:pt x="1216" y="337"/>
                    </a:cubicBezTo>
                    <a:cubicBezTo>
                      <a:pt x="1216" y="337"/>
                      <a:pt x="1216" y="337"/>
                      <a:pt x="1218" y="337"/>
                    </a:cubicBezTo>
                    <a:cubicBezTo>
                      <a:pt x="1218" y="337"/>
                      <a:pt x="1218" y="337"/>
                      <a:pt x="1219" y="338"/>
                    </a:cubicBezTo>
                    <a:cubicBezTo>
                      <a:pt x="1219" y="338"/>
                      <a:pt x="1219" y="338"/>
                      <a:pt x="1219" y="337"/>
                    </a:cubicBezTo>
                    <a:cubicBezTo>
                      <a:pt x="1219" y="337"/>
                      <a:pt x="1219" y="337"/>
                      <a:pt x="1219" y="336"/>
                    </a:cubicBezTo>
                    <a:cubicBezTo>
                      <a:pt x="1219" y="336"/>
                      <a:pt x="1219" y="336"/>
                      <a:pt x="1217" y="336"/>
                    </a:cubicBezTo>
                    <a:cubicBezTo>
                      <a:pt x="1217" y="336"/>
                      <a:pt x="1217" y="336"/>
                      <a:pt x="1216" y="335"/>
                    </a:cubicBezTo>
                    <a:cubicBezTo>
                      <a:pt x="1216" y="335"/>
                      <a:pt x="1216" y="335"/>
                      <a:pt x="1217" y="335"/>
                    </a:cubicBezTo>
                    <a:cubicBezTo>
                      <a:pt x="1217" y="335"/>
                      <a:pt x="1217" y="335"/>
                      <a:pt x="1218" y="334"/>
                    </a:cubicBezTo>
                    <a:cubicBezTo>
                      <a:pt x="1218" y="334"/>
                      <a:pt x="1218" y="334"/>
                      <a:pt x="1219" y="334"/>
                    </a:cubicBezTo>
                    <a:cubicBezTo>
                      <a:pt x="1219" y="334"/>
                      <a:pt x="1219" y="334"/>
                      <a:pt x="1219" y="333"/>
                    </a:cubicBezTo>
                    <a:cubicBezTo>
                      <a:pt x="1219" y="333"/>
                      <a:pt x="1219" y="333"/>
                      <a:pt x="1218" y="334"/>
                    </a:cubicBezTo>
                    <a:cubicBezTo>
                      <a:pt x="1218" y="334"/>
                      <a:pt x="1218" y="334"/>
                      <a:pt x="1218" y="333"/>
                    </a:cubicBezTo>
                    <a:cubicBezTo>
                      <a:pt x="1218" y="333"/>
                      <a:pt x="1218" y="333"/>
                      <a:pt x="1219" y="332"/>
                    </a:cubicBezTo>
                    <a:cubicBezTo>
                      <a:pt x="1219" y="332"/>
                      <a:pt x="1219" y="332"/>
                      <a:pt x="1220" y="332"/>
                    </a:cubicBezTo>
                    <a:cubicBezTo>
                      <a:pt x="1220" y="332"/>
                      <a:pt x="1220" y="332"/>
                      <a:pt x="1221" y="333"/>
                    </a:cubicBezTo>
                    <a:cubicBezTo>
                      <a:pt x="1221" y="333"/>
                      <a:pt x="1221" y="333"/>
                      <a:pt x="1222" y="331"/>
                    </a:cubicBezTo>
                    <a:cubicBezTo>
                      <a:pt x="1222" y="331"/>
                      <a:pt x="1222" y="331"/>
                      <a:pt x="1221" y="331"/>
                    </a:cubicBezTo>
                    <a:cubicBezTo>
                      <a:pt x="1221" y="331"/>
                      <a:pt x="1221" y="331"/>
                      <a:pt x="1222" y="330"/>
                    </a:cubicBezTo>
                    <a:cubicBezTo>
                      <a:pt x="1222" y="330"/>
                      <a:pt x="1222" y="330"/>
                      <a:pt x="1223" y="330"/>
                    </a:cubicBezTo>
                    <a:cubicBezTo>
                      <a:pt x="1223" y="330"/>
                      <a:pt x="1223" y="330"/>
                      <a:pt x="1224" y="331"/>
                    </a:cubicBezTo>
                    <a:cubicBezTo>
                      <a:pt x="1224" y="331"/>
                      <a:pt x="1224" y="331"/>
                      <a:pt x="1224" y="332"/>
                    </a:cubicBezTo>
                    <a:cubicBezTo>
                      <a:pt x="1224" y="332"/>
                      <a:pt x="1224" y="332"/>
                      <a:pt x="1225" y="333"/>
                    </a:cubicBezTo>
                    <a:cubicBezTo>
                      <a:pt x="1225" y="333"/>
                      <a:pt x="1225" y="333"/>
                      <a:pt x="1224" y="333"/>
                    </a:cubicBezTo>
                    <a:cubicBezTo>
                      <a:pt x="1224" y="333"/>
                      <a:pt x="1224" y="333"/>
                      <a:pt x="1224" y="334"/>
                    </a:cubicBezTo>
                    <a:cubicBezTo>
                      <a:pt x="1224" y="334"/>
                      <a:pt x="1224" y="334"/>
                      <a:pt x="1225" y="334"/>
                    </a:cubicBezTo>
                    <a:cubicBezTo>
                      <a:pt x="1225" y="334"/>
                      <a:pt x="1225" y="334"/>
                      <a:pt x="1226" y="333"/>
                    </a:cubicBezTo>
                    <a:cubicBezTo>
                      <a:pt x="1226" y="333"/>
                      <a:pt x="1226" y="333"/>
                      <a:pt x="1226" y="332"/>
                    </a:cubicBezTo>
                    <a:cubicBezTo>
                      <a:pt x="1226" y="332"/>
                      <a:pt x="1226" y="332"/>
                      <a:pt x="1226" y="331"/>
                    </a:cubicBezTo>
                    <a:cubicBezTo>
                      <a:pt x="1226" y="331"/>
                      <a:pt x="1226" y="331"/>
                      <a:pt x="1228" y="331"/>
                    </a:cubicBezTo>
                    <a:cubicBezTo>
                      <a:pt x="1228" y="331"/>
                      <a:pt x="1228" y="331"/>
                      <a:pt x="1229" y="332"/>
                    </a:cubicBezTo>
                    <a:cubicBezTo>
                      <a:pt x="1229" y="332"/>
                      <a:pt x="1229" y="332"/>
                      <a:pt x="1230" y="332"/>
                    </a:cubicBezTo>
                    <a:cubicBezTo>
                      <a:pt x="1230" y="332"/>
                      <a:pt x="1230" y="332"/>
                      <a:pt x="1230" y="331"/>
                    </a:cubicBezTo>
                    <a:cubicBezTo>
                      <a:pt x="1230" y="331"/>
                      <a:pt x="1230" y="331"/>
                      <a:pt x="1230" y="330"/>
                    </a:cubicBezTo>
                    <a:cubicBezTo>
                      <a:pt x="1230" y="330"/>
                      <a:pt x="1230" y="330"/>
                      <a:pt x="1229" y="330"/>
                    </a:cubicBezTo>
                    <a:cubicBezTo>
                      <a:pt x="1229" y="330"/>
                      <a:pt x="1229" y="330"/>
                      <a:pt x="1231" y="328"/>
                    </a:cubicBezTo>
                    <a:cubicBezTo>
                      <a:pt x="1231" y="328"/>
                      <a:pt x="1231" y="328"/>
                      <a:pt x="1232" y="328"/>
                    </a:cubicBezTo>
                    <a:cubicBezTo>
                      <a:pt x="1232" y="328"/>
                      <a:pt x="1232" y="328"/>
                      <a:pt x="1232" y="327"/>
                    </a:cubicBezTo>
                    <a:cubicBezTo>
                      <a:pt x="1232" y="327"/>
                      <a:pt x="1232" y="327"/>
                      <a:pt x="1231" y="327"/>
                    </a:cubicBezTo>
                    <a:cubicBezTo>
                      <a:pt x="1231" y="327"/>
                      <a:pt x="1231" y="327"/>
                      <a:pt x="1231" y="326"/>
                    </a:cubicBezTo>
                    <a:cubicBezTo>
                      <a:pt x="1231" y="326"/>
                      <a:pt x="1231" y="326"/>
                      <a:pt x="1233" y="325"/>
                    </a:cubicBezTo>
                    <a:cubicBezTo>
                      <a:pt x="1233" y="325"/>
                      <a:pt x="1233" y="325"/>
                      <a:pt x="1232" y="325"/>
                    </a:cubicBezTo>
                    <a:cubicBezTo>
                      <a:pt x="1232" y="325"/>
                      <a:pt x="1232" y="325"/>
                      <a:pt x="1231" y="325"/>
                    </a:cubicBezTo>
                    <a:cubicBezTo>
                      <a:pt x="1231" y="325"/>
                      <a:pt x="1231" y="325"/>
                      <a:pt x="1230" y="325"/>
                    </a:cubicBezTo>
                    <a:cubicBezTo>
                      <a:pt x="1230" y="325"/>
                      <a:pt x="1230" y="325"/>
                      <a:pt x="1230" y="327"/>
                    </a:cubicBezTo>
                    <a:cubicBezTo>
                      <a:pt x="1230" y="327"/>
                      <a:pt x="1230" y="327"/>
                      <a:pt x="1230" y="328"/>
                    </a:cubicBezTo>
                    <a:cubicBezTo>
                      <a:pt x="1230" y="328"/>
                      <a:pt x="1230" y="328"/>
                      <a:pt x="1228" y="330"/>
                    </a:cubicBezTo>
                    <a:cubicBezTo>
                      <a:pt x="1228" y="330"/>
                      <a:pt x="1228" y="330"/>
                      <a:pt x="1226" y="330"/>
                    </a:cubicBezTo>
                    <a:cubicBezTo>
                      <a:pt x="1226" y="330"/>
                      <a:pt x="1226" y="330"/>
                      <a:pt x="1225" y="331"/>
                    </a:cubicBezTo>
                    <a:cubicBezTo>
                      <a:pt x="1225" y="331"/>
                      <a:pt x="1225" y="331"/>
                      <a:pt x="1224" y="330"/>
                    </a:cubicBezTo>
                    <a:cubicBezTo>
                      <a:pt x="1224" y="330"/>
                      <a:pt x="1224" y="330"/>
                      <a:pt x="1224" y="329"/>
                    </a:cubicBezTo>
                    <a:cubicBezTo>
                      <a:pt x="1224" y="329"/>
                      <a:pt x="1224" y="329"/>
                      <a:pt x="1225" y="328"/>
                    </a:cubicBezTo>
                    <a:cubicBezTo>
                      <a:pt x="1225" y="328"/>
                      <a:pt x="1225" y="328"/>
                      <a:pt x="1223" y="329"/>
                    </a:cubicBezTo>
                    <a:cubicBezTo>
                      <a:pt x="1223" y="329"/>
                      <a:pt x="1223" y="329"/>
                      <a:pt x="1223" y="328"/>
                    </a:cubicBezTo>
                    <a:cubicBezTo>
                      <a:pt x="1223" y="328"/>
                      <a:pt x="1223" y="328"/>
                      <a:pt x="1224" y="327"/>
                    </a:cubicBezTo>
                    <a:cubicBezTo>
                      <a:pt x="1224" y="327"/>
                      <a:pt x="1224" y="327"/>
                      <a:pt x="1225" y="326"/>
                    </a:cubicBezTo>
                    <a:cubicBezTo>
                      <a:pt x="1225" y="326"/>
                      <a:pt x="1225" y="326"/>
                      <a:pt x="1225" y="325"/>
                    </a:cubicBezTo>
                    <a:cubicBezTo>
                      <a:pt x="1225" y="325"/>
                      <a:pt x="1225" y="325"/>
                      <a:pt x="1226" y="324"/>
                    </a:cubicBezTo>
                    <a:cubicBezTo>
                      <a:pt x="1226" y="324"/>
                      <a:pt x="1226" y="324"/>
                      <a:pt x="1226" y="323"/>
                    </a:cubicBezTo>
                    <a:cubicBezTo>
                      <a:pt x="1226" y="323"/>
                      <a:pt x="1226" y="323"/>
                      <a:pt x="1227" y="322"/>
                    </a:cubicBezTo>
                    <a:cubicBezTo>
                      <a:pt x="1227" y="322"/>
                      <a:pt x="1227" y="322"/>
                      <a:pt x="1228" y="322"/>
                    </a:cubicBezTo>
                    <a:cubicBezTo>
                      <a:pt x="1228" y="322"/>
                      <a:pt x="1228" y="322"/>
                      <a:pt x="1228" y="321"/>
                    </a:cubicBezTo>
                    <a:cubicBezTo>
                      <a:pt x="1228" y="321"/>
                      <a:pt x="1228" y="321"/>
                      <a:pt x="1228" y="320"/>
                    </a:cubicBezTo>
                    <a:cubicBezTo>
                      <a:pt x="1228" y="320"/>
                      <a:pt x="1228" y="320"/>
                      <a:pt x="1229" y="320"/>
                    </a:cubicBezTo>
                    <a:cubicBezTo>
                      <a:pt x="1229" y="320"/>
                      <a:pt x="1229" y="320"/>
                      <a:pt x="1229" y="319"/>
                    </a:cubicBezTo>
                    <a:cubicBezTo>
                      <a:pt x="1229" y="319"/>
                      <a:pt x="1229" y="319"/>
                      <a:pt x="1230" y="320"/>
                    </a:cubicBezTo>
                    <a:cubicBezTo>
                      <a:pt x="1230" y="320"/>
                      <a:pt x="1230" y="320"/>
                      <a:pt x="1230" y="321"/>
                    </a:cubicBezTo>
                    <a:cubicBezTo>
                      <a:pt x="1230" y="321"/>
                      <a:pt x="1230" y="321"/>
                      <a:pt x="1231" y="320"/>
                    </a:cubicBezTo>
                    <a:cubicBezTo>
                      <a:pt x="1231" y="320"/>
                      <a:pt x="1231" y="320"/>
                      <a:pt x="1232" y="319"/>
                    </a:cubicBezTo>
                    <a:cubicBezTo>
                      <a:pt x="1231" y="319"/>
                      <a:pt x="1231" y="319"/>
                      <a:pt x="1231" y="319"/>
                    </a:cubicBezTo>
                    <a:cubicBezTo>
                      <a:pt x="1231" y="319"/>
                      <a:pt x="1231" y="319"/>
                      <a:pt x="1231" y="318"/>
                    </a:cubicBezTo>
                    <a:cubicBezTo>
                      <a:pt x="1231" y="318"/>
                      <a:pt x="1231" y="318"/>
                      <a:pt x="1232" y="317"/>
                    </a:cubicBezTo>
                    <a:cubicBezTo>
                      <a:pt x="1232" y="317"/>
                      <a:pt x="1232" y="317"/>
                      <a:pt x="1234" y="317"/>
                    </a:cubicBezTo>
                    <a:cubicBezTo>
                      <a:pt x="1234" y="317"/>
                      <a:pt x="1234" y="317"/>
                      <a:pt x="1234" y="316"/>
                    </a:cubicBezTo>
                    <a:cubicBezTo>
                      <a:pt x="1234" y="316"/>
                      <a:pt x="1234" y="316"/>
                      <a:pt x="1233" y="316"/>
                    </a:cubicBezTo>
                    <a:cubicBezTo>
                      <a:pt x="1233" y="316"/>
                      <a:pt x="1233" y="316"/>
                      <a:pt x="1234" y="315"/>
                    </a:cubicBezTo>
                    <a:cubicBezTo>
                      <a:pt x="1234" y="315"/>
                      <a:pt x="1234" y="315"/>
                      <a:pt x="1235" y="315"/>
                    </a:cubicBezTo>
                    <a:cubicBezTo>
                      <a:pt x="1235" y="315"/>
                      <a:pt x="1235" y="315"/>
                      <a:pt x="1235" y="314"/>
                    </a:cubicBezTo>
                    <a:cubicBezTo>
                      <a:pt x="1235" y="314"/>
                      <a:pt x="1235" y="314"/>
                      <a:pt x="1236" y="314"/>
                    </a:cubicBezTo>
                    <a:cubicBezTo>
                      <a:pt x="1236" y="314"/>
                      <a:pt x="1236" y="314"/>
                      <a:pt x="1237" y="313"/>
                    </a:cubicBezTo>
                    <a:cubicBezTo>
                      <a:pt x="1237" y="313"/>
                      <a:pt x="1237" y="313"/>
                      <a:pt x="1238" y="313"/>
                    </a:cubicBezTo>
                    <a:cubicBezTo>
                      <a:pt x="1238" y="313"/>
                      <a:pt x="1238" y="313"/>
                      <a:pt x="1239" y="311"/>
                    </a:cubicBezTo>
                    <a:cubicBezTo>
                      <a:pt x="1239" y="311"/>
                      <a:pt x="1239" y="311"/>
                      <a:pt x="1238" y="311"/>
                    </a:cubicBezTo>
                    <a:cubicBezTo>
                      <a:pt x="1238" y="311"/>
                      <a:pt x="1238" y="311"/>
                      <a:pt x="1238" y="312"/>
                    </a:cubicBezTo>
                    <a:cubicBezTo>
                      <a:pt x="1238" y="312"/>
                      <a:pt x="1238" y="312"/>
                      <a:pt x="1237" y="312"/>
                    </a:cubicBezTo>
                    <a:cubicBezTo>
                      <a:pt x="1237" y="312"/>
                      <a:pt x="1237" y="312"/>
                      <a:pt x="1237" y="311"/>
                    </a:cubicBezTo>
                    <a:cubicBezTo>
                      <a:pt x="1237" y="311"/>
                      <a:pt x="1237" y="311"/>
                      <a:pt x="1237" y="310"/>
                    </a:cubicBezTo>
                    <a:cubicBezTo>
                      <a:pt x="1237" y="310"/>
                      <a:pt x="1237" y="310"/>
                      <a:pt x="1236" y="310"/>
                    </a:cubicBezTo>
                    <a:cubicBezTo>
                      <a:pt x="1236" y="310"/>
                      <a:pt x="1236" y="310"/>
                      <a:pt x="1236" y="309"/>
                    </a:cubicBezTo>
                    <a:cubicBezTo>
                      <a:pt x="1236" y="309"/>
                      <a:pt x="1236" y="309"/>
                      <a:pt x="1237" y="309"/>
                    </a:cubicBezTo>
                    <a:cubicBezTo>
                      <a:pt x="1237" y="309"/>
                      <a:pt x="1237" y="309"/>
                      <a:pt x="1238" y="310"/>
                    </a:cubicBezTo>
                    <a:cubicBezTo>
                      <a:pt x="1238" y="310"/>
                      <a:pt x="1238" y="310"/>
                      <a:pt x="1238" y="309"/>
                    </a:cubicBezTo>
                    <a:cubicBezTo>
                      <a:pt x="1238" y="309"/>
                      <a:pt x="1238" y="309"/>
                      <a:pt x="1238" y="308"/>
                    </a:cubicBezTo>
                    <a:cubicBezTo>
                      <a:pt x="1238" y="308"/>
                      <a:pt x="1238" y="308"/>
                      <a:pt x="1237" y="308"/>
                    </a:cubicBezTo>
                    <a:cubicBezTo>
                      <a:pt x="1237" y="308"/>
                      <a:pt x="1237" y="308"/>
                      <a:pt x="1237" y="307"/>
                    </a:cubicBezTo>
                    <a:cubicBezTo>
                      <a:pt x="1237" y="307"/>
                      <a:pt x="1237" y="307"/>
                      <a:pt x="1238" y="307"/>
                    </a:cubicBezTo>
                    <a:cubicBezTo>
                      <a:pt x="1238" y="307"/>
                      <a:pt x="1238" y="307"/>
                      <a:pt x="1238" y="306"/>
                    </a:cubicBezTo>
                    <a:cubicBezTo>
                      <a:pt x="1238" y="306"/>
                      <a:pt x="1238" y="306"/>
                      <a:pt x="1238" y="305"/>
                    </a:cubicBezTo>
                    <a:cubicBezTo>
                      <a:pt x="1238" y="305"/>
                      <a:pt x="1238" y="305"/>
                      <a:pt x="1239" y="304"/>
                    </a:cubicBezTo>
                    <a:cubicBezTo>
                      <a:pt x="1239" y="304"/>
                      <a:pt x="1239" y="304"/>
                      <a:pt x="1240" y="305"/>
                    </a:cubicBezTo>
                    <a:cubicBezTo>
                      <a:pt x="1240" y="305"/>
                      <a:pt x="1240" y="305"/>
                      <a:pt x="1240" y="304"/>
                    </a:cubicBezTo>
                    <a:cubicBezTo>
                      <a:pt x="1240" y="304"/>
                      <a:pt x="1240" y="304"/>
                      <a:pt x="1239" y="303"/>
                    </a:cubicBezTo>
                    <a:cubicBezTo>
                      <a:pt x="1239" y="303"/>
                      <a:pt x="1239" y="303"/>
                      <a:pt x="1238" y="303"/>
                    </a:cubicBezTo>
                    <a:cubicBezTo>
                      <a:pt x="1238" y="303"/>
                      <a:pt x="1238" y="303"/>
                      <a:pt x="1238" y="302"/>
                    </a:cubicBezTo>
                    <a:cubicBezTo>
                      <a:pt x="1238" y="302"/>
                      <a:pt x="1238" y="302"/>
                      <a:pt x="1239" y="301"/>
                    </a:cubicBezTo>
                    <a:cubicBezTo>
                      <a:pt x="1239" y="301"/>
                      <a:pt x="1239" y="301"/>
                      <a:pt x="1241" y="301"/>
                    </a:cubicBezTo>
                    <a:cubicBezTo>
                      <a:pt x="1241" y="301"/>
                      <a:pt x="1241" y="301"/>
                      <a:pt x="1241" y="302"/>
                    </a:cubicBezTo>
                    <a:cubicBezTo>
                      <a:pt x="1241" y="302"/>
                      <a:pt x="1241" y="302"/>
                      <a:pt x="1242" y="302"/>
                    </a:cubicBezTo>
                    <a:cubicBezTo>
                      <a:pt x="1242" y="302"/>
                      <a:pt x="1242" y="302"/>
                      <a:pt x="1242" y="301"/>
                    </a:cubicBezTo>
                    <a:cubicBezTo>
                      <a:pt x="1242" y="301"/>
                      <a:pt x="1242" y="301"/>
                      <a:pt x="1241" y="301"/>
                    </a:cubicBezTo>
                    <a:cubicBezTo>
                      <a:pt x="1241" y="301"/>
                      <a:pt x="1241" y="301"/>
                      <a:pt x="1241" y="300"/>
                    </a:cubicBezTo>
                    <a:cubicBezTo>
                      <a:pt x="1241" y="300"/>
                      <a:pt x="1241" y="300"/>
                      <a:pt x="1239" y="299"/>
                    </a:cubicBezTo>
                    <a:cubicBezTo>
                      <a:pt x="1239" y="299"/>
                      <a:pt x="1239" y="299"/>
                      <a:pt x="1239" y="298"/>
                    </a:cubicBezTo>
                    <a:cubicBezTo>
                      <a:pt x="1239" y="298"/>
                      <a:pt x="1239" y="298"/>
                      <a:pt x="1240" y="298"/>
                    </a:cubicBezTo>
                    <a:cubicBezTo>
                      <a:pt x="1240" y="298"/>
                      <a:pt x="1240" y="298"/>
                      <a:pt x="1241" y="297"/>
                    </a:cubicBezTo>
                    <a:cubicBezTo>
                      <a:pt x="1241" y="297"/>
                      <a:pt x="1241" y="297"/>
                      <a:pt x="1240" y="297"/>
                    </a:cubicBezTo>
                    <a:cubicBezTo>
                      <a:pt x="1240" y="297"/>
                      <a:pt x="1240" y="297"/>
                      <a:pt x="1241" y="296"/>
                    </a:cubicBezTo>
                    <a:cubicBezTo>
                      <a:pt x="1242" y="296"/>
                      <a:pt x="1242" y="296"/>
                      <a:pt x="1242" y="296"/>
                    </a:cubicBezTo>
                    <a:cubicBezTo>
                      <a:pt x="1242" y="296"/>
                      <a:pt x="1242" y="296"/>
                      <a:pt x="1242" y="295"/>
                    </a:cubicBezTo>
                    <a:cubicBezTo>
                      <a:pt x="1242" y="295"/>
                      <a:pt x="1242" y="295"/>
                      <a:pt x="1241" y="295"/>
                    </a:cubicBezTo>
                    <a:cubicBezTo>
                      <a:pt x="1241" y="295"/>
                      <a:pt x="1241" y="295"/>
                      <a:pt x="1241" y="294"/>
                    </a:cubicBezTo>
                    <a:cubicBezTo>
                      <a:pt x="1241" y="294"/>
                      <a:pt x="1241" y="294"/>
                      <a:pt x="1242" y="294"/>
                    </a:cubicBezTo>
                    <a:cubicBezTo>
                      <a:pt x="1242" y="294"/>
                      <a:pt x="1242" y="294"/>
                      <a:pt x="1243" y="294"/>
                    </a:cubicBezTo>
                    <a:cubicBezTo>
                      <a:pt x="1243" y="294"/>
                      <a:pt x="1243" y="294"/>
                      <a:pt x="1242" y="293"/>
                    </a:cubicBezTo>
                    <a:cubicBezTo>
                      <a:pt x="1242" y="293"/>
                      <a:pt x="1242" y="293"/>
                      <a:pt x="1241" y="293"/>
                    </a:cubicBezTo>
                    <a:cubicBezTo>
                      <a:pt x="1241" y="293"/>
                      <a:pt x="1241" y="293"/>
                      <a:pt x="1241" y="292"/>
                    </a:cubicBezTo>
                    <a:cubicBezTo>
                      <a:pt x="1241" y="292"/>
                      <a:pt x="1241" y="292"/>
                      <a:pt x="1242" y="292"/>
                    </a:cubicBezTo>
                    <a:cubicBezTo>
                      <a:pt x="1242" y="292"/>
                      <a:pt x="1242" y="292"/>
                      <a:pt x="1244" y="291"/>
                    </a:cubicBezTo>
                    <a:cubicBezTo>
                      <a:pt x="1244" y="291"/>
                      <a:pt x="1244" y="291"/>
                      <a:pt x="1244" y="292"/>
                    </a:cubicBezTo>
                    <a:cubicBezTo>
                      <a:pt x="1244" y="292"/>
                      <a:pt x="1244" y="292"/>
                      <a:pt x="1245" y="291"/>
                    </a:cubicBezTo>
                    <a:cubicBezTo>
                      <a:pt x="1245" y="291"/>
                      <a:pt x="1245" y="291"/>
                      <a:pt x="1245" y="290"/>
                    </a:cubicBezTo>
                    <a:cubicBezTo>
                      <a:pt x="1245" y="290"/>
                      <a:pt x="1245" y="290"/>
                      <a:pt x="1247" y="290"/>
                    </a:cubicBezTo>
                    <a:cubicBezTo>
                      <a:pt x="1247" y="290"/>
                      <a:pt x="1247" y="290"/>
                      <a:pt x="1249" y="290"/>
                    </a:cubicBezTo>
                    <a:cubicBezTo>
                      <a:pt x="1249" y="290"/>
                      <a:pt x="1249" y="290"/>
                      <a:pt x="1250" y="291"/>
                    </a:cubicBezTo>
                    <a:cubicBezTo>
                      <a:pt x="1250" y="291"/>
                      <a:pt x="1250" y="291"/>
                      <a:pt x="1250" y="290"/>
                    </a:cubicBezTo>
                    <a:cubicBezTo>
                      <a:pt x="1250" y="290"/>
                      <a:pt x="1250" y="290"/>
                      <a:pt x="1249" y="289"/>
                    </a:cubicBezTo>
                    <a:cubicBezTo>
                      <a:pt x="1249" y="289"/>
                      <a:pt x="1249" y="289"/>
                      <a:pt x="1248" y="289"/>
                    </a:cubicBezTo>
                    <a:cubicBezTo>
                      <a:pt x="1248" y="289"/>
                      <a:pt x="1248" y="289"/>
                      <a:pt x="1247" y="288"/>
                    </a:cubicBezTo>
                    <a:cubicBezTo>
                      <a:pt x="1247" y="288"/>
                      <a:pt x="1247" y="288"/>
                      <a:pt x="1246" y="289"/>
                    </a:cubicBezTo>
                    <a:cubicBezTo>
                      <a:pt x="1246" y="289"/>
                      <a:pt x="1246" y="289"/>
                      <a:pt x="1245" y="288"/>
                    </a:cubicBezTo>
                    <a:cubicBezTo>
                      <a:pt x="1245" y="288"/>
                      <a:pt x="1245" y="288"/>
                      <a:pt x="1246" y="287"/>
                    </a:cubicBezTo>
                    <a:cubicBezTo>
                      <a:pt x="1246" y="287"/>
                      <a:pt x="1246" y="287"/>
                      <a:pt x="1248" y="287"/>
                    </a:cubicBezTo>
                    <a:cubicBezTo>
                      <a:pt x="1248" y="287"/>
                      <a:pt x="1248" y="287"/>
                      <a:pt x="1247" y="286"/>
                    </a:cubicBezTo>
                    <a:cubicBezTo>
                      <a:pt x="1247" y="286"/>
                      <a:pt x="1247" y="286"/>
                      <a:pt x="1247" y="285"/>
                    </a:cubicBezTo>
                    <a:cubicBezTo>
                      <a:pt x="1247" y="285"/>
                      <a:pt x="1247" y="285"/>
                      <a:pt x="1248" y="285"/>
                    </a:cubicBezTo>
                    <a:cubicBezTo>
                      <a:pt x="1248" y="285"/>
                      <a:pt x="1248" y="285"/>
                      <a:pt x="1249" y="286"/>
                    </a:cubicBezTo>
                    <a:cubicBezTo>
                      <a:pt x="1249" y="286"/>
                      <a:pt x="1249" y="286"/>
                      <a:pt x="1250" y="286"/>
                    </a:cubicBezTo>
                    <a:cubicBezTo>
                      <a:pt x="1250" y="286"/>
                      <a:pt x="1250" y="286"/>
                      <a:pt x="1251" y="287"/>
                    </a:cubicBezTo>
                    <a:cubicBezTo>
                      <a:pt x="1251" y="287"/>
                      <a:pt x="1251" y="287"/>
                      <a:pt x="1251" y="286"/>
                    </a:cubicBezTo>
                    <a:cubicBezTo>
                      <a:pt x="1251" y="286"/>
                      <a:pt x="1251" y="286"/>
                      <a:pt x="1249" y="285"/>
                    </a:cubicBezTo>
                    <a:cubicBezTo>
                      <a:pt x="1249" y="285"/>
                      <a:pt x="1249" y="285"/>
                      <a:pt x="1249" y="284"/>
                    </a:cubicBezTo>
                    <a:cubicBezTo>
                      <a:pt x="1249" y="284"/>
                      <a:pt x="1249" y="284"/>
                      <a:pt x="1249" y="283"/>
                    </a:cubicBezTo>
                    <a:cubicBezTo>
                      <a:pt x="1249" y="283"/>
                      <a:pt x="1249" y="283"/>
                      <a:pt x="1251" y="283"/>
                    </a:cubicBezTo>
                    <a:cubicBezTo>
                      <a:pt x="1251" y="283"/>
                      <a:pt x="1251" y="283"/>
                      <a:pt x="1250" y="282"/>
                    </a:cubicBezTo>
                    <a:cubicBezTo>
                      <a:pt x="1250" y="282"/>
                      <a:pt x="1250" y="282"/>
                      <a:pt x="1249" y="282"/>
                    </a:cubicBezTo>
                    <a:cubicBezTo>
                      <a:pt x="1249" y="282"/>
                      <a:pt x="1249" y="282"/>
                      <a:pt x="1248" y="283"/>
                    </a:cubicBezTo>
                    <a:cubicBezTo>
                      <a:pt x="1248" y="283"/>
                      <a:pt x="1248" y="283"/>
                      <a:pt x="1247" y="282"/>
                    </a:cubicBezTo>
                    <a:cubicBezTo>
                      <a:pt x="1247" y="282"/>
                      <a:pt x="1247" y="282"/>
                      <a:pt x="1247" y="281"/>
                    </a:cubicBezTo>
                    <a:cubicBezTo>
                      <a:pt x="1247" y="281"/>
                      <a:pt x="1247" y="281"/>
                      <a:pt x="1248" y="281"/>
                    </a:cubicBezTo>
                    <a:cubicBezTo>
                      <a:pt x="1248" y="281"/>
                      <a:pt x="1248" y="281"/>
                      <a:pt x="1249" y="281"/>
                    </a:cubicBezTo>
                    <a:cubicBezTo>
                      <a:pt x="1249" y="281"/>
                      <a:pt x="1249" y="281"/>
                      <a:pt x="1251" y="281"/>
                    </a:cubicBezTo>
                    <a:cubicBezTo>
                      <a:pt x="1251" y="281"/>
                      <a:pt x="1251" y="281"/>
                      <a:pt x="1252" y="280"/>
                    </a:cubicBezTo>
                    <a:cubicBezTo>
                      <a:pt x="1252" y="280"/>
                      <a:pt x="1252" y="280"/>
                      <a:pt x="1251" y="279"/>
                    </a:cubicBezTo>
                    <a:cubicBezTo>
                      <a:pt x="1251" y="279"/>
                      <a:pt x="1251" y="279"/>
                      <a:pt x="1250" y="279"/>
                    </a:cubicBezTo>
                    <a:cubicBezTo>
                      <a:pt x="1250" y="279"/>
                      <a:pt x="1250" y="279"/>
                      <a:pt x="1251" y="278"/>
                    </a:cubicBezTo>
                    <a:cubicBezTo>
                      <a:pt x="1251" y="278"/>
                      <a:pt x="1251" y="278"/>
                      <a:pt x="1252" y="277"/>
                    </a:cubicBezTo>
                    <a:cubicBezTo>
                      <a:pt x="1252" y="277"/>
                      <a:pt x="1252" y="277"/>
                      <a:pt x="1253" y="279"/>
                    </a:cubicBezTo>
                    <a:cubicBezTo>
                      <a:pt x="1253" y="279"/>
                      <a:pt x="1253" y="279"/>
                      <a:pt x="1253" y="280"/>
                    </a:cubicBezTo>
                    <a:cubicBezTo>
                      <a:pt x="1253" y="280"/>
                      <a:pt x="1253" y="280"/>
                      <a:pt x="1254" y="280"/>
                    </a:cubicBezTo>
                    <a:cubicBezTo>
                      <a:pt x="1254" y="280"/>
                      <a:pt x="1254" y="280"/>
                      <a:pt x="1253" y="279"/>
                    </a:cubicBezTo>
                    <a:cubicBezTo>
                      <a:pt x="1253" y="279"/>
                      <a:pt x="1253" y="279"/>
                      <a:pt x="1254" y="278"/>
                    </a:cubicBezTo>
                    <a:cubicBezTo>
                      <a:pt x="1254" y="278"/>
                      <a:pt x="1254" y="278"/>
                      <a:pt x="1254" y="277"/>
                    </a:cubicBezTo>
                    <a:cubicBezTo>
                      <a:pt x="1254" y="277"/>
                      <a:pt x="1254" y="277"/>
                      <a:pt x="1253" y="277"/>
                    </a:cubicBezTo>
                    <a:cubicBezTo>
                      <a:pt x="1253" y="277"/>
                      <a:pt x="1253" y="277"/>
                      <a:pt x="1254" y="276"/>
                    </a:cubicBezTo>
                    <a:cubicBezTo>
                      <a:pt x="1254" y="276"/>
                      <a:pt x="1254" y="276"/>
                      <a:pt x="1255" y="277"/>
                    </a:cubicBezTo>
                    <a:cubicBezTo>
                      <a:pt x="1255" y="277"/>
                      <a:pt x="1255" y="277"/>
                      <a:pt x="1255" y="276"/>
                    </a:cubicBezTo>
                    <a:cubicBezTo>
                      <a:pt x="1255" y="276"/>
                      <a:pt x="1255" y="276"/>
                      <a:pt x="1256" y="276"/>
                    </a:cubicBezTo>
                    <a:cubicBezTo>
                      <a:pt x="1256" y="276"/>
                      <a:pt x="1256" y="276"/>
                      <a:pt x="1257" y="276"/>
                    </a:cubicBezTo>
                    <a:cubicBezTo>
                      <a:pt x="1257" y="276"/>
                      <a:pt x="1257" y="276"/>
                      <a:pt x="1258" y="277"/>
                    </a:cubicBezTo>
                    <a:cubicBezTo>
                      <a:pt x="1258" y="277"/>
                      <a:pt x="1258" y="277"/>
                      <a:pt x="1259" y="276"/>
                    </a:cubicBezTo>
                    <a:cubicBezTo>
                      <a:pt x="1259" y="276"/>
                      <a:pt x="1259" y="276"/>
                      <a:pt x="1259" y="275"/>
                    </a:cubicBezTo>
                    <a:cubicBezTo>
                      <a:pt x="1259" y="275"/>
                      <a:pt x="1259" y="275"/>
                      <a:pt x="1259" y="274"/>
                    </a:cubicBezTo>
                    <a:cubicBezTo>
                      <a:pt x="1259" y="274"/>
                      <a:pt x="1259" y="274"/>
                      <a:pt x="1257" y="274"/>
                    </a:cubicBezTo>
                    <a:cubicBezTo>
                      <a:pt x="1257" y="274"/>
                      <a:pt x="1257" y="274"/>
                      <a:pt x="1254" y="275"/>
                    </a:cubicBezTo>
                    <a:cubicBezTo>
                      <a:pt x="1254" y="275"/>
                      <a:pt x="1254" y="275"/>
                      <a:pt x="1253" y="275"/>
                    </a:cubicBezTo>
                    <a:cubicBezTo>
                      <a:pt x="1253" y="275"/>
                      <a:pt x="1253" y="275"/>
                      <a:pt x="1254" y="273"/>
                    </a:cubicBezTo>
                    <a:cubicBezTo>
                      <a:pt x="1254" y="273"/>
                      <a:pt x="1254" y="273"/>
                      <a:pt x="1255" y="273"/>
                    </a:cubicBezTo>
                    <a:cubicBezTo>
                      <a:pt x="1255" y="273"/>
                      <a:pt x="1255" y="273"/>
                      <a:pt x="1255" y="272"/>
                    </a:cubicBezTo>
                    <a:cubicBezTo>
                      <a:pt x="1255" y="272"/>
                      <a:pt x="1255" y="272"/>
                      <a:pt x="1256" y="271"/>
                    </a:cubicBezTo>
                    <a:cubicBezTo>
                      <a:pt x="1256" y="271"/>
                      <a:pt x="1256" y="271"/>
                      <a:pt x="1257" y="271"/>
                    </a:cubicBezTo>
                    <a:cubicBezTo>
                      <a:pt x="1257" y="271"/>
                      <a:pt x="1257" y="271"/>
                      <a:pt x="1257" y="272"/>
                    </a:cubicBezTo>
                    <a:cubicBezTo>
                      <a:pt x="1257" y="272"/>
                      <a:pt x="1257" y="272"/>
                      <a:pt x="1258" y="271"/>
                    </a:cubicBezTo>
                    <a:cubicBezTo>
                      <a:pt x="1258" y="271"/>
                      <a:pt x="1258" y="271"/>
                      <a:pt x="1259" y="271"/>
                    </a:cubicBezTo>
                    <a:cubicBezTo>
                      <a:pt x="1259" y="271"/>
                      <a:pt x="1259" y="271"/>
                      <a:pt x="1259" y="270"/>
                    </a:cubicBezTo>
                    <a:cubicBezTo>
                      <a:pt x="1259" y="270"/>
                      <a:pt x="1259" y="270"/>
                      <a:pt x="1258" y="269"/>
                    </a:cubicBezTo>
                    <a:cubicBezTo>
                      <a:pt x="1258" y="269"/>
                      <a:pt x="1258" y="269"/>
                      <a:pt x="1259" y="269"/>
                    </a:cubicBezTo>
                    <a:cubicBezTo>
                      <a:pt x="1259" y="269"/>
                      <a:pt x="1259" y="269"/>
                      <a:pt x="1260" y="269"/>
                    </a:cubicBezTo>
                    <a:cubicBezTo>
                      <a:pt x="1260" y="269"/>
                      <a:pt x="1260" y="269"/>
                      <a:pt x="1259" y="268"/>
                    </a:cubicBezTo>
                    <a:cubicBezTo>
                      <a:pt x="1259" y="268"/>
                      <a:pt x="1259" y="268"/>
                      <a:pt x="1258" y="268"/>
                    </a:cubicBezTo>
                    <a:cubicBezTo>
                      <a:pt x="1258" y="268"/>
                      <a:pt x="1258" y="268"/>
                      <a:pt x="1259" y="266"/>
                    </a:cubicBezTo>
                    <a:cubicBezTo>
                      <a:pt x="1259" y="266"/>
                      <a:pt x="1259" y="266"/>
                      <a:pt x="1260" y="266"/>
                    </a:cubicBezTo>
                    <a:cubicBezTo>
                      <a:pt x="1260" y="266"/>
                      <a:pt x="1260" y="266"/>
                      <a:pt x="1261" y="267"/>
                    </a:cubicBezTo>
                    <a:cubicBezTo>
                      <a:pt x="1261" y="267"/>
                      <a:pt x="1261" y="267"/>
                      <a:pt x="1261" y="265"/>
                    </a:cubicBezTo>
                    <a:cubicBezTo>
                      <a:pt x="1261" y="265"/>
                      <a:pt x="1261" y="265"/>
                      <a:pt x="1261" y="263"/>
                    </a:cubicBezTo>
                    <a:cubicBezTo>
                      <a:pt x="1261" y="263"/>
                      <a:pt x="1261" y="263"/>
                      <a:pt x="1262" y="263"/>
                    </a:cubicBezTo>
                    <a:cubicBezTo>
                      <a:pt x="1262" y="263"/>
                      <a:pt x="1262" y="263"/>
                      <a:pt x="1263" y="264"/>
                    </a:cubicBezTo>
                    <a:cubicBezTo>
                      <a:pt x="1263" y="264"/>
                      <a:pt x="1263" y="264"/>
                      <a:pt x="1263" y="265"/>
                    </a:cubicBezTo>
                    <a:cubicBezTo>
                      <a:pt x="1263" y="265"/>
                      <a:pt x="1263" y="265"/>
                      <a:pt x="1264" y="265"/>
                    </a:cubicBezTo>
                    <a:cubicBezTo>
                      <a:pt x="1264" y="265"/>
                      <a:pt x="1264" y="265"/>
                      <a:pt x="1265" y="265"/>
                    </a:cubicBezTo>
                    <a:cubicBezTo>
                      <a:pt x="1265" y="265"/>
                      <a:pt x="1265" y="265"/>
                      <a:pt x="1265" y="264"/>
                    </a:cubicBezTo>
                    <a:cubicBezTo>
                      <a:pt x="1265" y="264"/>
                      <a:pt x="1265" y="264"/>
                      <a:pt x="1264" y="264"/>
                    </a:cubicBezTo>
                    <a:cubicBezTo>
                      <a:pt x="1264" y="264"/>
                      <a:pt x="1264" y="264"/>
                      <a:pt x="1263" y="263"/>
                    </a:cubicBezTo>
                    <a:cubicBezTo>
                      <a:pt x="1263" y="263"/>
                      <a:pt x="1263" y="263"/>
                      <a:pt x="1263" y="262"/>
                    </a:cubicBezTo>
                    <a:cubicBezTo>
                      <a:pt x="1263" y="262"/>
                      <a:pt x="1263" y="262"/>
                      <a:pt x="1264" y="262"/>
                    </a:cubicBezTo>
                    <a:cubicBezTo>
                      <a:pt x="1264" y="262"/>
                      <a:pt x="1264" y="262"/>
                      <a:pt x="1265" y="262"/>
                    </a:cubicBezTo>
                    <a:cubicBezTo>
                      <a:pt x="1265" y="262"/>
                      <a:pt x="1265" y="262"/>
                      <a:pt x="1266" y="264"/>
                    </a:cubicBezTo>
                    <a:cubicBezTo>
                      <a:pt x="1266" y="264"/>
                      <a:pt x="1266" y="264"/>
                      <a:pt x="1267" y="265"/>
                    </a:cubicBezTo>
                    <a:cubicBezTo>
                      <a:pt x="1267" y="265"/>
                      <a:pt x="1267" y="265"/>
                      <a:pt x="1267" y="266"/>
                    </a:cubicBezTo>
                    <a:cubicBezTo>
                      <a:pt x="1267" y="266"/>
                      <a:pt x="1267" y="266"/>
                      <a:pt x="1268" y="265"/>
                    </a:cubicBezTo>
                    <a:cubicBezTo>
                      <a:pt x="1268" y="265"/>
                      <a:pt x="1268" y="265"/>
                      <a:pt x="1268" y="264"/>
                    </a:cubicBezTo>
                    <a:cubicBezTo>
                      <a:pt x="1268" y="264"/>
                      <a:pt x="1268" y="264"/>
                      <a:pt x="1266" y="263"/>
                    </a:cubicBezTo>
                    <a:cubicBezTo>
                      <a:pt x="1266" y="263"/>
                      <a:pt x="1266" y="263"/>
                      <a:pt x="1266" y="262"/>
                    </a:cubicBezTo>
                    <a:cubicBezTo>
                      <a:pt x="1266" y="262"/>
                      <a:pt x="1266" y="262"/>
                      <a:pt x="1265" y="261"/>
                    </a:cubicBezTo>
                    <a:cubicBezTo>
                      <a:pt x="1265" y="261"/>
                      <a:pt x="1265" y="261"/>
                      <a:pt x="1266" y="259"/>
                    </a:cubicBezTo>
                    <a:cubicBezTo>
                      <a:pt x="1266" y="259"/>
                      <a:pt x="1266" y="259"/>
                      <a:pt x="1268" y="258"/>
                    </a:cubicBezTo>
                    <a:cubicBezTo>
                      <a:pt x="1268" y="258"/>
                      <a:pt x="1268" y="258"/>
                      <a:pt x="1269" y="260"/>
                    </a:cubicBezTo>
                    <a:cubicBezTo>
                      <a:pt x="1269" y="260"/>
                      <a:pt x="1269" y="260"/>
                      <a:pt x="1268" y="261"/>
                    </a:cubicBezTo>
                    <a:cubicBezTo>
                      <a:pt x="1268" y="261"/>
                      <a:pt x="1268" y="261"/>
                      <a:pt x="1268" y="263"/>
                    </a:cubicBezTo>
                    <a:cubicBezTo>
                      <a:pt x="1268" y="263"/>
                      <a:pt x="1268" y="263"/>
                      <a:pt x="1269" y="261"/>
                    </a:cubicBezTo>
                    <a:cubicBezTo>
                      <a:pt x="1269" y="261"/>
                      <a:pt x="1269" y="261"/>
                      <a:pt x="1269" y="260"/>
                    </a:cubicBezTo>
                    <a:cubicBezTo>
                      <a:pt x="1269" y="259"/>
                      <a:pt x="1269" y="259"/>
                      <a:pt x="1269" y="259"/>
                    </a:cubicBezTo>
                    <a:cubicBezTo>
                      <a:pt x="1269" y="259"/>
                      <a:pt x="1269" y="259"/>
                      <a:pt x="1270" y="257"/>
                    </a:cubicBezTo>
                    <a:cubicBezTo>
                      <a:pt x="1270" y="257"/>
                      <a:pt x="1270" y="257"/>
                      <a:pt x="1271" y="256"/>
                    </a:cubicBezTo>
                    <a:cubicBezTo>
                      <a:pt x="1271" y="256"/>
                      <a:pt x="1271" y="256"/>
                      <a:pt x="1272" y="260"/>
                    </a:cubicBezTo>
                    <a:cubicBezTo>
                      <a:pt x="1272" y="260"/>
                      <a:pt x="1272" y="260"/>
                      <a:pt x="1271" y="262"/>
                    </a:cubicBezTo>
                    <a:cubicBezTo>
                      <a:pt x="1271" y="262"/>
                      <a:pt x="1271" y="262"/>
                      <a:pt x="1270" y="263"/>
                    </a:cubicBezTo>
                    <a:cubicBezTo>
                      <a:pt x="1270" y="263"/>
                      <a:pt x="1270" y="263"/>
                      <a:pt x="1270" y="264"/>
                    </a:cubicBezTo>
                    <a:cubicBezTo>
                      <a:pt x="1270" y="264"/>
                      <a:pt x="1270" y="264"/>
                      <a:pt x="1272" y="263"/>
                    </a:cubicBezTo>
                    <a:cubicBezTo>
                      <a:pt x="1272" y="263"/>
                      <a:pt x="1272" y="263"/>
                      <a:pt x="1272" y="262"/>
                    </a:cubicBezTo>
                    <a:cubicBezTo>
                      <a:pt x="1272" y="262"/>
                      <a:pt x="1272" y="262"/>
                      <a:pt x="1273" y="260"/>
                    </a:cubicBezTo>
                    <a:cubicBezTo>
                      <a:pt x="1273" y="260"/>
                      <a:pt x="1273" y="260"/>
                      <a:pt x="1274" y="261"/>
                    </a:cubicBezTo>
                    <a:cubicBezTo>
                      <a:pt x="1274" y="261"/>
                      <a:pt x="1274" y="261"/>
                      <a:pt x="1275" y="261"/>
                    </a:cubicBezTo>
                    <a:cubicBezTo>
                      <a:pt x="1275" y="261"/>
                      <a:pt x="1275" y="261"/>
                      <a:pt x="1274" y="260"/>
                    </a:cubicBezTo>
                    <a:cubicBezTo>
                      <a:pt x="1274" y="260"/>
                      <a:pt x="1274" y="260"/>
                      <a:pt x="1273" y="259"/>
                    </a:cubicBezTo>
                    <a:cubicBezTo>
                      <a:pt x="1273" y="259"/>
                      <a:pt x="1273" y="259"/>
                      <a:pt x="1273" y="258"/>
                    </a:cubicBezTo>
                    <a:cubicBezTo>
                      <a:pt x="1273" y="258"/>
                      <a:pt x="1273" y="258"/>
                      <a:pt x="1274" y="257"/>
                    </a:cubicBezTo>
                    <a:cubicBezTo>
                      <a:pt x="1274" y="257"/>
                      <a:pt x="1274" y="257"/>
                      <a:pt x="1275" y="256"/>
                    </a:cubicBezTo>
                    <a:cubicBezTo>
                      <a:pt x="1275" y="256"/>
                      <a:pt x="1275" y="256"/>
                      <a:pt x="1275" y="258"/>
                    </a:cubicBezTo>
                    <a:cubicBezTo>
                      <a:pt x="1275" y="258"/>
                      <a:pt x="1275" y="258"/>
                      <a:pt x="1276" y="257"/>
                    </a:cubicBezTo>
                    <a:cubicBezTo>
                      <a:pt x="1276" y="257"/>
                      <a:pt x="1276" y="257"/>
                      <a:pt x="1276" y="256"/>
                    </a:cubicBezTo>
                    <a:cubicBezTo>
                      <a:pt x="1276" y="256"/>
                      <a:pt x="1276" y="256"/>
                      <a:pt x="1277" y="256"/>
                    </a:cubicBezTo>
                    <a:cubicBezTo>
                      <a:pt x="1277" y="256"/>
                      <a:pt x="1277" y="256"/>
                      <a:pt x="1278" y="257"/>
                    </a:cubicBezTo>
                    <a:cubicBezTo>
                      <a:pt x="1278" y="257"/>
                      <a:pt x="1278" y="257"/>
                      <a:pt x="1279" y="258"/>
                    </a:cubicBezTo>
                    <a:cubicBezTo>
                      <a:pt x="1279" y="258"/>
                      <a:pt x="1279" y="258"/>
                      <a:pt x="1279" y="259"/>
                    </a:cubicBezTo>
                    <a:cubicBezTo>
                      <a:pt x="1279" y="259"/>
                      <a:pt x="1279" y="259"/>
                      <a:pt x="1280" y="258"/>
                    </a:cubicBezTo>
                    <a:cubicBezTo>
                      <a:pt x="1280" y="258"/>
                      <a:pt x="1280" y="258"/>
                      <a:pt x="1279" y="257"/>
                    </a:cubicBezTo>
                    <a:cubicBezTo>
                      <a:pt x="1279" y="257"/>
                      <a:pt x="1279" y="257"/>
                      <a:pt x="1279" y="256"/>
                    </a:cubicBezTo>
                    <a:cubicBezTo>
                      <a:pt x="1279" y="256"/>
                      <a:pt x="1279" y="256"/>
                      <a:pt x="1279" y="255"/>
                    </a:cubicBezTo>
                    <a:cubicBezTo>
                      <a:pt x="1279" y="255"/>
                      <a:pt x="1279" y="255"/>
                      <a:pt x="1278" y="254"/>
                    </a:cubicBezTo>
                    <a:cubicBezTo>
                      <a:pt x="1278" y="254"/>
                      <a:pt x="1278" y="254"/>
                      <a:pt x="1277" y="254"/>
                    </a:cubicBezTo>
                    <a:cubicBezTo>
                      <a:pt x="1277" y="254"/>
                      <a:pt x="1277" y="254"/>
                      <a:pt x="1276" y="254"/>
                    </a:cubicBezTo>
                    <a:cubicBezTo>
                      <a:pt x="1276" y="254"/>
                      <a:pt x="1276" y="254"/>
                      <a:pt x="1275" y="252"/>
                    </a:cubicBezTo>
                    <a:cubicBezTo>
                      <a:pt x="1275" y="252"/>
                      <a:pt x="1275" y="252"/>
                      <a:pt x="1276" y="251"/>
                    </a:cubicBezTo>
                    <a:cubicBezTo>
                      <a:pt x="1276" y="251"/>
                      <a:pt x="1276" y="251"/>
                      <a:pt x="1277" y="251"/>
                    </a:cubicBezTo>
                    <a:cubicBezTo>
                      <a:pt x="1277" y="251"/>
                      <a:pt x="1277" y="251"/>
                      <a:pt x="1278" y="251"/>
                    </a:cubicBezTo>
                    <a:cubicBezTo>
                      <a:pt x="1278" y="251"/>
                      <a:pt x="1278" y="251"/>
                      <a:pt x="1279" y="251"/>
                    </a:cubicBezTo>
                    <a:cubicBezTo>
                      <a:pt x="1279" y="251"/>
                      <a:pt x="1279" y="251"/>
                      <a:pt x="1281" y="252"/>
                    </a:cubicBezTo>
                    <a:cubicBezTo>
                      <a:pt x="1281" y="252"/>
                      <a:pt x="1281" y="252"/>
                      <a:pt x="1282" y="252"/>
                    </a:cubicBezTo>
                    <a:cubicBezTo>
                      <a:pt x="1282" y="252"/>
                      <a:pt x="1282" y="252"/>
                      <a:pt x="1283" y="252"/>
                    </a:cubicBezTo>
                    <a:cubicBezTo>
                      <a:pt x="1283" y="252"/>
                      <a:pt x="1283" y="252"/>
                      <a:pt x="1284" y="253"/>
                    </a:cubicBezTo>
                    <a:cubicBezTo>
                      <a:pt x="1284" y="253"/>
                      <a:pt x="1284" y="253"/>
                      <a:pt x="1283" y="253"/>
                    </a:cubicBezTo>
                    <a:cubicBezTo>
                      <a:pt x="1283" y="253"/>
                      <a:pt x="1283" y="253"/>
                      <a:pt x="1284" y="254"/>
                    </a:cubicBezTo>
                    <a:cubicBezTo>
                      <a:pt x="1284" y="254"/>
                      <a:pt x="1284" y="254"/>
                      <a:pt x="1284" y="255"/>
                    </a:cubicBezTo>
                    <a:cubicBezTo>
                      <a:pt x="1284" y="255"/>
                      <a:pt x="1284" y="255"/>
                      <a:pt x="1286" y="255"/>
                    </a:cubicBezTo>
                    <a:cubicBezTo>
                      <a:pt x="1286" y="255"/>
                      <a:pt x="1286" y="255"/>
                      <a:pt x="1287" y="255"/>
                    </a:cubicBezTo>
                    <a:cubicBezTo>
                      <a:pt x="1287" y="255"/>
                      <a:pt x="1287" y="255"/>
                      <a:pt x="1286" y="254"/>
                    </a:cubicBezTo>
                    <a:cubicBezTo>
                      <a:pt x="1286" y="254"/>
                      <a:pt x="1286" y="254"/>
                      <a:pt x="1285" y="254"/>
                    </a:cubicBezTo>
                    <a:cubicBezTo>
                      <a:pt x="1285" y="254"/>
                      <a:pt x="1285" y="254"/>
                      <a:pt x="1286" y="253"/>
                    </a:cubicBezTo>
                    <a:cubicBezTo>
                      <a:pt x="1286" y="253"/>
                      <a:pt x="1286" y="253"/>
                      <a:pt x="1285" y="252"/>
                    </a:cubicBezTo>
                    <a:cubicBezTo>
                      <a:pt x="1285" y="252"/>
                      <a:pt x="1285" y="252"/>
                      <a:pt x="1285" y="251"/>
                    </a:cubicBezTo>
                    <a:cubicBezTo>
                      <a:pt x="1285" y="251"/>
                      <a:pt x="1285" y="251"/>
                      <a:pt x="1286" y="251"/>
                    </a:cubicBezTo>
                    <a:cubicBezTo>
                      <a:pt x="1286" y="251"/>
                      <a:pt x="1286" y="251"/>
                      <a:pt x="1286" y="250"/>
                    </a:cubicBezTo>
                    <a:cubicBezTo>
                      <a:pt x="1286" y="250"/>
                      <a:pt x="1286" y="250"/>
                      <a:pt x="1287" y="249"/>
                    </a:cubicBezTo>
                    <a:cubicBezTo>
                      <a:pt x="1287" y="249"/>
                      <a:pt x="1287" y="249"/>
                      <a:pt x="1287" y="248"/>
                    </a:cubicBezTo>
                    <a:cubicBezTo>
                      <a:pt x="1287" y="248"/>
                      <a:pt x="1287" y="248"/>
                      <a:pt x="1288" y="248"/>
                    </a:cubicBezTo>
                    <a:cubicBezTo>
                      <a:pt x="1288" y="248"/>
                      <a:pt x="1288" y="248"/>
                      <a:pt x="1289" y="249"/>
                    </a:cubicBezTo>
                    <a:cubicBezTo>
                      <a:pt x="1289" y="249"/>
                      <a:pt x="1289" y="249"/>
                      <a:pt x="1289" y="248"/>
                    </a:cubicBezTo>
                    <a:cubicBezTo>
                      <a:pt x="1289" y="248"/>
                      <a:pt x="1289" y="248"/>
                      <a:pt x="1289" y="247"/>
                    </a:cubicBezTo>
                    <a:cubicBezTo>
                      <a:pt x="1289" y="247"/>
                      <a:pt x="1289" y="247"/>
                      <a:pt x="1290" y="247"/>
                    </a:cubicBezTo>
                    <a:cubicBezTo>
                      <a:pt x="1290" y="247"/>
                      <a:pt x="1290" y="247"/>
                      <a:pt x="1291" y="247"/>
                    </a:cubicBezTo>
                    <a:cubicBezTo>
                      <a:pt x="1291" y="247"/>
                      <a:pt x="1291" y="247"/>
                      <a:pt x="1291" y="246"/>
                    </a:cubicBezTo>
                    <a:cubicBezTo>
                      <a:pt x="1291" y="246"/>
                      <a:pt x="1291" y="246"/>
                      <a:pt x="1289" y="245"/>
                    </a:cubicBezTo>
                    <a:cubicBezTo>
                      <a:pt x="1289" y="245"/>
                      <a:pt x="1289" y="245"/>
                      <a:pt x="1289" y="244"/>
                    </a:cubicBezTo>
                    <a:cubicBezTo>
                      <a:pt x="1289" y="244"/>
                      <a:pt x="1289" y="244"/>
                      <a:pt x="1290" y="244"/>
                    </a:cubicBezTo>
                    <a:cubicBezTo>
                      <a:pt x="1290" y="244"/>
                      <a:pt x="1290" y="244"/>
                      <a:pt x="1291" y="245"/>
                    </a:cubicBezTo>
                    <a:cubicBezTo>
                      <a:pt x="1291" y="245"/>
                      <a:pt x="1291" y="245"/>
                      <a:pt x="1291" y="244"/>
                    </a:cubicBezTo>
                    <a:cubicBezTo>
                      <a:pt x="1291" y="244"/>
                      <a:pt x="1291" y="244"/>
                      <a:pt x="1291" y="243"/>
                    </a:cubicBezTo>
                    <a:cubicBezTo>
                      <a:pt x="1291" y="243"/>
                      <a:pt x="1291" y="243"/>
                      <a:pt x="1292" y="242"/>
                    </a:cubicBezTo>
                    <a:cubicBezTo>
                      <a:pt x="1292" y="242"/>
                      <a:pt x="1292" y="242"/>
                      <a:pt x="1293" y="242"/>
                    </a:cubicBezTo>
                    <a:cubicBezTo>
                      <a:pt x="1293" y="242"/>
                      <a:pt x="1293" y="242"/>
                      <a:pt x="1293" y="243"/>
                    </a:cubicBezTo>
                    <a:cubicBezTo>
                      <a:pt x="1293" y="243"/>
                      <a:pt x="1293" y="243"/>
                      <a:pt x="1294" y="244"/>
                    </a:cubicBezTo>
                    <a:cubicBezTo>
                      <a:pt x="1294" y="244"/>
                      <a:pt x="1294" y="244"/>
                      <a:pt x="1294" y="243"/>
                    </a:cubicBezTo>
                    <a:cubicBezTo>
                      <a:pt x="1294" y="243"/>
                      <a:pt x="1294" y="243"/>
                      <a:pt x="1294" y="242"/>
                    </a:cubicBezTo>
                    <a:cubicBezTo>
                      <a:pt x="1294" y="242"/>
                      <a:pt x="1294" y="242"/>
                      <a:pt x="1295" y="242"/>
                    </a:cubicBezTo>
                    <a:cubicBezTo>
                      <a:pt x="1295" y="242"/>
                      <a:pt x="1295" y="242"/>
                      <a:pt x="1296" y="243"/>
                    </a:cubicBezTo>
                    <a:cubicBezTo>
                      <a:pt x="1296" y="243"/>
                      <a:pt x="1296" y="243"/>
                      <a:pt x="1297" y="243"/>
                    </a:cubicBezTo>
                    <a:cubicBezTo>
                      <a:pt x="1297" y="243"/>
                      <a:pt x="1297" y="243"/>
                      <a:pt x="1297" y="244"/>
                    </a:cubicBezTo>
                    <a:cubicBezTo>
                      <a:pt x="1297" y="244"/>
                      <a:pt x="1297" y="244"/>
                      <a:pt x="1296" y="244"/>
                    </a:cubicBezTo>
                    <a:cubicBezTo>
                      <a:pt x="1296" y="244"/>
                      <a:pt x="1296" y="244"/>
                      <a:pt x="1296" y="245"/>
                    </a:cubicBezTo>
                    <a:cubicBezTo>
                      <a:pt x="1296" y="245"/>
                      <a:pt x="1296" y="245"/>
                      <a:pt x="1294" y="247"/>
                    </a:cubicBezTo>
                    <a:cubicBezTo>
                      <a:pt x="1294" y="247"/>
                      <a:pt x="1294" y="247"/>
                      <a:pt x="1295" y="249"/>
                    </a:cubicBezTo>
                    <a:cubicBezTo>
                      <a:pt x="1295" y="249"/>
                      <a:pt x="1295" y="249"/>
                      <a:pt x="1294" y="249"/>
                    </a:cubicBezTo>
                    <a:cubicBezTo>
                      <a:pt x="1294" y="249"/>
                      <a:pt x="1294" y="249"/>
                      <a:pt x="1295" y="250"/>
                    </a:cubicBezTo>
                    <a:cubicBezTo>
                      <a:pt x="1295" y="250"/>
                      <a:pt x="1295" y="250"/>
                      <a:pt x="1293" y="252"/>
                    </a:cubicBezTo>
                    <a:cubicBezTo>
                      <a:pt x="1293" y="252"/>
                      <a:pt x="1293" y="252"/>
                      <a:pt x="1294" y="253"/>
                    </a:cubicBezTo>
                    <a:cubicBezTo>
                      <a:pt x="1294" y="253"/>
                      <a:pt x="1294" y="253"/>
                      <a:pt x="1294" y="254"/>
                    </a:cubicBezTo>
                    <a:cubicBezTo>
                      <a:pt x="1294" y="254"/>
                      <a:pt x="1294" y="254"/>
                      <a:pt x="1295" y="254"/>
                    </a:cubicBezTo>
                    <a:cubicBezTo>
                      <a:pt x="1295" y="254"/>
                      <a:pt x="1295" y="254"/>
                      <a:pt x="1296" y="252"/>
                    </a:cubicBezTo>
                    <a:cubicBezTo>
                      <a:pt x="1296" y="252"/>
                      <a:pt x="1296" y="252"/>
                      <a:pt x="1296" y="251"/>
                    </a:cubicBezTo>
                    <a:cubicBezTo>
                      <a:pt x="1296" y="251"/>
                      <a:pt x="1296" y="251"/>
                      <a:pt x="1296" y="250"/>
                    </a:cubicBezTo>
                    <a:cubicBezTo>
                      <a:pt x="1296" y="250"/>
                      <a:pt x="1296" y="250"/>
                      <a:pt x="1297" y="248"/>
                    </a:cubicBezTo>
                    <a:cubicBezTo>
                      <a:pt x="1297" y="248"/>
                      <a:pt x="1297" y="248"/>
                      <a:pt x="1298" y="246"/>
                    </a:cubicBezTo>
                    <a:cubicBezTo>
                      <a:pt x="1298" y="246"/>
                      <a:pt x="1298" y="246"/>
                      <a:pt x="1298" y="245"/>
                    </a:cubicBezTo>
                    <a:cubicBezTo>
                      <a:pt x="1298" y="245"/>
                      <a:pt x="1298" y="245"/>
                      <a:pt x="1300" y="242"/>
                    </a:cubicBezTo>
                    <a:cubicBezTo>
                      <a:pt x="1300" y="242"/>
                      <a:pt x="1300" y="242"/>
                      <a:pt x="1301" y="243"/>
                    </a:cubicBezTo>
                    <a:cubicBezTo>
                      <a:pt x="1301" y="243"/>
                      <a:pt x="1301" y="243"/>
                      <a:pt x="1301" y="245"/>
                    </a:cubicBezTo>
                    <a:cubicBezTo>
                      <a:pt x="1301" y="245"/>
                      <a:pt x="1301" y="245"/>
                      <a:pt x="1300" y="245"/>
                    </a:cubicBezTo>
                    <a:cubicBezTo>
                      <a:pt x="1300" y="245"/>
                      <a:pt x="1300" y="245"/>
                      <a:pt x="1300" y="246"/>
                    </a:cubicBezTo>
                    <a:cubicBezTo>
                      <a:pt x="1300" y="246"/>
                      <a:pt x="1300" y="246"/>
                      <a:pt x="1301" y="246"/>
                    </a:cubicBezTo>
                    <a:cubicBezTo>
                      <a:pt x="1301" y="246"/>
                      <a:pt x="1301" y="246"/>
                      <a:pt x="1300" y="248"/>
                    </a:cubicBezTo>
                    <a:cubicBezTo>
                      <a:pt x="1300" y="248"/>
                      <a:pt x="1300" y="248"/>
                      <a:pt x="1300" y="250"/>
                    </a:cubicBezTo>
                    <a:cubicBezTo>
                      <a:pt x="1300" y="250"/>
                      <a:pt x="1300" y="250"/>
                      <a:pt x="1301" y="249"/>
                    </a:cubicBezTo>
                    <a:cubicBezTo>
                      <a:pt x="1301" y="249"/>
                      <a:pt x="1301" y="249"/>
                      <a:pt x="1302" y="248"/>
                    </a:cubicBezTo>
                    <a:cubicBezTo>
                      <a:pt x="1302" y="248"/>
                      <a:pt x="1302" y="248"/>
                      <a:pt x="1302" y="249"/>
                    </a:cubicBezTo>
                    <a:cubicBezTo>
                      <a:pt x="1302" y="249"/>
                      <a:pt x="1302" y="249"/>
                      <a:pt x="1303" y="248"/>
                    </a:cubicBezTo>
                    <a:cubicBezTo>
                      <a:pt x="1303" y="248"/>
                      <a:pt x="1303" y="248"/>
                      <a:pt x="1302" y="247"/>
                    </a:cubicBezTo>
                    <a:cubicBezTo>
                      <a:pt x="1302" y="247"/>
                      <a:pt x="1302" y="247"/>
                      <a:pt x="1303" y="247"/>
                    </a:cubicBezTo>
                    <a:cubicBezTo>
                      <a:pt x="1303" y="247"/>
                      <a:pt x="1303" y="247"/>
                      <a:pt x="1303" y="246"/>
                    </a:cubicBezTo>
                    <a:cubicBezTo>
                      <a:pt x="1303" y="246"/>
                      <a:pt x="1303" y="246"/>
                      <a:pt x="1303" y="245"/>
                    </a:cubicBezTo>
                    <a:cubicBezTo>
                      <a:pt x="1303" y="245"/>
                      <a:pt x="1303" y="245"/>
                      <a:pt x="1304" y="245"/>
                    </a:cubicBezTo>
                    <a:cubicBezTo>
                      <a:pt x="1304" y="245"/>
                      <a:pt x="1304" y="245"/>
                      <a:pt x="1304" y="244"/>
                    </a:cubicBezTo>
                    <a:cubicBezTo>
                      <a:pt x="1304" y="244"/>
                      <a:pt x="1304" y="244"/>
                      <a:pt x="1304" y="243"/>
                    </a:cubicBezTo>
                    <a:cubicBezTo>
                      <a:pt x="1304" y="243"/>
                      <a:pt x="1304" y="243"/>
                      <a:pt x="1303" y="243"/>
                    </a:cubicBezTo>
                    <a:cubicBezTo>
                      <a:pt x="1303" y="243"/>
                      <a:pt x="1303" y="243"/>
                      <a:pt x="1303" y="242"/>
                    </a:cubicBezTo>
                    <a:cubicBezTo>
                      <a:pt x="1303" y="242"/>
                      <a:pt x="1303" y="242"/>
                      <a:pt x="1303" y="241"/>
                    </a:cubicBezTo>
                    <a:cubicBezTo>
                      <a:pt x="1303" y="241"/>
                      <a:pt x="1303" y="241"/>
                      <a:pt x="1304" y="241"/>
                    </a:cubicBezTo>
                    <a:cubicBezTo>
                      <a:pt x="1304" y="241"/>
                      <a:pt x="1304" y="241"/>
                      <a:pt x="1305" y="242"/>
                    </a:cubicBezTo>
                    <a:cubicBezTo>
                      <a:pt x="1305" y="242"/>
                      <a:pt x="1305" y="242"/>
                      <a:pt x="1306" y="241"/>
                    </a:cubicBezTo>
                    <a:cubicBezTo>
                      <a:pt x="1306" y="241"/>
                      <a:pt x="1306" y="241"/>
                      <a:pt x="1305" y="240"/>
                    </a:cubicBezTo>
                    <a:cubicBezTo>
                      <a:pt x="1305" y="240"/>
                      <a:pt x="1305" y="240"/>
                      <a:pt x="1306" y="239"/>
                    </a:cubicBezTo>
                    <a:cubicBezTo>
                      <a:pt x="1306" y="239"/>
                      <a:pt x="1306" y="239"/>
                      <a:pt x="1307" y="240"/>
                    </a:cubicBezTo>
                    <a:cubicBezTo>
                      <a:pt x="1307" y="240"/>
                      <a:pt x="1307" y="240"/>
                      <a:pt x="1308" y="239"/>
                    </a:cubicBezTo>
                    <a:cubicBezTo>
                      <a:pt x="1308" y="239"/>
                      <a:pt x="1308" y="239"/>
                      <a:pt x="1308" y="240"/>
                    </a:cubicBezTo>
                    <a:cubicBezTo>
                      <a:pt x="1308" y="240"/>
                      <a:pt x="1308" y="240"/>
                      <a:pt x="1308" y="241"/>
                    </a:cubicBezTo>
                    <a:cubicBezTo>
                      <a:pt x="1308" y="241"/>
                      <a:pt x="1308" y="241"/>
                      <a:pt x="1309" y="241"/>
                    </a:cubicBezTo>
                    <a:cubicBezTo>
                      <a:pt x="1309" y="241"/>
                      <a:pt x="1309" y="241"/>
                      <a:pt x="1310" y="241"/>
                    </a:cubicBezTo>
                    <a:cubicBezTo>
                      <a:pt x="1310" y="241"/>
                      <a:pt x="1310" y="241"/>
                      <a:pt x="1309" y="243"/>
                    </a:cubicBezTo>
                    <a:cubicBezTo>
                      <a:pt x="1309" y="243"/>
                      <a:pt x="1309" y="243"/>
                      <a:pt x="1308" y="243"/>
                    </a:cubicBezTo>
                    <a:cubicBezTo>
                      <a:pt x="1308" y="243"/>
                      <a:pt x="1308" y="243"/>
                      <a:pt x="1307" y="243"/>
                    </a:cubicBezTo>
                    <a:cubicBezTo>
                      <a:pt x="1307" y="243"/>
                      <a:pt x="1307" y="243"/>
                      <a:pt x="1307" y="244"/>
                    </a:cubicBezTo>
                    <a:cubicBezTo>
                      <a:pt x="1307" y="244"/>
                      <a:pt x="1307" y="244"/>
                      <a:pt x="1308" y="244"/>
                    </a:cubicBezTo>
                    <a:cubicBezTo>
                      <a:pt x="1308" y="244"/>
                      <a:pt x="1308" y="244"/>
                      <a:pt x="1308" y="245"/>
                    </a:cubicBezTo>
                    <a:cubicBezTo>
                      <a:pt x="1308" y="245"/>
                      <a:pt x="1308" y="245"/>
                      <a:pt x="1307" y="245"/>
                    </a:cubicBezTo>
                    <a:cubicBezTo>
                      <a:pt x="1307" y="245"/>
                      <a:pt x="1307" y="245"/>
                      <a:pt x="1307" y="246"/>
                    </a:cubicBezTo>
                    <a:cubicBezTo>
                      <a:pt x="1307" y="246"/>
                      <a:pt x="1307" y="246"/>
                      <a:pt x="1308" y="246"/>
                    </a:cubicBezTo>
                    <a:cubicBezTo>
                      <a:pt x="1308" y="246"/>
                      <a:pt x="1308" y="246"/>
                      <a:pt x="1309" y="245"/>
                    </a:cubicBezTo>
                    <a:cubicBezTo>
                      <a:pt x="1309" y="245"/>
                      <a:pt x="1309" y="245"/>
                      <a:pt x="1309" y="246"/>
                    </a:cubicBezTo>
                    <a:cubicBezTo>
                      <a:pt x="1309" y="246"/>
                      <a:pt x="1309" y="246"/>
                      <a:pt x="1309" y="247"/>
                    </a:cubicBezTo>
                    <a:cubicBezTo>
                      <a:pt x="1309" y="247"/>
                      <a:pt x="1309" y="247"/>
                      <a:pt x="1308" y="247"/>
                    </a:cubicBezTo>
                    <a:cubicBezTo>
                      <a:pt x="1308" y="247"/>
                      <a:pt x="1308" y="247"/>
                      <a:pt x="1307" y="249"/>
                    </a:cubicBezTo>
                    <a:cubicBezTo>
                      <a:pt x="1307" y="249"/>
                      <a:pt x="1307" y="249"/>
                      <a:pt x="1308" y="248"/>
                    </a:cubicBezTo>
                    <a:cubicBezTo>
                      <a:pt x="1308" y="248"/>
                      <a:pt x="1308" y="248"/>
                      <a:pt x="1309" y="248"/>
                    </a:cubicBezTo>
                    <a:cubicBezTo>
                      <a:pt x="1309" y="248"/>
                      <a:pt x="1309" y="248"/>
                      <a:pt x="1310" y="248"/>
                    </a:cubicBezTo>
                    <a:cubicBezTo>
                      <a:pt x="1310" y="248"/>
                      <a:pt x="1310" y="248"/>
                      <a:pt x="1311" y="249"/>
                    </a:cubicBezTo>
                    <a:cubicBezTo>
                      <a:pt x="1311" y="249"/>
                      <a:pt x="1311" y="249"/>
                      <a:pt x="1311" y="248"/>
                    </a:cubicBezTo>
                    <a:cubicBezTo>
                      <a:pt x="1311" y="248"/>
                      <a:pt x="1311" y="248"/>
                      <a:pt x="1312" y="248"/>
                    </a:cubicBezTo>
                    <a:cubicBezTo>
                      <a:pt x="1312" y="248"/>
                      <a:pt x="1312" y="248"/>
                      <a:pt x="1311" y="246"/>
                    </a:cubicBezTo>
                    <a:cubicBezTo>
                      <a:pt x="1311" y="246"/>
                      <a:pt x="1311" y="246"/>
                      <a:pt x="1311" y="245"/>
                    </a:cubicBezTo>
                    <a:cubicBezTo>
                      <a:pt x="1311" y="245"/>
                      <a:pt x="1311" y="245"/>
                      <a:pt x="1312" y="245"/>
                    </a:cubicBezTo>
                    <a:cubicBezTo>
                      <a:pt x="1312" y="245"/>
                      <a:pt x="1312" y="245"/>
                      <a:pt x="1312" y="243"/>
                    </a:cubicBezTo>
                    <a:cubicBezTo>
                      <a:pt x="1312" y="243"/>
                      <a:pt x="1312" y="243"/>
                      <a:pt x="1313" y="243"/>
                    </a:cubicBezTo>
                    <a:cubicBezTo>
                      <a:pt x="1313" y="243"/>
                      <a:pt x="1313" y="243"/>
                      <a:pt x="1314" y="243"/>
                    </a:cubicBezTo>
                    <a:cubicBezTo>
                      <a:pt x="1314" y="243"/>
                      <a:pt x="1314" y="243"/>
                      <a:pt x="1315" y="243"/>
                    </a:cubicBezTo>
                    <a:cubicBezTo>
                      <a:pt x="1315" y="243"/>
                      <a:pt x="1315" y="243"/>
                      <a:pt x="1315" y="244"/>
                    </a:cubicBezTo>
                    <a:cubicBezTo>
                      <a:pt x="1315" y="244"/>
                      <a:pt x="1315" y="244"/>
                      <a:pt x="1314" y="245"/>
                    </a:cubicBezTo>
                    <a:cubicBezTo>
                      <a:pt x="1314" y="245"/>
                      <a:pt x="1314" y="245"/>
                      <a:pt x="1315" y="245"/>
                    </a:cubicBezTo>
                    <a:cubicBezTo>
                      <a:pt x="1315" y="245"/>
                      <a:pt x="1315" y="245"/>
                      <a:pt x="1316" y="245"/>
                    </a:cubicBezTo>
                    <a:cubicBezTo>
                      <a:pt x="1316" y="245"/>
                      <a:pt x="1316" y="245"/>
                      <a:pt x="1316" y="246"/>
                    </a:cubicBezTo>
                    <a:cubicBezTo>
                      <a:pt x="1316" y="246"/>
                      <a:pt x="1316" y="246"/>
                      <a:pt x="1317" y="244"/>
                    </a:cubicBezTo>
                    <a:cubicBezTo>
                      <a:pt x="1317" y="244"/>
                      <a:pt x="1317" y="244"/>
                      <a:pt x="1318" y="244"/>
                    </a:cubicBezTo>
                    <a:cubicBezTo>
                      <a:pt x="1318" y="244"/>
                      <a:pt x="1318" y="244"/>
                      <a:pt x="1319" y="245"/>
                    </a:cubicBezTo>
                    <a:cubicBezTo>
                      <a:pt x="1319" y="245"/>
                      <a:pt x="1319" y="245"/>
                      <a:pt x="1319" y="246"/>
                    </a:cubicBezTo>
                    <a:cubicBezTo>
                      <a:pt x="1319" y="246"/>
                      <a:pt x="1319" y="246"/>
                      <a:pt x="1318" y="246"/>
                    </a:cubicBezTo>
                    <a:cubicBezTo>
                      <a:pt x="1318" y="246"/>
                      <a:pt x="1318" y="246"/>
                      <a:pt x="1319" y="247"/>
                    </a:cubicBezTo>
                    <a:cubicBezTo>
                      <a:pt x="1319" y="247"/>
                      <a:pt x="1319" y="247"/>
                      <a:pt x="1320" y="246"/>
                    </a:cubicBezTo>
                    <a:cubicBezTo>
                      <a:pt x="1320" y="246"/>
                      <a:pt x="1320" y="246"/>
                      <a:pt x="1321" y="246"/>
                    </a:cubicBezTo>
                    <a:cubicBezTo>
                      <a:pt x="1321" y="246"/>
                      <a:pt x="1321" y="246"/>
                      <a:pt x="1323" y="247"/>
                    </a:cubicBezTo>
                    <a:cubicBezTo>
                      <a:pt x="1323" y="247"/>
                      <a:pt x="1323" y="247"/>
                      <a:pt x="1324" y="247"/>
                    </a:cubicBezTo>
                    <a:cubicBezTo>
                      <a:pt x="1324" y="247"/>
                      <a:pt x="1324" y="247"/>
                      <a:pt x="1325" y="248"/>
                    </a:cubicBezTo>
                    <a:cubicBezTo>
                      <a:pt x="1325" y="248"/>
                      <a:pt x="1325" y="248"/>
                      <a:pt x="1324" y="249"/>
                    </a:cubicBezTo>
                    <a:cubicBezTo>
                      <a:pt x="1324" y="249"/>
                      <a:pt x="1324" y="249"/>
                      <a:pt x="1322" y="250"/>
                    </a:cubicBezTo>
                    <a:cubicBezTo>
                      <a:pt x="1322" y="250"/>
                      <a:pt x="1322" y="250"/>
                      <a:pt x="1321" y="252"/>
                    </a:cubicBezTo>
                    <a:cubicBezTo>
                      <a:pt x="1321" y="252"/>
                      <a:pt x="1321" y="252"/>
                      <a:pt x="1319" y="253"/>
                    </a:cubicBezTo>
                    <a:cubicBezTo>
                      <a:pt x="1319" y="253"/>
                      <a:pt x="1319" y="253"/>
                      <a:pt x="1317" y="252"/>
                    </a:cubicBezTo>
                    <a:cubicBezTo>
                      <a:pt x="1317" y="252"/>
                      <a:pt x="1317" y="252"/>
                      <a:pt x="1316" y="252"/>
                    </a:cubicBezTo>
                    <a:cubicBezTo>
                      <a:pt x="1316" y="252"/>
                      <a:pt x="1316" y="252"/>
                      <a:pt x="1314" y="252"/>
                    </a:cubicBezTo>
                    <a:cubicBezTo>
                      <a:pt x="1314" y="252"/>
                      <a:pt x="1314" y="252"/>
                      <a:pt x="1312" y="252"/>
                    </a:cubicBezTo>
                    <a:cubicBezTo>
                      <a:pt x="1312" y="252"/>
                      <a:pt x="1312" y="252"/>
                      <a:pt x="1313" y="253"/>
                    </a:cubicBezTo>
                    <a:cubicBezTo>
                      <a:pt x="1313" y="253"/>
                      <a:pt x="1313" y="253"/>
                      <a:pt x="1314" y="253"/>
                    </a:cubicBezTo>
                    <a:cubicBezTo>
                      <a:pt x="1314" y="253"/>
                      <a:pt x="1314" y="253"/>
                      <a:pt x="1315" y="253"/>
                    </a:cubicBezTo>
                    <a:cubicBezTo>
                      <a:pt x="1315" y="253"/>
                      <a:pt x="1315" y="253"/>
                      <a:pt x="1316" y="253"/>
                    </a:cubicBezTo>
                    <a:cubicBezTo>
                      <a:pt x="1316" y="253"/>
                      <a:pt x="1316" y="253"/>
                      <a:pt x="1317" y="254"/>
                    </a:cubicBezTo>
                    <a:cubicBezTo>
                      <a:pt x="1317" y="254"/>
                      <a:pt x="1317" y="254"/>
                      <a:pt x="1317" y="255"/>
                    </a:cubicBezTo>
                    <a:cubicBezTo>
                      <a:pt x="1317" y="255"/>
                      <a:pt x="1317" y="255"/>
                      <a:pt x="1318" y="255"/>
                    </a:cubicBezTo>
                    <a:cubicBezTo>
                      <a:pt x="1318" y="255"/>
                      <a:pt x="1318" y="255"/>
                      <a:pt x="1318" y="256"/>
                    </a:cubicBezTo>
                    <a:cubicBezTo>
                      <a:pt x="1318" y="256"/>
                      <a:pt x="1318" y="256"/>
                      <a:pt x="1318" y="257"/>
                    </a:cubicBezTo>
                    <a:cubicBezTo>
                      <a:pt x="1318" y="257"/>
                      <a:pt x="1318" y="257"/>
                      <a:pt x="1319" y="256"/>
                    </a:cubicBezTo>
                    <a:cubicBezTo>
                      <a:pt x="1319" y="256"/>
                      <a:pt x="1319" y="256"/>
                      <a:pt x="1320" y="257"/>
                    </a:cubicBezTo>
                    <a:cubicBezTo>
                      <a:pt x="1320" y="257"/>
                      <a:pt x="1320" y="257"/>
                      <a:pt x="1321" y="256"/>
                    </a:cubicBezTo>
                    <a:cubicBezTo>
                      <a:pt x="1321" y="256"/>
                      <a:pt x="1321" y="256"/>
                      <a:pt x="1322" y="256"/>
                    </a:cubicBezTo>
                    <a:cubicBezTo>
                      <a:pt x="1322" y="256"/>
                      <a:pt x="1322" y="256"/>
                      <a:pt x="1322" y="255"/>
                    </a:cubicBezTo>
                    <a:cubicBezTo>
                      <a:pt x="1322" y="255"/>
                      <a:pt x="1322" y="255"/>
                      <a:pt x="1323" y="255"/>
                    </a:cubicBezTo>
                    <a:cubicBezTo>
                      <a:pt x="1323" y="255"/>
                      <a:pt x="1323" y="255"/>
                      <a:pt x="1324" y="256"/>
                    </a:cubicBezTo>
                    <a:cubicBezTo>
                      <a:pt x="1325" y="256"/>
                      <a:pt x="1325" y="256"/>
                      <a:pt x="1325" y="256"/>
                    </a:cubicBezTo>
                    <a:cubicBezTo>
                      <a:pt x="1326" y="257"/>
                      <a:pt x="1326" y="257"/>
                      <a:pt x="1326" y="257"/>
                    </a:cubicBezTo>
                    <a:cubicBezTo>
                      <a:pt x="1326" y="258"/>
                      <a:pt x="1326" y="258"/>
                      <a:pt x="1326" y="258"/>
                    </a:cubicBezTo>
                    <a:cubicBezTo>
                      <a:pt x="1327" y="259"/>
                      <a:pt x="1327" y="259"/>
                      <a:pt x="1327" y="259"/>
                    </a:cubicBezTo>
                    <a:cubicBezTo>
                      <a:pt x="1327" y="257"/>
                      <a:pt x="1327" y="257"/>
                      <a:pt x="1327" y="257"/>
                    </a:cubicBezTo>
                    <a:cubicBezTo>
                      <a:pt x="1327" y="256"/>
                      <a:pt x="1327" y="256"/>
                      <a:pt x="1327" y="256"/>
                    </a:cubicBezTo>
                    <a:cubicBezTo>
                      <a:pt x="1328" y="256"/>
                      <a:pt x="1328" y="256"/>
                      <a:pt x="1328" y="256"/>
                    </a:cubicBezTo>
                    <a:cubicBezTo>
                      <a:pt x="1329" y="256"/>
                      <a:pt x="1329" y="256"/>
                      <a:pt x="1329" y="256"/>
                    </a:cubicBezTo>
                    <a:cubicBezTo>
                      <a:pt x="1327" y="255"/>
                      <a:pt x="1327" y="255"/>
                      <a:pt x="1327" y="255"/>
                    </a:cubicBezTo>
                    <a:cubicBezTo>
                      <a:pt x="1328" y="255"/>
                      <a:pt x="1328" y="255"/>
                      <a:pt x="1328" y="255"/>
                    </a:cubicBezTo>
                    <a:cubicBezTo>
                      <a:pt x="1329" y="255"/>
                      <a:pt x="1329" y="255"/>
                      <a:pt x="1329" y="255"/>
                    </a:cubicBezTo>
                    <a:cubicBezTo>
                      <a:pt x="1329" y="254"/>
                      <a:pt x="1329" y="254"/>
                      <a:pt x="1329" y="254"/>
                    </a:cubicBezTo>
                    <a:cubicBezTo>
                      <a:pt x="1328" y="254"/>
                      <a:pt x="1328" y="254"/>
                      <a:pt x="1328" y="254"/>
                    </a:cubicBezTo>
                    <a:cubicBezTo>
                      <a:pt x="1328" y="253"/>
                      <a:pt x="1328" y="253"/>
                      <a:pt x="1328" y="253"/>
                    </a:cubicBezTo>
                    <a:cubicBezTo>
                      <a:pt x="1330" y="253"/>
                      <a:pt x="1330" y="253"/>
                      <a:pt x="1330" y="253"/>
                    </a:cubicBezTo>
                    <a:cubicBezTo>
                      <a:pt x="1331" y="254"/>
                      <a:pt x="1331" y="254"/>
                      <a:pt x="1331" y="254"/>
                    </a:cubicBezTo>
                    <a:cubicBezTo>
                      <a:pt x="1332" y="255"/>
                      <a:pt x="1332" y="255"/>
                      <a:pt x="1332" y="255"/>
                    </a:cubicBezTo>
                    <a:cubicBezTo>
                      <a:pt x="1333" y="255"/>
                      <a:pt x="1333" y="255"/>
                      <a:pt x="1333" y="255"/>
                    </a:cubicBezTo>
                    <a:cubicBezTo>
                      <a:pt x="1334" y="255"/>
                      <a:pt x="1334" y="255"/>
                      <a:pt x="1334" y="255"/>
                    </a:cubicBezTo>
                    <a:cubicBezTo>
                      <a:pt x="1334" y="256"/>
                      <a:pt x="1334" y="256"/>
                      <a:pt x="1334" y="256"/>
                    </a:cubicBezTo>
                    <a:cubicBezTo>
                      <a:pt x="1335" y="256"/>
                      <a:pt x="1335" y="256"/>
                      <a:pt x="1335" y="256"/>
                    </a:cubicBezTo>
                    <a:cubicBezTo>
                      <a:pt x="1335" y="257"/>
                      <a:pt x="1335" y="257"/>
                      <a:pt x="1335" y="257"/>
                    </a:cubicBezTo>
                    <a:cubicBezTo>
                      <a:pt x="1334" y="258"/>
                      <a:pt x="1334" y="258"/>
                      <a:pt x="1334" y="258"/>
                    </a:cubicBezTo>
                    <a:cubicBezTo>
                      <a:pt x="1333" y="257"/>
                      <a:pt x="1333" y="257"/>
                      <a:pt x="1333" y="257"/>
                    </a:cubicBezTo>
                    <a:cubicBezTo>
                      <a:pt x="1331" y="258"/>
                      <a:pt x="1331" y="258"/>
                      <a:pt x="1331" y="258"/>
                    </a:cubicBezTo>
                    <a:cubicBezTo>
                      <a:pt x="1330" y="257"/>
                      <a:pt x="1330" y="257"/>
                      <a:pt x="1330" y="257"/>
                    </a:cubicBezTo>
                    <a:cubicBezTo>
                      <a:pt x="1330" y="258"/>
                      <a:pt x="1330" y="258"/>
                      <a:pt x="1330" y="258"/>
                    </a:cubicBezTo>
                    <a:cubicBezTo>
                      <a:pt x="1330" y="259"/>
                      <a:pt x="1330" y="259"/>
                      <a:pt x="1330" y="259"/>
                    </a:cubicBezTo>
                    <a:cubicBezTo>
                      <a:pt x="1331" y="258"/>
                      <a:pt x="1331" y="258"/>
                      <a:pt x="1331" y="258"/>
                    </a:cubicBezTo>
                    <a:cubicBezTo>
                      <a:pt x="1331" y="259"/>
                      <a:pt x="1331" y="259"/>
                      <a:pt x="1331" y="259"/>
                    </a:cubicBezTo>
                    <a:cubicBezTo>
                      <a:pt x="1332" y="260"/>
                      <a:pt x="1332" y="260"/>
                      <a:pt x="1332" y="260"/>
                    </a:cubicBezTo>
                    <a:cubicBezTo>
                      <a:pt x="1333" y="259"/>
                      <a:pt x="1333" y="259"/>
                      <a:pt x="1333" y="259"/>
                    </a:cubicBezTo>
                    <a:cubicBezTo>
                      <a:pt x="1334" y="259"/>
                      <a:pt x="1334" y="259"/>
                      <a:pt x="1334" y="259"/>
                    </a:cubicBezTo>
                    <a:cubicBezTo>
                      <a:pt x="1334" y="260"/>
                      <a:pt x="1334" y="260"/>
                      <a:pt x="1334" y="260"/>
                    </a:cubicBezTo>
                    <a:cubicBezTo>
                      <a:pt x="1335" y="259"/>
                      <a:pt x="1335" y="259"/>
                      <a:pt x="1335" y="259"/>
                    </a:cubicBezTo>
                    <a:cubicBezTo>
                      <a:pt x="1335" y="260"/>
                      <a:pt x="1335" y="260"/>
                      <a:pt x="1335" y="260"/>
                    </a:cubicBezTo>
                    <a:cubicBezTo>
                      <a:pt x="1335" y="261"/>
                      <a:pt x="1335" y="261"/>
                      <a:pt x="1335" y="261"/>
                    </a:cubicBezTo>
                    <a:cubicBezTo>
                      <a:pt x="1336" y="260"/>
                      <a:pt x="1336" y="260"/>
                      <a:pt x="1336" y="260"/>
                    </a:cubicBezTo>
                    <a:cubicBezTo>
                      <a:pt x="1336" y="259"/>
                      <a:pt x="1336" y="259"/>
                      <a:pt x="1336" y="259"/>
                    </a:cubicBezTo>
                    <a:cubicBezTo>
                      <a:pt x="1337" y="259"/>
                      <a:pt x="1337" y="259"/>
                      <a:pt x="1337" y="259"/>
                    </a:cubicBezTo>
                    <a:cubicBezTo>
                      <a:pt x="1337" y="260"/>
                      <a:pt x="1337" y="260"/>
                      <a:pt x="1337" y="260"/>
                    </a:cubicBezTo>
                    <a:cubicBezTo>
                      <a:pt x="1336" y="261"/>
                      <a:pt x="1336" y="261"/>
                      <a:pt x="1336" y="261"/>
                    </a:cubicBezTo>
                    <a:cubicBezTo>
                      <a:pt x="1337" y="261"/>
                      <a:pt x="1337" y="261"/>
                      <a:pt x="1337" y="261"/>
                    </a:cubicBezTo>
                    <a:cubicBezTo>
                      <a:pt x="1338" y="261"/>
                      <a:pt x="1338" y="261"/>
                      <a:pt x="1338" y="261"/>
                    </a:cubicBezTo>
                    <a:cubicBezTo>
                      <a:pt x="1337" y="262"/>
                      <a:pt x="1337" y="262"/>
                      <a:pt x="1337" y="262"/>
                    </a:cubicBezTo>
                    <a:cubicBezTo>
                      <a:pt x="1336" y="263"/>
                      <a:pt x="1336" y="263"/>
                      <a:pt x="1336" y="263"/>
                    </a:cubicBezTo>
                    <a:cubicBezTo>
                      <a:pt x="1338" y="263"/>
                      <a:pt x="1338" y="263"/>
                      <a:pt x="1338" y="263"/>
                    </a:cubicBezTo>
                    <a:cubicBezTo>
                      <a:pt x="1338" y="261"/>
                      <a:pt x="1338" y="261"/>
                      <a:pt x="1338" y="261"/>
                    </a:cubicBezTo>
                    <a:cubicBezTo>
                      <a:pt x="1338" y="260"/>
                      <a:pt x="1338" y="260"/>
                      <a:pt x="1338" y="260"/>
                    </a:cubicBezTo>
                    <a:cubicBezTo>
                      <a:pt x="1339" y="260"/>
                      <a:pt x="1339" y="260"/>
                      <a:pt x="1339" y="260"/>
                    </a:cubicBezTo>
                    <a:cubicBezTo>
                      <a:pt x="1340" y="260"/>
                      <a:pt x="1340" y="260"/>
                      <a:pt x="1340" y="260"/>
                    </a:cubicBezTo>
                    <a:cubicBezTo>
                      <a:pt x="1341" y="260"/>
                      <a:pt x="1341" y="260"/>
                      <a:pt x="1341" y="260"/>
                    </a:cubicBezTo>
                    <a:cubicBezTo>
                      <a:pt x="1340" y="259"/>
                      <a:pt x="1340" y="259"/>
                      <a:pt x="1340" y="259"/>
                    </a:cubicBezTo>
                    <a:cubicBezTo>
                      <a:pt x="1342" y="259"/>
                      <a:pt x="1342" y="259"/>
                      <a:pt x="1342" y="259"/>
                    </a:cubicBezTo>
                    <a:cubicBezTo>
                      <a:pt x="1342" y="260"/>
                      <a:pt x="1342" y="260"/>
                      <a:pt x="1342" y="260"/>
                    </a:cubicBezTo>
                    <a:cubicBezTo>
                      <a:pt x="1344" y="260"/>
                      <a:pt x="1344" y="260"/>
                      <a:pt x="1344" y="260"/>
                    </a:cubicBezTo>
                    <a:cubicBezTo>
                      <a:pt x="1345" y="261"/>
                      <a:pt x="1345" y="261"/>
                      <a:pt x="1345" y="261"/>
                    </a:cubicBezTo>
                    <a:cubicBezTo>
                      <a:pt x="1346" y="260"/>
                      <a:pt x="1346" y="260"/>
                      <a:pt x="1346" y="260"/>
                    </a:cubicBezTo>
                    <a:cubicBezTo>
                      <a:pt x="1348" y="260"/>
                      <a:pt x="1348" y="260"/>
                      <a:pt x="1348" y="260"/>
                    </a:cubicBezTo>
                    <a:cubicBezTo>
                      <a:pt x="1349" y="261"/>
                      <a:pt x="1349" y="261"/>
                      <a:pt x="1349" y="261"/>
                    </a:cubicBezTo>
                    <a:cubicBezTo>
                      <a:pt x="1349" y="260"/>
                      <a:pt x="1349" y="260"/>
                      <a:pt x="1349" y="260"/>
                    </a:cubicBezTo>
                    <a:cubicBezTo>
                      <a:pt x="1351" y="261"/>
                      <a:pt x="1351" y="261"/>
                      <a:pt x="1351" y="261"/>
                    </a:cubicBezTo>
                    <a:cubicBezTo>
                      <a:pt x="1357" y="264"/>
                      <a:pt x="1357" y="264"/>
                      <a:pt x="1357" y="264"/>
                    </a:cubicBezTo>
                    <a:cubicBezTo>
                      <a:pt x="1361" y="267"/>
                      <a:pt x="1361" y="267"/>
                      <a:pt x="1361" y="267"/>
                    </a:cubicBezTo>
                    <a:cubicBezTo>
                      <a:pt x="1362" y="268"/>
                      <a:pt x="1362" y="268"/>
                      <a:pt x="1362" y="268"/>
                    </a:cubicBezTo>
                    <a:cubicBezTo>
                      <a:pt x="1364" y="269"/>
                      <a:pt x="1364" y="269"/>
                      <a:pt x="1364" y="269"/>
                    </a:cubicBezTo>
                    <a:cubicBezTo>
                      <a:pt x="1365" y="271"/>
                      <a:pt x="1365" y="271"/>
                      <a:pt x="1365" y="271"/>
                    </a:cubicBezTo>
                    <a:cubicBezTo>
                      <a:pt x="1366" y="271"/>
                      <a:pt x="1366" y="271"/>
                      <a:pt x="1366" y="271"/>
                    </a:cubicBezTo>
                    <a:cubicBezTo>
                      <a:pt x="1366" y="270"/>
                      <a:pt x="1366" y="270"/>
                      <a:pt x="1366" y="270"/>
                    </a:cubicBezTo>
                    <a:cubicBezTo>
                      <a:pt x="1368" y="271"/>
                      <a:pt x="1368" y="271"/>
                      <a:pt x="1368" y="271"/>
                    </a:cubicBezTo>
                    <a:cubicBezTo>
                      <a:pt x="1369" y="271"/>
                      <a:pt x="1369" y="271"/>
                      <a:pt x="1369" y="271"/>
                    </a:cubicBezTo>
                    <a:cubicBezTo>
                      <a:pt x="1371" y="273"/>
                      <a:pt x="1371" y="273"/>
                      <a:pt x="1371" y="273"/>
                    </a:cubicBezTo>
                    <a:cubicBezTo>
                      <a:pt x="1372" y="273"/>
                      <a:pt x="1372" y="273"/>
                      <a:pt x="1372" y="273"/>
                    </a:cubicBezTo>
                    <a:cubicBezTo>
                      <a:pt x="1375" y="275"/>
                      <a:pt x="1375" y="275"/>
                      <a:pt x="1375" y="275"/>
                    </a:cubicBezTo>
                    <a:cubicBezTo>
                      <a:pt x="1375" y="276"/>
                      <a:pt x="1375" y="276"/>
                      <a:pt x="1375" y="276"/>
                    </a:cubicBezTo>
                    <a:cubicBezTo>
                      <a:pt x="1376" y="276"/>
                      <a:pt x="1376" y="276"/>
                      <a:pt x="1376" y="276"/>
                    </a:cubicBezTo>
                    <a:cubicBezTo>
                      <a:pt x="1377" y="276"/>
                      <a:pt x="1377" y="276"/>
                      <a:pt x="1377" y="276"/>
                    </a:cubicBezTo>
                    <a:cubicBezTo>
                      <a:pt x="1379" y="277"/>
                      <a:pt x="1379" y="277"/>
                      <a:pt x="1379" y="277"/>
                    </a:cubicBezTo>
                    <a:cubicBezTo>
                      <a:pt x="1379" y="279"/>
                      <a:pt x="1379" y="279"/>
                      <a:pt x="1379" y="279"/>
                    </a:cubicBezTo>
                    <a:cubicBezTo>
                      <a:pt x="1380" y="279"/>
                      <a:pt x="1380" y="279"/>
                      <a:pt x="1380" y="279"/>
                    </a:cubicBezTo>
                    <a:cubicBezTo>
                      <a:pt x="1381" y="281"/>
                      <a:pt x="1381" y="281"/>
                      <a:pt x="1381" y="281"/>
                    </a:cubicBezTo>
                    <a:cubicBezTo>
                      <a:pt x="1382" y="281"/>
                      <a:pt x="1382" y="281"/>
                      <a:pt x="1382" y="281"/>
                    </a:cubicBezTo>
                    <a:cubicBezTo>
                      <a:pt x="1382" y="283"/>
                      <a:pt x="1382" y="283"/>
                      <a:pt x="1382" y="283"/>
                    </a:cubicBezTo>
                    <a:cubicBezTo>
                      <a:pt x="1382" y="284"/>
                      <a:pt x="1382" y="284"/>
                      <a:pt x="1382" y="284"/>
                    </a:cubicBezTo>
                    <a:cubicBezTo>
                      <a:pt x="1382" y="286"/>
                      <a:pt x="1382" y="286"/>
                      <a:pt x="1382" y="286"/>
                    </a:cubicBezTo>
                    <a:cubicBezTo>
                      <a:pt x="1381" y="287"/>
                      <a:pt x="1381" y="287"/>
                      <a:pt x="1381" y="287"/>
                    </a:cubicBezTo>
                    <a:cubicBezTo>
                      <a:pt x="1381" y="288"/>
                      <a:pt x="1381" y="288"/>
                      <a:pt x="1381" y="288"/>
                    </a:cubicBezTo>
                    <a:cubicBezTo>
                      <a:pt x="1380" y="290"/>
                      <a:pt x="1380" y="290"/>
                      <a:pt x="1380" y="290"/>
                    </a:cubicBezTo>
                    <a:cubicBezTo>
                      <a:pt x="1377" y="294"/>
                      <a:pt x="1377" y="294"/>
                      <a:pt x="1377" y="294"/>
                    </a:cubicBezTo>
                    <a:cubicBezTo>
                      <a:pt x="1376" y="295"/>
                      <a:pt x="1376" y="295"/>
                      <a:pt x="1376" y="295"/>
                    </a:cubicBezTo>
                    <a:cubicBezTo>
                      <a:pt x="1373" y="295"/>
                      <a:pt x="1373" y="295"/>
                      <a:pt x="1373" y="295"/>
                    </a:cubicBezTo>
                    <a:cubicBezTo>
                      <a:pt x="1373" y="296"/>
                      <a:pt x="1373" y="296"/>
                      <a:pt x="1373" y="296"/>
                    </a:cubicBezTo>
                    <a:cubicBezTo>
                      <a:pt x="1371" y="296"/>
                      <a:pt x="1371" y="296"/>
                      <a:pt x="1371" y="296"/>
                    </a:cubicBezTo>
                    <a:cubicBezTo>
                      <a:pt x="1370" y="296"/>
                      <a:pt x="1370" y="296"/>
                      <a:pt x="1370" y="296"/>
                    </a:cubicBezTo>
                    <a:cubicBezTo>
                      <a:pt x="1368" y="297"/>
                      <a:pt x="1368" y="297"/>
                      <a:pt x="1368" y="297"/>
                    </a:cubicBezTo>
                    <a:cubicBezTo>
                      <a:pt x="1364" y="296"/>
                      <a:pt x="1364" y="296"/>
                      <a:pt x="1364" y="296"/>
                    </a:cubicBezTo>
                    <a:cubicBezTo>
                      <a:pt x="1362" y="296"/>
                      <a:pt x="1362" y="296"/>
                      <a:pt x="1362" y="296"/>
                    </a:cubicBezTo>
                    <a:cubicBezTo>
                      <a:pt x="1360" y="295"/>
                      <a:pt x="1360" y="295"/>
                      <a:pt x="1360" y="295"/>
                    </a:cubicBezTo>
                    <a:cubicBezTo>
                      <a:pt x="1359" y="295"/>
                      <a:pt x="1359" y="295"/>
                      <a:pt x="1359" y="295"/>
                    </a:cubicBezTo>
                    <a:cubicBezTo>
                      <a:pt x="1358" y="295"/>
                      <a:pt x="1358" y="295"/>
                      <a:pt x="1358" y="295"/>
                    </a:cubicBezTo>
                    <a:cubicBezTo>
                      <a:pt x="1357" y="295"/>
                      <a:pt x="1357" y="295"/>
                      <a:pt x="1357" y="295"/>
                    </a:cubicBezTo>
                    <a:cubicBezTo>
                      <a:pt x="1356" y="294"/>
                      <a:pt x="1356" y="294"/>
                      <a:pt x="1356" y="294"/>
                    </a:cubicBezTo>
                    <a:cubicBezTo>
                      <a:pt x="1355" y="294"/>
                      <a:pt x="1355" y="294"/>
                      <a:pt x="1355" y="294"/>
                    </a:cubicBezTo>
                    <a:cubicBezTo>
                      <a:pt x="1354" y="295"/>
                      <a:pt x="1354" y="295"/>
                      <a:pt x="1354" y="295"/>
                    </a:cubicBezTo>
                    <a:cubicBezTo>
                      <a:pt x="1353" y="293"/>
                      <a:pt x="1353" y="293"/>
                      <a:pt x="1353" y="293"/>
                    </a:cubicBezTo>
                    <a:cubicBezTo>
                      <a:pt x="1353" y="292"/>
                      <a:pt x="1353" y="292"/>
                      <a:pt x="1353" y="292"/>
                    </a:cubicBezTo>
                    <a:cubicBezTo>
                      <a:pt x="1352" y="293"/>
                      <a:pt x="1352" y="293"/>
                      <a:pt x="1352" y="293"/>
                    </a:cubicBezTo>
                    <a:cubicBezTo>
                      <a:pt x="1351" y="293"/>
                      <a:pt x="1351" y="293"/>
                      <a:pt x="1351" y="293"/>
                    </a:cubicBezTo>
                    <a:cubicBezTo>
                      <a:pt x="1351" y="292"/>
                      <a:pt x="1351" y="292"/>
                      <a:pt x="1351" y="292"/>
                    </a:cubicBezTo>
                    <a:cubicBezTo>
                      <a:pt x="1349" y="292"/>
                      <a:pt x="1349" y="292"/>
                      <a:pt x="1349" y="292"/>
                    </a:cubicBezTo>
                    <a:cubicBezTo>
                      <a:pt x="1349" y="293"/>
                      <a:pt x="1349" y="293"/>
                      <a:pt x="1349" y="293"/>
                    </a:cubicBezTo>
                    <a:cubicBezTo>
                      <a:pt x="1347" y="293"/>
                      <a:pt x="1347" y="293"/>
                      <a:pt x="1347" y="293"/>
                    </a:cubicBezTo>
                    <a:cubicBezTo>
                      <a:pt x="1347" y="292"/>
                      <a:pt x="1347" y="292"/>
                      <a:pt x="1347" y="292"/>
                    </a:cubicBezTo>
                    <a:cubicBezTo>
                      <a:pt x="1348" y="291"/>
                      <a:pt x="1348" y="291"/>
                      <a:pt x="1348" y="291"/>
                    </a:cubicBezTo>
                    <a:cubicBezTo>
                      <a:pt x="1347" y="290"/>
                      <a:pt x="1347" y="290"/>
                      <a:pt x="1347" y="290"/>
                    </a:cubicBezTo>
                    <a:cubicBezTo>
                      <a:pt x="1347" y="291"/>
                      <a:pt x="1347" y="291"/>
                      <a:pt x="1347" y="291"/>
                    </a:cubicBezTo>
                    <a:cubicBezTo>
                      <a:pt x="1344" y="291"/>
                      <a:pt x="1344" y="291"/>
                      <a:pt x="1344" y="291"/>
                    </a:cubicBezTo>
                    <a:cubicBezTo>
                      <a:pt x="1343" y="290"/>
                      <a:pt x="1343" y="290"/>
                      <a:pt x="1343" y="290"/>
                    </a:cubicBezTo>
                    <a:cubicBezTo>
                      <a:pt x="1342" y="290"/>
                      <a:pt x="1342" y="290"/>
                      <a:pt x="1342" y="290"/>
                    </a:cubicBezTo>
                    <a:cubicBezTo>
                      <a:pt x="1339" y="288"/>
                      <a:pt x="1339" y="288"/>
                      <a:pt x="1339" y="288"/>
                    </a:cubicBezTo>
                    <a:cubicBezTo>
                      <a:pt x="1339" y="287"/>
                      <a:pt x="1339" y="287"/>
                      <a:pt x="1339" y="287"/>
                    </a:cubicBezTo>
                    <a:cubicBezTo>
                      <a:pt x="1338" y="287"/>
                      <a:pt x="1338" y="287"/>
                      <a:pt x="1338" y="287"/>
                    </a:cubicBezTo>
                    <a:cubicBezTo>
                      <a:pt x="1337" y="286"/>
                      <a:pt x="1337" y="286"/>
                      <a:pt x="1337" y="286"/>
                    </a:cubicBezTo>
                    <a:cubicBezTo>
                      <a:pt x="1336" y="286"/>
                      <a:pt x="1336" y="286"/>
                      <a:pt x="1336" y="286"/>
                    </a:cubicBezTo>
                    <a:cubicBezTo>
                      <a:pt x="1336" y="287"/>
                      <a:pt x="1336" y="287"/>
                      <a:pt x="1336" y="287"/>
                    </a:cubicBezTo>
                    <a:cubicBezTo>
                      <a:pt x="1337" y="288"/>
                      <a:pt x="1337" y="288"/>
                      <a:pt x="1337" y="288"/>
                    </a:cubicBezTo>
                    <a:cubicBezTo>
                      <a:pt x="1337" y="289"/>
                      <a:pt x="1337" y="289"/>
                      <a:pt x="1337" y="289"/>
                    </a:cubicBezTo>
                    <a:cubicBezTo>
                      <a:pt x="1339" y="290"/>
                      <a:pt x="1339" y="290"/>
                      <a:pt x="1339" y="290"/>
                    </a:cubicBezTo>
                    <a:cubicBezTo>
                      <a:pt x="1339" y="291"/>
                      <a:pt x="1339" y="291"/>
                      <a:pt x="1339" y="291"/>
                    </a:cubicBezTo>
                    <a:cubicBezTo>
                      <a:pt x="1341" y="292"/>
                      <a:pt x="1341" y="292"/>
                      <a:pt x="1341" y="292"/>
                    </a:cubicBezTo>
                    <a:cubicBezTo>
                      <a:pt x="1340" y="293"/>
                      <a:pt x="1340" y="293"/>
                      <a:pt x="1340" y="293"/>
                    </a:cubicBezTo>
                    <a:cubicBezTo>
                      <a:pt x="1340" y="294"/>
                      <a:pt x="1340" y="294"/>
                      <a:pt x="1340" y="294"/>
                    </a:cubicBezTo>
                    <a:cubicBezTo>
                      <a:pt x="1342" y="293"/>
                      <a:pt x="1342" y="293"/>
                      <a:pt x="1342" y="293"/>
                    </a:cubicBezTo>
                    <a:cubicBezTo>
                      <a:pt x="1343" y="293"/>
                      <a:pt x="1343" y="293"/>
                      <a:pt x="1343" y="293"/>
                    </a:cubicBezTo>
                    <a:cubicBezTo>
                      <a:pt x="1344" y="293"/>
                      <a:pt x="1344" y="293"/>
                      <a:pt x="1344" y="293"/>
                    </a:cubicBezTo>
                    <a:cubicBezTo>
                      <a:pt x="1343" y="294"/>
                      <a:pt x="1343" y="294"/>
                      <a:pt x="1343" y="294"/>
                    </a:cubicBezTo>
                    <a:cubicBezTo>
                      <a:pt x="1344" y="294"/>
                      <a:pt x="1344" y="294"/>
                      <a:pt x="1344" y="294"/>
                    </a:cubicBezTo>
                    <a:cubicBezTo>
                      <a:pt x="1344" y="295"/>
                      <a:pt x="1344" y="295"/>
                      <a:pt x="1344" y="295"/>
                    </a:cubicBezTo>
                    <a:cubicBezTo>
                      <a:pt x="1343" y="295"/>
                      <a:pt x="1343" y="295"/>
                      <a:pt x="1343" y="295"/>
                    </a:cubicBezTo>
                    <a:cubicBezTo>
                      <a:pt x="1342" y="296"/>
                      <a:pt x="1342" y="296"/>
                      <a:pt x="1342" y="296"/>
                    </a:cubicBezTo>
                    <a:cubicBezTo>
                      <a:pt x="1344" y="296"/>
                      <a:pt x="1344" y="296"/>
                      <a:pt x="1344" y="296"/>
                    </a:cubicBezTo>
                    <a:cubicBezTo>
                      <a:pt x="1345" y="296"/>
                      <a:pt x="1345" y="296"/>
                      <a:pt x="1345" y="296"/>
                    </a:cubicBezTo>
                    <a:cubicBezTo>
                      <a:pt x="1346" y="297"/>
                      <a:pt x="1346" y="297"/>
                      <a:pt x="1346" y="297"/>
                    </a:cubicBezTo>
                    <a:cubicBezTo>
                      <a:pt x="1346" y="296"/>
                      <a:pt x="1346" y="296"/>
                      <a:pt x="1346" y="296"/>
                    </a:cubicBezTo>
                    <a:cubicBezTo>
                      <a:pt x="1349" y="297"/>
                      <a:pt x="1349" y="297"/>
                      <a:pt x="1349" y="297"/>
                    </a:cubicBezTo>
                    <a:cubicBezTo>
                      <a:pt x="1351" y="299"/>
                      <a:pt x="1351" y="299"/>
                      <a:pt x="1351" y="299"/>
                    </a:cubicBezTo>
                    <a:cubicBezTo>
                      <a:pt x="1351" y="300"/>
                      <a:pt x="1351" y="300"/>
                      <a:pt x="1351" y="300"/>
                    </a:cubicBezTo>
                    <a:cubicBezTo>
                      <a:pt x="1351" y="301"/>
                      <a:pt x="1351" y="301"/>
                      <a:pt x="1351" y="301"/>
                    </a:cubicBezTo>
                    <a:cubicBezTo>
                      <a:pt x="1351" y="302"/>
                      <a:pt x="1351" y="302"/>
                      <a:pt x="1351" y="302"/>
                    </a:cubicBezTo>
                    <a:cubicBezTo>
                      <a:pt x="1351" y="304"/>
                      <a:pt x="1351" y="304"/>
                      <a:pt x="1351" y="304"/>
                    </a:cubicBezTo>
                    <a:cubicBezTo>
                      <a:pt x="1350" y="305"/>
                      <a:pt x="1350" y="305"/>
                      <a:pt x="1350" y="305"/>
                    </a:cubicBezTo>
                    <a:cubicBezTo>
                      <a:pt x="1350" y="306"/>
                      <a:pt x="1350" y="306"/>
                      <a:pt x="1350" y="306"/>
                    </a:cubicBezTo>
                    <a:cubicBezTo>
                      <a:pt x="1351" y="306"/>
                      <a:pt x="1351" y="306"/>
                      <a:pt x="1351" y="306"/>
                    </a:cubicBezTo>
                    <a:cubicBezTo>
                      <a:pt x="1351" y="307"/>
                      <a:pt x="1351" y="307"/>
                      <a:pt x="1351" y="307"/>
                    </a:cubicBezTo>
                    <a:cubicBezTo>
                      <a:pt x="1353" y="309"/>
                      <a:pt x="1353" y="309"/>
                      <a:pt x="1353" y="309"/>
                    </a:cubicBezTo>
                    <a:cubicBezTo>
                      <a:pt x="1353" y="310"/>
                      <a:pt x="1353" y="310"/>
                      <a:pt x="1353" y="310"/>
                    </a:cubicBezTo>
                    <a:cubicBezTo>
                      <a:pt x="1354" y="311"/>
                      <a:pt x="1354" y="311"/>
                      <a:pt x="1354" y="311"/>
                    </a:cubicBezTo>
                    <a:cubicBezTo>
                      <a:pt x="1354" y="312"/>
                      <a:pt x="1354" y="312"/>
                      <a:pt x="1354" y="312"/>
                    </a:cubicBezTo>
                    <a:cubicBezTo>
                      <a:pt x="1354" y="314"/>
                      <a:pt x="1354" y="314"/>
                      <a:pt x="1354" y="314"/>
                    </a:cubicBezTo>
                    <a:cubicBezTo>
                      <a:pt x="1354" y="315"/>
                      <a:pt x="1354" y="315"/>
                      <a:pt x="1354" y="315"/>
                    </a:cubicBezTo>
                    <a:cubicBezTo>
                      <a:pt x="1355" y="316"/>
                      <a:pt x="1355" y="316"/>
                      <a:pt x="1355" y="316"/>
                    </a:cubicBezTo>
                    <a:cubicBezTo>
                      <a:pt x="1357" y="317"/>
                      <a:pt x="1357" y="317"/>
                      <a:pt x="1357" y="317"/>
                    </a:cubicBezTo>
                    <a:cubicBezTo>
                      <a:pt x="1358" y="316"/>
                      <a:pt x="1358" y="316"/>
                      <a:pt x="1358" y="316"/>
                    </a:cubicBezTo>
                    <a:cubicBezTo>
                      <a:pt x="1359" y="316"/>
                      <a:pt x="1359" y="316"/>
                      <a:pt x="1359" y="316"/>
                    </a:cubicBezTo>
                    <a:cubicBezTo>
                      <a:pt x="1360" y="318"/>
                      <a:pt x="1360" y="318"/>
                      <a:pt x="1360" y="318"/>
                    </a:cubicBezTo>
                    <a:cubicBezTo>
                      <a:pt x="1361" y="318"/>
                      <a:pt x="1361" y="318"/>
                      <a:pt x="1361" y="318"/>
                    </a:cubicBezTo>
                    <a:cubicBezTo>
                      <a:pt x="1361" y="320"/>
                      <a:pt x="1361" y="320"/>
                      <a:pt x="1361" y="320"/>
                    </a:cubicBezTo>
                    <a:cubicBezTo>
                      <a:pt x="1362" y="320"/>
                      <a:pt x="1362" y="320"/>
                      <a:pt x="1362" y="320"/>
                    </a:cubicBezTo>
                    <a:cubicBezTo>
                      <a:pt x="1364" y="320"/>
                      <a:pt x="1364" y="320"/>
                      <a:pt x="1364" y="320"/>
                    </a:cubicBezTo>
                    <a:cubicBezTo>
                      <a:pt x="1364" y="321"/>
                      <a:pt x="1364" y="321"/>
                      <a:pt x="1364" y="321"/>
                    </a:cubicBezTo>
                    <a:cubicBezTo>
                      <a:pt x="1366" y="321"/>
                      <a:pt x="1366" y="321"/>
                      <a:pt x="1366" y="321"/>
                    </a:cubicBezTo>
                    <a:cubicBezTo>
                      <a:pt x="1367" y="322"/>
                      <a:pt x="1367" y="322"/>
                      <a:pt x="1367" y="322"/>
                    </a:cubicBezTo>
                    <a:cubicBezTo>
                      <a:pt x="1368" y="322"/>
                      <a:pt x="1368" y="322"/>
                      <a:pt x="1368" y="322"/>
                    </a:cubicBezTo>
                    <a:cubicBezTo>
                      <a:pt x="1369" y="321"/>
                      <a:pt x="1369" y="321"/>
                      <a:pt x="1369" y="321"/>
                    </a:cubicBezTo>
                    <a:cubicBezTo>
                      <a:pt x="1370" y="320"/>
                      <a:pt x="1370" y="320"/>
                      <a:pt x="1370" y="320"/>
                    </a:cubicBezTo>
                    <a:cubicBezTo>
                      <a:pt x="1371" y="320"/>
                      <a:pt x="1371" y="320"/>
                      <a:pt x="1371" y="320"/>
                    </a:cubicBezTo>
                    <a:cubicBezTo>
                      <a:pt x="1371" y="318"/>
                      <a:pt x="1371" y="318"/>
                      <a:pt x="1371" y="318"/>
                    </a:cubicBezTo>
                    <a:cubicBezTo>
                      <a:pt x="1370" y="317"/>
                      <a:pt x="1370" y="317"/>
                      <a:pt x="1370" y="317"/>
                    </a:cubicBezTo>
                    <a:cubicBezTo>
                      <a:pt x="1371" y="317"/>
                      <a:pt x="1371" y="317"/>
                      <a:pt x="1371" y="317"/>
                    </a:cubicBezTo>
                    <a:cubicBezTo>
                      <a:pt x="1371" y="316"/>
                      <a:pt x="1371" y="316"/>
                      <a:pt x="1371" y="316"/>
                    </a:cubicBezTo>
                    <a:cubicBezTo>
                      <a:pt x="1369" y="316"/>
                      <a:pt x="1369" y="316"/>
                      <a:pt x="1369" y="316"/>
                    </a:cubicBezTo>
                    <a:cubicBezTo>
                      <a:pt x="1369" y="315"/>
                      <a:pt x="1369" y="315"/>
                      <a:pt x="1369" y="315"/>
                    </a:cubicBezTo>
                    <a:cubicBezTo>
                      <a:pt x="1368" y="315"/>
                      <a:pt x="1368" y="315"/>
                      <a:pt x="1368" y="315"/>
                    </a:cubicBezTo>
                    <a:cubicBezTo>
                      <a:pt x="1367" y="315"/>
                      <a:pt x="1367" y="315"/>
                      <a:pt x="1367" y="315"/>
                    </a:cubicBezTo>
                    <a:cubicBezTo>
                      <a:pt x="1366" y="316"/>
                      <a:pt x="1366" y="316"/>
                      <a:pt x="1366" y="316"/>
                    </a:cubicBezTo>
                    <a:cubicBezTo>
                      <a:pt x="1365" y="315"/>
                      <a:pt x="1365" y="315"/>
                      <a:pt x="1365" y="315"/>
                    </a:cubicBezTo>
                    <a:cubicBezTo>
                      <a:pt x="1364" y="314"/>
                      <a:pt x="1364" y="314"/>
                      <a:pt x="1364" y="314"/>
                    </a:cubicBezTo>
                    <a:cubicBezTo>
                      <a:pt x="1362" y="313"/>
                      <a:pt x="1362" y="313"/>
                      <a:pt x="1362" y="313"/>
                    </a:cubicBezTo>
                    <a:cubicBezTo>
                      <a:pt x="1362" y="312"/>
                      <a:pt x="1362" y="312"/>
                      <a:pt x="1362" y="312"/>
                    </a:cubicBezTo>
                    <a:cubicBezTo>
                      <a:pt x="1361" y="310"/>
                      <a:pt x="1361" y="310"/>
                      <a:pt x="1361" y="310"/>
                    </a:cubicBezTo>
                    <a:cubicBezTo>
                      <a:pt x="1362" y="310"/>
                      <a:pt x="1362" y="310"/>
                      <a:pt x="1362" y="310"/>
                    </a:cubicBezTo>
                    <a:cubicBezTo>
                      <a:pt x="1363" y="309"/>
                      <a:pt x="1363" y="309"/>
                      <a:pt x="1363" y="309"/>
                    </a:cubicBezTo>
                    <a:cubicBezTo>
                      <a:pt x="1362" y="308"/>
                      <a:pt x="1362" y="308"/>
                      <a:pt x="1362" y="308"/>
                    </a:cubicBezTo>
                    <a:cubicBezTo>
                      <a:pt x="1363" y="308"/>
                      <a:pt x="1363" y="308"/>
                      <a:pt x="1363" y="308"/>
                    </a:cubicBezTo>
                    <a:cubicBezTo>
                      <a:pt x="1362" y="307"/>
                      <a:pt x="1362" y="307"/>
                      <a:pt x="1362" y="307"/>
                    </a:cubicBezTo>
                    <a:cubicBezTo>
                      <a:pt x="1362" y="306"/>
                      <a:pt x="1362" y="306"/>
                      <a:pt x="1362" y="306"/>
                    </a:cubicBezTo>
                    <a:cubicBezTo>
                      <a:pt x="1364" y="306"/>
                      <a:pt x="1364" y="306"/>
                      <a:pt x="1364" y="306"/>
                    </a:cubicBezTo>
                    <a:cubicBezTo>
                      <a:pt x="1365" y="307"/>
                      <a:pt x="1365" y="307"/>
                      <a:pt x="1365" y="307"/>
                    </a:cubicBezTo>
                    <a:cubicBezTo>
                      <a:pt x="1367" y="307"/>
                      <a:pt x="1367" y="307"/>
                      <a:pt x="1367" y="307"/>
                    </a:cubicBezTo>
                    <a:cubicBezTo>
                      <a:pt x="1368" y="309"/>
                      <a:pt x="1368" y="309"/>
                      <a:pt x="1368" y="309"/>
                    </a:cubicBezTo>
                    <a:cubicBezTo>
                      <a:pt x="1369" y="310"/>
                      <a:pt x="1369" y="310"/>
                      <a:pt x="1369" y="310"/>
                    </a:cubicBezTo>
                    <a:cubicBezTo>
                      <a:pt x="1371" y="310"/>
                      <a:pt x="1371" y="310"/>
                      <a:pt x="1371" y="310"/>
                    </a:cubicBezTo>
                    <a:cubicBezTo>
                      <a:pt x="1372" y="311"/>
                      <a:pt x="1372" y="311"/>
                      <a:pt x="1372" y="311"/>
                    </a:cubicBezTo>
                    <a:cubicBezTo>
                      <a:pt x="1373" y="311"/>
                      <a:pt x="1373" y="311"/>
                      <a:pt x="1373" y="311"/>
                    </a:cubicBezTo>
                    <a:cubicBezTo>
                      <a:pt x="1377" y="313"/>
                      <a:pt x="1377" y="313"/>
                      <a:pt x="1377" y="313"/>
                    </a:cubicBezTo>
                    <a:cubicBezTo>
                      <a:pt x="1379" y="314"/>
                      <a:pt x="1379" y="314"/>
                      <a:pt x="1379" y="314"/>
                    </a:cubicBezTo>
                    <a:cubicBezTo>
                      <a:pt x="1379" y="313"/>
                      <a:pt x="1379" y="313"/>
                      <a:pt x="1379" y="313"/>
                    </a:cubicBezTo>
                    <a:cubicBezTo>
                      <a:pt x="1380" y="312"/>
                      <a:pt x="1380" y="312"/>
                      <a:pt x="1380" y="312"/>
                    </a:cubicBezTo>
                    <a:cubicBezTo>
                      <a:pt x="1380" y="311"/>
                      <a:pt x="1380" y="311"/>
                      <a:pt x="1380" y="311"/>
                    </a:cubicBezTo>
                    <a:cubicBezTo>
                      <a:pt x="1381" y="311"/>
                      <a:pt x="1381" y="311"/>
                      <a:pt x="1381" y="311"/>
                    </a:cubicBezTo>
                    <a:cubicBezTo>
                      <a:pt x="1382" y="310"/>
                      <a:pt x="1382" y="310"/>
                      <a:pt x="1382" y="310"/>
                    </a:cubicBezTo>
                    <a:cubicBezTo>
                      <a:pt x="1381" y="307"/>
                      <a:pt x="1381" y="307"/>
                      <a:pt x="1381" y="307"/>
                    </a:cubicBezTo>
                    <a:cubicBezTo>
                      <a:pt x="1378" y="304"/>
                      <a:pt x="1378" y="304"/>
                      <a:pt x="1378" y="304"/>
                    </a:cubicBezTo>
                    <a:cubicBezTo>
                      <a:pt x="1377" y="303"/>
                      <a:pt x="1377" y="303"/>
                      <a:pt x="1377" y="303"/>
                    </a:cubicBezTo>
                    <a:cubicBezTo>
                      <a:pt x="1377" y="301"/>
                      <a:pt x="1377" y="301"/>
                      <a:pt x="1377" y="301"/>
                    </a:cubicBezTo>
                    <a:cubicBezTo>
                      <a:pt x="1379" y="300"/>
                      <a:pt x="1379" y="300"/>
                      <a:pt x="1379" y="300"/>
                    </a:cubicBezTo>
                    <a:cubicBezTo>
                      <a:pt x="1380" y="298"/>
                      <a:pt x="1380" y="298"/>
                      <a:pt x="1380" y="298"/>
                    </a:cubicBezTo>
                    <a:cubicBezTo>
                      <a:pt x="1381" y="297"/>
                      <a:pt x="1381" y="297"/>
                      <a:pt x="1381" y="297"/>
                    </a:cubicBezTo>
                    <a:cubicBezTo>
                      <a:pt x="1382" y="296"/>
                      <a:pt x="1382" y="296"/>
                      <a:pt x="1382" y="296"/>
                    </a:cubicBezTo>
                    <a:cubicBezTo>
                      <a:pt x="1383" y="295"/>
                      <a:pt x="1383" y="295"/>
                      <a:pt x="1383" y="295"/>
                    </a:cubicBezTo>
                    <a:cubicBezTo>
                      <a:pt x="1385" y="294"/>
                      <a:pt x="1385" y="294"/>
                      <a:pt x="1385" y="294"/>
                    </a:cubicBezTo>
                    <a:cubicBezTo>
                      <a:pt x="1387" y="291"/>
                      <a:pt x="1387" y="291"/>
                      <a:pt x="1387" y="291"/>
                    </a:cubicBezTo>
                    <a:cubicBezTo>
                      <a:pt x="1388" y="290"/>
                      <a:pt x="1388" y="290"/>
                      <a:pt x="1388" y="290"/>
                    </a:cubicBezTo>
                    <a:cubicBezTo>
                      <a:pt x="1389" y="290"/>
                      <a:pt x="1389" y="290"/>
                      <a:pt x="1389" y="290"/>
                    </a:cubicBezTo>
                    <a:cubicBezTo>
                      <a:pt x="1390" y="291"/>
                      <a:pt x="1390" y="291"/>
                      <a:pt x="1390" y="291"/>
                    </a:cubicBezTo>
                    <a:cubicBezTo>
                      <a:pt x="1392" y="291"/>
                      <a:pt x="1392" y="291"/>
                      <a:pt x="1392" y="291"/>
                    </a:cubicBezTo>
                    <a:cubicBezTo>
                      <a:pt x="1394" y="291"/>
                      <a:pt x="1394" y="291"/>
                      <a:pt x="1394" y="291"/>
                    </a:cubicBezTo>
                    <a:cubicBezTo>
                      <a:pt x="1395" y="292"/>
                      <a:pt x="1395" y="292"/>
                      <a:pt x="1395" y="292"/>
                    </a:cubicBezTo>
                    <a:cubicBezTo>
                      <a:pt x="1395" y="293"/>
                      <a:pt x="1395" y="293"/>
                      <a:pt x="1395" y="293"/>
                    </a:cubicBezTo>
                    <a:cubicBezTo>
                      <a:pt x="1396" y="292"/>
                      <a:pt x="1396" y="292"/>
                      <a:pt x="1396" y="292"/>
                    </a:cubicBezTo>
                    <a:cubicBezTo>
                      <a:pt x="1398" y="293"/>
                      <a:pt x="1398" y="293"/>
                      <a:pt x="1398" y="293"/>
                    </a:cubicBezTo>
                    <a:cubicBezTo>
                      <a:pt x="1398" y="295"/>
                      <a:pt x="1398" y="295"/>
                      <a:pt x="1398" y="295"/>
                    </a:cubicBezTo>
                    <a:cubicBezTo>
                      <a:pt x="1399" y="295"/>
                      <a:pt x="1399" y="295"/>
                      <a:pt x="1399" y="295"/>
                    </a:cubicBezTo>
                    <a:cubicBezTo>
                      <a:pt x="1399" y="293"/>
                      <a:pt x="1399" y="293"/>
                      <a:pt x="1399" y="293"/>
                    </a:cubicBezTo>
                    <a:cubicBezTo>
                      <a:pt x="1398" y="292"/>
                      <a:pt x="1398" y="292"/>
                      <a:pt x="1398" y="292"/>
                    </a:cubicBezTo>
                    <a:cubicBezTo>
                      <a:pt x="1399" y="291"/>
                      <a:pt x="1399" y="291"/>
                      <a:pt x="1399" y="291"/>
                    </a:cubicBezTo>
                    <a:cubicBezTo>
                      <a:pt x="1399" y="288"/>
                      <a:pt x="1399" y="288"/>
                      <a:pt x="1399" y="288"/>
                    </a:cubicBezTo>
                    <a:cubicBezTo>
                      <a:pt x="1399" y="287"/>
                      <a:pt x="1399" y="287"/>
                      <a:pt x="1399" y="287"/>
                    </a:cubicBezTo>
                    <a:cubicBezTo>
                      <a:pt x="1398" y="287"/>
                      <a:pt x="1398" y="287"/>
                      <a:pt x="1398" y="287"/>
                    </a:cubicBezTo>
                    <a:cubicBezTo>
                      <a:pt x="1398" y="286"/>
                      <a:pt x="1398" y="286"/>
                      <a:pt x="1398" y="286"/>
                    </a:cubicBezTo>
                    <a:cubicBezTo>
                      <a:pt x="1399" y="285"/>
                      <a:pt x="1399" y="285"/>
                      <a:pt x="1399" y="285"/>
                    </a:cubicBezTo>
                    <a:cubicBezTo>
                      <a:pt x="1398" y="284"/>
                      <a:pt x="1398" y="284"/>
                      <a:pt x="1398" y="284"/>
                    </a:cubicBezTo>
                    <a:cubicBezTo>
                      <a:pt x="1399" y="284"/>
                      <a:pt x="1399" y="284"/>
                      <a:pt x="1399" y="284"/>
                    </a:cubicBezTo>
                    <a:cubicBezTo>
                      <a:pt x="1398" y="283"/>
                      <a:pt x="1398" y="283"/>
                      <a:pt x="1398" y="283"/>
                    </a:cubicBezTo>
                    <a:cubicBezTo>
                      <a:pt x="1396" y="282"/>
                      <a:pt x="1396" y="282"/>
                      <a:pt x="1396" y="282"/>
                    </a:cubicBezTo>
                    <a:cubicBezTo>
                      <a:pt x="1394" y="282"/>
                      <a:pt x="1394" y="282"/>
                      <a:pt x="1394" y="282"/>
                    </a:cubicBezTo>
                    <a:cubicBezTo>
                      <a:pt x="1394" y="280"/>
                      <a:pt x="1394" y="280"/>
                      <a:pt x="1394" y="280"/>
                    </a:cubicBezTo>
                    <a:cubicBezTo>
                      <a:pt x="1394" y="279"/>
                      <a:pt x="1394" y="279"/>
                      <a:pt x="1394" y="279"/>
                    </a:cubicBezTo>
                    <a:cubicBezTo>
                      <a:pt x="1394" y="276"/>
                      <a:pt x="1394" y="276"/>
                      <a:pt x="1394" y="276"/>
                    </a:cubicBezTo>
                    <a:cubicBezTo>
                      <a:pt x="1395" y="276"/>
                      <a:pt x="1395" y="276"/>
                      <a:pt x="1395" y="276"/>
                    </a:cubicBezTo>
                    <a:cubicBezTo>
                      <a:pt x="1395" y="275"/>
                      <a:pt x="1395" y="275"/>
                      <a:pt x="1395" y="275"/>
                    </a:cubicBezTo>
                    <a:cubicBezTo>
                      <a:pt x="1395" y="274"/>
                      <a:pt x="1395" y="274"/>
                      <a:pt x="1395" y="274"/>
                    </a:cubicBezTo>
                    <a:cubicBezTo>
                      <a:pt x="1395" y="273"/>
                      <a:pt x="1395" y="273"/>
                      <a:pt x="1395" y="273"/>
                    </a:cubicBezTo>
                    <a:cubicBezTo>
                      <a:pt x="1394" y="272"/>
                      <a:pt x="1394" y="272"/>
                      <a:pt x="1394" y="272"/>
                    </a:cubicBezTo>
                    <a:cubicBezTo>
                      <a:pt x="1394" y="271"/>
                      <a:pt x="1394" y="271"/>
                      <a:pt x="1394" y="271"/>
                    </a:cubicBezTo>
                    <a:cubicBezTo>
                      <a:pt x="1394" y="268"/>
                      <a:pt x="1394" y="268"/>
                      <a:pt x="1394" y="268"/>
                    </a:cubicBezTo>
                    <a:cubicBezTo>
                      <a:pt x="1392" y="267"/>
                      <a:pt x="1392" y="267"/>
                      <a:pt x="1392" y="267"/>
                    </a:cubicBezTo>
                    <a:cubicBezTo>
                      <a:pt x="1389" y="264"/>
                      <a:pt x="1389" y="264"/>
                      <a:pt x="1389" y="264"/>
                    </a:cubicBezTo>
                    <a:cubicBezTo>
                      <a:pt x="1390" y="264"/>
                      <a:pt x="1390" y="264"/>
                      <a:pt x="1390" y="264"/>
                    </a:cubicBezTo>
                    <a:cubicBezTo>
                      <a:pt x="1393" y="265"/>
                      <a:pt x="1393" y="265"/>
                      <a:pt x="1393" y="265"/>
                    </a:cubicBezTo>
                    <a:cubicBezTo>
                      <a:pt x="1394" y="265"/>
                      <a:pt x="1394" y="265"/>
                      <a:pt x="1394" y="265"/>
                    </a:cubicBezTo>
                    <a:cubicBezTo>
                      <a:pt x="1395" y="265"/>
                      <a:pt x="1395" y="265"/>
                      <a:pt x="1395" y="265"/>
                    </a:cubicBezTo>
                    <a:cubicBezTo>
                      <a:pt x="1397" y="265"/>
                      <a:pt x="1397" y="265"/>
                      <a:pt x="1397" y="265"/>
                    </a:cubicBezTo>
                    <a:cubicBezTo>
                      <a:pt x="1401" y="265"/>
                      <a:pt x="1401" y="265"/>
                      <a:pt x="1401" y="265"/>
                    </a:cubicBezTo>
                    <a:cubicBezTo>
                      <a:pt x="1402" y="266"/>
                      <a:pt x="1402" y="266"/>
                      <a:pt x="1402" y="266"/>
                    </a:cubicBezTo>
                    <a:cubicBezTo>
                      <a:pt x="1402" y="267"/>
                      <a:pt x="1402" y="267"/>
                      <a:pt x="1402" y="267"/>
                    </a:cubicBezTo>
                    <a:cubicBezTo>
                      <a:pt x="1404" y="269"/>
                      <a:pt x="1404" y="269"/>
                      <a:pt x="1404" y="269"/>
                    </a:cubicBezTo>
                    <a:cubicBezTo>
                      <a:pt x="1405" y="269"/>
                      <a:pt x="1405" y="269"/>
                      <a:pt x="1405" y="269"/>
                    </a:cubicBezTo>
                    <a:cubicBezTo>
                      <a:pt x="1405" y="270"/>
                      <a:pt x="1405" y="270"/>
                      <a:pt x="1405" y="270"/>
                    </a:cubicBezTo>
                    <a:cubicBezTo>
                      <a:pt x="1407" y="272"/>
                      <a:pt x="1407" y="272"/>
                      <a:pt x="1407" y="272"/>
                    </a:cubicBezTo>
                    <a:cubicBezTo>
                      <a:pt x="1407" y="273"/>
                      <a:pt x="1407" y="273"/>
                      <a:pt x="1407" y="273"/>
                    </a:cubicBezTo>
                    <a:cubicBezTo>
                      <a:pt x="1405" y="273"/>
                      <a:pt x="1405" y="273"/>
                      <a:pt x="1405" y="273"/>
                    </a:cubicBezTo>
                    <a:cubicBezTo>
                      <a:pt x="1404" y="274"/>
                      <a:pt x="1404" y="274"/>
                      <a:pt x="1404" y="274"/>
                    </a:cubicBezTo>
                    <a:cubicBezTo>
                      <a:pt x="1402" y="274"/>
                      <a:pt x="1402" y="274"/>
                      <a:pt x="1402" y="274"/>
                    </a:cubicBezTo>
                    <a:cubicBezTo>
                      <a:pt x="1401" y="275"/>
                      <a:pt x="1401" y="275"/>
                      <a:pt x="1401" y="275"/>
                    </a:cubicBezTo>
                    <a:cubicBezTo>
                      <a:pt x="1402" y="275"/>
                      <a:pt x="1402" y="275"/>
                      <a:pt x="1402" y="275"/>
                    </a:cubicBezTo>
                    <a:cubicBezTo>
                      <a:pt x="1401" y="276"/>
                      <a:pt x="1401" y="276"/>
                      <a:pt x="1401" y="276"/>
                    </a:cubicBezTo>
                    <a:cubicBezTo>
                      <a:pt x="1400" y="276"/>
                      <a:pt x="1400" y="276"/>
                      <a:pt x="1400" y="276"/>
                    </a:cubicBezTo>
                    <a:cubicBezTo>
                      <a:pt x="1400" y="277"/>
                      <a:pt x="1400" y="277"/>
                      <a:pt x="1400" y="277"/>
                    </a:cubicBezTo>
                    <a:cubicBezTo>
                      <a:pt x="1400" y="278"/>
                      <a:pt x="1400" y="278"/>
                      <a:pt x="1400" y="278"/>
                    </a:cubicBezTo>
                    <a:cubicBezTo>
                      <a:pt x="1401" y="279"/>
                      <a:pt x="1401" y="279"/>
                      <a:pt x="1401" y="279"/>
                    </a:cubicBezTo>
                    <a:cubicBezTo>
                      <a:pt x="1404" y="281"/>
                      <a:pt x="1404" y="281"/>
                      <a:pt x="1404" y="281"/>
                    </a:cubicBezTo>
                    <a:cubicBezTo>
                      <a:pt x="1406" y="284"/>
                      <a:pt x="1406" y="284"/>
                      <a:pt x="1406" y="284"/>
                    </a:cubicBezTo>
                    <a:cubicBezTo>
                      <a:pt x="1407" y="284"/>
                      <a:pt x="1407" y="284"/>
                      <a:pt x="1407" y="284"/>
                    </a:cubicBezTo>
                    <a:cubicBezTo>
                      <a:pt x="1409" y="283"/>
                      <a:pt x="1409" y="283"/>
                      <a:pt x="1409" y="283"/>
                    </a:cubicBezTo>
                    <a:cubicBezTo>
                      <a:pt x="1410" y="285"/>
                      <a:pt x="1410" y="285"/>
                      <a:pt x="1410" y="285"/>
                    </a:cubicBezTo>
                    <a:cubicBezTo>
                      <a:pt x="1410" y="284"/>
                      <a:pt x="1410" y="284"/>
                      <a:pt x="1410" y="284"/>
                    </a:cubicBezTo>
                    <a:cubicBezTo>
                      <a:pt x="1412" y="284"/>
                      <a:pt x="1412" y="284"/>
                      <a:pt x="1412" y="284"/>
                    </a:cubicBezTo>
                    <a:cubicBezTo>
                      <a:pt x="1412" y="283"/>
                      <a:pt x="1412" y="283"/>
                      <a:pt x="1412" y="283"/>
                    </a:cubicBezTo>
                    <a:cubicBezTo>
                      <a:pt x="1414" y="282"/>
                      <a:pt x="1414" y="282"/>
                      <a:pt x="1414" y="282"/>
                    </a:cubicBezTo>
                    <a:cubicBezTo>
                      <a:pt x="1415" y="281"/>
                      <a:pt x="1415" y="281"/>
                      <a:pt x="1415" y="281"/>
                    </a:cubicBezTo>
                    <a:cubicBezTo>
                      <a:pt x="1414" y="279"/>
                      <a:pt x="1414" y="279"/>
                      <a:pt x="1414" y="279"/>
                    </a:cubicBezTo>
                    <a:cubicBezTo>
                      <a:pt x="1415" y="277"/>
                      <a:pt x="1415" y="277"/>
                      <a:pt x="1415" y="277"/>
                    </a:cubicBezTo>
                    <a:cubicBezTo>
                      <a:pt x="1415" y="276"/>
                      <a:pt x="1415" y="276"/>
                      <a:pt x="1415" y="276"/>
                    </a:cubicBezTo>
                    <a:cubicBezTo>
                      <a:pt x="1414" y="275"/>
                      <a:pt x="1414" y="275"/>
                      <a:pt x="1414" y="275"/>
                    </a:cubicBezTo>
                    <a:cubicBezTo>
                      <a:pt x="1418" y="274"/>
                      <a:pt x="1418" y="274"/>
                      <a:pt x="1418" y="274"/>
                    </a:cubicBezTo>
                    <a:cubicBezTo>
                      <a:pt x="1420" y="274"/>
                      <a:pt x="1420" y="274"/>
                      <a:pt x="1420" y="274"/>
                    </a:cubicBezTo>
                    <a:cubicBezTo>
                      <a:pt x="1420" y="273"/>
                      <a:pt x="1420" y="273"/>
                      <a:pt x="1420" y="273"/>
                    </a:cubicBezTo>
                    <a:cubicBezTo>
                      <a:pt x="1418" y="272"/>
                      <a:pt x="1418" y="272"/>
                      <a:pt x="1418" y="272"/>
                    </a:cubicBezTo>
                    <a:cubicBezTo>
                      <a:pt x="1418" y="271"/>
                      <a:pt x="1418" y="271"/>
                      <a:pt x="1418" y="271"/>
                    </a:cubicBezTo>
                    <a:cubicBezTo>
                      <a:pt x="1419" y="271"/>
                      <a:pt x="1419" y="271"/>
                      <a:pt x="1419" y="271"/>
                    </a:cubicBezTo>
                    <a:cubicBezTo>
                      <a:pt x="1419" y="272"/>
                      <a:pt x="1419" y="272"/>
                      <a:pt x="1419" y="272"/>
                    </a:cubicBezTo>
                    <a:cubicBezTo>
                      <a:pt x="1421" y="271"/>
                      <a:pt x="1421" y="271"/>
                      <a:pt x="1421" y="271"/>
                    </a:cubicBezTo>
                    <a:cubicBezTo>
                      <a:pt x="1423" y="268"/>
                      <a:pt x="1423" y="268"/>
                      <a:pt x="1423" y="268"/>
                    </a:cubicBezTo>
                    <a:cubicBezTo>
                      <a:pt x="1424" y="268"/>
                      <a:pt x="1424" y="268"/>
                      <a:pt x="1424" y="268"/>
                    </a:cubicBezTo>
                    <a:cubicBezTo>
                      <a:pt x="1426" y="265"/>
                      <a:pt x="1426" y="265"/>
                      <a:pt x="1426" y="265"/>
                    </a:cubicBezTo>
                    <a:cubicBezTo>
                      <a:pt x="1426" y="264"/>
                      <a:pt x="1426" y="264"/>
                      <a:pt x="1426" y="264"/>
                    </a:cubicBezTo>
                    <a:cubicBezTo>
                      <a:pt x="1427" y="264"/>
                      <a:pt x="1427" y="264"/>
                      <a:pt x="1427" y="264"/>
                    </a:cubicBezTo>
                    <a:cubicBezTo>
                      <a:pt x="1428" y="264"/>
                      <a:pt x="1428" y="264"/>
                      <a:pt x="1428" y="264"/>
                    </a:cubicBezTo>
                    <a:cubicBezTo>
                      <a:pt x="1430" y="263"/>
                      <a:pt x="1430" y="263"/>
                      <a:pt x="1430" y="263"/>
                    </a:cubicBezTo>
                    <a:cubicBezTo>
                      <a:pt x="1433" y="262"/>
                      <a:pt x="1433" y="262"/>
                      <a:pt x="1433" y="262"/>
                    </a:cubicBezTo>
                    <a:cubicBezTo>
                      <a:pt x="1433" y="263"/>
                      <a:pt x="1433" y="263"/>
                      <a:pt x="1433" y="263"/>
                    </a:cubicBezTo>
                    <a:cubicBezTo>
                      <a:pt x="1434" y="264"/>
                      <a:pt x="1434" y="264"/>
                      <a:pt x="1434" y="264"/>
                    </a:cubicBezTo>
                    <a:cubicBezTo>
                      <a:pt x="1433" y="264"/>
                      <a:pt x="1433" y="264"/>
                      <a:pt x="1433" y="264"/>
                    </a:cubicBezTo>
                    <a:cubicBezTo>
                      <a:pt x="1434" y="265"/>
                      <a:pt x="1434" y="265"/>
                      <a:pt x="1434" y="265"/>
                    </a:cubicBezTo>
                    <a:cubicBezTo>
                      <a:pt x="1435" y="264"/>
                      <a:pt x="1435" y="264"/>
                      <a:pt x="1435" y="264"/>
                    </a:cubicBezTo>
                    <a:cubicBezTo>
                      <a:pt x="1435" y="263"/>
                      <a:pt x="1435" y="263"/>
                      <a:pt x="1435" y="263"/>
                    </a:cubicBezTo>
                    <a:cubicBezTo>
                      <a:pt x="1435" y="262"/>
                      <a:pt x="1435" y="262"/>
                      <a:pt x="1435" y="262"/>
                    </a:cubicBezTo>
                    <a:cubicBezTo>
                      <a:pt x="1434" y="261"/>
                      <a:pt x="1434" y="261"/>
                      <a:pt x="1434" y="261"/>
                    </a:cubicBezTo>
                    <a:cubicBezTo>
                      <a:pt x="1436" y="259"/>
                      <a:pt x="1436" y="259"/>
                      <a:pt x="1436" y="259"/>
                    </a:cubicBezTo>
                    <a:cubicBezTo>
                      <a:pt x="1436" y="258"/>
                      <a:pt x="1436" y="258"/>
                      <a:pt x="1436" y="258"/>
                    </a:cubicBezTo>
                    <a:cubicBezTo>
                      <a:pt x="1437" y="259"/>
                      <a:pt x="1437" y="259"/>
                      <a:pt x="1437" y="259"/>
                    </a:cubicBezTo>
                    <a:cubicBezTo>
                      <a:pt x="1436" y="260"/>
                      <a:pt x="1436" y="260"/>
                      <a:pt x="1436" y="260"/>
                    </a:cubicBezTo>
                    <a:cubicBezTo>
                      <a:pt x="1437" y="261"/>
                      <a:pt x="1437" y="261"/>
                      <a:pt x="1437" y="261"/>
                    </a:cubicBezTo>
                    <a:cubicBezTo>
                      <a:pt x="1438" y="261"/>
                      <a:pt x="1438" y="261"/>
                      <a:pt x="1438" y="261"/>
                    </a:cubicBezTo>
                    <a:cubicBezTo>
                      <a:pt x="1438" y="260"/>
                      <a:pt x="1438" y="260"/>
                      <a:pt x="1438" y="260"/>
                    </a:cubicBezTo>
                    <a:cubicBezTo>
                      <a:pt x="1437" y="258"/>
                      <a:pt x="1437" y="258"/>
                      <a:pt x="1437" y="258"/>
                    </a:cubicBezTo>
                    <a:cubicBezTo>
                      <a:pt x="1438" y="257"/>
                      <a:pt x="1438" y="257"/>
                      <a:pt x="1438" y="257"/>
                    </a:cubicBezTo>
                    <a:cubicBezTo>
                      <a:pt x="1441" y="256"/>
                      <a:pt x="1441" y="256"/>
                      <a:pt x="1441" y="256"/>
                    </a:cubicBezTo>
                    <a:cubicBezTo>
                      <a:pt x="1444" y="255"/>
                      <a:pt x="1444" y="255"/>
                      <a:pt x="1444" y="255"/>
                    </a:cubicBezTo>
                    <a:cubicBezTo>
                      <a:pt x="1444" y="256"/>
                      <a:pt x="1444" y="256"/>
                      <a:pt x="1444" y="256"/>
                    </a:cubicBezTo>
                    <a:cubicBezTo>
                      <a:pt x="1443" y="256"/>
                      <a:pt x="1443" y="256"/>
                      <a:pt x="1443" y="256"/>
                    </a:cubicBezTo>
                    <a:cubicBezTo>
                      <a:pt x="1442" y="256"/>
                      <a:pt x="1442" y="256"/>
                      <a:pt x="1442" y="256"/>
                    </a:cubicBezTo>
                    <a:cubicBezTo>
                      <a:pt x="1439" y="258"/>
                      <a:pt x="1439" y="258"/>
                      <a:pt x="1439" y="258"/>
                    </a:cubicBezTo>
                    <a:cubicBezTo>
                      <a:pt x="1440" y="258"/>
                      <a:pt x="1440" y="258"/>
                      <a:pt x="1440" y="258"/>
                    </a:cubicBezTo>
                    <a:cubicBezTo>
                      <a:pt x="1441" y="258"/>
                      <a:pt x="1441" y="258"/>
                      <a:pt x="1441" y="258"/>
                    </a:cubicBezTo>
                    <a:cubicBezTo>
                      <a:pt x="1443" y="259"/>
                      <a:pt x="1443" y="259"/>
                      <a:pt x="1443" y="259"/>
                    </a:cubicBezTo>
                    <a:cubicBezTo>
                      <a:pt x="1442" y="260"/>
                      <a:pt x="1442" y="260"/>
                      <a:pt x="1442" y="260"/>
                    </a:cubicBezTo>
                    <a:cubicBezTo>
                      <a:pt x="1442" y="262"/>
                      <a:pt x="1442" y="262"/>
                      <a:pt x="1442" y="262"/>
                    </a:cubicBezTo>
                    <a:cubicBezTo>
                      <a:pt x="1441" y="262"/>
                      <a:pt x="1441" y="262"/>
                      <a:pt x="1441" y="262"/>
                    </a:cubicBezTo>
                    <a:cubicBezTo>
                      <a:pt x="1439" y="264"/>
                      <a:pt x="1439" y="264"/>
                      <a:pt x="1439" y="264"/>
                    </a:cubicBezTo>
                    <a:cubicBezTo>
                      <a:pt x="1440" y="265"/>
                      <a:pt x="1440" y="265"/>
                      <a:pt x="1440" y="265"/>
                    </a:cubicBezTo>
                    <a:cubicBezTo>
                      <a:pt x="1441" y="265"/>
                      <a:pt x="1441" y="265"/>
                      <a:pt x="1441" y="265"/>
                    </a:cubicBezTo>
                    <a:cubicBezTo>
                      <a:pt x="1442" y="265"/>
                      <a:pt x="1442" y="265"/>
                      <a:pt x="1442" y="265"/>
                    </a:cubicBezTo>
                    <a:cubicBezTo>
                      <a:pt x="1443" y="264"/>
                      <a:pt x="1443" y="264"/>
                      <a:pt x="1443" y="264"/>
                    </a:cubicBezTo>
                    <a:cubicBezTo>
                      <a:pt x="1445" y="265"/>
                      <a:pt x="1445" y="265"/>
                      <a:pt x="1445" y="265"/>
                    </a:cubicBezTo>
                    <a:cubicBezTo>
                      <a:pt x="1446" y="263"/>
                      <a:pt x="1446" y="263"/>
                      <a:pt x="1446" y="263"/>
                    </a:cubicBezTo>
                    <a:cubicBezTo>
                      <a:pt x="1447" y="263"/>
                      <a:pt x="1447" y="263"/>
                      <a:pt x="1447" y="263"/>
                    </a:cubicBezTo>
                    <a:cubicBezTo>
                      <a:pt x="1448" y="264"/>
                      <a:pt x="1448" y="264"/>
                      <a:pt x="1448" y="264"/>
                    </a:cubicBezTo>
                    <a:cubicBezTo>
                      <a:pt x="1449" y="265"/>
                      <a:pt x="1449" y="265"/>
                      <a:pt x="1449" y="265"/>
                    </a:cubicBezTo>
                    <a:cubicBezTo>
                      <a:pt x="1449" y="264"/>
                      <a:pt x="1449" y="264"/>
                      <a:pt x="1449" y="264"/>
                    </a:cubicBezTo>
                    <a:cubicBezTo>
                      <a:pt x="1449" y="263"/>
                      <a:pt x="1449" y="263"/>
                      <a:pt x="1449" y="263"/>
                    </a:cubicBezTo>
                    <a:cubicBezTo>
                      <a:pt x="1448" y="262"/>
                      <a:pt x="1448" y="262"/>
                      <a:pt x="1448" y="262"/>
                    </a:cubicBezTo>
                    <a:cubicBezTo>
                      <a:pt x="1448" y="261"/>
                      <a:pt x="1448" y="261"/>
                      <a:pt x="1448" y="261"/>
                    </a:cubicBezTo>
                    <a:cubicBezTo>
                      <a:pt x="1449" y="260"/>
                      <a:pt x="1449" y="260"/>
                      <a:pt x="1449" y="260"/>
                    </a:cubicBezTo>
                    <a:cubicBezTo>
                      <a:pt x="1450" y="260"/>
                      <a:pt x="1450" y="260"/>
                      <a:pt x="1450" y="260"/>
                    </a:cubicBezTo>
                    <a:cubicBezTo>
                      <a:pt x="1451" y="259"/>
                      <a:pt x="1451" y="259"/>
                      <a:pt x="1451" y="259"/>
                    </a:cubicBezTo>
                    <a:cubicBezTo>
                      <a:pt x="1452" y="258"/>
                      <a:pt x="1452" y="258"/>
                      <a:pt x="1452" y="258"/>
                    </a:cubicBezTo>
                    <a:cubicBezTo>
                      <a:pt x="1453" y="259"/>
                      <a:pt x="1453" y="259"/>
                      <a:pt x="1453" y="259"/>
                    </a:cubicBezTo>
                    <a:cubicBezTo>
                      <a:pt x="1454" y="259"/>
                      <a:pt x="1454" y="259"/>
                      <a:pt x="1454" y="259"/>
                    </a:cubicBezTo>
                    <a:cubicBezTo>
                      <a:pt x="1455" y="259"/>
                      <a:pt x="1455" y="259"/>
                      <a:pt x="1455" y="259"/>
                    </a:cubicBezTo>
                    <a:cubicBezTo>
                      <a:pt x="1456" y="259"/>
                      <a:pt x="1456" y="259"/>
                      <a:pt x="1456" y="259"/>
                    </a:cubicBezTo>
                    <a:cubicBezTo>
                      <a:pt x="1458" y="259"/>
                      <a:pt x="1458" y="259"/>
                      <a:pt x="1458" y="259"/>
                    </a:cubicBezTo>
                    <a:cubicBezTo>
                      <a:pt x="1459" y="258"/>
                      <a:pt x="1459" y="258"/>
                      <a:pt x="1459" y="258"/>
                    </a:cubicBezTo>
                    <a:cubicBezTo>
                      <a:pt x="1459" y="257"/>
                      <a:pt x="1459" y="257"/>
                      <a:pt x="1459" y="257"/>
                    </a:cubicBezTo>
                    <a:cubicBezTo>
                      <a:pt x="1460" y="257"/>
                      <a:pt x="1460" y="257"/>
                      <a:pt x="1460" y="257"/>
                    </a:cubicBezTo>
                    <a:cubicBezTo>
                      <a:pt x="1461" y="257"/>
                      <a:pt x="1461" y="257"/>
                      <a:pt x="1461" y="257"/>
                    </a:cubicBezTo>
                    <a:cubicBezTo>
                      <a:pt x="1462" y="256"/>
                      <a:pt x="1462" y="256"/>
                      <a:pt x="1462" y="256"/>
                    </a:cubicBezTo>
                    <a:cubicBezTo>
                      <a:pt x="1463" y="255"/>
                      <a:pt x="1463" y="255"/>
                      <a:pt x="1463" y="255"/>
                    </a:cubicBezTo>
                    <a:cubicBezTo>
                      <a:pt x="1464" y="255"/>
                      <a:pt x="1464" y="255"/>
                      <a:pt x="1464" y="255"/>
                    </a:cubicBezTo>
                    <a:cubicBezTo>
                      <a:pt x="1465" y="253"/>
                      <a:pt x="1465" y="253"/>
                      <a:pt x="1465" y="253"/>
                    </a:cubicBezTo>
                    <a:cubicBezTo>
                      <a:pt x="1466" y="253"/>
                      <a:pt x="1466" y="253"/>
                      <a:pt x="1466" y="253"/>
                    </a:cubicBezTo>
                    <a:cubicBezTo>
                      <a:pt x="1467" y="252"/>
                      <a:pt x="1467" y="252"/>
                      <a:pt x="1467" y="252"/>
                    </a:cubicBezTo>
                    <a:cubicBezTo>
                      <a:pt x="1467" y="253"/>
                      <a:pt x="1467" y="253"/>
                      <a:pt x="1467" y="253"/>
                    </a:cubicBezTo>
                    <a:cubicBezTo>
                      <a:pt x="1466" y="254"/>
                      <a:pt x="1466" y="254"/>
                      <a:pt x="1466" y="254"/>
                    </a:cubicBezTo>
                    <a:cubicBezTo>
                      <a:pt x="1467" y="254"/>
                      <a:pt x="1467" y="254"/>
                      <a:pt x="1467" y="254"/>
                    </a:cubicBezTo>
                    <a:cubicBezTo>
                      <a:pt x="1468" y="256"/>
                      <a:pt x="1468" y="256"/>
                      <a:pt x="1468" y="256"/>
                    </a:cubicBezTo>
                    <a:cubicBezTo>
                      <a:pt x="1469" y="256"/>
                      <a:pt x="1469" y="256"/>
                      <a:pt x="1469" y="256"/>
                    </a:cubicBezTo>
                    <a:cubicBezTo>
                      <a:pt x="1468" y="257"/>
                      <a:pt x="1468" y="257"/>
                      <a:pt x="1468" y="257"/>
                    </a:cubicBezTo>
                    <a:cubicBezTo>
                      <a:pt x="1468" y="258"/>
                      <a:pt x="1468" y="258"/>
                      <a:pt x="1468" y="258"/>
                    </a:cubicBezTo>
                    <a:cubicBezTo>
                      <a:pt x="1468" y="259"/>
                      <a:pt x="1468" y="259"/>
                      <a:pt x="1468" y="259"/>
                    </a:cubicBezTo>
                    <a:cubicBezTo>
                      <a:pt x="1469" y="260"/>
                      <a:pt x="1469" y="260"/>
                      <a:pt x="1469" y="260"/>
                    </a:cubicBezTo>
                    <a:cubicBezTo>
                      <a:pt x="1472" y="260"/>
                      <a:pt x="1472" y="260"/>
                      <a:pt x="1472" y="260"/>
                    </a:cubicBezTo>
                    <a:cubicBezTo>
                      <a:pt x="1472" y="259"/>
                      <a:pt x="1472" y="259"/>
                      <a:pt x="1472" y="259"/>
                    </a:cubicBezTo>
                    <a:cubicBezTo>
                      <a:pt x="1471" y="257"/>
                      <a:pt x="1471" y="257"/>
                      <a:pt x="1471" y="257"/>
                    </a:cubicBezTo>
                    <a:cubicBezTo>
                      <a:pt x="1471" y="256"/>
                      <a:pt x="1471" y="256"/>
                      <a:pt x="1471" y="256"/>
                    </a:cubicBezTo>
                    <a:cubicBezTo>
                      <a:pt x="1472" y="256"/>
                      <a:pt x="1472" y="256"/>
                      <a:pt x="1472" y="256"/>
                    </a:cubicBezTo>
                    <a:cubicBezTo>
                      <a:pt x="1473" y="256"/>
                      <a:pt x="1473" y="256"/>
                      <a:pt x="1473" y="256"/>
                    </a:cubicBezTo>
                    <a:cubicBezTo>
                      <a:pt x="1475" y="256"/>
                      <a:pt x="1475" y="256"/>
                      <a:pt x="1475" y="256"/>
                    </a:cubicBezTo>
                    <a:cubicBezTo>
                      <a:pt x="1475" y="253"/>
                      <a:pt x="1475" y="253"/>
                      <a:pt x="1475" y="253"/>
                    </a:cubicBezTo>
                    <a:cubicBezTo>
                      <a:pt x="1476" y="253"/>
                      <a:pt x="1476" y="253"/>
                      <a:pt x="1476" y="253"/>
                    </a:cubicBezTo>
                    <a:cubicBezTo>
                      <a:pt x="1477" y="254"/>
                      <a:pt x="1477" y="254"/>
                      <a:pt x="1477" y="254"/>
                    </a:cubicBezTo>
                    <a:cubicBezTo>
                      <a:pt x="1478" y="254"/>
                      <a:pt x="1478" y="254"/>
                      <a:pt x="1478" y="254"/>
                    </a:cubicBezTo>
                    <a:cubicBezTo>
                      <a:pt x="1477" y="252"/>
                      <a:pt x="1477" y="252"/>
                      <a:pt x="1477" y="252"/>
                    </a:cubicBezTo>
                    <a:cubicBezTo>
                      <a:pt x="1475" y="252"/>
                      <a:pt x="1475" y="252"/>
                      <a:pt x="1475" y="252"/>
                    </a:cubicBezTo>
                    <a:cubicBezTo>
                      <a:pt x="1475" y="251"/>
                      <a:pt x="1475" y="251"/>
                      <a:pt x="1475" y="251"/>
                    </a:cubicBezTo>
                    <a:cubicBezTo>
                      <a:pt x="1474" y="249"/>
                      <a:pt x="1474" y="249"/>
                      <a:pt x="1474" y="249"/>
                    </a:cubicBezTo>
                    <a:cubicBezTo>
                      <a:pt x="1473" y="249"/>
                      <a:pt x="1473" y="249"/>
                      <a:pt x="1473" y="249"/>
                    </a:cubicBezTo>
                    <a:cubicBezTo>
                      <a:pt x="1473" y="250"/>
                      <a:pt x="1473" y="250"/>
                      <a:pt x="1473" y="250"/>
                    </a:cubicBezTo>
                    <a:cubicBezTo>
                      <a:pt x="1472" y="249"/>
                      <a:pt x="1472" y="249"/>
                      <a:pt x="1472" y="249"/>
                    </a:cubicBezTo>
                    <a:cubicBezTo>
                      <a:pt x="1472" y="246"/>
                      <a:pt x="1472" y="246"/>
                      <a:pt x="1472" y="246"/>
                    </a:cubicBezTo>
                    <a:cubicBezTo>
                      <a:pt x="1471" y="246"/>
                      <a:pt x="1471" y="246"/>
                      <a:pt x="1471" y="246"/>
                    </a:cubicBezTo>
                    <a:cubicBezTo>
                      <a:pt x="1470" y="244"/>
                      <a:pt x="1470" y="244"/>
                      <a:pt x="1470" y="244"/>
                    </a:cubicBezTo>
                    <a:cubicBezTo>
                      <a:pt x="1471" y="244"/>
                      <a:pt x="1471" y="244"/>
                      <a:pt x="1471" y="244"/>
                    </a:cubicBezTo>
                    <a:cubicBezTo>
                      <a:pt x="1471" y="242"/>
                      <a:pt x="1471" y="242"/>
                      <a:pt x="1471" y="242"/>
                    </a:cubicBezTo>
                    <a:cubicBezTo>
                      <a:pt x="1471" y="241"/>
                      <a:pt x="1471" y="241"/>
                      <a:pt x="1471" y="241"/>
                    </a:cubicBezTo>
                    <a:cubicBezTo>
                      <a:pt x="1471" y="240"/>
                      <a:pt x="1471" y="240"/>
                      <a:pt x="1471" y="240"/>
                    </a:cubicBezTo>
                    <a:cubicBezTo>
                      <a:pt x="1472" y="241"/>
                      <a:pt x="1472" y="241"/>
                      <a:pt x="1472" y="241"/>
                    </a:cubicBezTo>
                    <a:cubicBezTo>
                      <a:pt x="1473" y="240"/>
                      <a:pt x="1473" y="240"/>
                      <a:pt x="1473" y="240"/>
                    </a:cubicBezTo>
                    <a:cubicBezTo>
                      <a:pt x="1474" y="241"/>
                      <a:pt x="1474" y="241"/>
                      <a:pt x="1474" y="241"/>
                    </a:cubicBezTo>
                    <a:cubicBezTo>
                      <a:pt x="1475" y="241"/>
                      <a:pt x="1475" y="241"/>
                      <a:pt x="1475" y="241"/>
                    </a:cubicBezTo>
                    <a:cubicBezTo>
                      <a:pt x="1476" y="241"/>
                      <a:pt x="1476" y="241"/>
                      <a:pt x="1476" y="241"/>
                    </a:cubicBezTo>
                    <a:cubicBezTo>
                      <a:pt x="1481" y="241"/>
                      <a:pt x="1481" y="241"/>
                      <a:pt x="1481" y="241"/>
                    </a:cubicBezTo>
                    <a:cubicBezTo>
                      <a:pt x="1487" y="241"/>
                      <a:pt x="1487" y="241"/>
                      <a:pt x="1487" y="241"/>
                    </a:cubicBezTo>
                    <a:cubicBezTo>
                      <a:pt x="1489" y="242"/>
                      <a:pt x="1489" y="242"/>
                      <a:pt x="1489" y="242"/>
                    </a:cubicBezTo>
                    <a:cubicBezTo>
                      <a:pt x="1493" y="244"/>
                      <a:pt x="1493" y="244"/>
                      <a:pt x="1493" y="244"/>
                    </a:cubicBezTo>
                    <a:cubicBezTo>
                      <a:pt x="1493" y="245"/>
                      <a:pt x="1493" y="245"/>
                      <a:pt x="1493" y="245"/>
                    </a:cubicBezTo>
                    <a:cubicBezTo>
                      <a:pt x="1493" y="247"/>
                      <a:pt x="1493" y="247"/>
                      <a:pt x="1493" y="247"/>
                    </a:cubicBezTo>
                    <a:cubicBezTo>
                      <a:pt x="1495" y="245"/>
                      <a:pt x="1495" y="245"/>
                      <a:pt x="1495" y="245"/>
                    </a:cubicBezTo>
                    <a:cubicBezTo>
                      <a:pt x="1496" y="245"/>
                      <a:pt x="1496" y="245"/>
                      <a:pt x="1496" y="245"/>
                    </a:cubicBezTo>
                    <a:cubicBezTo>
                      <a:pt x="1497" y="246"/>
                      <a:pt x="1497" y="246"/>
                      <a:pt x="1497" y="246"/>
                    </a:cubicBezTo>
                    <a:cubicBezTo>
                      <a:pt x="1498" y="246"/>
                      <a:pt x="1498" y="246"/>
                      <a:pt x="1498" y="246"/>
                    </a:cubicBezTo>
                    <a:cubicBezTo>
                      <a:pt x="1499" y="247"/>
                      <a:pt x="1499" y="247"/>
                      <a:pt x="1499" y="247"/>
                    </a:cubicBezTo>
                    <a:cubicBezTo>
                      <a:pt x="1501" y="247"/>
                      <a:pt x="1501" y="247"/>
                      <a:pt x="1501" y="247"/>
                    </a:cubicBezTo>
                    <a:cubicBezTo>
                      <a:pt x="1504" y="249"/>
                      <a:pt x="1504" y="249"/>
                      <a:pt x="1504" y="249"/>
                    </a:cubicBezTo>
                    <a:cubicBezTo>
                      <a:pt x="1508" y="250"/>
                      <a:pt x="1508" y="250"/>
                      <a:pt x="1508" y="250"/>
                    </a:cubicBezTo>
                    <a:cubicBezTo>
                      <a:pt x="1509" y="251"/>
                      <a:pt x="1509" y="251"/>
                      <a:pt x="1509" y="251"/>
                    </a:cubicBezTo>
                    <a:cubicBezTo>
                      <a:pt x="1510" y="252"/>
                      <a:pt x="1510" y="252"/>
                      <a:pt x="1510" y="252"/>
                    </a:cubicBezTo>
                    <a:cubicBezTo>
                      <a:pt x="1512" y="253"/>
                      <a:pt x="1512" y="253"/>
                      <a:pt x="1512" y="253"/>
                    </a:cubicBezTo>
                    <a:cubicBezTo>
                      <a:pt x="1513" y="254"/>
                      <a:pt x="1513" y="254"/>
                      <a:pt x="1513" y="254"/>
                    </a:cubicBezTo>
                    <a:cubicBezTo>
                      <a:pt x="1515" y="257"/>
                      <a:pt x="1515" y="257"/>
                      <a:pt x="1515" y="257"/>
                    </a:cubicBezTo>
                    <a:cubicBezTo>
                      <a:pt x="1516" y="257"/>
                      <a:pt x="1516" y="257"/>
                      <a:pt x="1516" y="257"/>
                    </a:cubicBezTo>
                    <a:cubicBezTo>
                      <a:pt x="1516" y="256"/>
                      <a:pt x="1516" y="256"/>
                      <a:pt x="1516" y="256"/>
                    </a:cubicBezTo>
                    <a:cubicBezTo>
                      <a:pt x="1516" y="255"/>
                      <a:pt x="1516" y="255"/>
                      <a:pt x="1516" y="255"/>
                    </a:cubicBezTo>
                    <a:cubicBezTo>
                      <a:pt x="1517" y="255"/>
                      <a:pt x="1517" y="255"/>
                      <a:pt x="1517" y="255"/>
                    </a:cubicBezTo>
                    <a:cubicBezTo>
                      <a:pt x="1517" y="254"/>
                      <a:pt x="1517" y="254"/>
                      <a:pt x="1517" y="254"/>
                    </a:cubicBezTo>
                    <a:cubicBezTo>
                      <a:pt x="1516" y="253"/>
                      <a:pt x="1516" y="253"/>
                      <a:pt x="1516" y="253"/>
                    </a:cubicBezTo>
                    <a:cubicBezTo>
                      <a:pt x="1516" y="252"/>
                      <a:pt x="1516" y="252"/>
                      <a:pt x="1516" y="252"/>
                    </a:cubicBezTo>
                    <a:cubicBezTo>
                      <a:pt x="1516" y="248"/>
                      <a:pt x="1516" y="248"/>
                      <a:pt x="1516" y="248"/>
                    </a:cubicBezTo>
                    <a:cubicBezTo>
                      <a:pt x="1516" y="247"/>
                      <a:pt x="1516" y="247"/>
                      <a:pt x="1516" y="247"/>
                    </a:cubicBezTo>
                    <a:cubicBezTo>
                      <a:pt x="1515" y="247"/>
                      <a:pt x="1515" y="247"/>
                      <a:pt x="1515" y="247"/>
                    </a:cubicBezTo>
                    <a:cubicBezTo>
                      <a:pt x="1514" y="248"/>
                      <a:pt x="1514" y="248"/>
                      <a:pt x="1514" y="248"/>
                    </a:cubicBezTo>
                    <a:cubicBezTo>
                      <a:pt x="1513" y="247"/>
                      <a:pt x="1513" y="247"/>
                      <a:pt x="1513" y="247"/>
                    </a:cubicBezTo>
                    <a:cubicBezTo>
                      <a:pt x="1510" y="244"/>
                      <a:pt x="1510" y="244"/>
                      <a:pt x="1510" y="244"/>
                    </a:cubicBezTo>
                    <a:cubicBezTo>
                      <a:pt x="1509" y="243"/>
                      <a:pt x="1509" y="243"/>
                      <a:pt x="1509" y="243"/>
                    </a:cubicBezTo>
                    <a:cubicBezTo>
                      <a:pt x="1509" y="241"/>
                      <a:pt x="1509" y="241"/>
                      <a:pt x="1509" y="241"/>
                    </a:cubicBezTo>
                    <a:cubicBezTo>
                      <a:pt x="1508" y="240"/>
                      <a:pt x="1508" y="240"/>
                      <a:pt x="1508" y="240"/>
                    </a:cubicBezTo>
                    <a:cubicBezTo>
                      <a:pt x="1507" y="242"/>
                      <a:pt x="1507" y="242"/>
                      <a:pt x="1507" y="242"/>
                    </a:cubicBezTo>
                    <a:cubicBezTo>
                      <a:pt x="1505" y="241"/>
                      <a:pt x="1505" y="241"/>
                      <a:pt x="1505" y="241"/>
                    </a:cubicBezTo>
                    <a:cubicBezTo>
                      <a:pt x="1504" y="241"/>
                      <a:pt x="1504" y="241"/>
                      <a:pt x="1504" y="241"/>
                    </a:cubicBezTo>
                    <a:cubicBezTo>
                      <a:pt x="1503" y="240"/>
                      <a:pt x="1503" y="240"/>
                      <a:pt x="1503" y="240"/>
                    </a:cubicBezTo>
                    <a:cubicBezTo>
                      <a:pt x="1502" y="241"/>
                      <a:pt x="1502" y="241"/>
                      <a:pt x="1502" y="241"/>
                    </a:cubicBezTo>
                    <a:cubicBezTo>
                      <a:pt x="1502" y="239"/>
                      <a:pt x="1502" y="239"/>
                      <a:pt x="1502" y="239"/>
                    </a:cubicBezTo>
                    <a:cubicBezTo>
                      <a:pt x="1501" y="238"/>
                      <a:pt x="1501" y="238"/>
                      <a:pt x="1501" y="238"/>
                    </a:cubicBezTo>
                    <a:cubicBezTo>
                      <a:pt x="1500" y="235"/>
                      <a:pt x="1500" y="235"/>
                      <a:pt x="1500" y="235"/>
                    </a:cubicBezTo>
                    <a:cubicBezTo>
                      <a:pt x="1500" y="234"/>
                      <a:pt x="1500" y="234"/>
                      <a:pt x="1500" y="234"/>
                    </a:cubicBezTo>
                    <a:cubicBezTo>
                      <a:pt x="1501" y="235"/>
                      <a:pt x="1501" y="235"/>
                      <a:pt x="1501" y="235"/>
                    </a:cubicBezTo>
                    <a:cubicBezTo>
                      <a:pt x="1502" y="234"/>
                      <a:pt x="1502" y="234"/>
                      <a:pt x="1502" y="234"/>
                    </a:cubicBezTo>
                    <a:cubicBezTo>
                      <a:pt x="1502" y="233"/>
                      <a:pt x="1502" y="233"/>
                      <a:pt x="1502" y="233"/>
                    </a:cubicBezTo>
                    <a:cubicBezTo>
                      <a:pt x="1500" y="231"/>
                      <a:pt x="1500" y="231"/>
                      <a:pt x="1500" y="231"/>
                    </a:cubicBezTo>
                    <a:cubicBezTo>
                      <a:pt x="1500" y="230"/>
                      <a:pt x="1500" y="230"/>
                      <a:pt x="1500" y="230"/>
                    </a:cubicBezTo>
                    <a:cubicBezTo>
                      <a:pt x="1500" y="229"/>
                      <a:pt x="1500" y="229"/>
                      <a:pt x="1500" y="229"/>
                    </a:cubicBezTo>
                    <a:cubicBezTo>
                      <a:pt x="1501" y="229"/>
                      <a:pt x="1501" y="229"/>
                      <a:pt x="1501" y="229"/>
                    </a:cubicBezTo>
                    <a:cubicBezTo>
                      <a:pt x="1500" y="228"/>
                      <a:pt x="1500" y="228"/>
                      <a:pt x="1500" y="228"/>
                    </a:cubicBezTo>
                    <a:cubicBezTo>
                      <a:pt x="1499" y="228"/>
                      <a:pt x="1499" y="228"/>
                      <a:pt x="1499" y="228"/>
                    </a:cubicBezTo>
                    <a:cubicBezTo>
                      <a:pt x="1498" y="225"/>
                      <a:pt x="1498" y="225"/>
                      <a:pt x="1498" y="225"/>
                    </a:cubicBezTo>
                    <a:cubicBezTo>
                      <a:pt x="1497" y="225"/>
                      <a:pt x="1497" y="225"/>
                      <a:pt x="1497" y="225"/>
                    </a:cubicBezTo>
                    <a:cubicBezTo>
                      <a:pt x="1496" y="225"/>
                      <a:pt x="1496" y="225"/>
                      <a:pt x="1496" y="225"/>
                    </a:cubicBezTo>
                    <a:cubicBezTo>
                      <a:pt x="1495" y="224"/>
                      <a:pt x="1495" y="224"/>
                      <a:pt x="1495" y="224"/>
                    </a:cubicBezTo>
                    <a:cubicBezTo>
                      <a:pt x="1495" y="222"/>
                      <a:pt x="1495" y="222"/>
                      <a:pt x="1495" y="222"/>
                    </a:cubicBezTo>
                    <a:cubicBezTo>
                      <a:pt x="1496" y="221"/>
                      <a:pt x="1496" y="221"/>
                      <a:pt x="1496" y="221"/>
                    </a:cubicBezTo>
                    <a:cubicBezTo>
                      <a:pt x="1495" y="219"/>
                      <a:pt x="1495" y="219"/>
                      <a:pt x="1495" y="219"/>
                    </a:cubicBezTo>
                    <a:cubicBezTo>
                      <a:pt x="1495" y="218"/>
                      <a:pt x="1495" y="218"/>
                      <a:pt x="1495" y="218"/>
                    </a:cubicBezTo>
                    <a:cubicBezTo>
                      <a:pt x="1498" y="214"/>
                      <a:pt x="1498" y="214"/>
                      <a:pt x="1498" y="214"/>
                    </a:cubicBezTo>
                    <a:cubicBezTo>
                      <a:pt x="1499" y="213"/>
                      <a:pt x="1499" y="213"/>
                      <a:pt x="1499" y="213"/>
                    </a:cubicBezTo>
                    <a:cubicBezTo>
                      <a:pt x="1499" y="211"/>
                      <a:pt x="1499" y="211"/>
                      <a:pt x="1499" y="211"/>
                    </a:cubicBezTo>
                    <a:cubicBezTo>
                      <a:pt x="1499" y="210"/>
                      <a:pt x="1499" y="210"/>
                      <a:pt x="1499" y="210"/>
                    </a:cubicBezTo>
                    <a:cubicBezTo>
                      <a:pt x="1500" y="208"/>
                      <a:pt x="1500" y="208"/>
                      <a:pt x="1500" y="208"/>
                    </a:cubicBezTo>
                    <a:cubicBezTo>
                      <a:pt x="1499" y="207"/>
                      <a:pt x="1499" y="207"/>
                      <a:pt x="1499" y="207"/>
                    </a:cubicBezTo>
                    <a:cubicBezTo>
                      <a:pt x="1498" y="205"/>
                      <a:pt x="1498" y="205"/>
                      <a:pt x="1498" y="205"/>
                    </a:cubicBezTo>
                    <a:cubicBezTo>
                      <a:pt x="1499" y="204"/>
                      <a:pt x="1499" y="204"/>
                      <a:pt x="1499" y="204"/>
                    </a:cubicBezTo>
                    <a:cubicBezTo>
                      <a:pt x="1498" y="203"/>
                      <a:pt x="1498" y="203"/>
                      <a:pt x="1498" y="203"/>
                    </a:cubicBezTo>
                    <a:cubicBezTo>
                      <a:pt x="1499" y="201"/>
                      <a:pt x="1499" y="201"/>
                      <a:pt x="1499" y="201"/>
                    </a:cubicBezTo>
                    <a:cubicBezTo>
                      <a:pt x="1498" y="201"/>
                      <a:pt x="1498" y="201"/>
                      <a:pt x="1498" y="201"/>
                    </a:cubicBezTo>
                    <a:cubicBezTo>
                      <a:pt x="1498" y="198"/>
                      <a:pt x="1498" y="198"/>
                      <a:pt x="1498" y="198"/>
                    </a:cubicBezTo>
                    <a:cubicBezTo>
                      <a:pt x="1499" y="198"/>
                      <a:pt x="1499" y="198"/>
                      <a:pt x="1499" y="198"/>
                    </a:cubicBezTo>
                    <a:cubicBezTo>
                      <a:pt x="1498" y="196"/>
                      <a:pt x="1498" y="196"/>
                      <a:pt x="1498" y="196"/>
                    </a:cubicBezTo>
                    <a:cubicBezTo>
                      <a:pt x="1498" y="194"/>
                      <a:pt x="1498" y="194"/>
                      <a:pt x="1498" y="194"/>
                    </a:cubicBezTo>
                    <a:cubicBezTo>
                      <a:pt x="1498" y="192"/>
                      <a:pt x="1498" y="192"/>
                      <a:pt x="1498" y="192"/>
                    </a:cubicBezTo>
                    <a:cubicBezTo>
                      <a:pt x="1499" y="191"/>
                      <a:pt x="1499" y="191"/>
                      <a:pt x="1499" y="191"/>
                    </a:cubicBezTo>
                    <a:cubicBezTo>
                      <a:pt x="1500" y="192"/>
                      <a:pt x="1500" y="192"/>
                      <a:pt x="1500" y="192"/>
                    </a:cubicBezTo>
                    <a:cubicBezTo>
                      <a:pt x="1500" y="193"/>
                      <a:pt x="1500" y="193"/>
                      <a:pt x="1500" y="193"/>
                    </a:cubicBezTo>
                    <a:cubicBezTo>
                      <a:pt x="1501" y="192"/>
                      <a:pt x="1501" y="192"/>
                      <a:pt x="1501" y="192"/>
                    </a:cubicBezTo>
                    <a:cubicBezTo>
                      <a:pt x="1503" y="192"/>
                      <a:pt x="1503" y="192"/>
                      <a:pt x="1503" y="192"/>
                    </a:cubicBezTo>
                    <a:cubicBezTo>
                      <a:pt x="1505" y="192"/>
                      <a:pt x="1505" y="192"/>
                      <a:pt x="1505" y="192"/>
                    </a:cubicBezTo>
                    <a:cubicBezTo>
                      <a:pt x="1506" y="192"/>
                      <a:pt x="1506" y="192"/>
                      <a:pt x="1506" y="192"/>
                    </a:cubicBezTo>
                    <a:cubicBezTo>
                      <a:pt x="1507" y="192"/>
                      <a:pt x="1507" y="192"/>
                      <a:pt x="1507" y="192"/>
                    </a:cubicBezTo>
                    <a:cubicBezTo>
                      <a:pt x="1508" y="191"/>
                      <a:pt x="1508" y="191"/>
                      <a:pt x="1508" y="191"/>
                    </a:cubicBezTo>
                    <a:cubicBezTo>
                      <a:pt x="1509" y="192"/>
                      <a:pt x="1509" y="192"/>
                      <a:pt x="1509" y="192"/>
                    </a:cubicBezTo>
                    <a:cubicBezTo>
                      <a:pt x="1513" y="193"/>
                      <a:pt x="1513" y="193"/>
                      <a:pt x="1513" y="193"/>
                    </a:cubicBezTo>
                    <a:cubicBezTo>
                      <a:pt x="1515" y="193"/>
                      <a:pt x="1515" y="193"/>
                      <a:pt x="1515" y="193"/>
                    </a:cubicBezTo>
                    <a:cubicBezTo>
                      <a:pt x="1516" y="193"/>
                      <a:pt x="1516" y="193"/>
                      <a:pt x="1516" y="193"/>
                    </a:cubicBezTo>
                    <a:cubicBezTo>
                      <a:pt x="1516" y="195"/>
                      <a:pt x="1516" y="195"/>
                      <a:pt x="1516" y="195"/>
                    </a:cubicBezTo>
                    <a:cubicBezTo>
                      <a:pt x="1515" y="195"/>
                      <a:pt x="1515" y="195"/>
                      <a:pt x="1515" y="195"/>
                    </a:cubicBezTo>
                    <a:cubicBezTo>
                      <a:pt x="1516" y="196"/>
                      <a:pt x="1516" y="196"/>
                      <a:pt x="1516" y="196"/>
                    </a:cubicBezTo>
                    <a:cubicBezTo>
                      <a:pt x="1516" y="198"/>
                      <a:pt x="1516" y="198"/>
                      <a:pt x="1516" y="198"/>
                    </a:cubicBezTo>
                    <a:cubicBezTo>
                      <a:pt x="1517" y="199"/>
                      <a:pt x="1517" y="199"/>
                      <a:pt x="1517" y="199"/>
                    </a:cubicBezTo>
                    <a:cubicBezTo>
                      <a:pt x="1517" y="201"/>
                      <a:pt x="1517" y="201"/>
                      <a:pt x="1517" y="201"/>
                    </a:cubicBezTo>
                    <a:cubicBezTo>
                      <a:pt x="1518" y="203"/>
                      <a:pt x="1518" y="203"/>
                      <a:pt x="1518" y="203"/>
                    </a:cubicBezTo>
                    <a:cubicBezTo>
                      <a:pt x="1517" y="206"/>
                      <a:pt x="1517" y="206"/>
                      <a:pt x="1517" y="206"/>
                    </a:cubicBezTo>
                    <a:cubicBezTo>
                      <a:pt x="1518" y="207"/>
                      <a:pt x="1518" y="207"/>
                      <a:pt x="1518" y="207"/>
                    </a:cubicBezTo>
                    <a:cubicBezTo>
                      <a:pt x="1517" y="208"/>
                      <a:pt x="1517" y="208"/>
                      <a:pt x="1517" y="208"/>
                    </a:cubicBezTo>
                    <a:cubicBezTo>
                      <a:pt x="1518" y="209"/>
                      <a:pt x="1518" y="209"/>
                      <a:pt x="1518" y="209"/>
                    </a:cubicBezTo>
                    <a:cubicBezTo>
                      <a:pt x="1518" y="210"/>
                      <a:pt x="1518" y="210"/>
                      <a:pt x="1518" y="210"/>
                    </a:cubicBezTo>
                    <a:cubicBezTo>
                      <a:pt x="1517" y="211"/>
                      <a:pt x="1517" y="211"/>
                      <a:pt x="1517" y="211"/>
                    </a:cubicBezTo>
                    <a:cubicBezTo>
                      <a:pt x="1517" y="212"/>
                      <a:pt x="1517" y="212"/>
                      <a:pt x="1517" y="212"/>
                    </a:cubicBezTo>
                    <a:cubicBezTo>
                      <a:pt x="1519" y="213"/>
                      <a:pt x="1519" y="213"/>
                      <a:pt x="1519" y="213"/>
                    </a:cubicBezTo>
                    <a:cubicBezTo>
                      <a:pt x="1520" y="215"/>
                      <a:pt x="1520" y="215"/>
                      <a:pt x="1520" y="215"/>
                    </a:cubicBezTo>
                    <a:cubicBezTo>
                      <a:pt x="1521" y="215"/>
                      <a:pt x="1521" y="215"/>
                      <a:pt x="1521" y="215"/>
                    </a:cubicBezTo>
                    <a:cubicBezTo>
                      <a:pt x="1521" y="216"/>
                      <a:pt x="1521" y="216"/>
                      <a:pt x="1521" y="216"/>
                    </a:cubicBezTo>
                    <a:cubicBezTo>
                      <a:pt x="1522" y="215"/>
                      <a:pt x="1522" y="215"/>
                      <a:pt x="1522" y="215"/>
                    </a:cubicBezTo>
                    <a:cubicBezTo>
                      <a:pt x="1523" y="216"/>
                      <a:pt x="1523" y="216"/>
                      <a:pt x="1523" y="216"/>
                    </a:cubicBezTo>
                    <a:cubicBezTo>
                      <a:pt x="1523" y="218"/>
                      <a:pt x="1523" y="218"/>
                      <a:pt x="1523" y="218"/>
                    </a:cubicBezTo>
                    <a:cubicBezTo>
                      <a:pt x="1525" y="219"/>
                      <a:pt x="1525" y="219"/>
                      <a:pt x="1525" y="219"/>
                    </a:cubicBezTo>
                    <a:cubicBezTo>
                      <a:pt x="1526" y="221"/>
                      <a:pt x="1526" y="221"/>
                      <a:pt x="1526" y="221"/>
                    </a:cubicBezTo>
                    <a:cubicBezTo>
                      <a:pt x="1526" y="225"/>
                      <a:pt x="1526" y="225"/>
                      <a:pt x="1526" y="225"/>
                    </a:cubicBezTo>
                    <a:cubicBezTo>
                      <a:pt x="1527" y="226"/>
                      <a:pt x="1527" y="226"/>
                      <a:pt x="1527" y="226"/>
                    </a:cubicBezTo>
                    <a:cubicBezTo>
                      <a:pt x="1527" y="227"/>
                      <a:pt x="1527" y="227"/>
                      <a:pt x="1527" y="227"/>
                    </a:cubicBezTo>
                    <a:cubicBezTo>
                      <a:pt x="1528" y="229"/>
                      <a:pt x="1528" y="229"/>
                      <a:pt x="1528" y="229"/>
                    </a:cubicBezTo>
                    <a:cubicBezTo>
                      <a:pt x="1528" y="231"/>
                      <a:pt x="1528" y="231"/>
                      <a:pt x="1528" y="231"/>
                    </a:cubicBezTo>
                    <a:cubicBezTo>
                      <a:pt x="1530" y="234"/>
                      <a:pt x="1530" y="234"/>
                      <a:pt x="1530" y="234"/>
                    </a:cubicBezTo>
                    <a:cubicBezTo>
                      <a:pt x="1529" y="235"/>
                      <a:pt x="1529" y="235"/>
                      <a:pt x="1529" y="235"/>
                    </a:cubicBezTo>
                    <a:cubicBezTo>
                      <a:pt x="1530" y="237"/>
                      <a:pt x="1530" y="237"/>
                      <a:pt x="1530" y="237"/>
                    </a:cubicBezTo>
                    <a:cubicBezTo>
                      <a:pt x="1532" y="237"/>
                      <a:pt x="1532" y="237"/>
                      <a:pt x="1532" y="237"/>
                    </a:cubicBezTo>
                    <a:cubicBezTo>
                      <a:pt x="1531" y="239"/>
                      <a:pt x="1531" y="239"/>
                      <a:pt x="1531" y="239"/>
                    </a:cubicBezTo>
                    <a:cubicBezTo>
                      <a:pt x="1532" y="239"/>
                      <a:pt x="1532" y="239"/>
                      <a:pt x="1532" y="239"/>
                    </a:cubicBezTo>
                    <a:cubicBezTo>
                      <a:pt x="1532" y="242"/>
                      <a:pt x="1532" y="242"/>
                      <a:pt x="1532" y="242"/>
                    </a:cubicBezTo>
                    <a:cubicBezTo>
                      <a:pt x="1535" y="245"/>
                      <a:pt x="1535" y="245"/>
                      <a:pt x="1535" y="245"/>
                    </a:cubicBezTo>
                    <a:cubicBezTo>
                      <a:pt x="1537" y="246"/>
                      <a:pt x="1537" y="246"/>
                      <a:pt x="1537" y="246"/>
                    </a:cubicBezTo>
                    <a:cubicBezTo>
                      <a:pt x="1537" y="247"/>
                      <a:pt x="1537" y="247"/>
                      <a:pt x="1537" y="247"/>
                    </a:cubicBezTo>
                    <a:cubicBezTo>
                      <a:pt x="1538" y="247"/>
                      <a:pt x="1538" y="247"/>
                      <a:pt x="1538" y="247"/>
                    </a:cubicBezTo>
                    <a:cubicBezTo>
                      <a:pt x="1540" y="249"/>
                      <a:pt x="1540" y="249"/>
                      <a:pt x="1540" y="249"/>
                    </a:cubicBezTo>
                    <a:cubicBezTo>
                      <a:pt x="1540" y="250"/>
                      <a:pt x="1540" y="250"/>
                      <a:pt x="1540" y="250"/>
                    </a:cubicBezTo>
                    <a:cubicBezTo>
                      <a:pt x="1540" y="251"/>
                      <a:pt x="1540" y="251"/>
                      <a:pt x="1540" y="251"/>
                    </a:cubicBezTo>
                    <a:cubicBezTo>
                      <a:pt x="1539" y="253"/>
                      <a:pt x="1539" y="253"/>
                      <a:pt x="1539" y="253"/>
                    </a:cubicBezTo>
                    <a:cubicBezTo>
                      <a:pt x="1540" y="255"/>
                      <a:pt x="1540" y="255"/>
                      <a:pt x="1540" y="255"/>
                    </a:cubicBezTo>
                    <a:cubicBezTo>
                      <a:pt x="1542" y="256"/>
                      <a:pt x="1542" y="256"/>
                      <a:pt x="1542" y="256"/>
                    </a:cubicBezTo>
                    <a:cubicBezTo>
                      <a:pt x="1542" y="258"/>
                      <a:pt x="1542" y="258"/>
                      <a:pt x="1542" y="258"/>
                    </a:cubicBezTo>
                    <a:cubicBezTo>
                      <a:pt x="1541" y="259"/>
                      <a:pt x="1541" y="259"/>
                      <a:pt x="1541" y="259"/>
                    </a:cubicBezTo>
                    <a:cubicBezTo>
                      <a:pt x="1541" y="260"/>
                      <a:pt x="1541" y="260"/>
                      <a:pt x="1541" y="260"/>
                    </a:cubicBezTo>
                    <a:cubicBezTo>
                      <a:pt x="1540" y="261"/>
                      <a:pt x="1540" y="261"/>
                      <a:pt x="1540" y="261"/>
                    </a:cubicBezTo>
                    <a:cubicBezTo>
                      <a:pt x="1540" y="262"/>
                      <a:pt x="1540" y="262"/>
                      <a:pt x="1540" y="262"/>
                    </a:cubicBezTo>
                    <a:cubicBezTo>
                      <a:pt x="1540" y="264"/>
                      <a:pt x="1540" y="264"/>
                      <a:pt x="1540" y="264"/>
                    </a:cubicBezTo>
                    <a:cubicBezTo>
                      <a:pt x="1539" y="265"/>
                      <a:pt x="1539" y="265"/>
                      <a:pt x="1539" y="265"/>
                    </a:cubicBezTo>
                    <a:cubicBezTo>
                      <a:pt x="1539" y="266"/>
                      <a:pt x="1539" y="266"/>
                      <a:pt x="1539" y="266"/>
                    </a:cubicBezTo>
                    <a:cubicBezTo>
                      <a:pt x="1540" y="265"/>
                      <a:pt x="1540" y="265"/>
                      <a:pt x="1540" y="265"/>
                    </a:cubicBezTo>
                    <a:cubicBezTo>
                      <a:pt x="1540" y="266"/>
                      <a:pt x="1540" y="266"/>
                      <a:pt x="1540" y="266"/>
                    </a:cubicBezTo>
                    <a:cubicBezTo>
                      <a:pt x="1539" y="267"/>
                      <a:pt x="1539" y="267"/>
                      <a:pt x="1539" y="267"/>
                    </a:cubicBezTo>
                    <a:cubicBezTo>
                      <a:pt x="1539" y="270"/>
                      <a:pt x="1539" y="270"/>
                      <a:pt x="1539" y="270"/>
                    </a:cubicBezTo>
                    <a:cubicBezTo>
                      <a:pt x="1538" y="270"/>
                      <a:pt x="1538" y="270"/>
                      <a:pt x="1538" y="270"/>
                    </a:cubicBezTo>
                    <a:cubicBezTo>
                      <a:pt x="1537" y="270"/>
                      <a:pt x="1537" y="270"/>
                      <a:pt x="1537" y="270"/>
                    </a:cubicBezTo>
                    <a:cubicBezTo>
                      <a:pt x="1537" y="271"/>
                      <a:pt x="1537" y="271"/>
                      <a:pt x="1537" y="271"/>
                    </a:cubicBezTo>
                    <a:cubicBezTo>
                      <a:pt x="1538" y="272"/>
                      <a:pt x="1538" y="272"/>
                      <a:pt x="1538" y="272"/>
                    </a:cubicBezTo>
                    <a:cubicBezTo>
                      <a:pt x="1538" y="273"/>
                      <a:pt x="1538" y="273"/>
                      <a:pt x="1538" y="273"/>
                    </a:cubicBezTo>
                    <a:cubicBezTo>
                      <a:pt x="1537" y="274"/>
                      <a:pt x="1537" y="274"/>
                      <a:pt x="1537" y="274"/>
                    </a:cubicBezTo>
                    <a:cubicBezTo>
                      <a:pt x="1536" y="275"/>
                      <a:pt x="1536" y="275"/>
                      <a:pt x="1536" y="275"/>
                    </a:cubicBezTo>
                    <a:cubicBezTo>
                      <a:pt x="1533" y="275"/>
                      <a:pt x="1533" y="275"/>
                      <a:pt x="1533" y="275"/>
                    </a:cubicBezTo>
                    <a:cubicBezTo>
                      <a:pt x="1532" y="274"/>
                      <a:pt x="1532" y="274"/>
                      <a:pt x="1532" y="274"/>
                    </a:cubicBezTo>
                    <a:cubicBezTo>
                      <a:pt x="1534" y="273"/>
                      <a:pt x="1534" y="273"/>
                      <a:pt x="1534" y="273"/>
                    </a:cubicBezTo>
                    <a:cubicBezTo>
                      <a:pt x="1534" y="272"/>
                      <a:pt x="1534" y="272"/>
                      <a:pt x="1534" y="272"/>
                    </a:cubicBezTo>
                    <a:cubicBezTo>
                      <a:pt x="1533" y="272"/>
                      <a:pt x="1533" y="272"/>
                      <a:pt x="1533" y="272"/>
                    </a:cubicBezTo>
                    <a:cubicBezTo>
                      <a:pt x="1533" y="273"/>
                      <a:pt x="1533" y="273"/>
                      <a:pt x="1533" y="273"/>
                    </a:cubicBezTo>
                    <a:cubicBezTo>
                      <a:pt x="1532" y="273"/>
                      <a:pt x="1532" y="273"/>
                      <a:pt x="1532" y="273"/>
                    </a:cubicBezTo>
                    <a:cubicBezTo>
                      <a:pt x="1529" y="271"/>
                      <a:pt x="1529" y="271"/>
                      <a:pt x="1529" y="271"/>
                    </a:cubicBezTo>
                    <a:cubicBezTo>
                      <a:pt x="1528" y="272"/>
                      <a:pt x="1528" y="272"/>
                      <a:pt x="1528" y="272"/>
                    </a:cubicBezTo>
                    <a:cubicBezTo>
                      <a:pt x="1525" y="273"/>
                      <a:pt x="1525" y="273"/>
                      <a:pt x="1525" y="273"/>
                    </a:cubicBezTo>
                    <a:cubicBezTo>
                      <a:pt x="1523" y="273"/>
                      <a:pt x="1523" y="273"/>
                      <a:pt x="1523" y="273"/>
                    </a:cubicBezTo>
                    <a:cubicBezTo>
                      <a:pt x="1522" y="274"/>
                      <a:pt x="1522" y="274"/>
                      <a:pt x="1522" y="274"/>
                    </a:cubicBezTo>
                    <a:cubicBezTo>
                      <a:pt x="1523" y="274"/>
                      <a:pt x="1523" y="274"/>
                      <a:pt x="1523" y="274"/>
                    </a:cubicBezTo>
                    <a:cubicBezTo>
                      <a:pt x="1523" y="275"/>
                      <a:pt x="1523" y="275"/>
                      <a:pt x="1523" y="275"/>
                    </a:cubicBezTo>
                    <a:cubicBezTo>
                      <a:pt x="1524" y="274"/>
                      <a:pt x="1524" y="274"/>
                      <a:pt x="1524" y="274"/>
                    </a:cubicBezTo>
                    <a:cubicBezTo>
                      <a:pt x="1526" y="273"/>
                      <a:pt x="1526" y="273"/>
                      <a:pt x="1526" y="273"/>
                    </a:cubicBezTo>
                    <a:cubicBezTo>
                      <a:pt x="1526" y="275"/>
                      <a:pt x="1526" y="275"/>
                      <a:pt x="1526" y="275"/>
                    </a:cubicBezTo>
                    <a:cubicBezTo>
                      <a:pt x="1528" y="276"/>
                      <a:pt x="1528" y="276"/>
                      <a:pt x="1528" y="276"/>
                    </a:cubicBezTo>
                    <a:cubicBezTo>
                      <a:pt x="1533" y="277"/>
                      <a:pt x="1533" y="277"/>
                      <a:pt x="1533" y="277"/>
                    </a:cubicBezTo>
                    <a:cubicBezTo>
                      <a:pt x="1535" y="278"/>
                      <a:pt x="1535" y="278"/>
                      <a:pt x="1535" y="278"/>
                    </a:cubicBezTo>
                    <a:cubicBezTo>
                      <a:pt x="1537" y="277"/>
                      <a:pt x="1537" y="277"/>
                      <a:pt x="1537" y="277"/>
                    </a:cubicBezTo>
                    <a:cubicBezTo>
                      <a:pt x="1539" y="277"/>
                      <a:pt x="1539" y="277"/>
                      <a:pt x="1539" y="277"/>
                    </a:cubicBezTo>
                    <a:cubicBezTo>
                      <a:pt x="1540" y="278"/>
                      <a:pt x="1540" y="278"/>
                      <a:pt x="1540" y="278"/>
                    </a:cubicBezTo>
                    <a:cubicBezTo>
                      <a:pt x="1542" y="278"/>
                      <a:pt x="1542" y="278"/>
                      <a:pt x="1542" y="278"/>
                    </a:cubicBezTo>
                    <a:cubicBezTo>
                      <a:pt x="1544" y="277"/>
                      <a:pt x="1544" y="277"/>
                      <a:pt x="1544" y="277"/>
                    </a:cubicBezTo>
                    <a:cubicBezTo>
                      <a:pt x="1544" y="276"/>
                      <a:pt x="1544" y="276"/>
                      <a:pt x="1544" y="276"/>
                    </a:cubicBezTo>
                    <a:cubicBezTo>
                      <a:pt x="1543" y="275"/>
                      <a:pt x="1543" y="275"/>
                      <a:pt x="1543" y="275"/>
                    </a:cubicBezTo>
                    <a:cubicBezTo>
                      <a:pt x="1543" y="273"/>
                      <a:pt x="1543" y="273"/>
                      <a:pt x="1543" y="273"/>
                    </a:cubicBezTo>
                    <a:cubicBezTo>
                      <a:pt x="1544" y="272"/>
                      <a:pt x="1544" y="272"/>
                      <a:pt x="1544" y="272"/>
                    </a:cubicBezTo>
                    <a:cubicBezTo>
                      <a:pt x="1545" y="272"/>
                      <a:pt x="1545" y="272"/>
                      <a:pt x="1545" y="272"/>
                    </a:cubicBezTo>
                    <a:cubicBezTo>
                      <a:pt x="1545" y="271"/>
                      <a:pt x="1545" y="271"/>
                      <a:pt x="1545" y="271"/>
                    </a:cubicBezTo>
                    <a:cubicBezTo>
                      <a:pt x="1547" y="269"/>
                      <a:pt x="1547" y="269"/>
                      <a:pt x="1547" y="269"/>
                    </a:cubicBezTo>
                    <a:cubicBezTo>
                      <a:pt x="1547" y="268"/>
                      <a:pt x="1547" y="268"/>
                      <a:pt x="1547" y="268"/>
                    </a:cubicBezTo>
                    <a:cubicBezTo>
                      <a:pt x="1548" y="265"/>
                      <a:pt x="1548" y="265"/>
                      <a:pt x="1548" y="265"/>
                    </a:cubicBezTo>
                    <a:cubicBezTo>
                      <a:pt x="1547" y="263"/>
                      <a:pt x="1547" y="263"/>
                      <a:pt x="1547" y="263"/>
                    </a:cubicBezTo>
                    <a:cubicBezTo>
                      <a:pt x="1547" y="261"/>
                      <a:pt x="1547" y="261"/>
                      <a:pt x="1547" y="261"/>
                    </a:cubicBezTo>
                    <a:cubicBezTo>
                      <a:pt x="1549" y="258"/>
                      <a:pt x="1549" y="258"/>
                      <a:pt x="1549" y="258"/>
                    </a:cubicBezTo>
                    <a:cubicBezTo>
                      <a:pt x="1550" y="257"/>
                      <a:pt x="1550" y="257"/>
                      <a:pt x="1550" y="257"/>
                    </a:cubicBezTo>
                    <a:cubicBezTo>
                      <a:pt x="1548" y="252"/>
                      <a:pt x="1548" y="252"/>
                      <a:pt x="1548" y="252"/>
                    </a:cubicBezTo>
                    <a:cubicBezTo>
                      <a:pt x="1545" y="250"/>
                      <a:pt x="1545" y="250"/>
                      <a:pt x="1545" y="250"/>
                    </a:cubicBezTo>
                    <a:cubicBezTo>
                      <a:pt x="1544" y="249"/>
                      <a:pt x="1544" y="249"/>
                      <a:pt x="1544" y="249"/>
                    </a:cubicBezTo>
                    <a:cubicBezTo>
                      <a:pt x="1544" y="246"/>
                      <a:pt x="1544" y="246"/>
                      <a:pt x="1544" y="246"/>
                    </a:cubicBezTo>
                    <a:cubicBezTo>
                      <a:pt x="1546" y="244"/>
                      <a:pt x="1546" y="244"/>
                      <a:pt x="1546" y="244"/>
                    </a:cubicBezTo>
                    <a:cubicBezTo>
                      <a:pt x="1547" y="243"/>
                      <a:pt x="1547" y="243"/>
                      <a:pt x="1547" y="243"/>
                    </a:cubicBezTo>
                    <a:cubicBezTo>
                      <a:pt x="1549" y="243"/>
                      <a:pt x="1549" y="243"/>
                      <a:pt x="1549" y="243"/>
                    </a:cubicBezTo>
                    <a:cubicBezTo>
                      <a:pt x="1551" y="240"/>
                      <a:pt x="1551" y="240"/>
                      <a:pt x="1551" y="240"/>
                    </a:cubicBezTo>
                    <a:cubicBezTo>
                      <a:pt x="1553" y="240"/>
                      <a:pt x="1553" y="240"/>
                      <a:pt x="1553" y="240"/>
                    </a:cubicBezTo>
                    <a:cubicBezTo>
                      <a:pt x="1555" y="242"/>
                      <a:pt x="1555" y="242"/>
                      <a:pt x="1555" y="242"/>
                    </a:cubicBezTo>
                    <a:cubicBezTo>
                      <a:pt x="1555" y="244"/>
                      <a:pt x="1555" y="244"/>
                      <a:pt x="1555" y="244"/>
                    </a:cubicBezTo>
                    <a:cubicBezTo>
                      <a:pt x="1557" y="245"/>
                      <a:pt x="1557" y="245"/>
                      <a:pt x="1557" y="245"/>
                    </a:cubicBezTo>
                    <a:cubicBezTo>
                      <a:pt x="1558" y="246"/>
                      <a:pt x="1558" y="246"/>
                      <a:pt x="1558" y="246"/>
                    </a:cubicBezTo>
                    <a:cubicBezTo>
                      <a:pt x="1560" y="247"/>
                      <a:pt x="1560" y="247"/>
                      <a:pt x="1560" y="247"/>
                    </a:cubicBezTo>
                    <a:cubicBezTo>
                      <a:pt x="1559" y="249"/>
                      <a:pt x="1559" y="249"/>
                      <a:pt x="1559" y="249"/>
                    </a:cubicBezTo>
                    <a:cubicBezTo>
                      <a:pt x="1561" y="250"/>
                      <a:pt x="1561" y="250"/>
                      <a:pt x="1561" y="250"/>
                    </a:cubicBezTo>
                    <a:cubicBezTo>
                      <a:pt x="1561" y="251"/>
                      <a:pt x="1561" y="251"/>
                      <a:pt x="1561" y="251"/>
                    </a:cubicBezTo>
                    <a:cubicBezTo>
                      <a:pt x="1562" y="253"/>
                      <a:pt x="1562" y="253"/>
                      <a:pt x="1562" y="253"/>
                    </a:cubicBezTo>
                    <a:cubicBezTo>
                      <a:pt x="1562" y="254"/>
                      <a:pt x="1562" y="254"/>
                      <a:pt x="1562" y="254"/>
                    </a:cubicBezTo>
                    <a:cubicBezTo>
                      <a:pt x="1562" y="255"/>
                      <a:pt x="1562" y="255"/>
                      <a:pt x="1562" y="255"/>
                    </a:cubicBezTo>
                    <a:cubicBezTo>
                      <a:pt x="1563" y="256"/>
                      <a:pt x="1563" y="256"/>
                      <a:pt x="1563" y="256"/>
                    </a:cubicBezTo>
                    <a:cubicBezTo>
                      <a:pt x="1564" y="256"/>
                      <a:pt x="1564" y="256"/>
                      <a:pt x="1564" y="256"/>
                    </a:cubicBezTo>
                    <a:cubicBezTo>
                      <a:pt x="1566" y="257"/>
                      <a:pt x="1566" y="257"/>
                      <a:pt x="1566" y="257"/>
                    </a:cubicBezTo>
                    <a:cubicBezTo>
                      <a:pt x="1568" y="257"/>
                      <a:pt x="1568" y="257"/>
                      <a:pt x="1568" y="257"/>
                    </a:cubicBezTo>
                    <a:cubicBezTo>
                      <a:pt x="1569" y="257"/>
                      <a:pt x="1569" y="257"/>
                      <a:pt x="1569" y="257"/>
                    </a:cubicBezTo>
                    <a:cubicBezTo>
                      <a:pt x="1570" y="257"/>
                      <a:pt x="1570" y="257"/>
                      <a:pt x="1570" y="257"/>
                    </a:cubicBezTo>
                    <a:cubicBezTo>
                      <a:pt x="1571" y="256"/>
                      <a:pt x="1571" y="256"/>
                      <a:pt x="1571" y="256"/>
                    </a:cubicBezTo>
                    <a:cubicBezTo>
                      <a:pt x="1572" y="255"/>
                      <a:pt x="1572" y="255"/>
                      <a:pt x="1572" y="255"/>
                    </a:cubicBezTo>
                    <a:cubicBezTo>
                      <a:pt x="1571" y="255"/>
                      <a:pt x="1571" y="255"/>
                      <a:pt x="1571" y="255"/>
                    </a:cubicBezTo>
                    <a:cubicBezTo>
                      <a:pt x="1570" y="255"/>
                      <a:pt x="1570" y="255"/>
                      <a:pt x="1570" y="255"/>
                    </a:cubicBezTo>
                    <a:cubicBezTo>
                      <a:pt x="1569" y="254"/>
                      <a:pt x="1569" y="254"/>
                      <a:pt x="1569" y="254"/>
                    </a:cubicBezTo>
                    <a:cubicBezTo>
                      <a:pt x="1568" y="256"/>
                      <a:pt x="1568" y="256"/>
                      <a:pt x="1568" y="256"/>
                    </a:cubicBezTo>
                    <a:cubicBezTo>
                      <a:pt x="1566" y="256"/>
                      <a:pt x="1566" y="256"/>
                      <a:pt x="1566" y="256"/>
                    </a:cubicBezTo>
                    <a:cubicBezTo>
                      <a:pt x="1566" y="255"/>
                      <a:pt x="1566" y="255"/>
                      <a:pt x="1566" y="255"/>
                    </a:cubicBezTo>
                    <a:cubicBezTo>
                      <a:pt x="1564" y="255"/>
                      <a:pt x="1564" y="255"/>
                      <a:pt x="1564" y="255"/>
                    </a:cubicBezTo>
                    <a:cubicBezTo>
                      <a:pt x="1563" y="254"/>
                      <a:pt x="1563" y="254"/>
                      <a:pt x="1563" y="254"/>
                    </a:cubicBezTo>
                    <a:cubicBezTo>
                      <a:pt x="1564" y="253"/>
                      <a:pt x="1564" y="253"/>
                      <a:pt x="1564" y="253"/>
                    </a:cubicBezTo>
                    <a:cubicBezTo>
                      <a:pt x="1563" y="252"/>
                      <a:pt x="1563" y="252"/>
                      <a:pt x="1563" y="252"/>
                    </a:cubicBezTo>
                    <a:cubicBezTo>
                      <a:pt x="1562" y="251"/>
                      <a:pt x="1562" y="251"/>
                      <a:pt x="1562" y="251"/>
                    </a:cubicBezTo>
                    <a:cubicBezTo>
                      <a:pt x="1562" y="248"/>
                      <a:pt x="1562" y="248"/>
                      <a:pt x="1562" y="248"/>
                    </a:cubicBezTo>
                    <a:cubicBezTo>
                      <a:pt x="1564" y="248"/>
                      <a:pt x="1564" y="248"/>
                      <a:pt x="1564" y="248"/>
                    </a:cubicBezTo>
                    <a:cubicBezTo>
                      <a:pt x="1565" y="247"/>
                      <a:pt x="1565" y="247"/>
                      <a:pt x="1565" y="247"/>
                    </a:cubicBezTo>
                    <a:cubicBezTo>
                      <a:pt x="1564" y="247"/>
                      <a:pt x="1564" y="247"/>
                      <a:pt x="1564" y="247"/>
                    </a:cubicBezTo>
                    <a:cubicBezTo>
                      <a:pt x="1563" y="246"/>
                      <a:pt x="1563" y="246"/>
                      <a:pt x="1563" y="246"/>
                    </a:cubicBezTo>
                    <a:cubicBezTo>
                      <a:pt x="1563" y="245"/>
                      <a:pt x="1563" y="245"/>
                      <a:pt x="1563" y="245"/>
                    </a:cubicBezTo>
                    <a:cubicBezTo>
                      <a:pt x="1563" y="244"/>
                      <a:pt x="1563" y="244"/>
                      <a:pt x="1563" y="244"/>
                    </a:cubicBezTo>
                    <a:cubicBezTo>
                      <a:pt x="1561" y="243"/>
                      <a:pt x="1561" y="243"/>
                      <a:pt x="1561" y="243"/>
                    </a:cubicBezTo>
                    <a:cubicBezTo>
                      <a:pt x="1561" y="242"/>
                      <a:pt x="1561" y="242"/>
                      <a:pt x="1561" y="242"/>
                    </a:cubicBezTo>
                    <a:cubicBezTo>
                      <a:pt x="1559" y="240"/>
                      <a:pt x="1559" y="240"/>
                      <a:pt x="1559" y="240"/>
                    </a:cubicBezTo>
                    <a:cubicBezTo>
                      <a:pt x="1557" y="240"/>
                      <a:pt x="1557" y="240"/>
                      <a:pt x="1557" y="240"/>
                    </a:cubicBezTo>
                    <a:cubicBezTo>
                      <a:pt x="1554" y="239"/>
                      <a:pt x="1554" y="239"/>
                      <a:pt x="1554" y="239"/>
                    </a:cubicBezTo>
                    <a:cubicBezTo>
                      <a:pt x="1553" y="238"/>
                      <a:pt x="1553" y="238"/>
                      <a:pt x="1553" y="238"/>
                    </a:cubicBezTo>
                    <a:cubicBezTo>
                      <a:pt x="1552" y="238"/>
                      <a:pt x="1552" y="238"/>
                      <a:pt x="1552" y="238"/>
                    </a:cubicBezTo>
                    <a:cubicBezTo>
                      <a:pt x="1550" y="237"/>
                      <a:pt x="1550" y="237"/>
                      <a:pt x="1550" y="237"/>
                    </a:cubicBezTo>
                    <a:cubicBezTo>
                      <a:pt x="1548" y="237"/>
                      <a:pt x="1548" y="237"/>
                      <a:pt x="1548" y="237"/>
                    </a:cubicBezTo>
                    <a:cubicBezTo>
                      <a:pt x="1547" y="237"/>
                      <a:pt x="1547" y="237"/>
                      <a:pt x="1547" y="237"/>
                    </a:cubicBezTo>
                    <a:cubicBezTo>
                      <a:pt x="1545" y="238"/>
                      <a:pt x="1545" y="238"/>
                      <a:pt x="1545" y="238"/>
                    </a:cubicBezTo>
                    <a:cubicBezTo>
                      <a:pt x="1545" y="240"/>
                      <a:pt x="1545" y="240"/>
                      <a:pt x="1545" y="240"/>
                    </a:cubicBezTo>
                    <a:cubicBezTo>
                      <a:pt x="1544" y="241"/>
                      <a:pt x="1544" y="241"/>
                      <a:pt x="1544" y="241"/>
                    </a:cubicBezTo>
                    <a:cubicBezTo>
                      <a:pt x="1542" y="240"/>
                      <a:pt x="1542" y="240"/>
                      <a:pt x="1542" y="240"/>
                    </a:cubicBezTo>
                    <a:cubicBezTo>
                      <a:pt x="1540" y="241"/>
                      <a:pt x="1540" y="241"/>
                      <a:pt x="1540" y="241"/>
                    </a:cubicBezTo>
                    <a:cubicBezTo>
                      <a:pt x="1538" y="241"/>
                      <a:pt x="1538" y="241"/>
                      <a:pt x="1538" y="241"/>
                    </a:cubicBezTo>
                    <a:cubicBezTo>
                      <a:pt x="1538" y="240"/>
                      <a:pt x="1538" y="240"/>
                      <a:pt x="1538" y="240"/>
                    </a:cubicBezTo>
                    <a:cubicBezTo>
                      <a:pt x="1538" y="238"/>
                      <a:pt x="1538" y="238"/>
                      <a:pt x="1538" y="238"/>
                    </a:cubicBezTo>
                    <a:cubicBezTo>
                      <a:pt x="1538" y="237"/>
                      <a:pt x="1538" y="237"/>
                      <a:pt x="1538" y="237"/>
                    </a:cubicBezTo>
                    <a:cubicBezTo>
                      <a:pt x="1535" y="234"/>
                      <a:pt x="1535" y="234"/>
                      <a:pt x="1535" y="234"/>
                    </a:cubicBezTo>
                    <a:cubicBezTo>
                      <a:pt x="1534" y="233"/>
                      <a:pt x="1534" y="233"/>
                      <a:pt x="1534" y="233"/>
                    </a:cubicBezTo>
                    <a:cubicBezTo>
                      <a:pt x="1535" y="230"/>
                      <a:pt x="1535" y="230"/>
                      <a:pt x="1535" y="230"/>
                    </a:cubicBezTo>
                    <a:cubicBezTo>
                      <a:pt x="1533" y="228"/>
                      <a:pt x="1533" y="228"/>
                      <a:pt x="1533" y="228"/>
                    </a:cubicBezTo>
                    <a:cubicBezTo>
                      <a:pt x="1534" y="226"/>
                      <a:pt x="1534" y="226"/>
                      <a:pt x="1534" y="226"/>
                    </a:cubicBezTo>
                    <a:cubicBezTo>
                      <a:pt x="1534" y="222"/>
                      <a:pt x="1534" y="222"/>
                      <a:pt x="1534" y="222"/>
                    </a:cubicBezTo>
                    <a:cubicBezTo>
                      <a:pt x="1533" y="220"/>
                      <a:pt x="1533" y="220"/>
                      <a:pt x="1533" y="220"/>
                    </a:cubicBezTo>
                    <a:cubicBezTo>
                      <a:pt x="1531" y="218"/>
                      <a:pt x="1531" y="218"/>
                      <a:pt x="1531" y="218"/>
                    </a:cubicBezTo>
                    <a:cubicBezTo>
                      <a:pt x="1530" y="218"/>
                      <a:pt x="1530" y="218"/>
                      <a:pt x="1530" y="218"/>
                    </a:cubicBezTo>
                    <a:cubicBezTo>
                      <a:pt x="1529" y="216"/>
                      <a:pt x="1529" y="216"/>
                      <a:pt x="1529" y="216"/>
                    </a:cubicBezTo>
                    <a:cubicBezTo>
                      <a:pt x="1526" y="214"/>
                      <a:pt x="1526" y="214"/>
                      <a:pt x="1526" y="214"/>
                    </a:cubicBezTo>
                    <a:cubicBezTo>
                      <a:pt x="1524" y="213"/>
                      <a:pt x="1524" y="213"/>
                      <a:pt x="1524" y="213"/>
                    </a:cubicBezTo>
                    <a:cubicBezTo>
                      <a:pt x="1524" y="211"/>
                      <a:pt x="1524" y="211"/>
                      <a:pt x="1524" y="211"/>
                    </a:cubicBezTo>
                    <a:cubicBezTo>
                      <a:pt x="1525" y="209"/>
                      <a:pt x="1525" y="209"/>
                      <a:pt x="1525" y="209"/>
                    </a:cubicBezTo>
                    <a:cubicBezTo>
                      <a:pt x="1524" y="207"/>
                      <a:pt x="1524" y="207"/>
                      <a:pt x="1524" y="207"/>
                    </a:cubicBezTo>
                    <a:cubicBezTo>
                      <a:pt x="1523" y="206"/>
                      <a:pt x="1523" y="206"/>
                      <a:pt x="1523" y="206"/>
                    </a:cubicBezTo>
                    <a:cubicBezTo>
                      <a:pt x="1523" y="205"/>
                      <a:pt x="1523" y="205"/>
                      <a:pt x="1523" y="205"/>
                    </a:cubicBezTo>
                    <a:cubicBezTo>
                      <a:pt x="1525" y="204"/>
                      <a:pt x="1525" y="204"/>
                      <a:pt x="1525" y="204"/>
                    </a:cubicBezTo>
                    <a:cubicBezTo>
                      <a:pt x="1527" y="201"/>
                      <a:pt x="1527" y="201"/>
                      <a:pt x="1527" y="201"/>
                    </a:cubicBezTo>
                    <a:cubicBezTo>
                      <a:pt x="1528" y="199"/>
                      <a:pt x="1528" y="199"/>
                      <a:pt x="1528" y="199"/>
                    </a:cubicBezTo>
                    <a:cubicBezTo>
                      <a:pt x="1527" y="195"/>
                      <a:pt x="1527" y="195"/>
                      <a:pt x="1527" y="195"/>
                    </a:cubicBezTo>
                    <a:cubicBezTo>
                      <a:pt x="1524" y="190"/>
                      <a:pt x="1524" y="190"/>
                      <a:pt x="1524" y="190"/>
                    </a:cubicBezTo>
                    <a:cubicBezTo>
                      <a:pt x="1525" y="190"/>
                      <a:pt x="1525" y="190"/>
                      <a:pt x="1525" y="190"/>
                    </a:cubicBezTo>
                    <a:cubicBezTo>
                      <a:pt x="1527" y="191"/>
                      <a:pt x="1527" y="191"/>
                      <a:pt x="1527" y="191"/>
                    </a:cubicBezTo>
                    <a:cubicBezTo>
                      <a:pt x="1527" y="193"/>
                      <a:pt x="1527" y="193"/>
                      <a:pt x="1527" y="193"/>
                    </a:cubicBezTo>
                    <a:cubicBezTo>
                      <a:pt x="1528" y="193"/>
                      <a:pt x="1528" y="193"/>
                      <a:pt x="1528" y="193"/>
                    </a:cubicBezTo>
                    <a:cubicBezTo>
                      <a:pt x="1529" y="195"/>
                      <a:pt x="1529" y="195"/>
                      <a:pt x="1529" y="195"/>
                    </a:cubicBezTo>
                    <a:cubicBezTo>
                      <a:pt x="1530" y="197"/>
                      <a:pt x="1530" y="197"/>
                      <a:pt x="1530" y="197"/>
                    </a:cubicBezTo>
                    <a:cubicBezTo>
                      <a:pt x="1530" y="200"/>
                      <a:pt x="1530" y="200"/>
                      <a:pt x="1530" y="200"/>
                    </a:cubicBezTo>
                    <a:cubicBezTo>
                      <a:pt x="1531" y="201"/>
                      <a:pt x="1531" y="201"/>
                      <a:pt x="1531" y="201"/>
                    </a:cubicBezTo>
                    <a:cubicBezTo>
                      <a:pt x="1530" y="203"/>
                      <a:pt x="1530" y="203"/>
                      <a:pt x="1530" y="203"/>
                    </a:cubicBezTo>
                    <a:cubicBezTo>
                      <a:pt x="1531" y="204"/>
                      <a:pt x="1531" y="204"/>
                      <a:pt x="1531" y="204"/>
                    </a:cubicBezTo>
                    <a:cubicBezTo>
                      <a:pt x="1533" y="206"/>
                      <a:pt x="1533" y="206"/>
                      <a:pt x="1533" y="206"/>
                    </a:cubicBezTo>
                    <a:cubicBezTo>
                      <a:pt x="1533" y="207"/>
                      <a:pt x="1533" y="207"/>
                      <a:pt x="1533" y="207"/>
                    </a:cubicBezTo>
                    <a:cubicBezTo>
                      <a:pt x="1534" y="208"/>
                      <a:pt x="1534" y="208"/>
                      <a:pt x="1534" y="208"/>
                    </a:cubicBezTo>
                    <a:cubicBezTo>
                      <a:pt x="1534" y="209"/>
                      <a:pt x="1534" y="209"/>
                      <a:pt x="1534" y="209"/>
                    </a:cubicBezTo>
                    <a:cubicBezTo>
                      <a:pt x="1533" y="209"/>
                      <a:pt x="1533" y="209"/>
                      <a:pt x="1533" y="209"/>
                    </a:cubicBezTo>
                    <a:cubicBezTo>
                      <a:pt x="1533" y="210"/>
                      <a:pt x="1533" y="210"/>
                      <a:pt x="1533" y="210"/>
                    </a:cubicBezTo>
                    <a:cubicBezTo>
                      <a:pt x="1535" y="210"/>
                      <a:pt x="1535" y="210"/>
                      <a:pt x="1535" y="210"/>
                    </a:cubicBezTo>
                    <a:cubicBezTo>
                      <a:pt x="1537" y="211"/>
                      <a:pt x="1537" y="211"/>
                      <a:pt x="1537" y="211"/>
                    </a:cubicBezTo>
                    <a:cubicBezTo>
                      <a:pt x="1539" y="211"/>
                      <a:pt x="1539" y="211"/>
                      <a:pt x="1539" y="211"/>
                    </a:cubicBezTo>
                    <a:cubicBezTo>
                      <a:pt x="1540" y="211"/>
                      <a:pt x="1540" y="211"/>
                      <a:pt x="1540" y="211"/>
                    </a:cubicBezTo>
                    <a:cubicBezTo>
                      <a:pt x="1541" y="212"/>
                      <a:pt x="1541" y="212"/>
                      <a:pt x="1541" y="212"/>
                    </a:cubicBezTo>
                    <a:cubicBezTo>
                      <a:pt x="1542" y="213"/>
                      <a:pt x="1542" y="213"/>
                      <a:pt x="1542" y="213"/>
                    </a:cubicBezTo>
                    <a:cubicBezTo>
                      <a:pt x="1543" y="211"/>
                      <a:pt x="1543" y="211"/>
                      <a:pt x="1543" y="211"/>
                    </a:cubicBezTo>
                    <a:cubicBezTo>
                      <a:pt x="1544" y="211"/>
                      <a:pt x="1544" y="211"/>
                      <a:pt x="1544" y="211"/>
                    </a:cubicBezTo>
                    <a:cubicBezTo>
                      <a:pt x="1545" y="210"/>
                      <a:pt x="1545" y="210"/>
                      <a:pt x="1545" y="210"/>
                    </a:cubicBezTo>
                    <a:cubicBezTo>
                      <a:pt x="1547" y="211"/>
                      <a:pt x="1547" y="211"/>
                      <a:pt x="1547" y="211"/>
                    </a:cubicBezTo>
                    <a:cubicBezTo>
                      <a:pt x="1548" y="213"/>
                      <a:pt x="1548" y="213"/>
                      <a:pt x="1548" y="213"/>
                    </a:cubicBezTo>
                    <a:cubicBezTo>
                      <a:pt x="1549" y="213"/>
                      <a:pt x="1549" y="213"/>
                      <a:pt x="1549" y="213"/>
                    </a:cubicBezTo>
                    <a:cubicBezTo>
                      <a:pt x="1551" y="214"/>
                      <a:pt x="1551" y="214"/>
                      <a:pt x="1551" y="214"/>
                    </a:cubicBezTo>
                    <a:cubicBezTo>
                      <a:pt x="1554" y="213"/>
                      <a:pt x="1554" y="213"/>
                      <a:pt x="1554" y="213"/>
                    </a:cubicBezTo>
                    <a:cubicBezTo>
                      <a:pt x="1555" y="212"/>
                      <a:pt x="1555" y="212"/>
                      <a:pt x="1555" y="212"/>
                    </a:cubicBezTo>
                    <a:cubicBezTo>
                      <a:pt x="1553" y="213"/>
                      <a:pt x="1553" y="213"/>
                      <a:pt x="1553" y="213"/>
                    </a:cubicBezTo>
                    <a:cubicBezTo>
                      <a:pt x="1551" y="213"/>
                      <a:pt x="1551" y="213"/>
                      <a:pt x="1551" y="213"/>
                    </a:cubicBezTo>
                    <a:cubicBezTo>
                      <a:pt x="1551" y="211"/>
                      <a:pt x="1551" y="211"/>
                      <a:pt x="1551" y="211"/>
                    </a:cubicBezTo>
                    <a:cubicBezTo>
                      <a:pt x="1550" y="211"/>
                      <a:pt x="1550" y="211"/>
                      <a:pt x="1550" y="211"/>
                    </a:cubicBezTo>
                    <a:cubicBezTo>
                      <a:pt x="1549" y="209"/>
                      <a:pt x="1549" y="209"/>
                      <a:pt x="1549" y="209"/>
                    </a:cubicBezTo>
                    <a:cubicBezTo>
                      <a:pt x="1547" y="209"/>
                      <a:pt x="1547" y="209"/>
                      <a:pt x="1547" y="209"/>
                    </a:cubicBezTo>
                    <a:cubicBezTo>
                      <a:pt x="1547" y="208"/>
                      <a:pt x="1547" y="208"/>
                      <a:pt x="1547" y="208"/>
                    </a:cubicBezTo>
                    <a:cubicBezTo>
                      <a:pt x="1546" y="208"/>
                      <a:pt x="1546" y="208"/>
                      <a:pt x="1546" y="208"/>
                    </a:cubicBezTo>
                    <a:cubicBezTo>
                      <a:pt x="1545" y="209"/>
                      <a:pt x="1545" y="209"/>
                      <a:pt x="1545" y="209"/>
                    </a:cubicBezTo>
                    <a:cubicBezTo>
                      <a:pt x="1542" y="209"/>
                      <a:pt x="1542" y="209"/>
                      <a:pt x="1542" y="209"/>
                    </a:cubicBezTo>
                    <a:cubicBezTo>
                      <a:pt x="1541" y="208"/>
                      <a:pt x="1541" y="208"/>
                      <a:pt x="1541" y="208"/>
                    </a:cubicBezTo>
                    <a:cubicBezTo>
                      <a:pt x="1539" y="208"/>
                      <a:pt x="1539" y="208"/>
                      <a:pt x="1539" y="208"/>
                    </a:cubicBezTo>
                    <a:cubicBezTo>
                      <a:pt x="1537" y="206"/>
                      <a:pt x="1537" y="206"/>
                      <a:pt x="1537" y="206"/>
                    </a:cubicBezTo>
                    <a:cubicBezTo>
                      <a:pt x="1536" y="204"/>
                      <a:pt x="1536" y="204"/>
                      <a:pt x="1536" y="204"/>
                    </a:cubicBezTo>
                    <a:cubicBezTo>
                      <a:pt x="1534" y="201"/>
                      <a:pt x="1534" y="201"/>
                      <a:pt x="1534" y="201"/>
                    </a:cubicBezTo>
                    <a:cubicBezTo>
                      <a:pt x="1535" y="201"/>
                      <a:pt x="1535" y="201"/>
                      <a:pt x="1535" y="201"/>
                    </a:cubicBezTo>
                    <a:cubicBezTo>
                      <a:pt x="1535" y="200"/>
                      <a:pt x="1535" y="200"/>
                      <a:pt x="1535" y="200"/>
                    </a:cubicBezTo>
                    <a:cubicBezTo>
                      <a:pt x="1537" y="199"/>
                      <a:pt x="1537" y="199"/>
                      <a:pt x="1537" y="199"/>
                    </a:cubicBezTo>
                    <a:cubicBezTo>
                      <a:pt x="1538" y="199"/>
                      <a:pt x="1538" y="199"/>
                      <a:pt x="1538" y="199"/>
                    </a:cubicBezTo>
                    <a:cubicBezTo>
                      <a:pt x="1540" y="201"/>
                      <a:pt x="1540" y="201"/>
                      <a:pt x="1540" y="201"/>
                    </a:cubicBezTo>
                    <a:cubicBezTo>
                      <a:pt x="1542" y="202"/>
                      <a:pt x="1542" y="202"/>
                      <a:pt x="1542" y="202"/>
                    </a:cubicBezTo>
                    <a:cubicBezTo>
                      <a:pt x="1544" y="202"/>
                      <a:pt x="1544" y="202"/>
                      <a:pt x="1544" y="202"/>
                    </a:cubicBezTo>
                    <a:cubicBezTo>
                      <a:pt x="1546" y="199"/>
                      <a:pt x="1546" y="199"/>
                      <a:pt x="1546" y="199"/>
                    </a:cubicBezTo>
                    <a:cubicBezTo>
                      <a:pt x="1544" y="197"/>
                      <a:pt x="1544" y="197"/>
                      <a:pt x="1544" y="197"/>
                    </a:cubicBezTo>
                    <a:cubicBezTo>
                      <a:pt x="1542" y="196"/>
                      <a:pt x="1542" y="196"/>
                      <a:pt x="1542" y="196"/>
                    </a:cubicBezTo>
                    <a:cubicBezTo>
                      <a:pt x="1540" y="198"/>
                      <a:pt x="1540" y="198"/>
                      <a:pt x="1540" y="198"/>
                    </a:cubicBezTo>
                    <a:cubicBezTo>
                      <a:pt x="1539" y="197"/>
                      <a:pt x="1539" y="197"/>
                      <a:pt x="1539" y="197"/>
                    </a:cubicBezTo>
                    <a:cubicBezTo>
                      <a:pt x="1540" y="196"/>
                      <a:pt x="1540" y="196"/>
                      <a:pt x="1540" y="196"/>
                    </a:cubicBezTo>
                    <a:cubicBezTo>
                      <a:pt x="1541" y="196"/>
                      <a:pt x="1541" y="196"/>
                      <a:pt x="1541" y="196"/>
                    </a:cubicBezTo>
                    <a:cubicBezTo>
                      <a:pt x="1541" y="195"/>
                      <a:pt x="1541" y="195"/>
                      <a:pt x="1541" y="195"/>
                    </a:cubicBezTo>
                    <a:cubicBezTo>
                      <a:pt x="1543" y="192"/>
                      <a:pt x="1543" y="192"/>
                      <a:pt x="1543" y="192"/>
                    </a:cubicBezTo>
                    <a:cubicBezTo>
                      <a:pt x="1544" y="191"/>
                      <a:pt x="1544" y="191"/>
                      <a:pt x="1544" y="191"/>
                    </a:cubicBezTo>
                    <a:cubicBezTo>
                      <a:pt x="1545" y="192"/>
                      <a:pt x="1545" y="192"/>
                      <a:pt x="1545" y="192"/>
                    </a:cubicBezTo>
                    <a:cubicBezTo>
                      <a:pt x="1550" y="192"/>
                      <a:pt x="1550" y="192"/>
                      <a:pt x="1550" y="192"/>
                    </a:cubicBezTo>
                    <a:cubicBezTo>
                      <a:pt x="1551" y="193"/>
                      <a:pt x="1551" y="193"/>
                      <a:pt x="1551" y="193"/>
                    </a:cubicBezTo>
                    <a:cubicBezTo>
                      <a:pt x="1553" y="194"/>
                      <a:pt x="1553" y="194"/>
                      <a:pt x="1553" y="194"/>
                    </a:cubicBezTo>
                    <a:cubicBezTo>
                      <a:pt x="1556" y="195"/>
                      <a:pt x="1556" y="195"/>
                      <a:pt x="1556" y="195"/>
                    </a:cubicBezTo>
                    <a:cubicBezTo>
                      <a:pt x="1557" y="196"/>
                      <a:pt x="1557" y="196"/>
                      <a:pt x="1557" y="196"/>
                    </a:cubicBezTo>
                    <a:cubicBezTo>
                      <a:pt x="1558" y="197"/>
                      <a:pt x="1558" y="197"/>
                      <a:pt x="1558" y="197"/>
                    </a:cubicBezTo>
                    <a:cubicBezTo>
                      <a:pt x="1561" y="200"/>
                      <a:pt x="1561" y="200"/>
                      <a:pt x="1561" y="200"/>
                    </a:cubicBezTo>
                    <a:cubicBezTo>
                      <a:pt x="1562" y="200"/>
                      <a:pt x="1562" y="200"/>
                      <a:pt x="1562" y="200"/>
                    </a:cubicBezTo>
                    <a:cubicBezTo>
                      <a:pt x="1566" y="199"/>
                      <a:pt x="1566" y="199"/>
                      <a:pt x="1566" y="199"/>
                    </a:cubicBezTo>
                    <a:cubicBezTo>
                      <a:pt x="1568" y="198"/>
                      <a:pt x="1568" y="198"/>
                      <a:pt x="1568" y="198"/>
                    </a:cubicBezTo>
                    <a:cubicBezTo>
                      <a:pt x="1569" y="199"/>
                      <a:pt x="1569" y="199"/>
                      <a:pt x="1569" y="199"/>
                    </a:cubicBezTo>
                    <a:cubicBezTo>
                      <a:pt x="1570" y="198"/>
                      <a:pt x="1570" y="198"/>
                      <a:pt x="1570" y="198"/>
                    </a:cubicBezTo>
                    <a:cubicBezTo>
                      <a:pt x="1571" y="199"/>
                      <a:pt x="1571" y="199"/>
                      <a:pt x="1571" y="199"/>
                    </a:cubicBezTo>
                    <a:cubicBezTo>
                      <a:pt x="1571" y="201"/>
                      <a:pt x="1571" y="201"/>
                      <a:pt x="1571" y="201"/>
                    </a:cubicBezTo>
                    <a:cubicBezTo>
                      <a:pt x="1571" y="202"/>
                      <a:pt x="1571" y="202"/>
                      <a:pt x="1571" y="202"/>
                    </a:cubicBezTo>
                    <a:cubicBezTo>
                      <a:pt x="1571" y="203"/>
                      <a:pt x="1571" y="203"/>
                      <a:pt x="1571" y="203"/>
                    </a:cubicBezTo>
                    <a:cubicBezTo>
                      <a:pt x="1569" y="204"/>
                      <a:pt x="1569" y="204"/>
                      <a:pt x="1569" y="204"/>
                    </a:cubicBezTo>
                    <a:cubicBezTo>
                      <a:pt x="1569" y="206"/>
                      <a:pt x="1569" y="206"/>
                      <a:pt x="1569" y="206"/>
                    </a:cubicBezTo>
                    <a:cubicBezTo>
                      <a:pt x="1570" y="207"/>
                      <a:pt x="1570" y="207"/>
                      <a:pt x="1570" y="207"/>
                    </a:cubicBezTo>
                    <a:cubicBezTo>
                      <a:pt x="1570" y="209"/>
                      <a:pt x="1570" y="209"/>
                      <a:pt x="1570" y="209"/>
                    </a:cubicBezTo>
                    <a:cubicBezTo>
                      <a:pt x="1572" y="211"/>
                      <a:pt x="1572" y="211"/>
                      <a:pt x="1572" y="211"/>
                    </a:cubicBezTo>
                    <a:cubicBezTo>
                      <a:pt x="1572" y="212"/>
                      <a:pt x="1572" y="212"/>
                      <a:pt x="1572" y="212"/>
                    </a:cubicBezTo>
                    <a:cubicBezTo>
                      <a:pt x="1571" y="213"/>
                      <a:pt x="1571" y="213"/>
                      <a:pt x="1571" y="213"/>
                    </a:cubicBezTo>
                    <a:cubicBezTo>
                      <a:pt x="1572" y="217"/>
                      <a:pt x="1572" y="217"/>
                      <a:pt x="1572" y="217"/>
                    </a:cubicBezTo>
                    <a:cubicBezTo>
                      <a:pt x="1573" y="217"/>
                      <a:pt x="1573" y="217"/>
                      <a:pt x="1573" y="217"/>
                    </a:cubicBezTo>
                    <a:cubicBezTo>
                      <a:pt x="1573" y="216"/>
                      <a:pt x="1573" y="216"/>
                      <a:pt x="1573" y="216"/>
                    </a:cubicBezTo>
                    <a:cubicBezTo>
                      <a:pt x="1573" y="215"/>
                      <a:pt x="1573" y="215"/>
                      <a:pt x="1573" y="215"/>
                    </a:cubicBezTo>
                    <a:cubicBezTo>
                      <a:pt x="1574" y="214"/>
                      <a:pt x="1574" y="214"/>
                      <a:pt x="1574" y="214"/>
                    </a:cubicBezTo>
                    <a:cubicBezTo>
                      <a:pt x="1573" y="213"/>
                      <a:pt x="1573" y="213"/>
                      <a:pt x="1573" y="213"/>
                    </a:cubicBezTo>
                    <a:cubicBezTo>
                      <a:pt x="1574" y="212"/>
                      <a:pt x="1574" y="212"/>
                      <a:pt x="1574" y="212"/>
                    </a:cubicBezTo>
                    <a:cubicBezTo>
                      <a:pt x="1575" y="210"/>
                      <a:pt x="1575" y="210"/>
                      <a:pt x="1575" y="210"/>
                    </a:cubicBezTo>
                    <a:cubicBezTo>
                      <a:pt x="1576" y="211"/>
                      <a:pt x="1576" y="211"/>
                      <a:pt x="1576" y="211"/>
                    </a:cubicBezTo>
                    <a:cubicBezTo>
                      <a:pt x="1577" y="213"/>
                      <a:pt x="1577" y="213"/>
                      <a:pt x="1577" y="213"/>
                    </a:cubicBezTo>
                    <a:cubicBezTo>
                      <a:pt x="1577" y="216"/>
                      <a:pt x="1577" y="216"/>
                      <a:pt x="1577" y="216"/>
                    </a:cubicBezTo>
                    <a:cubicBezTo>
                      <a:pt x="1577" y="217"/>
                      <a:pt x="1577" y="217"/>
                      <a:pt x="1577" y="217"/>
                    </a:cubicBezTo>
                    <a:cubicBezTo>
                      <a:pt x="1577" y="218"/>
                      <a:pt x="1577" y="218"/>
                      <a:pt x="1577" y="218"/>
                    </a:cubicBezTo>
                    <a:cubicBezTo>
                      <a:pt x="1577" y="219"/>
                      <a:pt x="1577" y="219"/>
                      <a:pt x="1577" y="219"/>
                    </a:cubicBezTo>
                    <a:cubicBezTo>
                      <a:pt x="1576" y="220"/>
                      <a:pt x="1576" y="220"/>
                      <a:pt x="1576" y="220"/>
                    </a:cubicBezTo>
                    <a:cubicBezTo>
                      <a:pt x="1578" y="221"/>
                      <a:pt x="1578" y="221"/>
                      <a:pt x="1578" y="221"/>
                    </a:cubicBezTo>
                    <a:cubicBezTo>
                      <a:pt x="1580" y="221"/>
                      <a:pt x="1580" y="221"/>
                      <a:pt x="1580" y="221"/>
                    </a:cubicBezTo>
                    <a:cubicBezTo>
                      <a:pt x="1582" y="221"/>
                      <a:pt x="1582" y="221"/>
                      <a:pt x="1582" y="221"/>
                    </a:cubicBezTo>
                    <a:cubicBezTo>
                      <a:pt x="1583" y="223"/>
                      <a:pt x="1583" y="223"/>
                      <a:pt x="1583" y="223"/>
                    </a:cubicBezTo>
                    <a:cubicBezTo>
                      <a:pt x="1583" y="224"/>
                      <a:pt x="1583" y="224"/>
                      <a:pt x="1583" y="224"/>
                    </a:cubicBezTo>
                    <a:cubicBezTo>
                      <a:pt x="1585" y="225"/>
                      <a:pt x="1585" y="225"/>
                      <a:pt x="1585" y="225"/>
                    </a:cubicBezTo>
                    <a:cubicBezTo>
                      <a:pt x="1587" y="225"/>
                      <a:pt x="1587" y="225"/>
                      <a:pt x="1587" y="225"/>
                    </a:cubicBezTo>
                    <a:cubicBezTo>
                      <a:pt x="1588" y="226"/>
                      <a:pt x="1589" y="227"/>
                      <a:pt x="1589" y="227"/>
                    </a:cubicBezTo>
                    <a:cubicBezTo>
                      <a:pt x="1590" y="225"/>
                      <a:pt x="1590" y="225"/>
                      <a:pt x="1590" y="225"/>
                    </a:cubicBezTo>
                    <a:cubicBezTo>
                      <a:pt x="1591" y="223"/>
                      <a:pt x="1591" y="223"/>
                      <a:pt x="1591" y="223"/>
                    </a:cubicBezTo>
                    <a:cubicBezTo>
                      <a:pt x="1589" y="225"/>
                      <a:pt x="1589" y="225"/>
                      <a:pt x="1589" y="225"/>
                    </a:cubicBezTo>
                    <a:cubicBezTo>
                      <a:pt x="1588" y="224"/>
                      <a:pt x="1588" y="224"/>
                      <a:pt x="1588" y="224"/>
                    </a:cubicBezTo>
                    <a:cubicBezTo>
                      <a:pt x="1587" y="225"/>
                      <a:pt x="1587" y="225"/>
                      <a:pt x="1587" y="225"/>
                    </a:cubicBezTo>
                    <a:cubicBezTo>
                      <a:pt x="1585" y="224"/>
                      <a:pt x="1585" y="224"/>
                      <a:pt x="1585" y="224"/>
                    </a:cubicBezTo>
                    <a:cubicBezTo>
                      <a:pt x="1583" y="221"/>
                      <a:pt x="1583" y="221"/>
                      <a:pt x="1583" y="221"/>
                    </a:cubicBezTo>
                    <a:cubicBezTo>
                      <a:pt x="1582" y="220"/>
                      <a:pt x="1582" y="220"/>
                      <a:pt x="1582" y="220"/>
                    </a:cubicBezTo>
                    <a:cubicBezTo>
                      <a:pt x="1580" y="220"/>
                      <a:pt x="1580" y="220"/>
                      <a:pt x="1580" y="220"/>
                    </a:cubicBezTo>
                    <a:cubicBezTo>
                      <a:pt x="1579" y="219"/>
                      <a:pt x="1579" y="219"/>
                      <a:pt x="1579" y="219"/>
                    </a:cubicBezTo>
                    <a:cubicBezTo>
                      <a:pt x="1580" y="218"/>
                      <a:pt x="1580" y="218"/>
                      <a:pt x="1580" y="218"/>
                    </a:cubicBezTo>
                    <a:cubicBezTo>
                      <a:pt x="1582" y="216"/>
                      <a:pt x="1582" y="216"/>
                      <a:pt x="1582" y="216"/>
                    </a:cubicBezTo>
                    <a:cubicBezTo>
                      <a:pt x="1581" y="214"/>
                      <a:pt x="1581" y="214"/>
                      <a:pt x="1581" y="214"/>
                    </a:cubicBezTo>
                    <a:cubicBezTo>
                      <a:pt x="1579" y="213"/>
                      <a:pt x="1579" y="213"/>
                      <a:pt x="1579" y="213"/>
                    </a:cubicBezTo>
                    <a:cubicBezTo>
                      <a:pt x="1579" y="214"/>
                      <a:pt x="1579" y="215"/>
                      <a:pt x="1579" y="216"/>
                    </a:cubicBezTo>
                    <a:cubicBezTo>
                      <a:pt x="1579" y="216"/>
                      <a:pt x="1579" y="216"/>
                      <a:pt x="1578" y="217"/>
                    </a:cubicBezTo>
                    <a:cubicBezTo>
                      <a:pt x="1578" y="217"/>
                      <a:pt x="1578" y="217"/>
                      <a:pt x="1578" y="215"/>
                    </a:cubicBezTo>
                    <a:cubicBezTo>
                      <a:pt x="1578" y="215"/>
                      <a:pt x="1578" y="215"/>
                      <a:pt x="1577" y="213"/>
                    </a:cubicBezTo>
                    <a:cubicBezTo>
                      <a:pt x="1577" y="213"/>
                      <a:pt x="1577" y="213"/>
                      <a:pt x="1577" y="211"/>
                    </a:cubicBezTo>
                    <a:cubicBezTo>
                      <a:pt x="1577" y="211"/>
                      <a:pt x="1577" y="211"/>
                      <a:pt x="1578" y="211"/>
                    </a:cubicBezTo>
                    <a:cubicBezTo>
                      <a:pt x="1578" y="211"/>
                      <a:pt x="1578" y="211"/>
                      <a:pt x="1579" y="212"/>
                    </a:cubicBezTo>
                    <a:cubicBezTo>
                      <a:pt x="1579" y="210"/>
                      <a:pt x="1579" y="210"/>
                      <a:pt x="1579" y="210"/>
                    </a:cubicBezTo>
                    <a:cubicBezTo>
                      <a:pt x="1577" y="207"/>
                      <a:pt x="1577" y="207"/>
                      <a:pt x="1577" y="207"/>
                    </a:cubicBezTo>
                    <a:cubicBezTo>
                      <a:pt x="1575" y="206"/>
                      <a:pt x="1575" y="206"/>
                      <a:pt x="1575" y="206"/>
                    </a:cubicBezTo>
                    <a:cubicBezTo>
                      <a:pt x="1574" y="205"/>
                      <a:pt x="1574" y="205"/>
                      <a:pt x="1574" y="205"/>
                    </a:cubicBezTo>
                    <a:cubicBezTo>
                      <a:pt x="1574" y="203"/>
                      <a:pt x="1574" y="203"/>
                      <a:pt x="1574" y="203"/>
                    </a:cubicBezTo>
                    <a:cubicBezTo>
                      <a:pt x="1574" y="202"/>
                      <a:pt x="1574" y="202"/>
                      <a:pt x="1574" y="202"/>
                    </a:cubicBezTo>
                    <a:cubicBezTo>
                      <a:pt x="1574" y="199"/>
                      <a:pt x="1574" y="199"/>
                      <a:pt x="1574" y="199"/>
                    </a:cubicBezTo>
                    <a:cubicBezTo>
                      <a:pt x="1572" y="197"/>
                      <a:pt x="1572" y="197"/>
                      <a:pt x="1572" y="197"/>
                    </a:cubicBezTo>
                    <a:cubicBezTo>
                      <a:pt x="1571" y="197"/>
                      <a:pt x="1571" y="197"/>
                      <a:pt x="1571" y="197"/>
                    </a:cubicBezTo>
                    <a:cubicBezTo>
                      <a:pt x="1569" y="196"/>
                      <a:pt x="1569" y="196"/>
                      <a:pt x="1569" y="196"/>
                    </a:cubicBezTo>
                    <a:cubicBezTo>
                      <a:pt x="1566" y="196"/>
                      <a:pt x="1566" y="196"/>
                      <a:pt x="1566" y="196"/>
                    </a:cubicBezTo>
                    <a:cubicBezTo>
                      <a:pt x="1565" y="194"/>
                      <a:pt x="1565" y="194"/>
                      <a:pt x="1565" y="194"/>
                    </a:cubicBezTo>
                    <a:cubicBezTo>
                      <a:pt x="1563" y="193"/>
                      <a:pt x="1563" y="193"/>
                      <a:pt x="1563" y="193"/>
                    </a:cubicBezTo>
                    <a:cubicBezTo>
                      <a:pt x="1563" y="191"/>
                      <a:pt x="1563" y="191"/>
                      <a:pt x="1563" y="191"/>
                    </a:cubicBezTo>
                    <a:cubicBezTo>
                      <a:pt x="1563" y="190"/>
                      <a:pt x="1563" y="190"/>
                      <a:pt x="1563" y="190"/>
                    </a:cubicBezTo>
                    <a:cubicBezTo>
                      <a:pt x="1563" y="189"/>
                      <a:pt x="1563" y="189"/>
                      <a:pt x="1563" y="189"/>
                    </a:cubicBezTo>
                    <a:cubicBezTo>
                      <a:pt x="1561" y="190"/>
                      <a:pt x="1561" y="190"/>
                      <a:pt x="1561" y="190"/>
                    </a:cubicBezTo>
                    <a:cubicBezTo>
                      <a:pt x="1557" y="190"/>
                      <a:pt x="1557" y="190"/>
                      <a:pt x="1557" y="190"/>
                    </a:cubicBezTo>
                    <a:cubicBezTo>
                      <a:pt x="1555" y="190"/>
                      <a:pt x="1555" y="190"/>
                      <a:pt x="1555" y="190"/>
                    </a:cubicBezTo>
                    <a:cubicBezTo>
                      <a:pt x="1553" y="189"/>
                      <a:pt x="1553" y="189"/>
                      <a:pt x="1553" y="189"/>
                    </a:cubicBezTo>
                    <a:cubicBezTo>
                      <a:pt x="1553" y="187"/>
                      <a:pt x="1553" y="187"/>
                      <a:pt x="1553" y="187"/>
                    </a:cubicBezTo>
                    <a:cubicBezTo>
                      <a:pt x="1552" y="186"/>
                      <a:pt x="1552" y="186"/>
                      <a:pt x="1552" y="186"/>
                    </a:cubicBezTo>
                    <a:cubicBezTo>
                      <a:pt x="1552" y="184"/>
                      <a:pt x="1552" y="184"/>
                      <a:pt x="1552" y="184"/>
                    </a:cubicBezTo>
                    <a:cubicBezTo>
                      <a:pt x="1551" y="181"/>
                      <a:pt x="1551" y="181"/>
                      <a:pt x="1551" y="181"/>
                    </a:cubicBezTo>
                    <a:cubicBezTo>
                      <a:pt x="1548" y="180"/>
                      <a:pt x="1548" y="180"/>
                      <a:pt x="1548" y="180"/>
                    </a:cubicBezTo>
                    <a:cubicBezTo>
                      <a:pt x="1549" y="179"/>
                      <a:pt x="1549" y="179"/>
                      <a:pt x="1549" y="179"/>
                    </a:cubicBezTo>
                    <a:cubicBezTo>
                      <a:pt x="1549" y="178"/>
                      <a:pt x="1549" y="178"/>
                      <a:pt x="1549" y="178"/>
                    </a:cubicBezTo>
                    <a:cubicBezTo>
                      <a:pt x="1548" y="178"/>
                      <a:pt x="1548" y="178"/>
                      <a:pt x="1548" y="178"/>
                    </a:cubicBezTo>
                    <a:cubicBezTo>
                      <a:pt x="1547" y="177"/>
                      <a:pt x="1547" y="177"/>
                      <a:pt x="1547" y="177"/>
                    </a:cubicBezTo>
                    <a:cubicBezTo>
                      <a:pt x="1547" y="176"/>
                      <a:pt x="1547" y="176"/>
                      <a:pt x="1547" y="176"/>
                    </a:cubicBezTo>
                    <a:cubicBezTo>
                      <a:pt x="1547" y="174"/>
                      <a:pt x="1547" y="174"/>
                      <a:pt x="1547" y="174"/>
                    </a:cubicBezTo>
                    <a:cubicBezTo>
                      <a:pt x="1546" y="173"/>
                      <a:pt x="1546" y="173"/>
                      <a:pt x="1546" y="173"/>
                    </a:cubicBezTo>
                    <a:cubicBezTo>
                      <a:pt x="1547" y="173"/>
                      <a:pt x="1547" y="173"/>
                      <a:pt x="1547" y="173"/>
                    </a:cubicBezTo>
                    <a:cubicBezTo>
                      <a:pt x="1549" y="173"/>
                      <a:pt x="1549" y="173"/>
                      <a:pt x="1549" y="173"/>
                    </a:cubicBezTo>
                    <a:cubicBezTo>
                      <a:pt x="1550" y="171"/>
                      <a:pt x="1550" y="171"/>
                      <a:pt x="1550" y="171"/>
                    </a:cubicBezTo>
                    <a:cubicBezTo>
                      <a:pt x="1552" y="171"/>
                      <a:pt x="1552" y="171"/>
                      <a:pt x="1552" y="171"/>
                    </a:cubicBezTo>
                    <a:cubicBezTo>
                      <a:pt x="1555" y="170"/>
                      <a:pt x="1555" y="170"/>
                      <a:pt x="1555" y="170"/>
                    </a:cubicBezTo>
                    <a:cubicBezTo>
                      <a:pt x="1560" y="168"/>
                      <a:pt x="1560" y="168"/>
                      <a:pt x="1560" y="168"/>
                    </a:cubicBezTo>
                    <a:cubicBezTo>
                      <a:pt x="1562" y="167"/>
                      <a:pt x="1562" y="167"/>
                      <a:pt x="1562" y="167"/>
                    </a:cubicBezTo>
                    <a:cubicBezTo>
                      <a:pt x="1563" y="167"/>
                      <a:pt x="1563" y="167"/>
                      <a:pt x="1563" y="167"/>
                    </a:cubicBezTo>
                    <a:cubicBezTo>
                      <a:pt x="1564" y="167"/>
                      <a:pt x="1564" y="167"/>
                      <a:pt x="1564" y="167"/>
                    </a:cubicBezTo>
                    <a:cubicBezTo>
                      <a:pt x="1566" y="166"/>
                      <a:pt x="1566" y="166"/>
                      <a:pt x="1566" y="166"/>
                    </a:cubicBezTo>
                    <a:cubicBezTo>
                      <a:pt x="1567" y="165"/>
                      <a:pt x="1567" y="165"/>
                      <a:pt x="1567" y="165"/>
                    </a:cubicBezTo>
                    <a:cubicBezTo>
                      <a:pt x="1569" y="164"/>
                      <a:pt x="1569" y="164"/>
                      <a:pt x="1569" y="164"/>
                    </a:cubicBezTo>
                    <a:cubicBezTo>
                      <a:pt x="1573" y="162"/>
                      <a:pt x="1573" y="162"/>
                      <a:pt x="1573" y="162"/>
                    </a:cubicBezTo>
                    <a:cubicBezTo>
                      <a:pt x="1574" y="163"/>
                      <a:pt x="1574" y="163"/>
                      <a:pt x="1574" y="163"/>
                    </a:cubicBezTo>
                    <a:cubicBezTo>
                      <a:pt x="1573" y="164"/>
                      <a:pt x="1573" y="164"/>
                      <a:pt x="1573" y="164"/>
                    </a:cubicBezTo>
                    <a:cubicBezTo>
                      <a:pt x="1573" y="165"/>
                      <a:pt x="1573" y="165"/>
                      <a:pt x="1573" y="165"/>
                    </a:cubicBezTo>
                    <a:cubicBezTo>
                      <a:pt x="1572" y="166"/>
                      <a:pt x="1572" y="166"/>
                      <a:pt x="1572" y="166"/>
                    </a:cubicBezTo>
                    <a:cubicBezTo>
                      <a:pt x="1571" y="168"/>
                      <a:pt x="1571" y="168"/>
                      <a:pt x="1571" y="168"/>
                    </a:cubicBezTo>
                    <a:cubicBezTo>
                      <a:pt x="1571" y="170"/>
                      <a:pt x="1571" y="170"/>
                      <a:pt x="1571" y="170"/>
                    </a:cubicBezTo>
                    <a:cubicBezTo>
                      <a:pt x="1574" y="172"/>
                      <a:pt x="1574" y="172"/>
                      <a:pt x="1574" y="172"/>
                    </a:cubicBezTo>
                    <a:cubicBezTo>
                      <a:pt x="1576" y="172"/>
                      <a:pt x="1576" y="172"/>
                      <a:pt x="1576" y="172"/>
                    </a:cubicBezTo>
                    <a:cubicBezTo>
                      <a:pt x="1575" y="171"/>
                      <a:pt x="1575" y="171"/>
                      <a:pt x="1575" y="171"/>
                    </a:cubicBezTo>
                    <a:cubicBezTo>
                      <a:pt x="1572" y="169"/>
                      <a:pt x="1572" y="169"/>
                      <a:pt x="1572" y="169"/>
                    </a:cubicBezTo>
                    <a:cubicBezTo>
                      <a:pt x="1572" y="168"/>
                      <a:pt x="1572" y="168"/>
                      <a:pt x="1572" y="168"/>
                    </a:cubicBezTo>
                    <a:cubicBezTo>
                      <a:pt x="1573" y="167"/>
                      <a:pt x="1573" y="167"/>
                      <a:pt x="1573" y="167"/>
                    </a:cubicBezTo>
                    <a:cubicBezTo>
                      <a:pt x="1576" y="165"/>
                      <a:pt x="1576" y="165"/>
                      <a:pt x="1576" y="165"/>
                    </a:cubicBezTo>
                    <a:cubicBezTo>
                      <a:pt x="1577" y="163"/>
                      <a:pt x="1577" y="163"/>
                      <a:pt x="1577" y="163"/>
                    </a:cubicBezTo>
                    <a:cubicBezTo>
                      <a:pt x="1576" y="161"/>
                      <a:pt x="1576" y="161"/>
                      <a:pt x="1576" y="161"/>
                    </a:cubicBezTo>
                    <a:cubicBezTo>
                      <a:pt x="1574" y="161"/>
                      <a:pt x="1574" y="161"/>
                      <a:pt x="1574" y="161"/>
                    </a:cubicBezTo>
                    <a:cubicBezTo>
                      <a:pt x="1573" y="160"/>
                      <a:pt x="1573" y="160"/>
                      <a:pt x="1573" y="160"/>
                    </a:cubicBezTo>
                    <a:cubicBezTo>
                      <a:pt x="1573" y="159"/>
                      <a:pt x="1573" y="159"/>
                      <a:pt x="1573" y="159"/>
                    </a:cubicBezTo>
                    <a:cubicBezTo>
                      <a:pt x="1571" y="159"/>
                      <a:pt x="1571" y="159"/>
                      <a:pt x="1571" y="159"/>
                    </a:cubicBezTo>
                    <a:cubicBezTo>
                      <a:pt x="1570" y="159"/>
                      <a:pt x="1570" y="159"/>
                      <a:pt x="1570" y="159"/>
                    </a:cubicBezTo>
                    <a:cubicBezTo>
                      <a:pt x="1569" y="157"/>
                      <a:pt x="1569" y="157"/>
                      <a:pt x="1569" y="157"/>
                    </a:cubicBezTo>
                    <a:cubicBezTo>
                      <a:pt x="1567" y="157"/>
                      <a:pt x="1567" y="157"/>
                      <a:pt x="1567" y="157"/>
                    </a:cubicBezTo>
                    <a:cubicBezTo>
                      <a:pt x="1566" y="158"/>
                      <a:pt x="1566" y="158"/>
                      <a:pt x="1566" y="158"/>
                    </a:cubicBezTo>
                    <a:cubicBezTo>
                      <a:pt x="1564" y="156"/>
                      <a:pt x="1564" y="156"/>
                      <a:pt x="1564" y="156"/>
                    </a:cubicBezTo>
                    <a:cubicBezTo>
                      <a:pt x="1565" y="155"/>
                      <a:pt x="1565" y="155"/>
                      <a:pt x="1565" y="155"/>
                    </a:cubicBezTo>
                    <a:cubicBezTo>
                      <a:pt x="1565" y="154"/>
                      <a:pt x="1565" y="154"/>
                      <a:pt x="1565" y="154"/>
                    </a:cubicBezTo>
                    <a:cubicBezTo>
                      <a:pt x="1566" y="154"/>
                      <a:pt x="1566" y="154"/>
                      <a:pt x="1566" y="154"/>
                    </a:cubicBezTo>
                    <a:cubicBezTo>
                      <a:pt x="1567" y="155"/>
                      <a:pt x="1567" y="155"/>
                      <a:pt x="1567" y="155"/>
                    </a:cubicBezTo>
                    <a:cubicBezTo>
                      <a:pt x="1569" y="155"/>
                      <a:pt x="1569" y="155"/>
                      <a:pt x="1569" y="155"/>
                    </a:cubicBezTo>
                    <a:cubicBezTo>
                      <a:pt x="1570" y="154"/>
                      <a:pt x="1570" y="154"/>
                      <a:pt x="1570" y="154"/>
                    </a:cubicBezTo>
                    <a:cubicBezTo>
                      <a:pt x="1569" y="154"/>
                      <a:pt x="1569" y="154"/>
                      <a:pt x="1569" y="154"/>
                    </a:cubicBezTo>
                    <a:cubicBezTo>
                      <a:pt x="1568" y="154"/>
                      <a:pt x="1568" y="154"/>
                      <a:pt x="1568" y="154"/>
                    </a:cubicBezTo>
                    <a:cubicBezTo>
                      <a:pt x="1566" y="153"/>
                      <a:pt x="1566" y="153"/>
                      <a:pt x="1566" y="153"/>
                    </a:cubicBezTo>
                    <a:cubicBezTo>
                      <a:pt x="1566" y="152"/>
                      <a:pt x="1566" y="152"/>
                      <a:pt x="1566" y="152"/>
                    </a:cubicBezTo>
                    <a:cubicBezTo>
                      <a:pt x="1565" y="152"/>
                      <a:pt x="1565" y="152"/>
                      <a:pt x="1565" y="152"/>
                    </a:cubicBezTo>
                    <a:cubicBezTo>
                      <a:pt x="1563" y="151"/>
                      <a:pt x="1563" y="151"/>
                      <a:pt x="1563" y="151"/>
                    </a:cubicBezTo>
                    <a:cubicBezTo>
                      <a:pt x="1561" y="152"/>
                      <a:pt x="1561" y="152"/>
                      <a:pt x="1561" y="152"/>
                    </a:cubicBezTo>
                    <a:cubicBezTo>
                      <a:pt x="1561" y="151"/>
                      <a:pt x="1561" y="151"/>
                      <a:pt x="1561" y="151"/>
                    </a:cubicBezTo>
                    <a:cubicBezTo>
                      <a:pt x="1561" y="150"/>
                      <a:pt x="1561" y="150"/>
                      <a:pt x="1561" y="150"/>
                    </a:cubicBezTo>
                    <a:cubicBezTo>
                      <a:pt x="1561" y="149"/>
                      <a:pt x="1561" y="149"/>
                      <a:pt x="1561" y="149"/>
                    </a:cubicBezTo>
                    <a:cubicBezTo>
                      <a:pt x="1560" y="148"/>
                      <a:pt x="1560" y="148"/>
                      <a:pt x="1560" y="148"/>
                    </a:cubicBezTo>
                    <a:cubicBezTo>
                      <a:pt x="1561" y="147"/>
                      <a:pt x="1561" y="147"/>
                      <a:pt x="1561" y="147"/>
                    </a:cubicBezTo>
                    <a:cubicBezTo>
                      <a:pt x="1562" y="148"/>
                      <a:pt x="1562" y="148"/>
                      <a:pt x="1562" y="148"/>
                    </a:cubicBezTo>
                    <a:cubicBezTo>
                      <a:pt x="1563" y="149"/>
                      <a:pt x="1563" y="149"/>
                      <a:pt x="1563" y="149"/>
                    </a:cubicBezTo>
                    <a:cubicBezTo>
                      <a:pt x="1564" y="149"/>
                      <a:pt x="1564" y="149"/>
                      <a:pt x="1564" y="149"/>
                    </a:cubicBezTo>
                    <a:cubicBezTo>
                      <a:pt x="1566" y="151"/>
                      <a:pt x="1566" y="151"/>
                      <a:pt x="1566" y="151"/>
                    </a:cubicBezTo>
                    <a:cubicBezTo>
                      <a:pt x="1566" y="150"/>
                      <a:pt x="1566" y="150"/>
                      <a:pt x="1566" y="150"/>
                    </a:cubicBezTo>
                    <a:cubicBezTo>
                      <a:pt x="1565" y="149"/>
                      <a:pt x="1565" y="149"/>
                      <a:pt x="1565" y="149"/>
                    </a:cubicBezTo>
                    <a:cubicBezTo>
                      <a:pt x="1567" y="148"/>
                      <a:pt x="1567" y="148"/>
                      <a:pt x="1567" y="148"/>
                    </a:cubicBezTo>
                    <a:cubicBezTo>
                      <a:pt x="1567" y="146"/>
                      <a:pt x="1567" y="146"/>
                      <a:pt x="1567" y="146"/>
                    </a:cubicBezTo>
                    <a:cubicBezTo>
                      <a:pt x="1566" y="145"/>
                      <a:pt x="1566" y="145"/>
                      <a:pt x="1566" y="145"/>
                    </a:cubicBezTo>
                    <a:cubicBezTo>
                      <a:pt x="1566" y="144"/>
                      <a:pt x="1566" y="144"/>
                      <a:pt x="1566" y="144"/>
                    </a:cubicBezTo>
                    <a:cubicBezTo>
                      <a:pt x="1567" y="145"/>
                      <a:pt x="1567" y="145"/>
                      <a:pt x="1567" y="145"/>
                    </a:cubicBezTo>
                    <a:cubicBezTo>
                      <a:pt x="1568" y="144"/>
                      <a:pt x="1568" y="144"/>
                      <a:pt x="1568" y="144"/>
                    </a:cubicBezTo>
                    <a:cubicBezTo>
                      <a:pt x="1565" y="143"/>
                      <a:pt x="1565" y="143"/>
                      <a:pt x="1565" y="143"/>
                    </a:cubicBezTo>
                    <a:cubicBezTo>
                      <a:pt x="1565" y="144"/>
                      <a:pt x="1565" y="144"/>
                      <a:pt x="1565" y="144"/>
                    </a:cubicBezTo>
                    <a:cubicBezTo>
                      <a:pt x="1564" y="144"/>
                      <a:pt x="1564" y="144"/>
                      <a:pt x="1564" y="144"/>
                    </a:cubicBezTo>
                    <a:cubicBezTo>
                      <a:pt x="1564" y="143"/>
                      <a:pt x="1564" y="143"/>
                      <a:pt x="1564" y="143"/>
                    </a:cubicBezTo>
                    <a:cubicBezTo>
                      <a:pt x="1565" y="142"/>
                      <a:pt x="1565" y="142"/>
                      <a:pt x="1565" y="142"/>
                    </a:cubicBezTo>
                    <a:cubicBezTo>
                      <a:pt x="1567" y="141"/>
                      <a:pt x="1567" y="141"/>
                      <a:pt x="1567" y="141"/>
                    </a:cubicBezTo>
                    <a:cubicBezTo>
                      <a:pt x="1569" y="141"/>
                      <a:pt x="1569" y="141"/>
                      <a:pt x="1569" y="141"/>
                    </a:cubicBezTo>
                    <a:cubicBezTo>
                      <a:pt x="1568" y="140"/>
                      <a:pt x="1568" y="140"/>
                      <a:pt x="1568" y="140"/>
                    </a:cubicBezTo>
                    <a:cubicBezTo>
                      <a:pt x="1570" y="138"/>
                      <a:pt x="1570" y="138"/>
                      <a:pt x="1570" y="138"/>
                    </a:cubicBezTo>
                    <a:cubicBezTo>
                      <a:pt x="1570" y="137"/>
                      <a:pt x="1570" y="137"/>
                      <a:pt x="1570" y="137"/>
                    </a:cubicBezTo>
                    <a:cubicBezTo>
                      <a:pt x="1570" y="136"/>
                      <a:pt x="1570" y="136"/>
                      <a:pt x="1570" y="136"/>
                    </a:cubicBezTo>
                    <a:cubicBezTo>
                      <a:pt x="1571" y="134"/>
                      <a:pt x="1571" y="134"/>
                      <a:pt x="1571" y="134"/>
                    </a:cubicBezTo>
                    <a:cubicBezTo>
                      <a:pt x="1572" y="135"/>
                      <a:pt x="1572" y="135"/>
                      <a:pt x="1572" y="135"/>
                    </a:cubicBezTo>
                    <a:cubicBezTo>
                      <a:pt x="1573" y="135"/>
                      <a:pt x="1573" y="135"/>
                      <a:pt x="1573" y="135"/>
                    </a:cubicBezTo>
                    <a:cubicBezTo>
                      <a:pt x="1573" y="134"/>
                      <a:pt x="1573" y="134"/>
                      <a:pt x="1573" y="134"/>
                    </a:cubicBezTo>
                    <a:cubicBezTo>
                      <a:pt x="1574" y="134"/>
                      <a:pt x="1574" y="134"/>
                      <a:pt x="1574" y="134"/>
                    </a:cubicBezTo>
                    <a:cubicBezTo>
                      <a:pt x="1573" y="133"/>
                      <a:pt x="1573" y="133"/>
                      <a:pt x="1573" y="133"/>
                    </a:cubicBezTo>
                    <a:cubicBezTo>
                      <a:pt x="1573" y="132"/>
                      <a:pt x="1573" y="132"/>
                      <a:pt x="1573" y="132"/>
                    </a:cubicBezTo>
                    <a:cubicBezTo>
                      <a:pt x="1575" y="131"/>
                      <a:pt x="1575" y="131"/>
                      <a:pt x="1575" y="131"/>
                    </a:cubicBezTo>
                    <a:cubicBezTo>
                      <a:pt x="1576" y="131"/>
                      <a:pt x="1576" y="131"/>
                      <a:pt x="1576" y="131"/>
                    </a:cubicBezTo>
                    <a:cubicBezTo>
                      <a:pt x="1576" y="130"/>
                      <a:pt x="1576" y="130"/>
                      <a:pt x="1576" y="130"/>
                    </a:cubicBezTo>
                    <a:cubicBezTo>
                      <a:pt x="1577" y="130"/>
                      <a:pt x="1577" y="130"/>
                      <a:pt x="1577" y="130"/>
                    </a:cubicBezTo>
                    <a:cubicBezTo>
                      <a:pt x="1578" y="130"/>
                      <a:pt x="1578" y="130"/>
                      <a:pt x="1578" y="130"/>
                    </a:cubicBezTo>
                    <a:cubicBezTo>
                      <a:pt x="1580" y="130"/>
                      <a:pt x="1580" y="130"/>
                      <a:pt x="1580" y="130"/>
                    </a:cubicBezTo>
                    <a:cubicBezTo>
                      <a:pt x="1579" y="129"/>
                      <a:pt x="1579" y="129"/>
                      <a:pt x="1579" y="129"/>
                    </a:cubicBezTo>
                    <a:cubicBezTo>
                      <a:pt x="1580" y="128"/>
                      <a:pt x="1580" y="128"/>
                      <a:pt x="1580" y="128"/>
                    </a:cubicBezTo>
                    <a:cubicBezTo>
                      <a:pt x="1582" y="128"/>
                      <a:pt x="1582" y="128"/>
                      <a:pt x="1582" y="128"/>
                    </a:cubicBezTo>
                    <a:cubicBezTo>
                      <a:pt x="1584" y="127"/>
                      <a:pt x="1584" y="127"/>
                      <a:pt x="1584" y="127"/>
                    </a:cubicBezTo>
                    <a:cubicBezTo>
                      <a:pt x="1585" y="125"/>
                      <a:pt x="1585" y="125"/>
                      <a:pt x="1585" y="125"/>
                    </a:cubicBezTo>
                    <a:cubicBezTo>
                      <a:pt x="1588" y="124"/>
                      <a:pt x="1588" y="124"/>
                      <a:pt x="1588" y="124"/>
                    </a:cubicBezTo>
                    <a:cubicBezTo>
                      <a:pt x="1588" y="123"/>
                      <a:pt x="1588" y="123"/>
                      <a:pt x="1588" y="123"/>
                    </a:cubicBezTo>
                    <a:cubicBezTo>
                      <a:pt x="1585" y="124"/>
                      <a:pt x="1585" y="124"/>
                      <a:pt x="1585" y="124"/>
                    </a:cubicBezTo>
                    <a:cubicBezTo>
                      <a:pt x="1585" y="123"/>
                      <a:pt x="1585" y="123"/>
                      <a:pt x="1585" y="123"/>
                    </a:cubicBezTo>
                    <a:cubicBezTo>
                      <a:pt x="1583" y="125"/>
                      <a:pt x="1583" y="125"/>
                      <a:pt x="1583" y="125"/>
                    </a:cubicBezTo>
                    <a:cubicBezTo>
                      <a:pt x="1583" y="124"/>
                      <a:pt x="1583" y="124"/>
                      <a:pt x="1583" y="124"/>
                    </a:cubicBezTo>
                    <a:cubicBezTo>
                      <a:pt x="1583" y="121"/>
                      <a:pt x="1583" y="121"/>
                      <a:pt x="1583" y="121"/>
                    </a:cubicBezTo>
                    <a:cubicBezTo>
                      <a:pt x="1584" y="119"/>
                      <a:pt x="1584" y="119"/>
                      <a:pt x="1584" y="119"/>
                    </a:cubicBezTo>
                    <a:cubicBezTo>
                      <a:pt x="1584" y="120"/>
                      <a:pt x="1584" y="120"/>
                      <a:pt x="1584" y="120"/>
                    </a:cubicBezTo>
                    <a:cubicBezTo>
                      <a:pt x="1585" y="120"/>
                      <a:pt x="1585" y="120"/>
                      <a:pt x="1585" y="120"/>
                    </a:cubicBezTo>
                    <a:cubicBezTo>
                      <a:pt x="1586" y="120"/>
                      <a:pt x="1586" y="120"/>
                      <a:pt x="1586" y="120"/>
                    </a:cubicBezTo>
                    <a:cubicBezTo>
                      <a:pt x="1584" y="118"/>
                      <a:pt x="1584" y="118"/>
                      <a:pt x="1584" y="118"/>
                    </a:cubicBezTo>
                    <a:cubicBezTo>
                      <a:pt x="1586" y="118"/>
                      <a:pt x="1586" y="118"/>
                      <a:pt x="1586" y="118"/>
                    </a:cubicBezTo>
                    <a:cubicBezTo>
                      <a:pt x="1587" y="119"/>
                      <a:pt x="1587" y="119"/>
                      <a:pt x="1587" y="119"/>
                    </a:cubicBezTo>
                    <a:cubicBezTo>
                      <a:pt x="1588" y="119"/>
                      <a:pt x="1588" y="119"/>
                      <a:pt x="1588" y="119"/>
                    </a:cubicBezTo>
                    <a:cubicBezTo>
                      <a:pt x="1590" y="118"/>
                      <a:pt x="1590" y="118"/>
                      <a:pt x="1590" y="118"/>
                    </a:cubicBezTo>
                    <a:cubicBezTo>
                      <a:pt x="1591" y="118"/>
                      <a:pt x="1591" y="118"/>
                      <a:pt x="1591" y="118"/>
                    </a:cubicBezTo>
                    <a:cubicBezTo>
                      <a:pt x="1595" y="117"/>
                      <a:pt x="1595" y="117"/>
                      <a:pt x="1595" y="117"/>
                    </a:cubicBezTo>
                    <a:cubicBezTo>
                      <a:pt x="1596" y="117"/>
                      <a:pt x="1596" y="117"/>
                      <a:pt x="1596" y="117"/>
                    </a:cubicBezTo>
                    <a:cubicBezTo>
                      <a:pt x="1597" y="118"/>
                      <a:pt x="1597" y="118"/>
                      <a:pt x="1597" y="118"/>
                    </a:cubicBezTo>
                    <a:cubicBezTo>
                      <a:pt x="1595" y="121"/>
                      <a:pt x="1595" y="121"/>
                      <a:pt x="1595" y="121"/>
                    </a:cubicBezTo>
                    <a:cubicBezTo>
                      <a:pt x="1595" y="122"/>
                      <a:pt x="1595" y="122"/>
                      <a:pt x="1595" y="122"/>
                    </a:cubicBezTo>
                    <a:cubicBezTo>
                      <a:pt x="1597" y="123"/>
                      <a:pt x="1597" y="123"/>
                      <a:pt x="1597" y="123"/>
                    </a:cubicBezTo>
                    <a:cubicBezTo>
                      <a:pt x="1597" y="121"/>
                      <a:pt x="1597" y="121"/>
                      <a:pt x="1597" y="121"/>
                    </a:cubicBezTo>
                    <a:cubicBezTo>
                      <a:pt x="1598" y="119"/>
                      <a:pt x="1598" y="119"/>
                      <a:pt x="1598" y="119"/>
                    </a:cubicBezTo>
                    <a:cubicBezTo>
                      <a:pt x="1598" y="118"/>
                      <a:pt x="1598" y="118"/>
                      <a:pt x="1598" y="118"/>
                    </a:cubicBezTo>
                    <a:cubicBezTo>
                      <a:pt x="1598" y="117"/>
                      <a:pt x="1598" y="117"/>
                      <a:pt x="1598" y="117"/>
                    </a:cubicBezTo>
                    <a:cubicBezTo>
                      <a:pt x="1599" y="119"/>
                      <a:pt x="1599" y="119"/>
                      <a:pt x="1599" y="119"/>
                    </a:cubicBezTo>
                    <a:cubicBezTo>
                      <a:pt x="1599" y="120"/>
                      <a:pt x="1599" y="120"/>
                      <a:pt x="1599" y="120"/>
                    </a:cubicBezTo>
                    <a:cubicBezTo>
                      <a:pt x="1600" y="120"/>
                      <a:pt x="1600" y="120"/>
                      <a:pt x="1600" y="120"/>
                    </a:cubicBezTo>
                    <a:cubicBezTo>
                      <a:pt x="1601" y="119"/>
                      <a:pt x="1601" y="119"/>
                      <a:pt x="1601" y="119"/>
                    </a:cubicBezTo>
                    <a:cubicBezTo>
                      <a:pt x="1600" y="118"/>
                      <a:pt x="1600" y="118"/>
                      <a:pt x="1600" y="118"/>
                    </a:cubicBezTo>
                    <a:cubicBezTo>
                      <a:pt x="1601" y="117"/>
                      <a:pt x="1601" y="117"/>
                      <a:pt x="1601" y="117"/>
                    </a:cubicBezTo>
                    <a:cubicBezTo>
                      <a:pt x="1602" y="117"/>
                      <a:pt x="1602" y="117"/>
                      <a:pt x="1602" y="117"/>
                    </a:cubicBezTo>
                    <a:cubicBezTo>
                      <a:pt x="1602" y="119"/>
                      <a:pt x="1602" y="119"/>
                      <a:pt x="1602" y="119"/>
                    </a:cubicBezTo>
                    <a:cubicBezTo>
                      <a:pt x="1604" y="117"/>
                      <a:pt x="1604" y="117"/>
                      <a:pt x="1604" y="117"/>
                    </a:cubicBezTo>
                    <a:cubicBezTo>
                      <a:pt x="1604" y="116"/>
                      <a:pt x="1604" y="116"/>
                      <a:pt x="1604" y="116"/>
                    </a:cubicBezTo>
                    <a:cubicBezTo>
                      <a:pt x="1603" y="115"/>
                      <a:pt x="1603" y="115"/>
                      <a:pt x="1603" y="115"/>
                    </a:cubicBezTo>
                    <a:cubicBezTo>
                      <a:pt x="1605" y="115"/>
                      <a:pt x="1605" y="115"/>
                      <a:pt x="1605" y="115"/>
                    </a:cubicBezTo>
                    <a:cubicBezTo>
                      <a:pt x="1604" y="114"/>
                      <a:pt x="1604" y="114"/>
                      <a:pt x="1604" y="114"/>
                    </a:cubicBezTo>
                    <a:cubicBezTo>
                      <a:pt x="1606" y="113"/>
                      <a:pt x="1606" y="113"/>
                      <a:pt x="1606" y="113"/>
                    </a:cubicBezTo>
                    <a:cubicBezTo>
                      <a:pt x="1607" y="113"/>
                      <a:pt x="1607" y="113"/>
                      <a:pt x="1607" y="113"/>
                    </a:cubicBezTo>
                    <a:cubicBezTo>
                      <a:pt x="1608" y="112"/>
                      <a:pt x="1608" y="112"/>
                      <a:pt x="1608" y="112"/>
                    </a:cubicBezTo>
                    <a:cubicBezTo>
                      <a:pt x="1609" y="112"/>
                      <a:pt x="1609" y="112"/>
                      <a:pt x="1609" y="112"/>
                    </a:cubicBezTo>
                    <a:cubicBezTo>
                      <a:pt x="1609" y="113"/>
                      <a:pt x="1609" y="113"/>
                      <a:pt x="1609" y="113"/>
                    </a:cubicBezTo>
                    <a:cubicBezTo>
                      <a:pt x="1610" y="113"/>
                      <a:pt x="1610" y="113"/>
                      <a:pt x="1610" y="113"/>
                    </a:cubicBezTo>
                    <a:cubicBezTo>
                      <a:pt x="1612" y="114"/>
                      <a:pt x="1612" y="114"/>
                      <a:pt x="1612" y="114"/>
                    </a:cubicBezTo>
                    <a:cubicBezTo>
                      <a:pt x="1612" y="115"/>
                      <a:pt x="1612" y="115"/>
                      <a:pt x="1612" y="115"/>
                    </a:cubicBezTo>
                    <a:cubicBezTo>
                      <a:pt x="1612" y="116"/>
                      <a:pt x="1612" y="116"/>
                      <a:pt x="1612" y="116"/>
                    </a:cubicBezTo>
                    <a:cubicBezTo>
                      <a:pt x="1611" y="119"/>
                      <a:pt x="1611" y="119"/>
                      <a:pt x="1611" y="119"/>
                    </a:cubicBezTo>
                    <a:cubicBezTo>
                      <a:pt x="1613" y="118"/>
                      <a:pt x="1613" y="118"/>
                      <a:pt x="1613" y="118"/>
                    </a:cubicBezTo>
                    <a:cubicBezTo>
                      <a:pt x="1614" y="116"/>
                      <a:pt x="1614" y="116"/>
                      <a:pt x="1614" y="116"/>
                    </a:cubicBezTo>
                    <a:cubicBezTo>
                      <a:pt x="1613" y="113"/>
                      <a:pt x="1613" y="113"/>
                      <a:pt x="1613" y="113"/>
                    </a:cubicBezTo>
                    <a:cubicBezTo>
                      <a:pt x="1611" y="112"/>
                      <a:pt x="1611" y="112"/>
                      <a:pt x="1611" y="112"/>
                    </a:cubicBezTo>
                    <a:cubicBezTo>
                      <a:pt x="1610" y="110"/>
                      <a:pt x="1610" y="110"/>
                      <a:pt x="1610" y="110"/>
                    </a:cubicBezTo>
                    <a:cubicBezTo>
                      <a:pt x="1609" y="111"/>
                      <a:pt x="1609" y="111"/>
                      <a:pt x="1609" y="111"/>
                    </a:cubicBezTo>
                    <a:cubicBezTo>
                      <a:pt x="1608" y="111"/>
                      <a:pt x="1608" y="111"/>
                      <a:pt x="1608" y="111"/>
                    </a:cubicBezTo>
                    <a:cubicBezTo>
                      <a:pt x="1606" y="111"/>
                      <a:pt x="1606" y="111"/>
                      <a:pt x="1606" y="111"/>
                    </a:cubicBezTo>
                    <a:cubicBezTo>
                      <a:pt x="1606" y="110"/>
                      <a:pt x="1606" y="110"/>
                      <a:pt x="1606" y="110"/>
                    </a:cubicBezTo>
                    <a:cubicBezTo>
                      <a:pt x="1605" y="109"/>
                      <a:pt x="1605" y="109"/>
                      <a:pt x="1605" y="109"/>
                    </a:cubicBezTo>
                    <a:cubicBezTo>
                      <a:pt x="1605" y="108"/>
                      <a:pt x="1605" y="108"/>
                      <a:pt x="1605" y="108"/>
                    </a:cubicBezTo>
                    <a:cubicBezTo>
                      <a:pt x="1608" y="108"/>
                      <a:pt x="1608" y="108"/>
                      <a:pt x="1608" y="108"/>
                    </a:cubicBezTo>
                    <a:cubicBezTo>
                      <a:pt x="1609" y="107"/>
                      <a:pt x="1609" y="107"/>
                      <a:pt x="1609" y="107"/>
                    </a:cubicBezTo>
                    <a:cubicBezTo>
                      <a:pt x="1610" y="107"/>
                      <a:pt x="1610" y="107"/>
                      <a:pt x="1610" y="107"/>
                    </a:cubicBezTo>
                    <a:cubicBezTo>
                      <a:pt x="1611" y="107"/>
                      <a:pt x="1611" y="107"/>
                      <a:pt x="1611" y="107"/>
                    </a:cubicBezTo>
                    <a:cubicBezTo>
                      <a:pt x="1613" y="107"/>
                      <a:pt x="1613" y="107"/>
                      <a:pt x="1613" y="107"/>
                    </a:cubicBezTo>
                    <a:cubicBezTo>
                      <a:pt x="1616" y="106"/>
                      <a:pt x="1616" y="106"/>
                      <a:pt x="1616" y="106"/>
                    </a:cubicBezTo>
                    <a:cubicBezTo>
                      <a:pt x="1618" y="107"/>
                      <a:pt x="1618" y="107"/>
                      <a:pt x="1618" y="107"/>
                    </a:cubicBezTo>
                    <a:cubicBezTo>
                      <a:pt x="1619" y="107"/>
                      <a:pt x="1619" y="107"/>
                      <a:pt x="1619" y="107"/>
                    </a:cubicBezTo>
                    <a:cubicBezTo>
                      <a:pt x="1620" y="107"/>
                      <a:pt x="1620" y="107"/>
                      <a:pt x="1620" y="107"/>
                    </a:cubicBezTo>
                    <a:cubicBezTo>
                      <a:pt x="1621" y="106"/>
                      <a:pt x="1621" y="106"/>
                      <a:pt x="1621" y="106"/>
                    </a:cubicBezTo>
                    <a:cubicBezTo>
                      <a:pt x="1620" y="105"/>
                      <a:pt x="1620" y="105"/>
                      <a:pt x="1620" y="105"/>
                    </a:cubicBezTo>
                    <a:cubicBezTo>
                      <a:pt x="1618" y="105"/>
                      <a:pt x="1618" y="105"/>
                      <a:pt x="1618" y="105"/>
                    </a:cubicBezTo>
                    <a:cubicBezTo>
                      <a:pt x="1616" y="105"/>
                      <a:pt x="1616" y="105"/>
                      <a:pt x="1616" y="105"/>
                    </a:cubicBezTo>
                    <a:cubicBezTo>
                      <a:pt x="1615" y="105"/>
                      <a:pt x="1615" y="105"/>
                      <a:pt x="1615" y="105"/>
                    </a:cubicBezTo>
                    <a:cubicBezTo>
                      <a:pt x="1613" y="105"/>
                      <a:pt x="1613" y="105"/>
                      <a:pt x="1613" y="105"/>
                    </a:cubicBezTo>
                    <a:cubicBezTo>
                      <a:pt x="1613" y="104"/>
                      <a:pt x="1613" y="104"/>
                      <a:pt x="1613" y="104"/>
                    </a:cubicBezTo>
                    <a:cubicBezTo>
                      <a:pt x="1612" y="103"/>
                      <a:pt x="1612" y="103"/>
                      <a:pt x="1612" y="103"/>
                    </a:cubicBezTo>
                    <a:cubicBezTo>
                      <a:pt x="1614" y="101"/>
                      <a:pt x="1614" y="101"/>
                      <a:pt x="1614" y="101"/>
                    </a:cubicBezTo>
                    <a:cubicBezTo>
                      <a:pt x="1612" y="101"/>
                      <a:pt x="1612" y="101"/>
                      <a:pt x="1612" y="101"/>
                    </a:cubicBezTo>
                    <a:cubicBezTo>
                      <a:pt x="1611" y="99"/>
                      <a:pt x="1611" y="99"/>
                      <a:pt x="1611" y="99"/>
                    </a:cubicBezTo>
                    <a:cubicBezTo>
                      <a:pt x="1609" y="99"/>
                      <a:pt x="1609" y="99"/>
                      <a:pt x="1609" y="99"/>
                    </a:cubicBezTo>
                    <a:cubicBezTo>
                      <a:pt x="1608" y="98"/>
                      <a:pt x="1608" y="98"/>
                      <a:pt x="1608" y="98"/>
                    </a:cubicBezTo>
                    <a:cubicBezTo>
                      <a:pt x="1608" y="96"/>
                      <a:pt x="1608" y="96"/>
                      <a:pt x="1608" y="96"/>
                    </a:cubicBezTo>
                    <a:cubicBezTo>
                      <a:pt x="1609" y="96"/>
                      <a:pt x="1609" y="96"/>
                      <a:pt x="1609" y="96"/>
                    </a:cubicBezTo>
                    <a:cubicBezTo>
                      <a:pt x="1609" y="95"/>
                      <a:pt x="1609" y="95"/>
                      <a:pt x="1609" y="95"/>
                    </a:cubicBezTo>
                    <a:cubicBezTo>
                      <a:pt x="1608" y="93"/>
                      <a:pt x="1608" y="93"/>
                      <a:pt x="1608" y="93"/>
                    </a:cubicBezTo>
                    <a:cubicBezTo>
                      <a:pt x="1608" y="87"/>
                      <a:pt x="1608" y="87"/>
                      <a:pt x="1608" y="87"/>
                    </a:cubicBezTo>
                    <a:cubicBezTo>
                      <a:pt x="1609" y="86"/>
                      <a:pt x="1609" y="86"/>
                      <a:pt x="1609" y="86"/>
                    </a:cubicBezTo>
                    <a:cubicBezTo>
                      <a:pt x="1609" y="84"/>
                      <a:pt x="1609" y="84"/>
                      <a:pt x="1609" y="84"/>
                    </a:cubicBezTo>
                    <a:cubicBezTo>
                      <a:pt x="1609" y="82"/>
                      <a:pt x="1609" y="82"/>
                      <a:pt x="1609" y="82"/>
                    </a:cubicBezTo>
                    <a:cubicBezTo>
                      <a:pt x="1610" y="81"/>
                      <a:pt x="1610" y="81"/>
                      <a:pt x="1610" y="81"/>
                    </a:cubicBezTo>
                    <a:cubicBezTo>
                      <a:pt x="1609" y="80"/>
                      <a:pt x="1609" y="80"/>
                      <a:pt x="1609" y="80"/>
                    </a:cubicBezTo>
                    <a:cubicBezTo>
                      <a:pt x="1611" y="80"/>
                      <a:pt x="1611" y="80"/>
                      <a:pt x="1611" y="80"/>
                    </a:cubicBezTo>
                    <a:cubicBezTo>
                      <a:pt x="1611" y="78"/>
                      <a:pt x="1611" y="78"/>
                      <a:pt x="1611" y="78"/>
                    </a:cubicBezTo>
                    <a:cubicBezTo>
                      <a:pt x="1613" y="77"/>
                      <a:pt x="1613" y="77"/>
                      <a:pt x="1613" y="77"/>
                    </a:cubicBezTo>
                    <a:cubicBezTo>
                      <a:pt x="1615" y="79"/>
                      <a:pt x="1615" y="79"/>
                      <a:pt x="1615" y="79"/>
                    </a:cubicBezTo>
                    <a:cubicBezTo>
                      <a:pt x="1616" y="78"/>
                      <a:pt x="1616" y="78"/>
                      <a:pt x="1616" y="78"/>
                    </a:cubicBezTo>
                    <a:cubicBezTo>
                      <a:pt x="1617" y="78"/>
                      <a:pt x="1617" y="78"/>
                      <a:pt x="1617" y="78"/>
                    </a:cubicBezTo>
                    <a:cubicBezTo>
                      <a:pt x="1618" y="79"/>
                      <a:pt x="1618" y="79"/>
                      <a:pt x="1618" y="79"/>
                    </a:cubicBezTo>
                    <a:cubicBezTo>
                      <a:pt x="1620" y="80"/>
                      <a:pt x="1620" y="80"/>
                      <a:pt x="1620" y="80"/>
                    </a:cubicBezTo>
                    <a:cubicBezTo>
                      <a:pt x="1621" y="78"/>
                      <a:pt x="1621" y="78"/>
                      <a:pt x="1621" y="78"/>
                    </a:cubicBezTo>
                    <a:cubicBezTo>
                      <a:pt x="1622" y="78"/>
                      <a:pt x="1622" y="78"/>
                      <a:pt x="1622" y="78"/>
                    </a:cubicBezTo>
                    <a:cubicBezTo>
                      <a:pt x="1622" y="80"/>
                      <a:pt x="1622" y="80"/>
                      <a:pt x="1622" y="80"/>
                    </a:cubicBezTo>
                    <a:cubicBezTo>
                      <a:pt x="1622" y="81"/>
                      <a:pt x="1622" y="81"/>
                      <a:pt x="1622" y="81"/>
                    </a:cubicBezTo>
                    <a:cubicBezTo>
                      <a:pt x="1624" y="81"/>
                      <a:pt x="1624" y="81"/>
                      <a:pt x="1624" y="81"/>
                    </a:cubicBezTo>
                    <a:cubicBezTo>
                      <a:pt x="1624" y="82"/>
                      <a:pt x="1624" y="82"/>
                      <a:pt x="1624" y="82"/>
                    </a:cubicBezTo>
                    <a:cubicBezTo>
                      <a:pt x="1623" y="83"/>
                      <a:pt x="1623" y="83"/>
                      <a:pt x="1623" y="83"/>
                    </a:cubicBezTo>
                    <a:cubicBezTo>
                      <a:pt x="1623" y="84"/>
                      <a:pt x="1623" y="84"/>
                      <a:pt x="1623" y="84"/>
                    </a:cubicBezTo>
                    <a:cubicBezTo>
                      <a:pt x="1623" y="85"/>
                      <a:pt x="1623" y="85"/>
                      <a:pt x="1623" y="85"/>
                    </a:cubicBezTo>
                    <a:cubicBezTo>
                      <a:pt x="1622" y="88"/>
                      <a:pt x="1622" y="88"/>
                      <a:pt x="1622" y="88"/>
                    </a:cubicBezTo>
                    <a:cubicBezTo>
                      <a:pt x="1620" y="88"/>
                      <a:pt x="1620" y="88"/>
                      <a:pt x="1620" y="88"/>
                    </a:cubicBezTo>
                    <a:cubicBezTo>
                      <a:pt x="1619" y="89"/>
                      <a:pt x="1619" y="89"/>
                      <a:pt x="1619" y="89"/>
                    </a:cubicBezTo>
                    <a:cubicBezTo>
                      <a:pt x="1620" y="90"/>
                      <a:pt x="1620" y="90"/>
                      <a:pt x="1620" y="90"/>
                    </a:cubicBezTo>
                    <a:cubicBezTo>
                      <a:pt x="1623" y="89"/>
                      <a:pt x="1623" y="89"/>
                      <a:pt x="1623" y="89"/>
                    </a:cubicBezTo>
                    <a:cubicBezTo>
                      <a:pt x="1625" y="86"/>
                      <a:pt x="1625" y="86"/>
                      <a:pt x="1625" y="86"/>
                    </a:cubicBezTo>
                    <a:cubicBezTo>
                      <a:pt x="1626" y="86"/>
                      <a:pt x="1626" y="86"/>
                      <a:pt x="1626" y="86"/>
                    </a:cubicBezTo>
                    <a:cubicBezTo>
                      <a:pt x="1626" y="87"/>
                      <a:pt x="1626" y="87"/>
                      <a:pt x="1626" y="87"/>
                    </a:cubicBezTo>
                    <a:cubicBezTo>
                      <a:pt x="1625" y="88"/>
                      <a:pt x="1625" y="88"/>
                      <a:pt x="1625" y="88"/>
                    </a:cubicBezTo>
                    <a:cubicBezTo>
                      <a:pt x="1625" y="89"/>
                      <a:pt x="1625" y="89"/>
                      <a:pt x="1625" y="89"/>
                    </a:cubicBezTo>
                    <a:cubicBezTo>
                      <a:pt x="1627" y="89"/>
                      <a:pt x="1627" y="89"/>
                      <a:pt x="1627" y="89"/>
                    </a:cubicBezTo>
                    <a:cubicBezTo>
                      <a:pt x="1628" y="87"/>
                      <a:pt x="1628" y="87"/>
                      <a:pt x="1628" y="87"/>
                    </a:cubicBezTo>
                    <a:cubicBezTo>
                      <a:pt x="1629" y="87"/>
                      <a:pt x="1629" y="87"/>
                      <a:pt x="1629" y="87"/>
                    </a:cubicBezTo>
                    <a:cubicBezTo>
                      <a:pt x="1631" y="87"/>
                      <a:pt x="1631" y="87"/>
                      <a:pt x="1631" y="87"/>
                    </a:cubicBezTo>
                    <a:cubicBezTo>
                      <a:pt x="1631" y="86"/>
                      <a:pt x="1631" y="86"/>
                      <a:pt x="1631" y="86"/>
                    </a:cubicBezTo>
                    <a:cubicBezTo>
                      <a:pt x="1632" y="85"/>
                      <a:pt x="1632" y="85"/>
                      <a:pt x="1632" y="85"/>
                    </a:cubicBezTo>
                    <a:cubicBezTo>
                      <a:pt x="1633" y="86"/>
                      <a:pt x="1633" y="86"/>
                      <a:pt x="1633" y="86"/>
                    </a:cubicBezTo>
                    <a:cubicBezTo>
                      <a:pt x="1634" y="85"/>
                      <a:pt x="1634" y="85"/>
                      <a:pt x="1634" y="85"/>
                    </a:cubicBezTo>
                    <a:cubicBezTo>
                      <a:pt x="1636" y="87"/>
                      <a:pt x="1636" y="87"/>
                      <a:pt x="1636" y="87"/>
                    </a:cubicBezTo>
                    <a:cubicBezTo>
                      <a:pt x="1636" y="88"/>
                      <a:pt x="1636" y="88"/>
                      <a:pt x="1636" y="88"/>
                    </a:cubicBezTo>
                    <a:cubicBezTo>
                      <a:pt x="1636" y="90"/>
                      <a:pt x="1636" y="90"/>
                      <a:pt x="1636" y="90"/>
                    </a:cubicBezTo>
                    <a:cubicBezTo>
                      <a:pt x="1636" y="91"/>
                      <a:pt x="1636" y="91"/>
                      <a:pt x="1636" y="91"/>
                    </a:cubicBezTo>
                    <a:cubicBezTo>
                      <a:pt x="1636" y="92"/>
                      <a:pt x="1636" y="92"/>
                      <a:pt x="1636" y="92"/>
                    </a:cubicBezTo>
                    <a:cubicBezTo>
                      <a:pt x="1635" y="94"/>
                      <a:pt x="1635" y="94"/>
                      <a:pt x="1635" y="94"/>
                    </a:cubicBezTo>
                    <a:cubicBezTo>
                      <a:pt x="1636" y="97"/>
                      <a:pt x="1636" y="97"/>
                      <a:pt x="1636" y="97"/>
                    </a:cubicBezTo>
                    <a:cubicBezTo>
                      <a:pt x="1636" y="98"/>
                      <a:pt x="1636" y="98"/>
                      <a:pt x="1636" y="98"/>
                    </a:cubicBezTo>
                    <a:cubicBezTo>
                      <a:pt x="1635" y="98"/>
                      <a:pt x="1635" y="98"/>
                      <a:pt x="1635" y="98"/>
                    </a:cubicBezTo>
                    <a:cubicBezTo>
                      <a:pt x="1634" y="99"/>
                      <a:pt x="1634" y="99"/>
                      <a:pt x="1634" y="99"/>
                    </a:cubicBezTo>
                    <a:cubicBezTo>
                      <a:pt x="1635" y="99"/>
                      <a:pt x="1635" y="99"/>
                      <a:pt x="1635" y="99"/>
                    </a:cubicBezTo>
                    <a:cubicBezTo>
                      <a:pt x="1638" y="99"/>
                      <a:pt x="1638" y="99"/>
                      <a:pt x="1638" y="99"/>
                    </a:cubicBezTo>
                    <a:cubicBezTo>
                      <a:pt x="1639" y="97"/>
                      <a:pt x="1639" y="97"/>
                      <a:pt x="1639" y="97"/>
                    </a:cubicBezTo>
                    <a:cubicBezTo>
                      <a:pt x="1641" y="97"/>
                      <a:pt x="1641" y="97"/>
                      <a:pt x="1641" y="97"/>
                    </a:cubicBezTo>
                    <a:cubicBezTo>
                      <a:pt x="1642" y="95"/>
                      <a:pt x="1642" y="95"/>
                      <a:pt x="1642" y="95"/>
                    </a:cubicBezTo>
                    <a:cubicBezTo>
                      <a:pt x="1642" y="93"/>
                      <a:pt x="1642" y="93"/>
                      <a:pt x="1642" y="93"/>
                    </a:cubicBezTo>
                    <a:cubicBezTo>
                      <a:pt x="1641" y="92"/>
                      <a:pt x="1641" y="92"/>
                      <a:pt x="1641" y="92"/>
                    </a:cubicBezTo>
                    <a:cubicBezTo>
                      <a:pt x="1640" y="92"/>
                      <a:pt x="1640" y="92"/>
                      <a:pt x="1640" y="92"/>
                    </a:cubicBezTo>
                    <a:cubicBezTo>
                      <a:pt x="1639" y="91"/>
                      <a:pt x="1639" y="91"/>
                      <a:pt x="1639" y="91"/>
                    </a:cubicBezTo>
                    <a:cubicBezTo>
                      <a:pt x="1639" y="90"/>
                      <a:pt x="1639" y="90"/>
                      <a:pt x="1639" y="90"/>
                    </a:cubicBezTo>
                    <a:cubicBezTo>
                      <a:pt x="1640" y="90"/>
                      <a:pt x="1640" y="90"/>
                      <a:pt x="1640" y="90"/>
                    </a:cubicBezTo>
                    <a:cubicBezTo>
                      <a:pt x="1641" y="90"/>
                      <a:pt x="1641" y="90"/>
                      <a:pt x="1641" y="90"/>
                    </a:cubicBezTo>
                    <a:cubicBezTo>
                      <a:pt x="1642" y="90"/>
                      <a:pt x="1642" y="90"/>
                      <a:pt x="1642" y="90"/>
                    </a:cubicBezTo>
                    <a:cubicBezTo>
                      <a:pt x="1644" y="89"/>
                      <a:pt x="1644" y="89"/>
                      <a:pt x="1644" y="89"/>
                    </a:cubicBezTo>
                    <a:cubicBezTo>
                      <a:pt x="1646" y="87"/>
                      <a:pt x="1646" y="87"/>
                      <a:pt x="1646" y="87"/>
                    </a:cubicBezTo>
                    <a:cubicBezTo>
                      <a:pt x="1647" y="88"/>
                      <a:pt x="1647" y="88"/>
                      <a:pt x="1647" y="88"/>
                    </a:cubicBezTo>
                    <a:cubicBezTo>
                      <a:pt x="1648" y="88"/>
                      <a:pt x="1648" y="88"/>
                      <a:pt x="1648" y="88"/>
                    </a:cubicBezTo>
                    <a:cubicBezTo>
                      <a:pt x="1649" y="86"/>
                      <a:pt x="1649" y="86"/>
                      <a:pt x="1649" y="86"/>
                    </a:cubicBezTo>
                    <a:cubicBezTo>
                      <a:pt x="1650" y="85"/>
                      <a:pt x="1650" y="85"/>
                      <a:pt x="1650" y="85"/>
                    </a:cubicBezTo>
                    <a:cubicBezTo>
                      <a:pt x="1650" y="86"/>
                      <a:pt x="1650" y="86"/>
                      <a:pt x="1650" y="86"/>
                    </a:cubicBezTo>
                    <a:cubicBezTo>
                      <a:pt x="1651" y="85"/>
                      <a:pt x="1651" y="85"/>
                      <a:pt x="1651" y="85"/>
                    </a:cubicBezTo>
                    <a:cubicBezTo>
                      <a:pt x="1653" y="84"/>
                      <a:pt x="1653" y="84"/>
                      <a:pt x="1653" y="84"/>
                    </a:cubicBezTo>
                    <a:cubicBezTo>
                      <a:pt x="1653" y="85"/>
                      <a:pt x="1653" y="85"/>
                      <a:pt x="1653" y="85"/>
                    </a:cubicBezTo>
                    <a:cubicBezTo>
                      <a:pt x="1655" y="85"/>
                      <a:pt x="1655" y="85"/>
                      <a:pt x="1655" y="85"/>
                    </a:cubicBezTo>
                    <a:cubicBezTo>
                      <a:pt x="1654" y="86"/>
                      <a:pt x="1654" y="86"/>
                      <a:pt x="1654" y="86"/>
                    </a:cubicBezTo>
                    <a:cubicBezTo>
                      <a:pt x="1655" y="87"/>
                      <a:pt x="1655" y="87"/>
                      <a:pt x="1655" y="87"/>
                    </a:cubicBezTo>
                    <a:cubicBezTo>
                      <a:pt x="1657" y="87"/>
                      <a:pt x="1657" y="87"/>
                      <a:pt x="1657" y="87"/>
                    </a:cubicBezTo>
                    <a:cubicBezTo>
                      <a:pt x="1658" y="87"/>
                      <a:pt x="1658" y="87"/>
                      <a:pt x="1658" y="87"/>
                    </a:cubicBezTo>
                    <a:cubicBezTo>
                      <a:pt x="1659" y="88"/>
                      <a:pt x="1659" y="88"/>
                      <a:pt x="1659" y="88"/>
                    </a:cubicBezTo>
                    <a:cubicBezTo>
                      <a:pt x="1664" y="90"/>
                      <a:pt x="1664" y="90"/>
                      <a:pt x="1664" y="90"/>
                    </a:cubicBezTo>
                    <a:cubicBezTo>
                      <a:pt x="1665" y="91"/>
                      <a:pt x="1665" y="91"/>
                      <a:pt x="1665" y="91"/>
                    </a:cubicBezTo>
                    <a:cubicBezTo>
                      <a:pt x="1665" y="92"/>
                      <a:pt x="1665" y="92"/>
                      <a:pt x="1665" y="92"/>
                    </a:cubicBezTo>
                    <a:cubicBezTo>
                      <a:pt x="1665" y="93"/>
                      <a:pt x="1665" y="93"/>
                      <a:pt x="1665" y="93"/>
                    </a:cubicBezTo>
                    <a:cubicBezTo>
                      <a:pt x="1668" y="95"/>
                      <a:pt x="1668" y="95"/>
                      <a:pt x="1668" y="95"/>
                    </a:cubicBezTo>
                    <a:cubicBezTo>
                      <a:pt x="1668" y="94"/>
                      <a:pt x="1668" y="94"/>
                      <a:pt x="1668" y="94"/>
                    </a:cubicBezTo>
                    <a:cubicBezTo>
                      <a:pt x="1669" y="94"/>
                      <a:pt x="1669" y="94"/>
                      <a:pt x="1669" y="94"/>
                    </a:cubicBezTo>
                    <a:cubicBezTo>
                      <a:pt x="1669" y="93"/>
                      <a:pt x="1669" y="93"/>
                      <a:pt x="1669" y="93"/>
                    </a:cubicBezTo>
                    <a:cubicBezTo>
                      <a:pt x="1668" y="93"/>
                      <a:pt x="1668" y="93"/>
                      <a:pt x="1668" y="93"/>
                    </a:cubicBezTo>
                    <a:cubicBezTo>
                      <a:pt x="1667" y="92"/>
                      <a:pt x="1667" y="92"/>
                      <a:pt x="1667" y="92"/>
                    </a:cubicBezTo>
                    <a:cubicBezTo>
                      <a:pt x="1667" y="91"/>
                      <a:pt x="1667" y="91"/>
                      <a:pt x="1667" y="91"/>
                    </a:cubicBezTo>
                    <a:cubicBezTo>
                      <a:pt x="1668" y="91"/>
                      <a:pt x="1668" y="91"/>
                      <a:pt x="1668" y="91"/>
                    </a:cubicBezTo>
                    <a:cubicBezTo>
                      <a:pt x="1669" y="91"/>
                      <a:pt x="1669" y="91"/>
                      <a:pt x="1669" y="91"/>
                    </a:cubicBezTo>
                    <a:cubicBezTo>
                      <a:pt x="1670" y="92"/>
                      <a:pt x="1670" y="92"/>
                      <a:pt x="1670" y="92"/>
                    </a:cubicBezTo>
                    <a:cubicBezTo>
                      <a:pt x="1671" y="92"/>
                      <a:pt x="1671" y="92"/>
                      <a:pt x="1671" y="92"/>
                    </a:cubicBezTo>
                    <a:cubicBezTo>
                      <a:pt x="1671" y="93"/>
                      <a:pt x="1671" y="93"/>
                      <a:pt x="1671" y="93"/>
                    </a:cubicBezTo>
                    <a:cubicBezTo>
                      <a:pt x="1672" y="95"/>
                      <a:pt x="1672" y="95"/>
                      <a:pt x="1672" y="95"/>
                    </a:cubicBezTo>
                    <a:cubicBezTo>
                      <a:pt x="1673" y="97"/>
                      <a:pt x="1673" y="97"/>
                      <a:pt x="1673" y="97"/>
                    </a:cubicBezTo>
                    <a:cubicBezTo>
                      <a:pt x="1674" y="96"/>
                      <a:pt x="1674" y="96"/>
                      <a:pt x="1674" y="96"/>
                    </a:cubicBezTo>
                    <a:cubicBezTo>
                      <a:pt x="1675" y="96"/>
                      <a:pt x="1675" y="96"/>
                      <a:pt x="1675" y="96"/>
                    </a:cubicBezTo>
                    <a:cubicBezTo>
                      <a:pt x="1675" y="97"/>
                      <a:pt x="1675" y="97"/>
                      <a:pt x="1675" y="97"/>
                    </a:cubicBezTo>
                    <a:cubicBezTo>
                      <a:pt x="1676" y="98"/>
                      <a:pt x="1676" y="98"/>
                      <a:pt x="1676" y="98"/>
                    </a:cubicBezTo>
                    <a:cubicBezTo>
                      <a:pt x="1676" y="99"/>
                      <a:pt x="1676" y="99"/>
                      <a:pt x="1676" y="99"/>
                    </a:cubicBezTo>
                    <a:cubicBezTo>
                      <a:pt x="1677" y="101"/>
                      <a:pt x="1677" y="101"/>
                      <a:pt x="1677" y="101"/>
                    </a:cubicBezTo>
                    <a:cubicBezTo>
                      <a:pt x="1676" y="100"/>
                      <a:pt x="1676" y="100"/>
                      <a:pt x="1676" y="100"/>
                    </a:cubicBezTo>
                    <a:cubicBezTo>
                      <a:pt x="1675" y="101"/>
                      <a:pt x="1675" y="101"/>
                      <a:pt x="1675" y="101"/>
                    </a:cubicBezTo>
                    <a:cubicBezTo>
                      <a:pt x="1674" y="100"/>
                      <a:pt x="1674" y="100"/>
                      <a:pt x="1674" y="100"/>
                    </a:cubicBezTo>
                    <a:cubicBezTo>
                      <a:pt x="1672" y="99"/>
                      <a:pt x="1672" y="99"/>
                      <a:pt x="1672" y="99"/>
                    </a:cubicBezTo>
                    <a:cubicBezTo>
                      <a:pt x="1670" y="99"/>
                      <a:pt x="1670" y="99"/>
                      <a:pt x="1670" y="99"/>
                    </a:cubicBezTo>
                    <a:cubicBezTo>
                      <a:pt x="1671" y="101"/>
                      <a:pt x="1671" y="101"/>
                      <a:pt x="1671" y="101"/>
                    </a:cubicBezTo>
                    <a:cubicBezTo>
                      <a:pt x="1672" y="101"/>
                      <a:pt x="1672" y="101"/>
                      <a:pt x="1672" y="101"/>
                    </a:cubicBezTo>
                    <a:cubicBezTo>
                      <a:pt x="1673" y="101"/>
                      <a:pt x="1673" y="101"/>
                      <a:pt x="1673" y="101"/>
                    </a:cubicBezTo>
                    <a:cubicBezTo>
                      <a:pt x="1673" y="102"/>
                      <a:pt x="1673" y="102"/>
                      <a:pt x="1673" y="102"/>
                    </a:cubicBezTo>
                    <a:cubicBezTo>
                      <a:pt x="1674" y="103"/>
                      <a:pt x="1674" y="103"/>
                      <a:pt x="1674" y="103"/>
                    </a:cubicBezTo>
                    <a:cubicBezTo>
                      <a:pt x="1674" y="104"/>
                      <a:pt x="1674" y="104"/>
                      <a:pt x="1674" y="104"/>
                    </a:cubicBezTo>
                    <a:cubicBezTo>
                      <a:pt x="1675" y="103"/>
                      <a:pt x="1675" y="103"/>
                      <a:pt x="1675" y="103"/>
                    </a:cubicBezTo>
                    <a:cubicBezTo>
                      <a:pt x="1675" y="102"/>
                      <a:pt x="1675" y="102"/>
                      <a:pt x="1675" y="102"/>
                    </a:cubicBezTo>
                    <a:cubicBezTo>
                      <a:pt x="1676" y="102"/>
                      <a:pt x="1676" y="102"/>
                      <a:pt x="1676" y="102"/>
                    </a:cubicBezTo>
                    <a:cubicBezTo>
                      <a:pt x="1676" y="103"/>
                      <a:pt x="1676" y="103"/>
                      <a:pt x="1676" y="103"/>
                    </a:cubicBezTo>
                    <a:cubicBezTo>
                      <a:pt x="1677" y="103"/>
                      <a:pt x="1677" y="103"/>
                      <a:pt x="1677" y="103"/>
                    </a:cubicBezTo>
                    <a:cubicBezTo>
                      <a:pt x="1678" y="103"/>
                      <a:pt x="1678" y="103"/>
                      <a:pt x="1678" y="103"/>
                    </a:cubicBezTo>
                    <a:cubicBezTo>
                      <a:pt x="1679" y="103"/>
                      <a:pt x="1679" y="103"/>
                      <a:pt x="1679" y="103"/>
                    </a:cubicBezTo>
                    <a:cubicBezTo>
                      <a:pt x="1679" y="104"/>
                      <a:pt x="1679" y="104"/>
                      <a:pt x="1679" y="104"/>
                    </a:cubicBezTo>
                    <a:cubicBezTo>
                      <a:pt x="1679" y="105"/>
                      <a:pt x="1679" y="105"/>
                      <a:pt x="1679" y="105"/>
                    </a:cubicBezTo>
                    <a:cubicBezTo>
                      <a:pt x="1680" y="107"/>
                      <a:pt x="1680" y="107"/>
                      <a:pt x="1680" y="107"/>
                    </a:cubicBezTo>
                    <a:cubicBezTo>
                      <a:pt x="1680" y="109"/>
                      <a:pt x="1680" y="109"/>
                      <a:pt x="1680" y="109"/>
                    </a:cubicBezTo>
                    <a:cubicBezTo>
                      <a:pt x="1680" y="111"/>
                      <a:pt x="1680" y="111"/>
                      <a:pt x="1680" y="111"/>
                    </a:cubicBezTo>
                    <a:cubicBezTo>
                      <a:pt x="1679" y="113"/>
                      <a:pt x="1679" y="113"/>
                      <a:pt x="1679" y="113"/>
                    </a:cubicBezTo>
                    <a:cubicBezTo>
                      <a:pt x="1678" y="114"/>
                      <a:pt x="1678" y="114"/>
                      <a:pt x="1678" y="114"/>
                    </a:cubicBezTo>
                    <a:cubicBezTo>
                      <a:pt x="1678" y="115"/>
                      <a:pt x="1678" y="115"/>
                      <a:pt x="1678" y="115"/>
                    </a:cubicBezTo>
                    <a:cubicBezTo>
                      <a:pt x="1678" y="117"/>
                      <a:pt x="1678" y="117"/>
                      <a:pt x="1678" y="117"/>
                    </a:cubicBezTo>
                    <a:cubicBezTo>
                      <a:pt x="1678" y="118"/>
                      <a:pt x="1678" y="118"/>
                      <a:pt x="1678" y="118"/>
                    </a:cubicBezTo>
                    <a:cubicBezTo>
                      <a:pt x="1678" y="120"/>
                      <a:pt x="1678" y="120"/>
                      <a:pt x="1678" y="120"/>
                    </a:cubicBezTo>
                    <a:cubicBezTo>
                      <a:pt x="1677" y="120"/>
                      <a:pt x="1677" y="120"/>
                      <a:pt x="1677" y="120"/>
                    </a:cubicBezTo>
                    <a:cubicBezTo>
                      <a:pt x="1676" y="122"/>
                      <a:pt x="1676" y="122"/>
                      <a:pt x="1676" y="122"/>
                    </a:cubicBezTo>
                    <a:cubicBezTo>
                      <a:pt x="1677" y="122"/>
                      <a:pt x="1677" y="122"/>
                      <a:pt x="1677" y="122"/>
                    </a:cubicBezTo>
                    <a:cubicBezTo>
                      <a:pt x="1676" y="124"/>
                      <a:pt x="1676" y="124"/>
                      <a:pt x="1676" y="124"/>
                    </a:cubicBezTo>
                    <a:cubicBezTo>
                      <a:pt x="1675" y="125"/>
                      <a:pt x="1675" y="125"/>
                      <a:pt x="1675" y="125"/>
                    </a:cubicBezTo>
                    <a:cubicBezTo>
                      <a:pt x="1675" y="126"/>
                      <a:pt x="1675" y="126"/>
                      <a:pt x="1675" y="126"/>
                    </a:cubicBezTo>
                    <a:cubicBezTo>
                      <a:pt x="1675" y="127"/>
                      <a:pt x="1675" y="127"/>
                      <a:pt x="1675" y="127"/>
                    </a:cubicBezTo>
                    <a:cubicBezTo>
                      <a:pt x="1674" y="127"/>
                      <a:pt x="1674" y="127"/>
                      <a:pt x="1674" y="127"/>
                    </a:cubicBezTo>
                    <a:cubicBezTo>
                      <a:pt x="1672" y="129"/>
                      <a:pt x="1672" y="129"/>
                      <a:pt x="1672" y="129"/>
                    </a:cubicBezTo>
                    <a:cubicBezTo>
                      <a:pt x="1673" y="129"/>
                      <a:pt x="1673" y="129"/>
                      <a:pt x="1673" y="129"/>
                    </a:cubicBezTo>
                    <a:cubicBezTo>
                      <a:pt x="1674" y="128"/>
                      <a:pt x="1674" y="128"/>
                      <a:pt x="1674" y="128"/>
                    </a:cubicBezTo>
                    <a:cubicBezTo>
                      <a:pt x="1675" y="130"/>
                      <a:pt x="1675" y="130"/>
                      <a:pt x="1675" y="130"/>
                    </a:cubicBezTo>
                    <a:cubicBezTo>
                      <a:pt x="1674" y="132"/>
                      <a:pt x="1674" y="132"/>
                      <a:pt x="1674" y="132"/>
                    </a:cubicBezTo>
                    <a:cubicBezTo>
                      <a:pt x="1673" y="134"/>
                      <a:pt x="1673" y="134"/>
                      <a:pt x="1673" y="134"/>
                    </a:cubicBezTo>
                    <a:cubicBezTo>
                      <a:pt x="1672" y="137"/>
                      <a:pt x="1672" y="137"/>
                      <a:pt x="1672" y="137"/>
                    </a:cubicBezTo>
                    <a:cubicBezTo>
                      <a:pt x="1673" y="138"/>
                      <a:pt x="1673" y="138"/>
                      <a:pt x="1673" y="138"/>
                    </a:cubicBezTo>
                    <a:cubicBezTo>
                      <a:pt x="1673" y="139"/>
                      <a:pt x="1673" y="139"/>
                      <a:pt x="1673" y="139"/>
                    </a:cubicBezTo>
                    <a:cubicBezTo>
                      <a:pt x="1672" y="142"/>
                      <a:pt x="1672" y="142"/>
                      <a:pt x="1672" y="142"/>
                    </a:cubicBezTo>
                    <a:cubicBezTo>
                      <a:pt x="1670" y="142"/>
                      <a:pt x="1670" y="142"/>
                      <a:pt x="1670" y="142"/>
                    </a:cubicBezTo>
                    <a:cubicBezTo>
                      <a:pt x="1669" y="142"/>
                      <a:pt x="1669" y="142"/>
                      <a:pt x="1669" y="142"/>
                    </a:cubicBezTo>
                    <a:cubicBezTo>
                      <a:pt x="1669" y="143"/>
                      <a:pt x="1669" y="143"/>
                      <a:pt x="1669" y="143"/>
                    </a:cubicBezTo>
                    <a:cubicBezTo>
                      <a:pt x="1669" y="144"/>
                      <a:pt x="1669" y="144"/>
                      <a:pt x="1669" y="144"/>
                    </a:cubicBezTo>
                    <a:cubicBezTo>
                      <a:pt x="1670" y="146"/>
                      <a:pt x="1670" y="146"/>
                      <a:pt x="1670" y="146"/>
                    </a:cubicBezTo>
                    <a:cubicBezTo>
                      <a:pt x="1669" y="147"/>
                      <a:pt x="1669" y="147"/>
                      <a:pt x="1669" y="147"/>
                    </a:cubicBezTo>
                    <a:cubicBezTo>
                      <a:pt x="1668" y="148"/>
                      <a:pt x="1668" y="148"/>
                      <a:pt x="1668" y="148"/>
                    </a:cubicBezTo>
                    <a:cubicBezTo>
                      <a:pt x="1667" y="150"/>
                      <a:pt x="1667" y="150"/>
                      <a:pt x="1667" y="150"/>
                    </a:cubicBezTo>
                    <a:cubicBezTo>
                      <a:pt x="1668" y="152"/>
                      <a:pt x="1668" y="152"/>
                      <a:pt x="1668" y="152"/>
                    </a:cubicBezTo>
                    <a:cubicBezTo>
                      <a:pt x="1668" y="153"/>
                      <a:pt x="1668" y="153"/>
                      <a:pt x="1668" y="153"/>
                    </a:cubicBezTo>
                    <a:cubicBezTo>
                      <a:pt x="1668" y="154"/>
                      <a:pt x="1668" y="154"/>
                      <a:pt x="1668" y="154"/>
                    </a:cubicBezTo>
                    <a:cubicBezTo>
                      <a:pt x="1668" y="155"/>
                      <a:pt x="1668" y="155"/>
                      <a:pt x="1668" y="155"/>
                    </a:cubicBezTo>
                    <a:cubicBezTo>
                      <a:pt x="1669" y="155"/>
                      <a:pt x="1669" y="155"/>
                      <a:pt x="1669" y="155"/>
                    </a:cubicBezTo>
                    <a:cubicBezTo>
                      <a:pt x="1668" y="159"/>
                      <a:pt x="1668" y="159"/>
                      <a:pt x="1668" y="159"/>
                    </a:cubicBezTo>
                    <a:cubicBezTo>
                      <a:pt x="1667" y="159"/>
                      <a:pt x="1667" y="159"/>
                      <a:pt x="1667" y="159"/>
                    </a:cubicBezTo>
                    <a:cubicBezTo>
                      <a:pt x="1666" y="161"/>
                      <a:pt x="1666" y="161"/>
                      <a:pt x="1666" y="161"/>
                    </a:cubicBezTo>
                    <a:cubicBezTo>
                      <a:pt x="1667" y="160"/>
                      <a:pt x="1667" y="160"/>
                      <a:pt x="1667" y="160"/>
                    </a:cubicBezTo>
                    <a:cubicBezTo>
                      <a:pt x="1668" y="160"/>
                      <a:pt x="1668" y="160"/>
                      <a:pt x="1668" y="160"/>
                    </a:cubicBezTo>
                    <a:cubicBezTo>
                      <a:pt x="1669" y="159"/>
                      <a:pt x="1669" y="159"/>
                      <a:pt x="1669" y="159"/>
                    </a:cubicBezTo>
                    <a:cubicBezTo>
                      <a:pt x="1670" y="157"/>
                      <a:pt x="1670" y="157"/>
                      <a:pt x="1670" y="157"/>
                    </a:cubicBezTo>
                    <a:cubicBezTo>
                      <a:pt x="1669" y="157"/>
                      <a:pt x="1669" y="157"/>
                      <a:pt x="1669" y="157"/>
                    </a:cubicBezTo>
                    <a:cubicBezTo>
                      <a:pt x="1670" y="156"/>
                      <a:pt x="1670" y="156"/>
                      <a:pt x="1670" y="156"/>
                    </a:cubicBezTo>
                    <a:cubicBezTo>
                      <a:pt x="1672" y="156"/>
                      <a:pt x="1672" y="156"/>
                      <a:pt x="1672" y="156"/>
                    </a:cubicBezTo>
                    <a:cubicBezTo>
                      <a:pt x="1672" y="155"/>
                      <a:pt x="1672" y="155"/>
                      <a:pt x="1672" y="155"/>
                    </a:cubicBezTo>
                    <a:cubicBezTo>
                      <a:pt x="1669" y="153"/>
                      <a:pt x="1669" y="153"/>
                      <a:pt x="1669" y="153"/>
                    </a:cubicBezTo>
                    <a:cubicBezTo>
                      <a:pt x="1669" y="152"/>
                      <a:pt x="1669" y="152"/>
                      <a:pt x="1669" y="152"/>
                    </a:cubicBezTo>
                    <a:cubicBezTo>
                      <a:pt x="1670" y="150"/>
                      <a:pt x="1670" y="150"/>
                      <a:pt x="1670" y="150"/>
                    </a:cubicBezTo>
                    <a:cubicBezTo>
                      <a:pt x="1672" y="150"/>
                      <a:pt x="1672" y="150"/>
                      <a:pt x="1672" y="150"/>
                    </a:cubicBezTo>
                    <a:cubicBezTo>
                      <a:pt x="1674" y="150"/>
                      <a:pt x="1674" y="150"/>
                      <a:pt x="1674" y="150"/>
                    </a:cubicBezTo>
                    <a:cubicBezTo>
                      <a:pt x="1676" y="148"/>
                      <a:pt x="1676" y="148"/>
                      <a:pt x="1676" y="148"/>
                    </a:cubicBezTo>
                    <a:cubicBezTo>
                      <a:pt x="1677" y="148"/>
                      <a:pt x="1677" y="148"/>
                      <a:pt x="1677" y="148"/>
                    </a:cubicBezTo>
                    <a:cubicBezTo>
                      <a:pt x="1677" y="147"/>
                      <a:pt x="1677" y="147"/>
                      <a:pt x="1677" y="147"/>
                    </a:cubicBezTo>
                    <a:cubicBezTo>
                      <a:pt x="1677" y="146"/>
                      <a:pt x="1677" y="146"/>
                      <a:pt x="1677" y="146"/>
                    </a:cubicBezTo>
                    <a:cubicBezTo>
                      <a:pt x="1679" y="145"/>
                      <a:pt x="1679" y="145"/>
                      <a:pt x="1679" y="145"/>
                    </a:cubicBezTo>
                    <a:cubicBezTo>
                      <a:pt x="1679" y="143"/>
                      <a:pt x="1679" y="143"/>
                      <a:pt x="1679" y="143"/>
                    </a:cubicBezTo>
                    <a:cubicBezTo>
                      <a:pt x="1679" y="142"/>
                      <a:pt x="1679" y="142"/>
                      <a:pt x="1679" y="142"/>
                    </a:cubicBezTo>
                    <a:cubicBezTo>
                      <a:pt x="1680" y="142"/>
                      <a:pt x="1680" y="142"/>
                      <a:pt x="1680" y="142"/>
                    </a:cubicBezTo>
                    <a:cubicBezTo>
                      <a:pt x="1682" y="142"/>
                      <a:pt x="1682" y="142"/>
                      <a:pt x="1682" y="142"/>
                    </a:cubicBezTo>
                    <a:cubicBezTo>
                      <a:pt x="1682" y="140"/>
                      <a:pt x="1682" y="140"/>
                      <a:pt x="1682" y="140"/>
                    </a:cubicBezTo>
                    <a:cubicBezTo>
                      <a:pt x="1684" y="138"/>
                      <a:pt x="1684" y="138"/>
                      <a:pt x="1684" y="138"/>
                    </a:cubicBezTo>
                    <a:cubicBezTo>
                      <a:pt x="1684" y="136"/>
                      <a:pt x="1684" y="136"/>
                      <a:pt x="1684" y="136"/>
                    </a:cubicBezTo>
                    <a:cubicBezTo>
                      <a:pt x="1684" y="135"/>
                      <a:pt x="1684" y="135"/>
                      <a:pt x="1684" y="135"/>
                    </a:cubicBezTo>
                    <a:cubicBezTo>
                      <a:pt x="1681" y="137"/>
                      <a:pt x="1681" y="137"/>
                      <a:pt x="1681" y="137"/>
                    </a:cubicBezTo>
                    <a:cubicBezTo>
                      <a:pt x="1681" y="138"/>
                      <a:pt x="1681" y="138"/>
                      <a:pt x="1681" y="138"/>
                    </a:cubicBezTo>
                    <a:cubicBezTo>
                      <a:pt x="1679" y="139"/>
                      <a:pt x="1679" y="139"/>
                      <a:pt x="1679" y="139"/>
                    </a:cubicBezTo>
                    <a:cubicBezTo>
                      <a:pt x="1678" y="138"/>
                      <a:pt x="1678" y="138"/>
                      <a:pt x="1678" y="138"/>
                    </a:cubicBezTo>
                    <a:cubicBezTo>
                      <a:pt x="1677" y="137"/>
                      <a:pt x="1677" y="137"/>
                      <a:pt x="1677" y="137"/>
                    </a:cubicBezTo>
                    <a:cubicBezTo>
                      <a:pt x="1678" y="135"/>
                      <a:pt x="1678" y="135"/>
                      <a:pt x="1678" y="135"/>
                    </a:cubicBezTo>
                    <a:cubicBezTo>
                      <a:pt x="1678" y="133"/>
                      <a:pt x="1678" y="133"/>
                      <a:pt x="1678" y="133"/>
                    </a:cubicBezTo>
                    <a:cubicBezTo>
                      <a:pt x="1679" y="132"/>
                      <a:pt x="1679" y="132"/>
                      <a:pt x="1679" y="132"/>
                    </a:cubicBezTo>
                    <a:cubicBezTo>
                      <a:pt x="1681" y="132"/>
                      <a:pt x="1681" y="132"/>
                      <a:pt x="1681" y="132"/>
                    </a:cubicBezTo>
                    <a:cubicBezTo>
                      <a:pt x="1683" y="134"/>
                      <a:pt x="1683" y="134"/>
                      <a:pt x="1683" y="134"/>
                    </a:cubicBezTo>
                    <a:cubicBezTo>
                      <a:pt x="1684" y="133"/>
                      <a:pt x="1684" y="133"/>
                      <a:pt x="1684" y="133"/>
                    </a:cubicBezTo>
                    <a:cubicBezTo>
                      <a:pt x="1684" y="131"/>
                      <a:pt x="1684" y="131"/>
                      <a:pt x="1684" y="131"/>
                    </a:cubicBezTo>
                    <a:cubicBezTo>
                      <a:pt x="1685" y="130"/>
                      <a:pt x="1685" y="130"/>
                      <a:pt x="1685" y="130"/>
                    </a:cubicBezTo>
                    <a:cubicBezTo>
                      <a:pt x="1686" y="131"/>
                      <a:pt x="1686" y="131"/>
                      <a:pt x="1686" y="131"/>
                    </a:cubicBezTo>
                    <a:cubicBezTo>
                      <a:pt x="1685" y="132"/>
                      <a:pt x="1685" y="132"/>
                      <a:pt x="1685" y="132"/>
                    </a:cubicBezTo>
                    <a:cubicBezTo>
                      <a:pt x="1685" y="133"/>
                      <a:pt x="1685" y="133"/>
                      <a:pt x="1685" y="133"/>
                    </a:cubicBezTo>
                    <a:cubicBezTo>
                      <a:pt x="1688" y="136"/>
                      <a:pt x="1688" y="136"/>
                      <a:pt x="1688" y="136"/>
                    </a:cubicBezTo>
                    <a:cubicBezTo>
                      <a:pt x="1690" y="136"/>
                      <a:pt x="1690" y="136"/>
                      <a:pt x="1690" y="136"/>
                    </a:cubicBezTo>
                    <a:cubicBezTo>
                      <a:pt x="1691" y="136"/>
                      <a:pt x="1691" y="136"/>
                      <a:pt x="1691" y="136"/>
                    </a:cubicBezTo>
                    <a:cubicBezTo>
                      <a:pt x="1693" y="135"/>
                      <a:pt x="1693" y="135"/>
                      <a:pt x="1693" y="135"/>
                    </a:cubicBezTo>
                    <a:cubicBezTo>
                      <a:pt x="1694" y="134"/>
                      <a:pt x="1694" y="134"/>
                      <a:pt x="1694" y="134"/>
                    </a:cubicBezTo>
                    <a:cubicBezTo>
                      <a:pt x="1694" y="133"/>
                      <a:pt x="1694" y="133"/>
                      <a:pt x="1694" y="133"/>
                    </a:cubicBezTo>
                    <a:cubicBezTo>
                      <a:pt x="1692" y="131"/>
                      <a:pt x="1692" y="131"/>
                      <a:pt x="1692" y="131"/>
                    </a:cubicBezTo>
                    <a:cubicBezTo>
                      <a:pt x="1692" y="130"/>
                      <a:pt x="1692" y="130"/>
                      <a:pt x="1692" y="130"/>
                    </a:cubicBezTo>
                    <a:cubicBezTo>
                      <a:pt x="1693" y="130"/>
                      <a:pt x="1693" y="130"/>
                      <a:pt x="1693" y="130"/>
                    </a:cubicBezTo>
                    <a:cubicBezTo>
                      <a:pt x="1695" y="132"/>
                      <a:pt x="1695" y="132"/>
                      <a:pt x="1695" y="132"/>
                    </a:cubicBezTo>
                    <a:cubicBezTo>
                      <a:pt x="1696" y="133"/>
                      <a:pt x="1696" y="133"/>
                      <a:pt x="1696" y="133"/>
                    </a:cubicBezTo>
                    <a:cubicBezTo>
                      <a:pt x="1697" y="134"/>
                      <a:pt x="1697" y="134"/>
                      <a:pt x="1697" y="134"/>
                    </a:cubicBezTo>
                    <a:cubicBezTo>
                      <a:pt x="1697" y="135"/>
                      <a:pt x="1697" y="135"/>
                      <a:pt x="1697" y="135"/>
                    </a:cubicBezTo>
                    <a:cubicBezTo>
                      <a:pt x="1697" y="136"/>
                      <a:pt x="1697" y="136"/>
                      <a:pt x="1697" y="136"/>
                    </a:cubicBezTo>
                    <a:cubicBezTo>
                      <a:pt x="1699" y="137"/>
                      <a:pt x="1699" y="137"/>
                      <a:pt x="1699" y="137"/>
                    </a:cubicBezTo>
                    <a:cubicBezTo>
                      <a:pt x="1699" y="139"/>
                      <a:pt x="1699" y="139"/>
                      <a:pt x="1699" y="139"/>
                    </a:cubicBezTo>
                    <a:cubicBezTo>
                      <a:pt x="1700" y="140"/>
                      <a:pt x="1700" y="140"/>
                      <a:pt x="1700" y="140"/>
                    </a:cubicBezTo>
                    <a:cubicBezTo>
                      <a:pt x="1700" y="139"/>
                      <a:pt x="1700" y="139"/>
                      <a:pt x="1700" y="139"/>
                    </a:cubicBezTo>
                    <a:cubicBezTo>
                      <a:pt x="1701" y="138"/>
                      <a:pt x="1701" y="138"/>
                      <a:pt x="1701" y="138"/>
                    </a:cubicBezTo>
                    <a:cubicBezTo>
                      <a:pt x="1702" y="138"/>
                      <a:pt x="1702" y="138"/>
                      <a:pt x="1702" y="138"/>
                    </a:cubicBezTo>
                    <a:cubicBezTo>
                      <a:pt x="1702" y="137"/>
                      <a:pt x="1702" y="137"/>
                      <a:pt x="1702" y="137"/>
                    </a:cubicBezTo>
                    <a:cubicBezTo>
                      <a:pt x="1702" y="136"/>
                      <a:pt x="1702" y="136"/>
                      <a:pt x="1702" y="136"/>
                    </a:cubicBezTo>
                    <a:cubicBezTo>
                      <a:pt x="1701" y="137"/>
                      <a:pt x="1701" y="137"/>
                      <a:pt x="1701" y="137"/>
                    </a:cubicBezTo>
                    <a:cubicBezTo>
                      <a:pt x="1700" y="137"/>
                      <a:pt x="1700" y="137"/>
                      <a:pt x="1700" y="137"/>
                    </a:cubicBezTo>
                    <a:cubicBezTo>
                      <a:pt x="1699" y="135"/>
                      <a:pt x="1699" y="135"/>
                      <a:pt x="1699" y="135"/>
                    </a:cubicBezTo>
                    <a:cubicBezTo>
                      <a:pt x="1701" y="133"/>
                      <a:pt x="1701" y="133"/>
                      <a:pt x="1701" y="133"/>
                    </a:cubicBezTo>
                    <a:cubicBezTo>
                      <a:pt x="1702" y="133"/>
                      <a:pt x="1702" y="133"/>
                      <a:pt x="1702" y="133"/>
                    </a:cubicBezTo>
                    <a:cubicBezTo>
                      <a:pt x="1702" y="132"/>
                      <a:pt x="1702" y="132"/>
                      <a:pt x="1702" y="132"/>
                    </a:cubicBezTo>
                    <a:cubicBezTo>
                      <a:pt x="1703" y="132"/>
                      <a:pt x="1703" y="132"/>
                      <a:pt x="1703" y="132"/>
                    </a:cubicBezTo>
                    <a:cubicBezTo>
                      <a:pt x="1704" y="131"/>
                      <a:pt x="1704" y="131"/>
                      <a:pt x="1704" y="131"/>
                    </a:cubicBezTo>
                    <a:cubicBezTo>
                      <a:pt x="1706" y="130"/>
                      <a:pt x="1706" y="130"/>
                      <a:pt x="1706" y="130"/>
                    </a:cubicBezTo>
                    <a:cubicBezTo>
                      <a:pt x="1711" y="129"/>
                      <a:pt x="1711" y="129"/>
                      <a:pt x="1711" y="129"/>
                    </a:cubicBezTo>
                    <a:cubicBezTo>
                      <a:pt x="1716" y="129"/>
                      <a:pt x="1716" y="129"/>
                      <a:pt x="1716" y="129"/>
                    </a:cubicBezTo>
                    <a:cubicBezTo>
                      <a:pt x="1719" y="127"/>
                      <a:pt x="1719" y="127"/>
                      <a:pt x="1719" y="127"/>
                    </a:cubicBezTo>
                    <a:cubicBezTo>
                      <a:pt x="1721" y="127"/>
                      <a:pt x="1721" y="127"/>
                      <a:pt x="1721" y="127"/>
                    </a:cubicBezTo>
                    <a:cubicBezTo>
                      <a:pt x="1723" y="128"/>
                      <a:pt x="1723" y="128"/>
                      <a:pt x="1723" y="128"/>
                    </a:cubicBezTo>
                    <a:cubicBezTo>
                      <a:pt x="1723" y="129"/>
                      <a:pt x="1723" y="129"/>
                      <a:pt x="1723" y="129"/>
                    </a:cubicBezTo>
                    <a:cubicBezTo>
                      <a:pt x="1722" y="129"/>
                      <a:pt x="1722" y="129"/>
                      <a:pt x="1722" y="129"/>
                    </a:cubicBezTo>
                    <a:cubicBezTo>
                      <a:pt x="1722" y="131"/>
                      <a:pt x="1722" y="131"/>
                      <a:pt x="1722" y="131"/>
                    </a:cubicBezTo>
                    <a:cubicBezTo>
                      <a:pt x="1722" y="133"/>
                      <a:pt x="1722" y="133"/>
                      <a:pt x="1722" y="133"/>
                    </a:cubicBezTo>
                    <a:cubicBezTo>
                      <a:pt x="1724" y="135"/>
                      <a:pt x="1724" y="135"/>
                      <a:pt x="1724" y="135"/>
                    </a:cubicBezTo>
                    <a:cubicBezTo>
                      <a:pt x="1730" y="135"/>
                      <a:pt x="1730" y="135"/>
                      <a:pt x="1730" y="135"/>
                    </a:cubicBezTo>
                    <a:cubicBezTo>
                      <a:pt x="1731" y="135"/>
                      <a:pt x="1731" y="135"/>
                      <a:pt x="1731" y="135"/>
                    </a:cubicBezTo>
                    <a:cubicBezTo>
                      <a:pt x="1733" y="135"/>
                      <a:pt x="1733" y="135"/>
                      <a:pt x="1733" y="135"/>
                    </a:cubicBezTo>
                    <a:cubicBezTo>
                      <a:pt x="1735" y="135"/>
                      <a:pt x="1735" y="135"/>
                      <a:pt x="1735" y="135"/>
                    </a:cubicBezTo>
                    <a:cubicBezTo>
                      <a:pt x="1739" y="135"/>
                      <a:pt x="1739" y="135"/>
                      <a:pt x="1739" y="135"/>
                    </a:cubicBezTo>
                    <a:cubicBezTo>
                      <a:pt x="1741" y="133"/>
                      <a:pt x="1741" y="133"/>
                      <a:pt x="1741" y="133"/>
                    </a:cubicBezTo>
                    <a:cubicBezTo>
                      <a:pt x="1742" y="134"/>
                      <a:pt x="1742" y="134"/>
                      <a:pt x="1742" y="134"/>
                    </a:cubicBezTo>
                    <a:cubicBezTo>
                      <a:pt x="1744" y="133"/>
                      <a:pt x="1744" y="133"/>
                      <a:pt x="1744" y="133"/>
                    </a:cubicBezTo>
                    <a:cubicBezTo>
                      <a:pt x="1744" y="132"/>
                      <a:pt x="1744" y="132"/>
                      <a:pt x="1744" y="132"/>
                    </a:cubicBezTo>
                    <a:cubicBezTo>
                      <a:pt x="1744" y="131"/>
                      <a:pt x="1744" y="131"/>
                      <a:pt x="1744" y="131"/>
                    </a:cubicBezTo>
                    <a:cubicBezTo>
                      <a:pt x="1745" y="131"/>
                      <a:pt x="1745" y="131"/>
                      <a:pt x="1745" y="131"/>
                    </a:cubicBezTo>
                    <a:cubicBezTo>
                      <a:pt x="1746" y="131"/>
                      <a:pt x="1746" y="131"/>
                      <a:pt x="1746" y="131"/>
                    </a:cubicBezTo>
                    <a:cubicBezTo>
                      <a:pt x="1748" y="131"/>
                      <a:pt x="1748" y="131"/>
                      <a:pt x="1748" y="131"/>
                    </a:cubicBezTo>
                    <a:cubicBezTo>
                      <a:pt x="1748" y="132"/>
                      <a:pt x="1748" y="132"/>
                      <a:pt x="1748" y="132"/>
                    </a:cubicBezTo>
                    <a:cubicBezTo>
                      <a:pt x="1749" y="132"/>
                      <a:pt x="1749" y="132"/>
                      <a:pt x="1749" y="132"/>
                    </a:cubicBezTo>
                    <a:cubicBezTo>
                      <a:pt x="1750" y="131"/>
                      <a:pt x="1750" y="131"/>
                      <a:pt x="1750" y="131"/>
                    </a:cubicBezTo>
                    <a:cubicBezTo>
                      <a:pt x="1749" y="130"/>
                      <a:pt x="1749" y="130"/>
                      <a:pt x="1749" y="130"/>
                    </a:cubicBezTo>
                    <a:cubicBezTo>
                      <a:pt x="1748" y="129"/>
                      <a:pt x="1748" y="129"/>
                      <a:pt x="1748" y="129"/>
                    </a:cubicBezTo>
                    <a:cubicBezTo>
                      <a:pt x="1748" y="128"/>
                      <a:pt x="1748" y="128"/>
                      <a:pt x="1748" y="128"/>
                    </a:cubicBezTo>
                    <a:cubicBezTo>
                      <a:pt x="1748" y="127"/>
                      <a:pt x="1748" y="127"/>
                      <a:pt x="1748" y="127"/>
                    </a:cubicBezTo>
                    <a:cubicBezTo>
                      <a:pt x="1746" y="126"/>
                      <a:pt x="1746" y="126"/>
                      <a:pt x="1746" y="126"/>
                    </a:cubicBezTo>
                    <a:cubicBezTo>
                      <a:pt x="1746" y="125"/>
                      <a:pt x="1746" y="125"/>
                      <a:pt x="1746" y="125"/>
                    </a:cubicBezTo>
                    <a:cubicBezTo>
                      <a:pt x="1745" y="125"/>
                      <a:pt x="1745" y="125"/>
                      <a:pt x="1745" y="125"/>
                    </a:cubicBezTo>
                    <a:cubicBezTo>
                      <a:pt x="1745" y="123"/>
                      <a:pt x="1745" y="123"/>
                      <a:pt x="1745" y="123"/>
                    </a:cubicBezTo>
                    <a:cubicBezTo>
                      <a:pt x="1744" y="122"/>
                      <a:pt x="1744" y="122"/>
                      <a:pt x="1744" y="122"/>
                    </a:cubicBezTo>
                    <a:cubicBezTo>
                      <a:pt x="1744" y="121"/>
                      <a:pt x="1744" y="121"/>
                      <a:pt x="1744" y="121"/>
                    </a:cubicBezTo>
                    <a:cubicBezTo>
                      <a:pt x="1745" y="120"/>
                      <a:pt x="1745" y="120"/>
                      <a:pt x="1745" y="120"/>
                    </a:cubicBezTo>
                    <a:cubicBezTo>
                      <a:pt x="1746" y="121"/>
                      <a:pt x="1746" y="121"/>
                      <a:pt x="1746" y="121"/>
                    </a:cubicBezTo>
                    <a:cubicBezTo>
                      <a:pt x="1747" y="120"/>
                      <a:pt x="1747" y="120"/>
                      <a:pt x="1747" y="120"/>
                    </a:cubicBezTo>
                    <a:cubicBezTo>
                      <a:pt x="1747" y="119"/>
                      <a:pt x="1747" y="119"/>
                      <a:pt x="1747" y="119"/>
                    </a:cubicBezTo>
                    <a:cubicBezTo>
                      <a:pt x="1746" y="118"/>
                      <a:pt x="1746" y="118"/>
                      <a:pt x="1746" y="118"/>
                    </a:cubicBezTo>
                    <a:cubicBezTo>
                      <a:pt x="1747" y="118"/>
                      <a:pt x="1747" y="118"/>
                      <a:pt x="1747" y="118"/>
                    </a:cubicBezTo>
                    <a:cubicBezTo>
                      <a:pt x="1749" y="119"/>
                      <a:pt x="1749" y="119"/>
                      <a:pt x="1749" y="119"/>
                    </a:cubicBezTo>
                    <a:cubicBezTo>
                      <a:pt x="1750" y="118"/>
                      <a:pt x="1750" y="118"/>
                      <a:pt x="1750" y="118"/>
                    </a:cubicBezTo>
                    <a:cubicBezTo>
                      <a:pt x="1752" y="118"/>
                      <a:pt x="1752" y="118"/>
                      <a:pt x="1752" y="118"/>
                    </a:cubicBezTo>
                    <a:cubicBezTo>
                      <a:pt x="1753" y="118"/>
                      <a:pt x="1753" y="118"/>
                      <a:pt x="1753" y="118"/>
                    </a:cubicBezTo>
                    <a:cubicBezTo>
                      <a:pt x="1753" y="117"/>
                      <a:pt x="1753" y="117"/>
                      <a:pt x="1753" y="117"/>
                    </a:cubicBezTo>
                    <a:cubicBezTo>
                      <a:pt x="1754" y="118"/>
                      <a:pt x="1754" y="118"/>
                      <a:pt x="1754" y="118"/>
                    </a:cubicBezTo>
                    <a:cubicBezTo>
                      <a:pt x="1755" y="119"/>
                      <a:pt x="1755" y="119"/>
                      <a:pt x="1755" y="119"/>
                    </a:cubicBezTo>
                    <a:cubicBezTo>
                      <a:pt x="1756" y="120"/>
                      <a:pt x="1756" y="120"/>
                      <a:pt x="1756" y="120"/>
                    </a:cubicBezTo>
                    <a:cubicBezTo>
                      <a:pt x="1757" y="119"/>
                      <a:pt x="1757" y="119"/>
                      <a:pt x="1757" y="119"/>
                    </a:cubicBezTo>
                    <a:cubicBezTo>
                      <a:pt x="1757" y="118"/>
                      <a:pt x="1757" y="118"/>
                      <a:pt x="1757" y="118"/>
                    </a:cubicBezTo>
                    <a:cubicBezTo>
                      <a:pt x="1758" y="118"/>
                      <a:pt x="1758" y="118"/>
                      <a:pt x="1758" y="118"/>
                    </a:cubicBezTo>
                    <a:cubicBezTo>
                      <a:pt x="1759" y="119"/>
                      <a:pt x="1759" y="119"/>
                      <a:pt x="1759" y="119"/>
                    </a:cubicBezTo>
                    <a:cubicBezTo>
                      <a:pt x="1758" y="120"/>
                      <a:pt x="1758" y="120"/>
                      <a:pt x="1758" y="120"/>
                    </a:cubicBezTo>
                    <a:cubicBezTo>
                      <a:pt x="1757" y="121"/>
                      <a:pt x="1757" y="121"/>
                      <a:pt x="1757" y="121"/>
                    </a:cubicBezTo>
                    <a:cubicBezTo>
                      <a:pt x="1758" y="121"/>
                      <a:pt x="1758" y="121"/>
                      <a:pt x="1758" y="121"/>
                    </a:cubicBezTo>
                    <a:cubicBezTo>
                      <a:pt x="1759" y="121"/>
                      <a:pt x="1759" y="121"/>
                      <a:pt x="1759" y="121"/>
                    </a:cubicBezTo>
                    <a:cubicBezTo>
                      <a:pt x="1760" y="121"/>
                      <a:pt x="1760" y="121"/>
                      <a:pt x="1760" y="121"/>
                    </a:cubicBezTo>
                    <a:cubicBezTo>
                      <a:pt x="1760" y="120"/>
                      <a:pt x="1760" y="120"/>
                      <a:pt x="1760" y="120"/>
                    </a:cubicBezTo>
                    <a:cubicBezTo>
                      <a:pt x="1761" y="120"/>
                      <a:pt x="1761" y="120"/>
                      <a:pt x="1761" y="120"/>
                    </a:cubicBezTo>
                    <a:cubicBezTo>
                      <a:pt x="1761" y="119"/>
                      <a:pt x="1761" y="119"/>
                      <a:pt x="1761" y="119"/>
                    </a:cubicBezTo>
                    <a:cubicBezTo>
                      <a:pt x="1760" y="118"/>
                      <a:pt x="1760" y="118"/>
                      <a:pt x="1760" y="118"/>
                    </a:cubicBezTo>
                    <a:cubicBezTo>
                      <a:pt x="1761" y="118"/>
                      <a:pt x="1761" y="118"/>
                      <a:pt x="1761" y="118"/>
                    </a:cubicBezTo>
                    <a:cubicBezTo>
                      <a:pt x="1763" y="117"/>
                      <a:pt x="1763" y="117"/>
                      <a:pt x="1763" y="117"/>
                    </a:cubicBezTo>
                    <a:cubicBezTo>
                      <a:pt x="1764" y="118"/>
                      <a:pt x="1764" y="118"/>
                      <a:pt x="1764" y="118"/>
                    </a:cubicBezTo>
                    <a:cubicBezTo>
                      <a:pt x="1765" y="118"/>
                      <a:pt x="1765" y="118"/>
                      <a:pt x="1765" y="118"/>
                    </a:cubicBezTo>
                    <a:cubicBezTo>
                      <a:pt x="1766" y="118"/>
                      <a:pt x="1766" y="118"/>
                      <a:pt x="1766" y="118"/>
                    </a:cubicBezTo>
                    <a:cubicBezTo>
                      <a:pt x="1767" y="120"/>
                      <a:pt x="1767" y="120"/>
                      <a:pt x="1767" y="120"/>
                    </a:cubicBezTo>
                    <a:cubicBezTo>
                      <a:pt x="1767" y="119"/>
                      <a:pt x="1767" y="119"/>
                      <a:pt x="1767" y="119"/>
                    </a:cubicBezTo>
                    <a:cubicBezTo>
                      <a:pt x="1768" y="119"/>
                      <a:pt x="1768" y="119"/>
                      <a:pt x="1768" y="119"/>
                    </a:cubicBezTo>
                    <a:cubicBezTo>
                      <a:pt x="1769" y="118"/>
                      <a:pt x="1769" y="118"/>
                      <a:pt x="1769" y="118"/>
                    </a:cubicBezTo>
                    <a:cubicBezTo>
                      <a:pt x="1769" y="120"/>
                      <a:pt x="1769" y="120"/>
                      <a:pt x="1769" y="120"/>
                    </a:cubicBezTo>
                    <a:cubicBezTo>
                      <a:pt x="1770" y="120"/>
                      <a:pt x="1770" y="120"/>
                      <a:pt x="1770" y="120"/>
                    </a:cubicBezTo>
                    <a:cubicBezTo>
                      <a:pt x="1771" y="119"/>
                      <a:pt x="1771" y="119"/>
                      <a:pt x="1771" y="119"/>
                    </a:cubicBezTo>
                    <a:cubicBezTo>
                      <a:pt x="1772" y="120"/>
                      <a:pt x="1772" y="120"/>
                      <a:pt x="1772" y="120"/>
                    </a:cubicBezTo>
                    <a:cubicBezTo>
                      <a:pt x="1773" y="122"/>
                      <a:pt x="1773" y="122"/>
                      <a:pt x="1773" y="122"/>
                    </a:cubicBezTo>
                    <a:cubicBezTo>
                      <a:pt x="1773" y="121"/>
                      <a:pt x="1773" y="121"/>
                      <a:pt x="1773" y="121"/>
                    </a:cubicBezTo>
                    <a:cubicBezTo>
                      <a:pt x="1774" y="120"/>
                      <a:pt x="1774" y="120"/>
                      <a:pt x="1774" y="120"/>
                    </a:cubicBezTo>
                    <a:cubicBezTo>
                      <a:pt x="1775" y="121"/>
                      <a:pt x="1775" y="121"/>
                      <a:pt x="1775" y="121"/>
                    </a:cubicBezTo>
                    <a:cubicBezTo>
                      <a:pt x="1774" y="123"/>
                      <a:pt x="1774" y="123"/>
                      <a:pt x="1774" y="123"/>
                    </a:cubicBezTo>
                    <a:cubicBezTo>
                      <a:pt x="1775" y="123"/>
                      <a:pt x="1775" y="123"/>
                      <a:pt x="1775" y="123"/>
                    </a:cubicBezTo>
                    <a:cubicBezTo>
                      <a:pt x="1775" y="124"/>
                      <a:pt x="1775" y="124"/>
                      <a:pt x="1775" y="124"/>
                    </a:cubicBezTo>
                    <a:cubicBezTo>
                      <a:pt x="1777" y="124"/>
                      <a:pt x="1777" y="124"/>
                      <a:pt x="1777" y="124"/>
                    </a:cubicBezTo>
                    <a:cubicBezTo>
                      <a:pt x="1777" y="125"/>
                      <a:pt x="1777" y="125"/>
                      <a:pt x="1777" y="125"/>
                    </a:cubicBezTo>
                    <a:cubicBezTo>
                      <a:pt x="1778" y="125"/>
                      <a:pt x="1778" y="125"/>
                      <a:pt x="1778" y="125"/>
                    </a:cubicBezTo>
                    <a:cubicBezTo>
                      <a:pt x="1778" y="126"/>
                      <a:pt x="1778" y="126"/>
                      <a:pt x="1778" y="126"/>
                    </a:cubicBezTo>
                    <a:cubicBezTo>
                      <a:pt x="1777" y="127"/>
                      <a:pt x="1777" y="127"/>
                      <a:pt x="1777" y="127"/>
                    </a:cubicBezTo>
                    <a:cubicBezTo>
                      <a:pt x="1778" y="128"/>
                      <a:pt x="1778" y="128"/>
                      <a:pt x="1778" y="128"/>
                    </a:cubicBezTo>
                    <a:cubicBezTo>
                      <a:pt x="1779" y="127"/>
                      <a:pt x="1779" y="127"/>
                      <a:pt x="1779" y="127"/>
                    </a:cubicBezTo>
                    <a:cubicBezTo>
                      <a:pt x="1780" y="127"/>
                      <a:pt x="1780" y="127"/>
                      <a:pt x="1780" y="127"/>
                    </a:cubicBezTo>
                    <a:cubicBezTo>
                      <a:pt x="1781" y="128"/>
                      <a:pt x="1781" y="128"/>
                      <a:pt x="1781" y="128"/>
                    </a:cubicBezTo>
                    <a:cubicBezTo>
                      <a:pt x="1778" y="130"/>
                      <a:pt x="1778" y="130"/>
                      <a:pt x="1778" y="130"/>
                    </a:cubicBezTo>
                    <a:cubicBezTo>
                      <a:pt x="1778" y="131"/>
                      <a:pt x="1778" y="131"/>
                      <a:pt x="1778" y="131"/>
                    </a:cubicBezTo>
                    <a:cubicBezTo>
                      <a:pt x="1780" y="132"/>
                      <a:pt x="1780" y="132"/>
                      <a:pt x="1780" y="132"/>
                    </a:cubicBezTo>
                    <a:cubicBezTo>
                      <a:pt x="1781" y="131"/>
                      <a:pt x="1781" y="131"/>
                      <a:pt x="1781" y="131"/>
                    </a:cubicBezTo>
                    <a:cubicBezTo>
                      <a:pt x="1782" y="130"/>
                      <a:pt x="1782" y="130"/>
                      <a:pt x="1782" y="130"/>
                    </a:cubicBezTo>
                    <a:cubicBezTo>
                      <a:pt x="1783" y="131"/>
                      <a:pt x="1783" y="131"/>
                      <a:pt x="1783" y="131"/>
                    </a:cubicBezTo>
                    <a:cubicBezTo>
                      <a:pt x="1783" y="132"/>
                      <a:pt x="1783" y="132"/>
                      <a:pt x="1783" y="132"/>
                    </a:cubicBezTo>
                    <a:cubicBezTo>
                      <a:pt x="1784" y="131"/>
                      <a:pt x="1784" y="131"/>
                      <a:pt x="1784" y="131"/>
                    </a:cubicBezTo>
                    <a:cubicBezTo>
                      <a:pt x="1785" y="133"/>
                      <a:pt x="1785" y="133"/>
                      <a:pt x="1785" y="133"/>
                    </a:cubicBezTo>
                    <a:cubicBezTo>
                      <a:pt x="1785" y="135"/>
                      <a:pt x="1785" y="135"/>
                      <a:pt x="1785" y="135"/>
                    </a:cubicBezTo>
                    <a:cubicBezTo>
                      <a:pt x="1786" y="135"/>
                      <a:pt x="1786" y="135"/>
                      <a:pt x="1786" y="135"/>
                    </a:cubicBezTo>
                    <a:cubicBezTo>
                      <a:pt x="1786" y="136"/>
                      <a:pt x="1786" y="136"/>
                      <a:pt x="1786" y="136"/>
                    </a:cubicBezTo>
                    <a:cubicBezTo>
                      <a:pt x="1787" y="135"/>
                      <a:pt x="1787" y="135"/>
                      <a:pt x="1787" y="135"/>
                    </a:cubicBezTo>
                    <a:cubicBezTo>
                      <a:pt x="1787" y="136"/>
                      <a:pt x="1787" y="136"/>
                      <a:pt x="1787" y="136"/>
                    </a:cubicBezTo>
                    <a:cubicBezTo>
                      <a:pt x="1786" y="138"/>
                      <a:pt x="1786" y="138"/>
                      <a:pt x="1786" y="138"/>
                    </a:cubicBezTo>
                    <a:cubicBezTo>
                      <a:pt x="1785" y="139"/>
                      <a:pt x="1785" y="139"/>
                      <a:pt x="1785" y="139"/>
                    </a:cubicBezTo>
                    <a:cubicBezTo>
                      <a:pt x="1784" y="138"/>
                      <a:pt x="1784" y="138"/>
                      <a:pt x="1784" y="138"/>
                    </a:cubicBezTo>
                    <a:cubicBezTo>
                      <a:pt x="1781" y="137"/>
                      <a:pt x="1781" y="137"/>
                      <a:pt x="1781" y="137"/>
                    </a:cubicBezTo>
                    <a:cubicBezTo>
                      <a:pt x="1778" y="137"/>
                      <a:pt x="1778" y="137"/>
                      <a:pt x="1778" y="137"/>
                    </a:cubicBezTo>
                    <a:cubicBezTo>
                      <a:pt x="1780" y="138"/>
                      <a:pt x="1780" y="138"/>
                      <a:pt x="1780" y="138"/>
                    </a:cubicBezTo>
                    <a:cubicBezTo>
                      <a:pt x="1780" y="139"/>
                      <a:pt x="1780" y="139"/>
                      <a:pt x="1780" y="139"/>
                    </a:cubicBezTo>
                    <a:cubicBezTo>
                      <a:pt x="1782" y="139"/>
                      <a:pt x="1782" y="139"/>
                      <a:pt x="1782" y="139"/>
                    </a:cubicBezTo>
                    <a:cubicBezTo>
                      <a:pt x="1783" y="140"/>
                      <a:pt x="1783" y="140"/>
                      <a:pt x="1783" y="140"/>
                    </a:cubicBezTo>
                    <a:cubicBezTo>
                      <a:pt x="1785" y="142"/>
                      <a:pt x="1785" y="142"/>
                      <a:pt x="1785" y="142"/>
                    </a:cubicBezTo>
                    <a:cubicBezTo>
                      <a:pt x="1788" y="143"/>
                      <a:pt x="1788" y="143"/>
                      <a:pt x="1788" y="143"/>
                    </a:cubicBezTo>
                    <a:cubicBezTo>
                      <a:pt x="1789" y="144"/>
                      <a:pt x="1789" y="144"/>
                      <a:pt x="1789" y="144"/>
                    </a:cubicBezTo>
                    <a:cubicBezTo>
                      <a:pt x="1790" y="144"/>
                      <a:pt x="1790" y="144"/>
                      <a:pt x="1790" y="144"/>
                    </a:cubicBezTo>
                    <a:cubicBezTo>
                      <a:pt x="1791" y="144"/>
                      <a:pt x="1791" y="144"/>
                      <a:pt x="1791" y="144"/>
                    </a:cubicBezTo>
                    <a:cubicBezTo>
                      <a:pt x="1796" y="148"/>
                      <a:pt x="1796" y="148"/>
                      <a:pt x="1796" y="148"/>
                    </a:cubicBezTo>
                    <a:cubicBezTo>
                      <a:pt x="1797" y="148"/>
                      <a:pt x="1797" y="148"/>
                      <a:pt x="1797" y="148"/>
                    </a:cubicBezTo>
                    <a:cubicBezTo>
                      <a:pt x="1798" y="150"/>
                      <a:pt x="1798" y="150"/>
                      <a:pt x="1798" y="150"/>
                    </a:cubicBezTo>
                    <a:cubicBezTo>
                      <a:pt x="1801" y="150"/>
                      <a:pt x="1801" y="150"/>
                      <a:pt x="1801" y="150"/>
                    </a:cubicBezTo>
                    <a:cubicBezTo>
                      <a:pt x="1803" y="152"/>
                      <a:pt x="1803" y="152"/>
                      <a:pt x="1803" y="152"/>
                    </a:cubicBezTo>
                    <a:cubicBezTo>
                      <a:pt x="1804" y="152"/>
                      <a:pt x="1804" y="152"/>
                      <a:pt x="1804" y="152"/>
                    </a:cubicBezTo>
                    <a:cubicBezTo>
                      <a:pt x="1805" y="152"/>
                      <a:pt x="1805" y="152"/>
                      <a:pt x="1805" y="152"/>
                    </a:cubicBezTo>
                    <a:cubicBezTo>
                      <a:pt x="1804" y="151"/>
                      <a:pt x="1804" y="151"/>
                      <a:pt x="1804" y="151"/>
                    </a:cubicBezTo>
                    <a:cubicBezTo>
                      <a:pt x="1805" y="150"/>
                      <a:pt x="1805" y="150"/>
                      <a:pt x="1805" y="150"/>
                    </a:cubicBezTo>
                    <a:cubicBezTo>
                      <a:pt x="1806" y="151"/>
                      <a:pt x="1806" y="151"/>
                      <a:pt x="1806" y="151"/>
                    </a:cubicBezTo>
                    <a:cubicBezTo>
                      <a:pt x="1806" y="152"/>
                      <a:pt x="1806" y="152"/>
                      <a:pt x="1806" y="152"/>
                    </a:cubicBezTo>
                    <a:cubicBezTo>
                      <a:pt x="1807" y="154"/>
                      <a:pt x="1807" y="154"/>
                      <a:pt x="1807" y="154"/>
                    </a:cubicBezTo>
                    <a:cubicBezTo>
                      <a:pt x="1808" y="154"/>
                      <a:pt x="1808" y="154"/>
                      <a:pt x="1808" y="154"/>
                    </a:cubicBezTo>
                    <a:cubicBezTo>
                      <a:pt x="1808" y="152"/>
                      <a:pt x="1808" y="152"/>
                      <a:pt x="1808" y="152"/>
                    </a:cubicBezTo>
                    <a:cubicBezTo>
                      <a:pt x="1807" y="145"/>
                      <a:pt x="1807" y="145"/>
                      <a:pt x="1807" y="145"/>
                    </a:cubicBezTo>
                    <a:cubicBezTo>
                      <a:pt x="1806" y="142"/>
                      <a:pt x="1806" y="142"/>
                      <a:pt x="1806" y="142"/>
                    </a:cubicBezTo>
                    <a:cubicBezTo>
                      <a:pt x="1804" y="139"/>
                      <a:pt x="1804" y="139"/>
                      <a:pt x="1804" y="139"/>
                    </a:cubicBezTo>
                    <a:cubicBezTo>
                      <a:pt x="1804" y="135"/>
                      <a:pt x="1804" y="135"/>
                      <a:pt x="1804" y="135"/>
                    </a:cubicBezTo>
                    <a:cubicBezTo>
                      <a:pt x="1803" y="133"/>
                      <a:pt x="1803" y="133"/>
                      <a:pt x="1803" y="133"/>
                    </a:cubicBezTo>
                    <a:cubicBezTo>
                      <a:pt x="1802" y="132"/>
                      <a:pt x="1802" y="132"/>
                      <a:pt x="1802" y="132"/>
                    </a:cubicBezTo>
                    <a:cubicBezTo>
                      <a:pt x="1804" y="133"/>
                      <a:pt x="1804" y="133"/>
                      <a:pt x="1804" y="133"/>
                    </a:cubicBezTo>
                    <a:cubicBezTo>
                      <a:pt x="1804" y="134"/>
                      <a:pt x="1804" y="134"/>
                      <a:pt x="1804" y="134"/>
                    </a:cubicBezTo>
                    <a:cubicBezTo>
                      <a:pt x="1806" y="136"/>
                      <a:pt x="1806" y="136"/>
                      <a:pt x="1806" y="136"/>
                    </a:cubicBezTo>
                    <a:cubicBezTo>
                      <a:pt x="1807" y="136"/>
                      <a:pt x="1807" y="136"/>
                      <a:pt x="1807" y="136"/>
                    </a:cubicBezTo>
                    <a:cubicBezTo>
                      <a:pt x="1809" y="138"/>
                      <a:pt x="1809" y="138"/>
                      <a:pt x="1809" y="138"/>
                    </a:cubicBezTo>
                    <a:cubicBezTo>
                      <a:pt x="1811" y="138"/>
                      <a:pt x="1811" y="138"/>
                      <a:pt x="1811" y="138"/>
                    </a:cubicBezTo>
                    <a:cubicBezTo>
                      <a:pt x="1816" y="138"/>
                      <a:pt x="1816" y="138"/>
                      <a:pt x="1816" y="138"/>
                    </a:cubicBezTo>
                    <a:cubicBezTo>
                      <a:pt x="1817" y="138"/>
                      <a:pt x="1817" y="138"/>
                      <a:pt x="1817" y="138"/>
                    </a:cubicBezTo>
                    <a:cubicBezTo>
                      <a:pt x="1818" y="137"/>
                      <a:pt x="1818" y="137"/>
                      <a:pt x="1818" y="137"/>
                    </a:cubicBezTo>
                    <a:cubicBezTo>
                      <a:pt x="1819" y="136"/>
                      <a:pt x="1819" y="136"/>
                      <a:pt x="1819" y="136"/>
                    </a:cubicBezTo>
                    <a:cubicBezTo>
                      <a:pt x="1818" y="135"/>
                      <a:pt x="1818" y="135"/>
                      <a:pt x="1818" y="135"/>
                    </a:cubicBezTo>
                    <a:cubicBezTo>
                      <a:pt x="1818" y="134"/>
                      <a:pt x="1818" y="134"/>
                      <a:pt x="1818" y="134"/>
                    </a:cubicBezTo>
                    <a:cubicBezTo>
                      <a:pt x="1818" y="133"/>
                      <a:pt x="1818" y="133"/>
                      <a:pt x="1818" y="133"/>
                    </a:cubicBezTo>
                    <a:cubicBezTo>
                      <a:pt x="1823" y="131"/>
                      <a:pt x="1823" y="131"/>
                      <a:pt x="1823" y="131"/>
                    </a:cubicBezTo>
                    <a:cubicBezTo>
                      <a:pt x="1823" y="132"/>
                      <a:pt x="1823" y="132"/>
                      <a:pt x="1823" y="132"/>
                    </a:cubicBezTo>
                    <a:cubicBezTo>
                      <a:pt x="1824" y="132"/>
                      <a:pt x="1824" y="132"/>
                      <a:pt x="1824" y="132"/>
                    </a:cubicBezTo>
                    <a:cubicBezTo>
                      <a:pt x="1826" y="132"/>
                      <a:pt x="1826" y="132"/>
                      <a:pt x="1826" y="132"/>
                    </a:cubicBezTo>
                    <a:cubicBezTo>
                      <a:pt x="1828" y="132"/>
                      <a:pt x="1828" y="132"/>
                      <a:pt x="1828" y="132"/>
                    </a:cubicBezTo>
                    <a:cubicBezTo>
                      <a:pt x="1829" y="134"/>
                      <a:pt x="1829" y="134"/>
                      <a:pt x="1829" y="134"/>
                    </a:cubicBezTo>
                    <a:cubicBezTo>
                      <a:pt x="1831" y="134"/>
                      <a:pt x="1831" y="134"/>
                      <a:pt x="1831" y="134"/>
                    </a:cubicBezTo>
                    <a:cubicBezTo>
                      <a:pt x="1831" y="136"/>
                      <a:pt x="1831" y="136"/>
                      <a:pt x="1831" y="136"/>
                    </a:cubicBezTo>
                    <a:cubicBezTo>
                      <a:pt x="1834" y="136"/>
                      <a:pt x="1834" y="136"/>
                      <a:pt x="1834" y="136"/>
                    </a:cubicBezTo>
                    <a:cubicBezTo>
                      <a:pt x="1834" y="137"/>
                      <a:pt x="1834" y="137"/>
                      <a:pt x="1834" y="137"/>
                    </a:cubicBezTo>
                    <a:cubicBezTo>
                      <a:pt x="1837" y="137"/>
                      <a:pt x="1837" y="137"/>
                      <a:pt x="1837" y="137"/>
                    </a:cubicBezTo>
                    <a:cubicBezTo>
                      <a:pt x="1835" y="136"/>
                      <a:pt x="1835" y="136"/>
                      <a:pt x="1835" y="136"/>
                    </a:cubicBezTo>
                    <a:cubicBezTo>
                      <a:pt x="1835" y="135"/>
                      <a:pt x="1835" y="135"/>
                      <a:pt x="1835" y="135"/>
                    </a:cubicBezTo>
                    <a:cubicBezTo>
                      <a:pt x="1837" y="136"/>
                      <a:pt x="1837" y="136"/>
                      <a:pt x="1837" y="136"/>
                    </a:cubicBezTo>
                    <a:cubicBezTo>
                      <a:pt x="1838" y="135"/>
                      <a:pt x="1838" y="135"/>
                      <a:pt x="1838" y="135"/>
                    </a:cubicBezTo>
                    <a:cubicBezTo>
                      <a:pt x="1837" y="134"/>
                      <a:pt x="1837" y="134"/>
                      <a:pt x="1837" y="134"/>
                    </a:cubicBezTo>
                    <a:cubicBezTo>
                      <a:pt x="1838" y="133"/>
                      <a:pt x="1838" y="133"/>
                      <a:pt x="1838" y="133"/>
                    </a:cubicBezTo>
                    <a:cubicBezTo>
                      <a:pt x="1837" y="132"/>
                      <a:pt x="1837" y="132"/>
                      <a:pt x="1837" y="132"/>
                    </a:cubicBezTo>
                    <a:cubicBezTo>
                      <a:pt x="1835" y="133"/>
                      <a:pt x="1835" y="133"/>
                      <a:pt x="1835" y="133"/>
                    </a:cubicBezTo>
                    <a:cubicBezTo>
                      <a:pt x="1833" y="133"/>
                      <a:pt x="1833" y="133"/>
                      <a:pt x="1833" y="133"/>
                    </a:cubicBezTo>
                    <a:cubicBezTo>
                      <a:pt x="1833" y="132"/>
                      <a:pt x="1833" y="132"/>
                      <a:pt x="1833" y="132"/>
                    </a:cubicBezTo>
                    <a:cubicBezTo>
                      <a:pt x="1833" y="131"/>
                      <a:pt x="1833" y="131"/>
                      <a:pt x="1833" y="131"/>
                    </a:cubicBezTo>
                    <a:cubicBezTo>
                      <a:pt x="1833" y="129"/>
                      <a:pt x="1833" y="129"/>
                      <a:pt x="1833" y="129"/>
                    </a:cubicBezTo>
                    <a:cubicBezTo>
                      <a:pt x="1834" y="129"/>
                      <a:pt x="1834" y="129"/>
                      <a:pt x="1834" y="129"/>
                    </a:cubicBezTo>
                    <a:cubicBezTo>
                      <a:pt x="1835" y="129"/>
                      <a:pt x="1835" y="129"/>
                      <a:pt x="1835" y="129"/>
                    </a:cubicBezTo>
                    <a:cubicBezTo>
                      <a:pt x="1835" y="128"/>
                      <a:pt x="1835" y="128"/>
                      <a:pt x="1835" y="128"/>
                    </a:cubicBezTo>
                    <a:cubicBezTo>
                      <a:pt x="1836" y="127"/>
                      <a:pt x="1836" y="127"/>
                      <a:pt x="1836" y="127"/>
                    </a:cubicBezTo>
                    <a:cubicBezTo>
                      <a:pt x="1838" y="129"/>
                      <a:pt x="1838" y="129"/>
                      <a:pt x="1838" y="129"/>
                    </a:cubicBezTo>
                    <a:cubicBezTo>
                      <a:pt x="1838" y="130"/>
                      <a:pt x="1838" y="130"/>
                      <a:pt x="1838" y="130"/>
                    </a:cubicBezTo>
                    <a:cubicBezTo>
                      <a:pt x="1839" y="130"/>
                      <a:pt x="1839" y="130"/>
                      <a:pt x="1839" y="130"/>
                    </a:cubicBezTo>
                    <a:cubicBezTo>
                      <a:pt x="1840" y="130"/>
                      <a:pt x="1840" y="130"/>
                      <a:pt x="1840" y="130"/>
                    </a:cubicBezTo>
                    <a:cubicBezTo>
                      <a:pt x="1840" y="128"/>
                      <a:pt x="1840" y="128"/>
                      <a:pt x="1840" y="128"/>
                    </a:cubicBezTo>
                    <a:cubicBezTo>
                      <a:pt x="1841" y="128"/>
                      <a:pt x="1841" y="128"/>
                      <a:pt x="1841" y="128"/>
                    </a:cubicBezTo>
                    <a:cubicBezTo>
                      <a:pt x="1842" y="129"/>
                      <a:pt x="1842" y="129"/>
                      <a:pt x="1842" y="129"/>
                    </a:cubicBezTo>
                    <a:cubicBezTo>
                      <a:pt x="1843" y="127"/>
                      <a:pt x="1843" y="127"/>
                      <a:pt x="1843" y="127"/>
                    </a:cubicBezTo>
                    <a:cubicBezTo>
                      <a:pt x="1841" y="125"/>
                      <a:pt x="1841" y="125"/>
                      <a:pt x="1841" y="125"/>
                    </a:cubicBezTo>
                    <a:cubicBezTo>
                      <a:pt x="1839" y="125"/>
                      <a:pt x="1839" y="125"/>
                      <a:pt x="1839" y="125"/>
                    </a:cubicBezTo>
                    <a:cubicBezTo>
                      <a:pt x="1838" y="123"/>
                      <a:pt x="1838" y="123"/>
                      <a:pt x="1838" y="123"/>
                    </a:cubicBezTo>
                    <a:cubicBezTo>
                      <a:pt x="1838" y="122"/>
                      <a:pt x="1838" y="122"/>
                      <a:pt x="1838" y="122"/>
                    </a:cubicBezTo>
                    <a:cubicBezTo>
                      <a:pt x="1837" y="121"/>
                      <a:pt x="1837" y="121"/>
                      <a:pt x="1837" y="121"/>
                    </a:cubicBezTo>
                    <a:cubicBezTo>
                      <a:pt x="1836" y="122"/>
                      <a:pt x="1836" y="122"/>
                      <a:pt x="1836" y="122"/>
                    </a:cubicBezTo>
                    <a:cubicBezTo>
                      <a:pt x="1835" y="121"/>
                      <a:pt x="1835" y="121"/>
                      <a:pt x="1835" y="121"/>
                    </a:cubicBezTo>
                    <a:cubicBezTo>
                      <a:pt x="1836" y="120"/>
                      <a:pt x="1836" y="120"/>
                      <a:pt x="1836" y="120"/>
                    </a:cubicBezTo>
                    <a:cubicBezTo>
                      <a:pt x="1836" y="119"/>
                      <a:pt x="1836" y="119"/>
                      <a:pt x="1836" y="119"/>
                    </a:cubicBezTo>
                    <a:cubicBezTo>
                      <a:pt x="1835" y="117"/>
                      <a:pt x="1835" y="117"/>
                      <a:pt x="1835" y="117"/>
                    </a:cubicBezTo>
                    <a:cubicBezTo>
                      <a:pt x="1837" y="117"/>
                      <a:pt x="1837" y="117"/>
                      <a:pt x="1837" y="117"/>
                    </a:cubicBezTo>
                    <a:cubicBezTo>
                      <a:pt x="1837" y="115"/>
                      <a:pt x="1837" y="115"/>
                      <a:pt x="1837" y="115"/>
                    </a:cubicBezTo>
                    <a:cubicBezTo>
                      <a:pt x="1835" y="116"/>
                      <a:pt x="1835" y="116"/>
                      <a:pt x="1835" y="116"/>
                    </a:cubicBezTo>
                    <a:cubicBezTo>
                      <a:pt x="1834" y="117"/>
                      <a:pt x="1834" y="117"/>
                      <a:pt x="1834" y="117"/>
                    </a:cubicBezTo>
                    <a:cubicBezTo>
                      <a:pt x="1834" y="119"/>
                      <a:pt x="1834" y="119"/>
                      <a:pt x="1834" y="119"/>
                    </a:cubicBezTo>
                    <a:cubicBezTo>
                      <a:pt x="1831" y="118"/>
                      <a:pt x="1831" y="118"/>
                      <a:pt x="1831" y="118"/>
                    </a:cubicBezTo>
                    <a:cubicBezTo>
                      <a:pt x="1830" y="116"/>
                      <a:pt x="1830" y="116"/>
                      <a:pt x="1830" y="116"/>
                    </a:cubicBezTo>
                    <a:cubicBezTo>
                      <a:pt x="1831" y="114"/>
                      <a:pt x="1831" y="114"/>
                      <a:pt x="1831" y="114"/>
                    </a:cubicBezTo>
                    <a:cubicBezTo>
                      <a:pt x="1831" y="113"/>
                      <a:pt x="1831" y="113"/>
                      <a:pt x="1831" y="113"/>
                    </a:cubicBezTo>
                    <a:cubicBezTo>
                      <a:pt x="1833" y="112"/>
                      <a:pt x="1833" y="112"/>
                      <a:pt x="1833" y="112"/>
                    </a:cubicBezTo>
                    <a:cubicBezTo>
                      <a:pt x="1834" y="112"/>
                      <a:pt x="1834" y="112"/>
                      <a:pt x="1834" y="112"/>
                    </a:cubicBezTo>
                    <a:cubicBezTo>
                      <a:pt x="1837" y="110"/>
                      <a:pt x="1837" y="110"/>
                      <a:pt x="1837" y="110"/>
                    </a:cubicBezTo>
                    <a:cubicBezTo>
                      <a:pt x="1837" y="109"/>
                      <a:pt x="1837" y="109"/>
                      <a:pt x="1837" y="109"/>
                    </a:cubicBezTo>
                    <a:cubicBezTo>
                      <a:pt x="1835" y="107"/>
                      <a:pt x="1835" y="107"/>
                      <a:pt x="1835" y="107"/>
                    </a:cubicBezTo>
                    <a:cubicBezTo>
                      <a:pt x="1834" y="108"/>
                      <a:pt x="1834" y="108"/>
                      <a:pt x="1834" y="108"/>
                    </a:cubicBezTo>
                    <a:cubicBezTo>
                      <a:pt x="1833" y="107"/>
                      <a:pt x="1833" y="107"/>
                      <a:pt x="1833" y="107"/>
                    </a:cubicBezTo>
                    <a:cubicBezTo>
                      <a:pt x="1831" y="107"/>
                      <a:pt x="1831" y="107"/>
                      <a:pt x="1831" y="107"/>
                    </a:cubicBezTo>
                    <a:cubicBezTo>
                      <a:pt x="1830" y="106"/>
                      <a:pt x="1830" y="106"/>
                      <a:pt x="1830" y="106"/>
                    </a:cubicBezTo>
                    <a:cubicBezTo>
                      <a:pt x="1831" y="105"/>
                      <a:pt x="1831" y="105"/>
                      <a:pt x="1831" y="105"/>
                    </a:cubicBezTo>
                    <a:cubicBezTo>
                      <a:pt x="1834" y="104"/>
                      <a:pt x="1834" y="104"/>
                      <a:pt x="1834" y="104"/>
                    </a:cubicBezTo>
                    <a:cubicBezTo>
                      <a:pt x="1837" y="106"/>
                      <a:pt x="1837" y="106"/>
                      <a:pt x="1837" y="106"/>
                    </a:cubicBezTo>
                    <a:cubicBezTo>
                      <a:pt x="1839" y="105"/>
                      <a:pt x="1839" y="105"/>
                      <a:pt x="1839" y="105"/>
                    </a:cubicBezTo>
                    <a:cubicBezTo>
                      <a:pt x="1843" y="105"/>
                      <a:pt x="1843" y="105"/>
                      <a:pt x="1843" y="105"/>
                    </a:cubicBezTo>
                    <a:cubicBezTo>
                      <a:pt x="1851" y="105"/>
                      <a:pt x="1851" y="105"/>
                      <a:pt x="1851" y="105"/>
                    </a:cubicBezTo>
                    <a:cubicBezTo>
                      <a:pt x="1852" y="104"/>
                      <a:pt x="1852" y="104"/>
                      <a:pt x="1852" y="104"/>
                    </a:cubicBezTo>
                    <a:cubicBezTo>
                      <a:pt x="1857" y="104"/>
                      <a:pt x="1857" y="104"/>
                      <a:pt x="1857" y="104"/>
                    </a:cubicBezTo>
                    <a:cubicBezTo>
                      <a:pt x="1860" y="104"/>
                      <a:pt x="1860" y="104"/>
                      <a:pt x="1860" y="104"/>
                    </a:cubicBezTo>
                    <a:cubicBezTo>
                      <a:pt x="1862" y="104"/>
                      <a:pt x="1862" y="104"/>
                      <a:pt x="1862" y="104"/>
                    </a:cubicBezTo>
                    <a:cubicBezTo>
                      <a:pt x="1863" y="104"/>
                      <a:pt x="1863" y="104"/>
                      <a:pt x="1863" y="104"/>
                    </a:cubicBezTo>
                    <a:cubicBezTo>
                      <a:pt x="1859" y="106"/>
                      <a:pt x="1859" y="106"/>
                      <a:pt x="1859" y="106"/>
                    </a:cubicBezTo>
                    <a:cubicBezTo>
                      <a:pt x="1857" y="105"/>
                      <a:pt x="1857" y="105"/>
                      <a:pt x="1857" y="105"/>
                    </a:cubicBezTo>
                    <a:cubicBezTo>
                      <a:pt x="1857" y="106"/>
                      <a:pt x="1857" y="106"/>
                      <a:pt x="1857" y="106"/>
                    </a:cubicBezTo>
                    <a:cubicBezTo>
                      <a:pt x="1855" y="105"/>
                      <a:pt x="1855" y="105"/>
                      <a:pt x="1855" y="105"/>
                    </a:cubicBezTo>
                    <a:cubicBezTo>
                      <a:pt x="1855" y="108"/>
                      <a:pt x="1855" y="108"/>
                      <a:pt x="1855" y="108"/>
                    </a:cubicBezTo>
                    <a:cubicBezTo>
                      <a:pt x="1856" y="109"/>
                      <a:pt x="1856" y="109"/>
                      <a:pt x="1856" y="109"/>
                    </a:cubicBezTo>
                    <a:cubicBezTo>
                      <a:pt x="1855" y="110"/>
                      <a:pt x="1855" y="110"/>
                      <a:pt x="1855" y="110"/>
                    </a:cubicBezTo>
                    <a:cubicBezTo>
                      <a:pt x="1855" y="111"/>
                      <a:pt x="1855" y="111"/>
                      <a:pt x="1855" y="111"/>
                    </a:cubicBezTo>
                    <a:cubicBezTo>
                      <a:pt x="1856" y="111"/>
                      <a:pt x="1856" y="111"/>
                      <a:pt x="1856" y="111"/>
                    </a:cubicBezTo>
                    <a:cubicBezTo>
                      <a:pt x="1858" y="110"/>
                      <a:pt x="1858" y="110"/>
                      <a:pt x="1858" y="110"/>
                    </a:cubicBezTo>
                    <a:cubicBezTo>
                      <a:pt x="1858" y="109"/>
                      <a:pt x="1858" y="109"/>
                      <a:pt x="1858" y="109"/>
                    </a:cubicBezTo>
                    <a:cubicBezTo>
                      <a:pt x="1861" y="106"/>
                      <a:pt x="1861" y="106"/>
                      <a:pt x="1861" y="106"/>
                    </a:cubicBezTo>
                    <a:cubicBezTo>
                      <a:pt x="1865" y="105"/>
                      <a:pt x="1865" y="105"/>
                      <a:pt x="1865" y="105"/>
                    </a:cubicBezTo>
                    <a:cubicBezTo>
                      <a:pt x="1866" y="107"/>
                      <a:pt x="1866" y="107"/>
                      <a:pt x="1866" y="107"/>
                    </a:cubicBezTo>
                    <a:cubicBezTo>
                      <a:pt x="1866" y="110"/>
                      <a:pt x="1866" y="110"/>
                      <a:pt x="1866" y="110"/>
                    </a:cubicBezTo>
                    <a:cubicBezTo>
                      <a:pt x="1866" y="111"/>
                      <a:pt x="1866" y="111"/>
                      <a:pt x="1866" y="111"/>
                    </a:cubicBezTo>
                    <a:cubicBezTo>
                      <a:pt x="1865" y="109"/>
                      <a:pt x="1865" y="109"/>
                      <a:pt x="1865" y="109"/>
                    </a:cubicBezTo>
                    <a:cubicBezTo>
                      <a:pt x="1864" y="108"/>
                      <a:pt x="1864" y="108"/>
                      <a:pt x="1864" y="108"/>
                    </a:cubicBezTo>
                    <a:cubicBezTo>
                      <a:pt x="1864" y="106"/>
                      <a:pt x="1864" y="106"/>
                      <a:pt x="1864" y="106"/>
                    </a:cubicBezTo>
                    <a:cubicBezTo>
                      <a:pt x="1862" y="108"/>
                      <a:pt x="1862" y="108"/>
                      <a:pt x="1862" y="108"/>
                    </a:cubicBezTo>
                    <a:cubicBezTo>
                      <a:pt x="1861" y="107"/>
                      <a:pt x="1861" y="107"/>
                      <a:pt x="1861" y="107"/>
                    </a:cubicBezTo>
                    <a:cubicBezTo>
                      <a:pt x="1862" y="110"/>
                      <a:pt x="1862" y="110"/>
                      <a:pt x="1862" y="110"/>
                    </a:cubicBezTo>
                    <a:cubicBezTo>
                      <a:pt x="1864" y="110"/>
                      <a:pt x="1864" y="110"/>
                      <a:pt x="1864" y="110"/>
                    </a:cubicBezTo>
                    <a:cubicBezTo>
                      <a:pt x="1864" y="113"/>
                      <a:pt x="1864" y="113"/>
                      <a:pt x="1864" y="113"/>
                    </a:cubicBezTo>
                    <a:cubicBezTo>
                      <a:pt x="1863" y="115"/>
                      <a:pt x="1863" y="115"/>
                      <a:pt x="1863" y="115"/>
                    </a:cubicBezTo>
                    <a:cubicBezTo>
                      <a:pt x="1862" y="114"/>
                      <a:pt x="1862" y="114"/>
                      <a:pt x="1862" y="114"/>
                    </a:cubicBezTo>
                    <a:cubicBezTo>
                      <a:pt x="1861" y="115"/>
                      <a:pt x="1861" y="115"/>
                      <a:pt x="1861" y="115"/>
                    </a:cubicBezTo>
                    <a:cubicBezTo>
                      <a:pt x="1863" y="116"/>
                      <a:pt x="1863" y="116"/>
                      <a:pt x="1863" y="116"/>
                    </a:cubicBezTo>
                    <a:cubicBezTo>
                      <a:pt x="1863" y="117"/>
                      <a:pt x="1863" y="117"/>
                      <a:pt x="1863" y="117"/>
                    </a:cubicBezTo>
                    <a:cubicBezTo>
                      <a:pt x="1864" y="117"/>
                      <a:pt x="1864" y="117"/>
                      <a:pt x="1864" y="117"/>
                    </a:cubicBezTo>
                    <a:cubicBezTo>
                      <a:pt x="1866" y="116"/>
                      <a:pt x="1866" y="116"/>
                      <a:pt x="1866" y="116"/>
                    </a:cubicBezTo>
                    <a:cubicBezTo>
                      <a:pt x="1866" y="114"/>
                      <a:pt x="1866" y="114"/>
                      <a:pt x="1866" y="114"/>
                    </a:cubicBezTo>
                    <a:cubicBezTo>
                      <a:pt x="1867" y="113"/>
                      <a:pt x="1867" y="113"/>
                      <a:pt x="1867" y="113"/>
                    </a:cubicBezTo>
                    <a:cubicBezTo>
                      <a:pt x="1867" y="111"/>
                      <a:pt x="1867" y="111"/>
                      <a:pt x="1867" y="111"/>
                    </a:cubicBezTo>
                    <a:cubicBezTo>
                      <a:pt x="1867" y="110"/>
                      <a:pt x="1867" y="110"/>
                      <a:pt x="1867" y="110"/>
                    </a:cubicBezTo>
                    <a:cubicBezTo>
                      <a:pt x="1866" y="103"/>
                      <a:pt x="1866" y="103"/>
                      <a:pt x="1866" y="103"/>
                    </a:cubicBezTo>
                    <a:cubicBezTo>
                      <a:pt x="1869" y="102"/>
                      <a:pt x="1869" y="102"/>
                      <a:pt x="1869" y="102"/>
                    </a:cubicBezTo>
                    <a:cubicBezTo>
                      <a:pt x="1872" y="101"/>
                      <a:pt x="1872" y="101"/>
                      <a:pt x="1872" y="101"/>
                    </a:cubicBezTo>
                    <a:cubicBezTo>
                      <a:pt x="1876" y="100"/>
                      <a:pt x="1876" y="100"/>
                      <a:pt x="1876" y="100"/>
                    </a:cubicBezTo>
                    <a:cubicBezTo>
                      <a:pt x="1879" y="100"/>
                      <a:pt x="1879" y="100"/>
                      <a:pt x="1879" y="100"/>
                    </a:cubicBezTo>
                    <a:cubicBezTo>
                      <a:pt x="1883" y="102"/>
                      <a:pt x="1883" y="102"/>
                      <a:pt x="1883" y="102"/>
                    </a:cubicBezTo>
                    <a:cubicBezTo>
                      <a:pt x="1885" y="105"/>
                      <a:pt x="1885" y="105"/>
                      <a:pt x="1885" y="105"/>
                    </a:cubicBezTo>
                    <a:cubicBezTo>
                      <a:pt x="1885" y="106"/>
                      <a:pt x="1885" y="106"/>
                      <a:pt x="1885" y="106"/>
                    </a:cubicBezTo>
                    <a:cubicBezTo>
                      <a:pt x="1884" y="107"/>
                      <a:pt x="1884" y="107"/>
                      <a:pt x="1884" y="107"/>
                    </a:cubicBezTo>
                    <a:cubicBezTo>
                      <a:pt x="1882" y="105"/>
                      <a:pt x="1882" y="105"/>
                      <a:pt x="1882" y="105"/>
                    </a:cubicBezTo>
                    <a:cubicBezTo>
                      <a:pt x="1881" y="105"/>
                      <a:pt x="1881" y="105"/>
                      <a:pt x="1881" y="105"/>
                    </a:cubicBezTo>
                    <a:cubicBezTo>
                      <a:pt x="1882" y="107"/>
                      <a:pt x="1882" y="107"/>
                      <a:pt x="1882" y="107"/>
                    </a:cubicBezTo>
                    <a:cubicBezTo>
                      <a:pt x="1882" y="108"/>
                      <a:pt x="1882" y="108"/>
                      <a:pt x="1882" y="108"/>
                    </a:cubicBezTo>
                    <a:cubicBezTo>
                      <a:pt x="1882" y="109"/>
                      <a:pt x="1882" y="109"/>
                      <a:pt x="1882" y="109"/>
                    </a:cubicBezTo>
                    <a:cubicBezTo>
                      <a:pt x="1881" y="110"/>
                      <a:pt x="1881" y="110"/>
                      <a:pt x="1881" y="110"/>
                    </a:cubicBezTo>
                    <a:cubicBezTo>
                      <a:pt x="1882" y="110"/>
                      <a:pt x="1882" y="110"/>
                      <a:pt x="1882" y="110"/>
                    </a:cubicBezTo>
                    <a:cubicBezTo>
                      <a:pt x="1883" y="110"/>
                      <a:pt x="1883" y="110"/>
                      <a:pt x="1883" y="110"/>
                    </a:cubicBezTo>
                    <a:cubicBezTo>
                      <a:pt x="1885" y="109"/>
                      <a:pt x="1885" y="109"/>
                      <a:pt x="1885" y="109"/>
                    </a:cubicBezTo>
                    <a:cubicBezTo>
                      <a:pt x="1887" y="108"/>
                      <a:pt x="1887" y="108"/>
                      <a:pt x="1887" y="108"/>
                    </a:cubicBezTo>
                    <a:cubicBezTo>
                      <a:pt x="1887" y="110"/>
                      <a:pt x="1887" y="110"/>
                      <a:pt x="1887" y="110"/>
                    </a:cubicBezTo>
                    <a:cubicBezTo>
                      <a:pt x="1888" y="111"/>
                      <a:pt x="1888" y="111"/>
                      <a:pt x="1888" y="111"/>
                    </a:cubicBezTo>
                    <a:cubicBezTo>
                      <a:pt x="1888" y="113"/>
                      <a:pt x="1888" y="113"/>
                      <a:pt x="1888" y="113"/>
                    </a:cubicBezTo>
                    <a:cubicBezTo>
                      <a:pt x="1889" y="114"/>
                      <a:pt x="1889" y="114"/>
                      <a:pt x="1889" y="114"/>
                    </a:cubicBezTo>
                    <a:cubicBezTo>
                      <a:pt x="1890" y="112"/>
                      <a:pt x="1890" y="112"/>
                      <a:pt x="1890" y="112"/>
                    </a:cubicBezTo>
                    <a:cubicBezTo>
                      <a:pt x="1889" y="111"/>
                      <a:pt x="1889" y="111"/>
                      <a:pt x="1889" y="111"/>
                    </a:cubicBezTo>
                    <a:cubicBezTo>
                      <a:pt x="1891" y="110"/>
                      <a:pt x="1891" y="110"/>
                      <a:pt x="1891" y="110"/>
                    </a:cubicBezTo>
                    <a:cubicBezTo>
                      <a:pt x="1893" y="111"/>
                      <a:pt x="1893" y="111"/>
                      <a:pt x="1893" y="111"/>
                    </a:cubicBezTo>
                    <a:cubicBezTo>
                      <a:pt x="1893" y="112"/>
                      <a:pt x="1893" y="112"/>
                      <a:pt x="1893" y="112"/>
                    </a:cubicBezTo>
                    <a:cubicBezTo>
                      <a:pt x="1893" y="113"/>
                      <a:pt x="1893" y="113"/>
                      <a:pt x="1893" y="113"/>
                    </a:cubicBezTo>
                    <a:cubicBezTo>
                      <a:pt x="1892" y="115"/>
                      <a:pt x="1892" y="115"/>
                      <a:pt x="1892" y="115"/>
                    </a:cubicBezTo>
                    <a:cubicBezTo>
                      <a:pt x="1892" y="116"/>
                      <a:pt x="1892" y="116"/>
                      <a:pt x="1892" y="116"/>
                    </a:cubicBezTo>
                    <a:cubicBezTo>
                      <a:pt x="1893" y="115"/>
                      <a:pt x="1893" y="115"/>
                      <a:pt x="1893" y="115"/>
                    </a:cubicBezTo>
                    <a:cubicBezTo>
                      <a:pt x="1894" y="114"/>
                      <a:pt x="1894" y="114"/>
                      <a:pt x="1894" y="114"/>
                    </a:cubicBezTo>
                    <a:cubicBezTo>
                      <a:pt x="1895" y="113"/>
                      <a:pt x="1895" y="113"/>
                      <a:pt x="1895" y="113"/>
                    </a:cubicBezTo>
                    <a:cubicBezTo>
                      <a:pt x="1896" y="110"/>
                      <a:pt x="1896" y="110"/>
                      <a:pt x="1896" y="110"/>
                    </a:cubicBezTo>
                    <a:cubicBezTo>
                      <a:pt x="1897" y="110"/>
                      <a:pt x="1897" y="110"/>
                      <a:pt x="1897" y="110"/>
                    </a:cubicBezTo>
                    <a:cubicBezTo>
                      <a:pt x="1898" y="110"/>
                      <a:pt x="1898" y="110"/>
                      <a:pt x="1898" y="110"/>
                    </a:cubicBezTo>
                    <a:cubicBezTo>
                      <a:pt x="1901" y="112"/>
                      <a:pt x="1901" y="112"/>
                      <a:pt x="1901" y="112"/>
                    </a:cubicBezTo>
                    <a:cubicBezTo>
                      <a:pt x="1904" y="113"/>
                      <a:pt x="1904" y="113"/>
                      <a:pt x="1904" y="113"/>
                    </a:cubicBezTo>
                    <a:cubicBezTo>
                      <a:pt x="1906" y="115"/>
                      <a:pt x="1906" y="115"/>
                      <a:pt x="1906" y="115"/>
                    </a:cubicBezTo>
                    <a:cubicBezTo>
                      <a:pt x="1905" y="116"/>
                      <a:pt x="1905" y="116"/>
                      <a:pt x="1905" y="116"/>
                    </a:cubicBezTo>
                    <a:cubicBezTo>
                      <a:pt x="1903" y="117"/>
                      <a:pt x="1903" y="117"/>
                      <a:pt x="1903" y="117"/>
                    </a:cubicBezTo>
                    <a:cubicBezTo>
                      <a:pt x="1902" y="119"/>
                      <a:pt x="1902" y="119"/>
                      <a:pt x="1902" y="119"/>
                    </a:cubicBezTo>
                    <a:cubicBezTo>
                      <a:pt x="1904" y="118"/>
                      <a:pt x="1904" y="118"/>
                      <a:pt x="1904" y="118"/>
                    </a:cubicBezTo>
                    <a:cubicBezTo>
                      <a:pt x="1906" y="117"/>
                      <a:pt x="1906" y="117"/>
                      <a:pt x="1906" y="117"/>
                    </a:cubicBezTo>
                    <a:cubicBezTo>
                      <a:pt x="1908" y="118"/>
                      <a:pt x="1908" y="118"/>
                      <a:pt x="1908" y="118"/>
                    </a:cubicBezTo>
                    <a:cubicBezTo>
                      <a:pt x="1910" y="117"/>
                      <a:pt x="1910" y="117"/>
                      <a:pt x="1910" y="117"/>
                    </a:cubicBezTo>
                    <a:cubicBezTo>
                      <a:pt x="1912" y="116"/>
                      <a:pt x="1912" y="116"/>
                      <a:pt x="1912" y="116"/>
                    </a:cubicBezTo>
                    <a:cubicBezTo>
                      <a:pt x="1913" y="115"/>
                      <a:pt x="1913" y="115"/>
                      <a:pt x="1913" y="115"/>
                    </a:cubicBezTo>
                    <a:cubicBezTo>
                      <a:pt x="1916" y="113"/>
                      <a:pt x="1916" y="113"/>
                      <a:pt x="1916" y="113"/>
                    </a:cubicBezTo>
                    <a:cubicBezTo>
                      <a:pt x="1917" y="113"/>
                      <a:pt x="1917" y="113"/>
                      <a:pt x="1917" y="113"/>
                    </a:cubicBezTo>
                    <a:cubicBezTo>
                      <a:pt x="1919" y="111"/>
                      <a:pt x="1919" y="111"/>
                      <a:pt x="1919" y="111"/>
                    </a:cubicBezTo>
                    <a:cubicBezTo>
                      <a:pt x="1921" y="110"/>
                      <a:pt x="1921" y="110"/>
                      <a:pt x="1921" y="110"/>
                    </a:cubicBezTo>
                    <a:cubicBezTo>
                      <a:pt x="1926" y="108"/>
                      <a:pt x="1926" y="108"/>
                      <a:pt x="1926" y="108"/>
                    </a:cubicBezTo>
                    <a:cubicBezTo>
                      <a:pt x="1928" y="107"/>
                      <a:pt x="1928" y="107"/>
                      <a:pt x="1928" y="107"/>
                    </a:cubicBezTo>
                    <a:cubicBezTo>
                      <a:pt x="1929" y="107"/>
                      <a:pt x="1929" y="107"/>
                      <a:pt x="1929" y="107"/>
                    </a:cubicBezTo>
                    <a:cubicBezTo>
                      <a:pt x="1932" y="105"/>
                      <a:pt x="1932" y="105"/>
                      <a:pt x="1932" y="105"/>
                    </a:cubicBezTo>
                    <a:cubicBezTo>
                      <a:pt x="1934" y="105"/>
                      <a:pt x="1934" y="105"/>
                      <a:pt x="1934" y="105"/>
                    </a:cubicBezTo>
                    <a:cubicBezTo>
                      <a:pt x="1937" y="105"/>
                      <a:pt x="1937" y="105"/>
                      <a:pt x="1937" y="105"/>
                    </a:cubicBezTo>
                    <a:cubicBezTo>
                      <a:pt x="1943" y="107"/>
                      <a:pt x="1943" y="107"/>
                      <a:pt x="1943" y="107"/>
                    </a:cubicBezTo>
                    <a:cubicBezTo>
                      <a:pt x="1945" y="110"/>
                      <a:pt x="1945" y="110"/>
                      <a:pt x="1945" y="110"/>
                    </a:cubicBezTo>
                    <a:cubicBezTo>
                      <a:pt x="1948" y="111"/>
                      <a:pt x="1948" y="111"/>
                      <a:pt x="1948" y="111"/>
                    </a:cubicBezTo>
                    <a:cubicBezTo>
                      <a:pt x="1950" y="114"/>
                      <a:pt x="1950" y="114"/>
                      <a:pt x="1950" y="114"/>
                    </a:cubicBezTo>
                    <a:cubicBezTo>
                      <a:pt x="1952" y="116"/>
                      <a:pt x="1952" y="116"/>
                      <a:pt x="1952" y="116"/>
                    </a:cubicBezTo>
                    <a:cubicBezTo>
                      <a:pt x="1952" y="117"/>
                      <a:pt x="1952" y="117"/>
                      <a:pt x="1952" y="117"/>
                    </a:cubicBezTo>
                    <a:cubicBezTo>
                      <a:pt x="1952" y="118"/>
                      <a:pt x="1952" y="118"/>
                      <a:pt x="1952" y="118"/>
                    </a:cubicBezTo>
                    <a:cubicBezTo>
                      <a:pt x="1952" y="120"/>
                      <a:pt x="1952" y="120"/>
                      <a:pt x="1952" y="120"/>
                    </a:cubicBezTo>
                    <a:cubicBezTo>
                      <a:pt x="1953" y="122"/>
                      <a:pt x="1953" y="122"/>
                      <a:pt x="1953" y="122"/>
                    </a:cubicBezTo>
                    <a:cubicBezTo>
                      <a:pt x="1954" y="123"/>
                      <a:pt x="1954" y="123"/>
                      <a:pt x="1954" y="123"/>
                    </a:cubicBezTo>
                    <a:cubicBezTo>
                      <a:pt x="1953" y="125"/>
                      <a:pt x="1953" y="125"/>
                      <a:pt x="1953" y="125"/>
                    </a:cubicBezTo>
                    <a:cubicBezTo>
                      <a:pt x="1954" y="124"/>
                      <a:pt x="1954" y="124"/>
                      <a:pt x="1954" y="124"/>
                    </a:cubicBezTo>
                    <a:cubicBezTo>
                      <a:pt x="1956" y="123"/>
                      <a:pt x="1956" y="123"/>
                      <a:pt x="1956" y="123"/>
                    </a:cubicBezTo>
                    <a:cubicBezTo>
                      <a:pt x="1957" y="123"/>
                      <a:pt x="1957" y="123"/>
                      <a:pt x="1957" y="123"/>
                    </a:cubicBezTo>
                    <a:cubicBezTo>
                      <a:pt x="1958" y="123"/>
                      <a:pt x="1958" y="123"/>
                      <a:pt x="1958" y="123"/>
                    </a:cubicBezTo>
                    <a:cubicBezTo>
                      <a:pt x="1958" y="122"/>
                      <a:pt x="1958" y="122"/>
                      <a:pt x="1958" y="122"/>
                    </a:cubicBezTo>
                    <a:cubicBezTo>
                      <a:pt x="1960" y="122"/>
                      <a:pt x="1960" y="122"/>
                      <a:pt x="1960" y="122"/>
                    </a:cubicBezTo>
                    <a:cubicBezTo>
                      <a:pt x="1961" y="123"/>
                      <a:pt x="1961" y="123"/>
                      <a:pt x="1961" y="123"/>
                    </a:cubicBezTo>
                    <a:cubicBezTo>
                      <a:pt x="1962" y="125"/>
                      <a:pt x="1962" y="125"/>
                      <a:pt x="1962" y="125"/>
                    </a:cubicBezTo>
                    <a:cubicBezTo>
                      <a:pt x="1962" y="123"/>
                      <a:pt x="1962" y="123"/>
                      <a:pt x="1962" y="123"/>
                    </a:cubicBezTo>
                    <a:cubicBezTo>
                      <a:pt x="1962" y="121"/>
                      <a:pt x="1962" y="121"/>
                      <a:pt x="1962" y="121"/>
                    </a:cubicBezTo>
                    <a:cubicBezTo>
                      <a:pt x="1963" y="121"/>
                      <a:pt x="1963" y="121"/>
                      <a:pt x="1963" y="121"/>
                    </a:cubicBezTo>
                    <a:cubicBezTo>
                      <a:pt x="1964" y="123"/>
                      <a:pt x="1964" y="123"/>
                      <a:pt x="1964" y="123"/>
                    </a:cubicBezTo>
                    <a:cubicBezTo>
                      <a:pt x="1966" y="125"/>
                      <a:pt x="1966" y="125"/>
                      <a:pt x="1966" y="125"/>
                    </a:cubicBezTo>
                    <a:cubicBezTo>
                      <a:pt x="1966" y="127"/>
                      <a:pt x="1966" y="127"/>
                      <a:pt x="1966" y="127"/>
                    </a:cubicBezTo>
                    <a:cubicBezTo>
                      <a:pt x="1967" y="127"/>
                      <a:pt x="1967" y="127"/>
                      <a:pt x="1967" y="127"/>
                    </a:cubicBezTo>
                    <a:cubicBezTo>
                      <a:pt x="1969" y="130"/>
                      <a:pt x="1969" y="130"/>
                      <a:pt x="1969" y="130"/>
                    </a:cubicBezTo>
                    <a:cubicBezTo>
                      <a:pt x="1969" y="129"/>
                      <a:pt x="1969" y="129"/>
                      <a:pt x="1969" y="129"/>
                    </a:cubicBezTo>
                    <a:cubicBezTo>
                      <a:pt x="1968" y="127"/>
                      <a:pt x="1968" y="127"/>
                      <a:pt x="1968" y="127"/>
                    </a:cubicBezTo>
                    <a:cubicBezTo>
                      <a:pt x="1967" y="126"/>
                      <a:pt x="1967" y="126"/>
                      <a:pt x="1967" y="126"/>
                    </a:cubicBezTo>
                    <a:cubicBezTo>
                      <a:pt x="1967" y="125"/>
                      <a:pt x="1967" y="125"/>
                      <a:pt x="1967" y="125"/>
                    </a:cubicBezTo>
                    <a:cubicBezTo>
                      <a:pt x="1968" y="126"/>
                      <a:pt x="1968" y="126"/>
                      <a:pt x="1968" y="126"/>
                    </a:cubicBezTo>
                    <a:cubicBezTo>
                      <a:pt x="1969" y="126"/>
                      <a:pt x="1969" y="126"/>
                      <a:pt x="1969" y="126"/>
                    </a:cubicBezTo>
                    <a:cubicBezTo>
                      <a:pt x="1971" y="127"/>
                      <a:pt x="1971" y="127"/>
                      <a:pt x="1971" y="127"/>
                    </a:cubicBezTo>
                    <a:cubicBezTo>
                      <a:pt x="1972" y="129"/>
                      <a:pt x="1972" y="129"/>
                      <a:pt x="1972" y="129"/>
                    </a:cubicBezTo>
                    <a:cubicBezTo>
                      <a:pt x="1972" y="127"/>
                      <a:pt x="1972" y="127"/>
                      <a:pt x="1972" y="127"/>
                    </a:cubicBezTo>
                    <a:cubicBezTo>
                      <a:pt x="1970" y="124"/>
                      <a:pt x="1970" y="124"/>
                      <a:pt x="1970" y="124"/>
                    </a:cubicBezTo>
                    <a:cubicBezTo>
                      <a:pt x="1970" y="121"/>
                      <a:pt x="1970" y="121"/>
                      <a:pt x="1970" y="121"/>
                    </a:cubicBezTo>
                    <a:cubicBezTo>
                      <a:pt x="1970" y="119"/>
                      <a:pt x="1970" y="119"/>
                      <a:pt x="1970" y="119"/>
                    </a:cubicBezTo>
                    <a:cubicBezTo>
                      <a:pt x="1971" y="117"/>
                      <a:pt x="1971" y="117"/>
                      <a:pt x="1971" y="117"/>
                    </a:cubicBezTo>
                    <a:cubicBezTo>
                      <a:pt x="1974" y="117"/>
                      <a:pt x="1974" y="117"/>
                      <a:pt x="1974" y="117"/>
                    </a:cubicBezTo>
                    <a:cubicBezTo>
                      <a:pt x="1975" y="116"/>
                      <a:pt x="1975" y="116"/>
                      <a:pt x="1975" y="116"/>
                    </a:cubicBezTo>
                    <a:cubicBezTo>
                      <a:pt x="1977" y="115"/>
                      <a:pt x="1977" y="115"/>
                      <a:pt x="1977" y="115"/>
                    </a:cubicBezTo>
                    <a:cubicBezTo>
                      <a:pt x="1977" y="114"/>
                      <a:pt x="1977" y="114"/>
                      <a:pt x="1977" y="114"/>
                    </a:cubicBezTo>
                    <a:cubicBezTo>
                      <a:pt x="1978" y="114"/>
                      <a:pt x="1978" y="114"/>
                      <a:pt x="1978" y="114"/>
                    </a:cubicBezTo>
                    <a:cubicBezTo>
                      <a:pt x="1979" y="115"/>
                      <a:pt x="1979" y="115"/>
                      <a:pt x="1979" y="115"/>
                    </a:cubicBezTo>
                    <a:cubicBezTo>
                      <a:pt x="1981" y="115"/>
                      <a:pt x="1981" y="115"/>
                      <a:pt x="1981" y="115"/>
                    </a:cubicBezTo>
                    <a:cubicBezTo>
                      <a:pt x="1982" y="115"/>
                      <a:pt x="1982" y="115"/>
                      <a:pt x="1982" y="115"/>
                    </a:cubicBezTo>
                    <a:cubicBezTo>
                      <a:pt x="1984" y="113"/>
                      <a:pt x="1984" y="113"/>
                      <a:pt x="1984" y="113"/>
                    </a:cubicBezTo>
                    <a:cubicBezTo>
                      <a:pt x="1985" y="114"/>
                      <a:pt x="1985" y="114"/>
                      <a:pt x="1985" y="114"/>
                    </a:cubicBezTo>
                    <a:cubicBezTo>
                      <a:pt x="1987" y="113"/>
                      <a:pt x="1987" y="113"/>
                      <a:pt x="1987" y="113"/>
                    </a:cubicBezTo>
                    <a:cubicBezTo>
                      <a:pt x="1990" y="113"/>
                      <a:pt x="1990" y="113"/>
                      <a:pt x="1990" y="113"/>
                    </a:cubicBezTo>
                    <a:cubicBezTo>
                      <a:pt x="1991" y="112"/>
                      <a:pt x="1991" y="112"/>
                      <a:pt x="1991" y="112"/>
                    </a:cubicBezTo>
                    <a:cubicBezTo>
                      <a:pt x="1992" y="112"/>
                      <a:pt x="1992" y="112"/>
                      <a:pt x="1992" y="112"/>
                    </a:cubicBezTo>
                    <a:cubicBezTo>
                      <a:pt x="1992" y="113"/>
                      <a:pt x="1992" y="113"/>
                      <a:pt x="1992" y="113"/>
                    </a:cubicBezTo>
                    <a:cubicBezTo>
                      <a:pt x="1993" y="114"/>
                      <a:pt x="1993" y="114"/>
                      <a:pt x="1993" y="114"/>
                    </a:cubicBezTo>
                    <a:cubicBezTo>
                      <a:pt x="1993" y="113"/>
                      <a:pt x="1993" y="113"/>
                      <a:pt x="1993" y="113"/>
                    </a:cubicBezTo>
                    <a:cubicBezTo>
                      <a:pt x="1995" y="111"/>
                      <a:pt x="1995" y="111"/>
                      <a:pt x="1995" y="111"/>
                    </a:cubicBezTo>
                    <a:cubicBezTo>
                      <a:pt x="1994" y="110"/>
                      <a:pt x="1994" y="110"/>
                      <a:pt x="1994" y="110"/>
                    </a:cubicBezTo>
                    <a:cubicBezTo>
                      <a:pt x="1994" y="108"/>
                      <a:pt x="1994" y="108"/>
                      <a:pt x="1994" y="108"/>
                    </a:cubicBezTo>
                    <a:cubicBezTo>
                      <a:pt x="1995" y="107"/>
                      <a:pt x="1995" y="107"/>
                      <a:pt x="1995" y="107"/>
                    </a:cubicBezTo>
                    <a:cubicBezTo>
                      <a:pt x="1995" y="106"/>
                      <a:pt x="1995" y="106"/>
                      <a:pt x="1995" y="106"/>
                    </a:cubicBezTo>
                    <a:cubicBezTo>
                      <a:pt x="1995" y="106"/>
                      <a:pt x="1995" y="106"/>
                      <a:pt x="1994" y="106"/>
                    </a:cubicBezTo>
                    <a:cubicBezTo>
                      <a:pt x="1994" y="106"/>
                      <a:pt x="1994" y="106"/>
                      <a:pt x="1994" y="105"/>
                    </a:cubicBezTo>
                    <a:cubicBezTo>
                      <a:pt x="1994" y="105"/>
                      <a:pt x="1994" y="105"/>
                      <a:pt x="1994" y="103"/>
                    </a:cubicBezTo>
                    <a:cubicBezTo>
                      <a:pt x="1994" y="103"/>
                      <a:pt x="1994" y="103"/>
                      <a:pt x="1994" y="102"/>
                    </a:cubicBezTo>
                    <a:cubicBezTo>
                      <a:pt x="1994" y="102"/>
                      <a:pt x="1994" y="102"/>
                      <a:pt x="1995" y="102"/>
                    </a:cubicBezTo>
                    <a:cubicBezTo>
                      <a:pt x="1995" y="102"/>
                      <a:pt x="1995" y="102"/>
                      <a:pt x="1995" y="101"/>
                    </a:cubicBezTo>
                    <a:cubicBezTo>
                      <a:pt x="1995" y="101"/>
                      <a:pt x="1995" y="101"/>
                      <a:pt x="1996" y="101"/>
                    </a:cubicBezTo>
                    <a:cubicBezTo>
                      <a:pt x="1996" y="101"/>
                      <a:pt x="1996" y="101"/>
                      <a:pt x="1997" y="101"/>
                    </a:cubicBezTo>
                    <a:cubicBezTo>
                      <a:pt x="1997" y="101"/>
                      <a:pt x="1997" y="101"/>
                      <a:pt x="1998" y="102"/>
                    </a:cubicBezTo>
                    <a:cubicBezTo>
                      <a:pt x="1998" y="102"/>
                      <a:pt x="1998" y="102"/>
                      <a:pt x="1999" y="102"/>
                    </a:cubicBezTo>
                    <a:cubicBezTo>
                      <a:pt x="1999" y="102"/>
                      <a:pt x="1999" y="102"/>
                      <a:pt x="1999" y="101"/>
                    </a:cubicBezTo>
                    <a:cubicBezTo>
                      <a:pt x="1999" y="101"/>
                      <a:pt x="1999" y="101"/>
                      <a:pt x="2001" y="102"/>
                    </a:cubicBezTo>
                    <a:cubicBezTo>
                      <a:pt x="2001" y="102"/>
                      <a:pt x="2001" y="102"/>
                      <a:pt x="2001" y="103"/>
                    </a:cubicBezTo>
                    <a:cubicBezTo>
                      <a:pt x="2001" y="103"/>
                      <a:pt x="2001" y="103"/>
                      <a:pt x="2001" y="104"/>
                    </a:cubicBezTo>
                    <a:cubicBezTo>
                      <a:pt x="2001" y="104"/>
                      <a:pt x="2001" y="104"/>
                      <a:pt x="2002" y="105"/>
                    </a:cubicBezTo>
                    <a:cubicBezTo>
                      <a:pt x="2002" y="105"/>
                      <a:pt x="2002" y="105"/>
                      <a:pt x="2002" y="106"/>
                    </a:cubicBezTo>
                    <a:cubicBezTo>
                      <a:pt x="2002" y="106"/>
                      <a:pt x="2002" y="106"/>
                      <a:pt x="2001" y="107"/>
                    </a:cubicBezTo>
                    <a:cubicBezTo>
                      <a:pt x="2001" y="107"/>
                      <a:pt x="2001" y="107"/>
                      <a:pt x="2000" y="108"/>
                    </a:cubicBezTo>
                    <a:cubicBezTo>
                      <a:pt x="2000" y="108"/>
                      <a:pt x="2000" y="108"/>
                      <a:pt x="1998" y="107"/>
                    </a:cubicBezTo>
                    <a:cubicBezTo>
                      <a:pt x="1998" y="107"/>
                      <a:pt x="1998" y="107"/>
                      <a:pt x="1997" y="106"/>
                    </a:cubicBezTo>
                    <a:cubicBezTo>
                      <a:pt x="1998" y="108"/>
                      <a:pt x="1998" y="108"/>
                      <a:pt x="1998" y="108"/>
                    </a:cubicBezTo>
                    <a:cubicBezTo>
                      <a:pt x="1998" y="109"/>
                      <a:pt x="1998" y="109"/>
                      <a:pt x="1998" y="109"/>
                    </a:cubicBezTo>
                    <a:cubicBezTo>
                      <a:pt x="2000" y="109"/>
                      <a:pt x="2000" y="109"/>
                      <a:pt x="2000" y="109"/>
                    </a:cubicBezTo>
                    <a:cubicBezTo>
                      <a:pt x="2001" y="110"/>
                      <a:pt x="2001" y="110"/>
                      <a:pt x="2001" y="110"/>
                    </a:cubicBezTo>
                    <a:cubicBezTo>
                      <a:pt x="2001" y="111"/>
                      <a:pt x="2001" y="111"/>
                      <a:pt x="2001" y="111"/>
                    </a:cubicBezTo>
                    <a:cubicBezTo>
                      <a:pt x="2003" y="113"/>
                      <a:pt x="2003" y="113"/>
                      <a:pt x="2003" y="113"/>
                    </a:cubicBezTo>
                    <a:cubicBezTo>
                      <a:pt x="2004" y="114"/>
                      <a:pt x="2004" y="114"/>
                      <a:pt x="2004" y="114"/>
                    </a:cubicBezTo>
                    <a:cubicBezTo>
                      <a:pt x="2005" y="114"/>
                      <a:pt x="2005" y="114"/>
                      <a:pt x="2005" y="114"/>
                    </a:cubicBezTo>
                    <a:cubicBezTo>
                      <a:pt x="2008" y="114"/>
                      <a:pt x="2008" y="114"/>
                      <a:pt x="2008" y="114"/>
                    </a:cubicBezTo>
                    <a:cubicBezTo>
                      <a:pt x="2009" y="114"/>
                      <a:pt x="2009" y="114"/>
                      <a:pt x="2009" y="114"/>
                    </a:cubicBezTo>
                    <a:cubicBezTo>
                      <a:pt x="2010" y="114"/>
                      <a:pt x="2010" y="114"/>
                      <a:pt x="2010" y="114"/>
                    </a:cubicBezTo>
                    <a:cubicBezTo>
                      <a:pt x="2012" y="117"/>
                      <a:pt x="2012" y="117"/>
                      <a:pt x="2012" y="117"/>
                    </a:cubicBezTo>
                    <a:cubicBezTo>
                      <a:pt x="2012" y="118"/>
                      <a:pt x="2012" y="118"/>
                      <a:pt x="2012" y="118"/>
                    </a:cubicBezTo>
                    <a:cubicBezTo>
                      <a:pt x="2013" y="119"/>
                      <a:pt x="2013" y="119"/>
                      <a:pt x="2013" y="119"/>
                    </a:cubicBezTo>
                    <a:cubicBezTo>
                      <a:pt x="2015" y="119"/>
                      <a:pt x="2015" y="119"/>
                      <a:pt x="2015" y="119"/>
                    </a:cubicBezTo>
                    <a:cubicBezTo>
                      <a:pt x="2016" y="119"/>
                      <a:pt x="2016" y="119"/>
                      <a:pt x="2016" y="119"/>
                    </a:cubicBezTo>
                    <a:cubicBezTo>
                      <a:pt x="2017" y="118"/>
                      <a:pt x="2017" y="118"/>
                      <a:pt x="2017" y="118"/>
                    </a:cubicBezTo>
                    <a:cubicBezTo>
                      <a:pt x="2017" y="117"/>
                      <a:pt x="2017" y="117"/>
                      <a:pt x="2017" y="117"/>
                    </a:cubicBezTo>
                    <a:cubicBezTo>
                      <a:pt x="2019" y="116"/>
                      <a:pt x="2019" y="116"/>
                      <a:pt x="2019" y="116"/>
                    </a:cubicBezTo>
                    <a:cubicBezTo>
                      <a:pt x="2019" y="117"/>
                      <a:pt x="2019" y="117"/>
                      <a:pt x="2019" y="117"/>
                    </a:cubicBezTo>
                    <a:cubicBezTo>
                      <a:pt x="2020" y="116"/>
                      <a:pt x="2020" y="116"/>
                      <a:pt x="2020" y="116"/>
                    </a:cubicBezTo>
                    <a:cubicBezTo>
                      <a:pt x="2019" y="115"/>
                      <a:pt x="2019" y="115"/>
                      <a:pt x="2019" y="115"/>
                    </a:cubicBezTo>
                    <a:cubicBezTo>
                      <a:pt x="2020" y="115"/>
                      <a:pt x="2020" y="115"/>
                      <a:pt x="2020" y="115"/>
                    </a:cubicBezTo>
                    <a:cubicBezTo>
                      <a:pt x="2019" y="114"/>
                      <a:pt x="2019" y="114"/>
                      <a:pt x="2019" y="114"/>
                    </a:cubicBezTo>
                    <a:cubicBezTo>
                      <a:pt x="2019" y="113"/>
                      <a:pt x="2019" y="113"/>
                      <a:pt x="2019" y="113"/>
                    </a:cubicBezTo>
                    <a:cubicBezTo>
                      <a:pt x="2018" y="111"/>
                      <a:pt x="2018" y="111"/>
                      <a:pt x="2018" y="111"/>
                    </a:cubicBezTo>
                    <a:cubicBezTo>
                      <a:pt x="2016" y="111"/>
                      <a:pt x="2016" y="111"/>
                      <a:pt x="2016" y="111"/>
                    </a:cubicBezTo>
                    <a:cubicBezTo>
                      <a:pt x="2016" y="109"/>
                      <a:pt x="2016" y="109"/>
                      <a:pt x="2016" y="109"/>
                    </a:cubicBezTo>
                    <a:cubicBezTo>
                      <a:pt x="2014" y="106"/>
                      <a:pt x="2014" y="106"/>
                      <a:pt x="2014" y="106"/>
                    </a:cubicBezTo>
                    <a:cubicBezTo>
                      <a:pt x="2013" y="106"/>
                      <a:pt x="2013" y="106"/>
                      <a:pt x="2013" y="106"/>
                    </a:cubicBezTo>
                    <a:cubicBezTo>
                      <a:pt x="2012" y="105"/>
                      <a:pt x="2012" y="105"/>
                      <a:pt x="2012" y="105"/>
                    </a:cubicBezTo>
                    <a:cubicBezTo>
                      <a:pt x="2010" y="104"/>
                      <a:pt x="2010" y="104"/>
                      <a:pt x="2010" y="104"/>
                    </a:cubicBezTo>
                    <a:cubicBezTo>
                      <a:pt x="2009" y="105"/>
                      <a:pt x="2009" y="105"/>
                      <a:pt x="2009" y="105"/>
                    </a:cubicBezTo>
                    <a:cubicBezTo>
                      <a:pt x="2008" y="105"/>
                      <a:pt x="2008" y="105"/>
                      <a:pt x="2008" y="105"/>
                    </a:cubicBezTo>
                    <a:cubicBezTo>
                      <a:pt x="2008" y="104"/>
                      <a:pt x="2008" y="104"/>
                      <a:pt x="2008" y="104"/>
                    </a:cubicBezTo>
                    <a:cubicBezTo>
                      <a:pt x="2009" y="103"/>
                      <a:pt x="2009" y="103"/>
                      <a:pt x="2009" y="103"/>
                    </a:cubicBezTo>
                    <a:cubicBezTo>
                      <a:pt x="2008" y="101"/>
                      <a:pt x="2008" y="101"/>
                      <a:pt x="2008" y="101"/>
                    </a:cubicBezTo>
                    <a:cubicBezTo>
                      <a:pt x="2007" y="100"/>
                      <a:pt x="2007" y="100"/>
                      <a:pt x="2007" y="100"/>
                    </a:cubicBezTo>
                    <a:cubicBezTo>
                      <a:pt x="2007" y="99"/>
                      <a:pt x="2007" y="99"/>
                      <a:pt x="2007" y="99"/>
                    </a:cubicBezTo>
                    <a:cubicBezTo>
                      <a:pt x="2006" y="97"/>
                      <a:pt x="2006" y="97"/>
                      <a:pt x="2006" y="97"/>
                    </a:cubicBezTo>
                    <a:cubicBezTo>
                      <a:pt x="2004" y="96"/>
                      <a:pt x="2004" y="96"/>
                      <a:pt x="2004" y="96"/>
                    </a:cubicBezTo>
                    <a:cubicBezTo>
                      <a:pt x="2004" y="95"/>
                      <a:pt x="2004" y="95"/>
                      <a:pt x="2004" y="95"/>
                    </a:cubicBezTo>
                    <a:cubicBezTo>
                      <a:pt x="2007" y="95"/>
                      <a:pt x="2007" y="95"/>
                      <a:pt x="2007" y="95"/>
                    </a:cubicBezTo>
                    <a:cubicBezTo>
                      <a:pt x="2008" y="95"/>
                      <a:pt x="2008" y="95"/>
                      <a:pt x="2008" y="95"/>
                    </a:cubicBezTo>
                    <a:cubicBezTo>
                      <a:pt x="2011" y="95"/>
                      <a:pt x="2011" y="95"/>
                      <a:pt x="2011" y="95"/>
                    </a:cubicBezTo>
                    <a:cubicBezTo>
                      <a:pt x="2014" y="95"/>
                      <a:pt x="2014" y="95"/>
                      <a:pt x="2014" y="95"/>
                    </a:cubicBezTo>
                    <a:cubicBezTo>
                      <a:pt x="2014" y="94"/>
                      <a:pt x="2014" y="94"/>
                      <a:pt x="2014" y="94"/>
                    </a:cubicBezTo>
                    <a:cubicBezTo>
                      <a:pt x="2016" y="94"/>
                      <a:pt x="2016" y="94"/>
                      <a:pt x="2016" y="94"/>
                    </a:cubicBezTo>
                    <a:cubicBezTo>
                      <a:pt x="2017" y="95"/>
                      <a:pt x="2017" y="95"/>
                      <a:pt x="2017" y="95"/>
                    </a:cubicBezTo>
                    <a:cubicBezTo>
                      <a:pt x="2018" y="94"/>
                      <a:pt x="2018" y="94"/>
                      <a:pt x="2018" y="94"/>
                    </a:cubicBezTo>
                    <a:cubicBezTo>
                      <a:pt x="2019" y="94"/>
                      <a:pt x="2019" y="94"/>
                      <a:pt x="2019" y="94"/>
                    </a:cubicBezTo>
                    <a:cubicBezTo>
                      <a:pt x="2019" y="93"/>
                      <a:pt x="2019" y="93"/>
                      <a:pt x="2019" y="93"/>
                    </a:cubicBezTo>
                    <a:cubicBezTo>
                      <a:pt x="2021" y="93"/>
                      <a:pt x="2021" y="93"/>
                      <a:pt x="2021" y="93"/>
                    </a:cubicBezTo>
                    <a:cubicBezTo>
                      <a:pt x="2022" y="94"/>
                      <a:pt x="2022" y="94"/>
                      <a:pt x="2022" y="94"/>
                    </a:cubicBezTo>
                    <a:cubicBezTo>
                      <a:pt x="2023" y="92"/>
                      <a:pt x="2023" y="92"/>
                      <a:pt x="2023" y="92"/>
                    </a:cubicBezTo>
                    <a:cubicBezTo>
                      <a:pt x="2024" y="93"/>
                      <a:pt x="2024" y="93"/>
                      <a:pt x="2024" y="93"/>
                    </a:cubicBezTo>
                    <a:cubicBezTo>
                      <a:pt x="2024" y="92"/>
                      <a:pt x="2024" y="92"/>
                      <a:pt x="2024" y="92"/>
                    </a:cubicBezTo>
                    <a:cubicBezTo>
                      <a:pt x="2029" y="90"/>
                      <a:pt x="2029" y="90"/>
                      <a:pt x="2029" y="90"/>
                    </a:cubicBezTo>
                    <a:cubicBezTo>
                      <a:pt x="2030" y="92"/>
                      <a:pt x="2030" y="92"/>
                      <a:pt x="2030" y="92"/>
                    </a:cubicBezTo>
                    <a:cubicBezTo>
                      <a:pt x="2030" y="91"/>
                      <a:pt x="2030" y="91"/>
                      <a:pt x="2030" y="91"/>
                    </a:cubicBezTo>
                    <a:cubicBezTo>
                      <a:pt x="2031" y="89"/>
                      <a:pt x="2031" y="89"/>
                      <a:pt x="2031" y="89"/>
                    </a:cubicBezTo>
                    <a:cubicBezTo>
                      <a:pt x="2031" y="90"/>
                      <a:pt x="2031" y="90"/>
                      <a:pt x="2031" y="90"/>
                    </a:cubicBezTo>
                    <a:cubicBezTo>
                      <a:pt x="2033" y="90"/>
                      <a:pt x="2033" y="90"/>
                      <a:pt x="2033" y="90"/>
                    </a:cubicBezTo>
                    <a:cubicBezTo>
                      <a:pt x="2034" y="89"/>
                      <a:pt x="2034" y="89"/>
                      <a:pt x="2034" y="89"/>
                    </a:cubicBezTo>
                    <a:cubicBezTo>
                      <a:pt x="2035" y="90"/>
                      <a:pt x="2035" y="90"/>
                      <a:pt x="2035" y="90"/>
                    </a:cubicBezTo>
                    <a:cubicBezTo>
                      <a:pt x="2037" y="90"/>
                      <a:pt x="2037" y="90"/>
                      <a:pt x="2037" y="90"/>
                    </a:cubicBezTo>
                    <a:cubicBezTo>
                      <a:pt x="2038" y="90"/>
                      <a:pt x="2038" y="90"/>
                      <a:pt x="2038" y="90"/>
                    </a:cubicBezTo>
                    <a:cubicBezTo>
                      <a:pt x="2039" y="91"/>
                      <a:pt x="2039" y="91"/>
                      <a:pt x="2039" y="91"/>
                    </a:cubicBezTo>
                    <a:cubicBezTo>
                      <a:pt x="2040" y="91"/>
                      <a:pt x="2040" y="91"/>
                      <a:pt x="2040" y="91"/>
                    </a:cubicBezTo>
                    <a:cubicBezTo>
                      <a:pt x="2041" y="90"/>
                      <a:pt x="2041" y="90"/>
                      <a:pt x="2041" y="90"/>
                    </a:cubicBezTo>
                    <a:cubicBezTo>
                      <a:pt x="2043" y="90"/>
                      <a:pt x="2043" y="90"/>
                      <a:pt x="2043" y="90"/>
                    </a:cubicBezTo>
                    <a:cubicBezTo>
                      <a:pt x="2047" y="91"/>
                      <a:pt x="2047" y="91"/>
                      <a:pt x="2047" y="91"/>
                    </a:cubicBezTo>
                    <a:cubicBezTo>
                      <a:pt x="2048" y="92"/>
                      <a:pt x="2048" y="92"/>
                      <a:pt x="2048" y="92"/>
                    </a:cubicBezTo>
                    <a:cubicBezTo>
                      <a:pt x="2049" y="92"/>
                      <a:pt x="2049" y="92"/>
                      <a:pt x="2049" y="92"/>
                    </a:cubicBezTo>
                    <a:cubicBezTo>
                      <a:pt x="2048" y="91"/>
                      <a:pt x="2048" y="91"/>
                      <a:pt x="2048" y="91"/>
                    </a:cubicBezTo>
                    <a:cubicBezTo>
                      <a:pt x="2050" y="91"/>
                      <a:pt x="2050" y="91"/>
                      <a:pt x="2050" y="91"/>
                    </a:cubicBezTo>
                    <a:cubicBezTo>
                      <a:pt x="2051" y="92"/>
                      <a:pt x="2051" y="92"/>
                      <a:pt x="2051" y="92"/>
                    </a:cubicBezTo>
                    <a:cubicBezTo>
                      <a:pt x="2050" y="92"/>
                      <a:pt x="2050" y="92"/>
                      <a:pt x="2050" y="92"/>
                    </a:cubicBezTo>
                    <a:cubicBezTo>
                      <a:pt x="2051" y="93"/>
                      <a:pt x="2051" y="93"/>
                      <a:pt x="2051" y="93"/>
                    </a:cubicBezTo>
                    <a:cubicBezTo>
                      <a:pt x="2053" y="92"/>
                      <a:pt x="2053" y="92"/>
                      <a:pt x="2053" y="92"/>
                    </a:cubicBezTo>
                    <a:cubicBezTo>
                      <a:pt x="2057" y="93"/>
                      <a:pt x="2057" y="93"/>
                      <a:pt x="2057" y="93"/>
                    </a:cubicBezTo>
                    <a:cubicBezTo>
                      <a:pt x="2060" y="95"/>
                      <a:pt x="2060" y="95"/>
                      <a:pt x="2060" y="95"/>
                    </a:cubicBezTo>
                    <a:cubicBezTo>
                      <a:pt x="2060" y="96"/>
                      <a:pt x="2060" y="96"/>
                      <a:pt x="2060" y="96"/>
                    </a:cubicBezTo>
                    <a:cubicBezTo>
                      <a:pt x="2060" y="96"/>
                      <a:pt x="2060" y="96"/>
                      <a:pt x="2060" y="96"/>
                    </a:cubicBezTo>
                    <a:cubicBezTo>
                      <a:pt x="2059" y="95"/>
                      <a:pt x="2059" y="95"/>
                      <a:pt x="2059" y="95"/>
                    </a:cubicBezTo>
                    <a:cubicBezTo>
                      <a:pt x="2057" y="94"/>
                      <a:pt x="2057" y="94"/>
                      <a:pt x="2057" y="94"/>
                    </a:cubicBezTo>
                    <a:cubicBezTo>
                      <a:pt x="2057" y="95"/>
                      <a:pt x="2057" y="95"/>
                      <a:pt x="2057" y="95"/>
                    </a:cubicBezTo>
                    <a:cubicBezTo>
                      <a:pt x="2058" y="95"/>
                      <a:pt x="2059" y="96"/>
                      <a:pt x="2060" y="96"/>
                    </a:cubicBezTo>
                    <a:cubicBezTo>
                      <a:pt x="2060" y="96"/>
                      <a:pt x="2060" y="96"/>
                      <a:pt x="2060" y="96"/>
                    </a:cubicBezTo>
                    <a:cubicBezTo>
                      <a:pt x="2060" y="96"/>
                      <a:pt x="2060" y="96"/>
                      <a:pt x="2060" y="96"/>
                    </a:cubicBezTo>
                    <a:cubicBezTo>
                      <a:pt x="2061" y="96"/>
                      <a:pt x="2061" y="96"/>
                      <a:pt x="2061" y="96"/>
                    </a:cubicBezTo>
                    <a:cubicBezTo>
                      <a:pt x="2062" y="96"/>
                      <a:pt x="2062" y="96"/>
                      <a:pt x="2062" y="96"/>
                    </a:cubicBezTo>
                    <a:cubicBezTo>
                      <a:pt x="2063" y="95"/>
                      <a:pt x="2063" y="95"/>
                      <a:pt x="2063" y="95"/>
                    </a:cubicBezTo>
                    <a:cubicBezTo>
                      <a:pt x="2065" y="95"/>
                      <a:pt x="2065" y="95"/>
                      <a:pt x="2065" y="95"/>
                    </a:cubicBezTo>
                    <a:cubicBezTo>
                      <a:pt x="2066" y="95"/>
                      <a:pt x="2066" y="95"/>
                      <a:pt x="2066" y="95"/>
                    </a:cubicBezTo>
                    <a:cubicBezTo>
                      <a:pt x="2066" y="94"/>
                      <a:pt x="2066" y="94"/>
                      <a:pt x="2066" y="94"/>
                    </a:cubicBezTo>
                    <a:cubicBezTo>
                      <a:pt x="2067" y="94"/>
                      <a:pt x="2067" y="94"/>
                      <a:pt x="2067" y="94"/>
                    </a:cubicBezTo>
                    <a:cubicBezTo>
                      <a:pt x="2068" y="95"/>
                      <a:pt x="2068" y="95"/>
                      <a:pt x="2068" y="95"/>
                    </a:cubicBezTo>
                    <a:cubicBezTo>
                      <a:pt x="2069" y="95"/>
                      <a:pt x="2069" y="95"/>
                      <a:pt x="2069" y="95"/>
                    </a:cubicBezTo>
                    <a:cubicBezTo>
                      <a:pt x="2070" y="95"/>
                      <a:pt x="2070" y="95"/>
                      <a:pt x="2070" y="95"/>
                    </a:cubicBezTo>
                    <a:cubicBezTo>
                      <a:pt x="2070" y="94"/>
                      <a:pt x="2070" y="94"/>
                      <a:pt x="2070" y="94"/>
                    </a:cubicBezTo>
                    <a:cubicBezTo>
                      <a:pt x="2072" y="95"/>
                      <a:pt x="2072" y="95"/>
                      <a:pt x="2072" y="95"/>
                    </a:cubicBezTo>
                    <a:cubicBezTo>
                      <a:pt x="2072" y="96"/>
                      <a:pt x="2072" y="96"/>
                      <a:pt x="2072" y="96"/>
                    </a:cubicBezTo>
                    <a:cubicBezTo>
                      <a:pt x="2074" y="96"/>
                      <a:pt x="2074" y="96"/>
                      <a:pt x="2074" y="96"/>
                    </a:cubicBezTo>
                    <a:cubicBezTo>
                      <a:pt x="2075" y="96"/>
                      <a:pt x="2075" y="96"/>
                      <a:pt x="2075" y="96"/>
                    </a:cubicBezTo>
                    <a:cubicBezTo>
                      <a:pt x="2081" y="97"/>
                      <a:pt x="2081" y="97"/>
                      <a:pt x="2081" y="97"/>
                    </a:cubicBezTo>
                    <a:cubicBezTo>
                      <a:pt x="2080" y="96"/>
                      <a:pt x="2080" y="96"/>
                      <a:pt x="2080" y="96"/>
                    </a:cubicBezTo>
                    <a:cubicBezTo>
                      <a:pt x="2082" y="96"/>
                      <a:pt x="2082" y="96"/>
                      <a:pt x="2082" y="96"/>
                    </a:cubicBezTo>
                    <a:cubicBezTo>
                      <a:pt x="2083" y="97"/>
                      <a:pt x="2083" y="97"/>
                      <a:pt x="2083" y="97"/>
                    </a:cubicBezTo>
                    <a:cubicBezTo>
                      <a:pt x="2084" y="97"/>
                      <a:pt x="2084" y="97"/>
                      <a:pt x="2084" y="97"/>
                    </a:cubicBezTo>
                    <a:cubicBezTo>
                      <a:pt x="2083" y="96"/>
                      <a:pt x="2083" y="96"/>
                      <a:pt x="2083" y="96"/>
                    </a:cubicBezTo>
                    <a:cubicBezTo>
                      <a:pt x="2084" y="96"/>
                      <a:pt x="2084" y="96"/>
                      <a:pt x="2084" y="96"/>
                    </a:cubicBezTo>
                    <a:cubicBezTo>
                      <a:pt x="2086" y="96"/>
                      <a:pt x="2086" y="96"/>
                      <a:pt x="2086" y="96"/>
                    </a:cubicBezTo>
                    <a:cubicBezTo>
                      <a:pt x="2085" y="97"/>
                      <a:pt x="2085" y="97"/>
                      <a:pt x="2085" y="97"/>
                    </a:cubicBezTo>
                    <a:cubicBezTo>
                      <a:pt x="2086" y="98"/>
                      <a:pt x="2086" y="98"/>
                      <a:pt x="2086" y="98"/>
                    </a:cubicBezTo>
                    <a:cubicBezTo>
                      <a:pt x="2088" y="98"/>
                      <a:pt x="2088" y="98"/>
                      <a:pt x="2088" y="98"/>
                    </a:cubicBezTo>
                    <a:cubicBezTo>
                      <a:pt x="2088" y="97"/>
                      <a:pt x="2088" y="97"/>
                      <a:pt x="2088" y="97"/>
                    </a:cubicBezTo>
                    <a:cubicBezTo>
                      <a:pt x="2090" y="97"/>
                      <a:pt x="2090" y="97"/>
                      <a:pt x="2090" y="97"/>
                    </a:cubicBezTo>
                    <a:cubicBezTo>
                      <a:pt x="2090" y="98"/>
                      <a:pt x="2090" y="98"/>
                      <a:pt x="2090" y="98"/>
                    </a:cubicBezTo>
                    <a:cubicBezTo>
                      <a:pt x="2091" y="99"/>
                      <a:pt x="2091" y="99"/>
                      <a:pt x="2091" y="99"/>
                    </a:cubicBezTo>
                    <a:cubicBezTo>
                      <a:pt x="2093" y="100"/>
                      <a:pt x="2093" y="100"/>
                      <a:pt x="2093" y="100"/>
                    </a:cubicBezTo>
                    <a:cubicBezTo>
                      <a:pt x="2095" y="99"/>
                      <a:pt x="2095" y="99"/>
                      <a:pt x="2095" y="99"/>
                    </a:cubicBezTo>
                    <a:cubicBezTo>
                      <a:pt x="2093" y="99"/>
                      <a:pt x="2093" y="99"/>
                      <a:pt x="2093" y="99"/>
                    </a:cubicBezTo>
                    <a:cubicBezTo>
                      <a:pt x="2091" y="98"/>
                      <a:pt x="2091" y="98"/>
                      <a:pt x="2091" y="98"/>
                    </a:cubicBezTo>
                    <a:cubicBezTo>
                      <a:pt x="2091" y="97"/>
                      <a:pt x="2091" y="97"/>
                      <a:pt x="2091" y="97"/>
                    </a:cubicBezTo>
                    <a:cubicBezTo>
                      <a:pt x="2092" y="97"/>
                      <a:pt x="2092" y="97"/>
                      <a:pt x="2092" y="97"/>
                    </a:cubicBezTo>
                    <a:cubicBezTo>
                      <a:pt x="2094" y="97"/>
                      <a:pt x="2094" y="97"/>
                      <a:pt x="2094" y="97"/>
                    </a:cubicBezTo>
                    <a:cubicBezTo>
                      <a:pt x="2096" y="98"/>
                      <a:pt x="2096" y="98"/>
                      <a:pt x="2096" y="98"/>
                    </a:cubicBezTo>
                    <a:cubicBezTo>
                      <a:pt x="2097" y="100"/>
                      <a:pt x="2097" y="100"/>
                      <a:pt x="2097" y="100"/>
                    </a:cubicBezTo>
                    <a:cubicBezTo>
                      <a:pt x="2098" y="100"/>
                      <a:pt x="2098" y="100"/>
                      <a:pt x="2098" y="100"/>
                    </a:cubicBezTo>
                    <a:cubicBezTo>
                      <a:pt x="2098" y="99"/>
                      <a:pt x="2098" y="99"/>
                      <a:pt x="2098" y="99"/>
                    </a:cubicBezTo>
                    <a:cubicBezTo>
                      <a:pt x="2099" y="99"/>
                      <a:pt x="2099" y="99"/>
                      <a:pt x="2099" y="99"/>
                    </a:cubicBezTo>
                    <a:cubicBezTo>
                      <a:pt x="2099" y="100"/>
                      <a:pt x="2099" y="100"/>
                      <a:pt x="2099" y="100"/>
                    </a:cubicBezTo>
                    <a:cubicBezTo>
                      <a:pt x="2100" y="102"/>
                      <a:pt x="2100" y="102"/>
                      <a:pt x="2100" y="102"/>
                    </a:cubicBezTo>
                    <a:cubicBezTo>
                      <a:pt x="2102" y="105"/>
                      <a:pt x="2102" y="105"/>
                      <a:pt x="2102" y="105"/>
                    </a:cubicBezTo>
                    <a:cubicBezTo>
                      <a:pt x="2105" y="106"/>
                      <a:pt x="2105" y="106"/>
                      <a:pt x="2105" y="106"/>
                    </a:cubicBezTo>
                    <a:cubicBezTo>
                      <a:pt x="2105" y="107"/>
                      <a:pt x="2105" y="107"/>
                      <a:pt x="2105" y="107"/>
                    </a:cubicBezTo>
                    <a:cubicBezTo>
                      <a:pt x="2106" y="108"/>
                      <a:pt x="2106" y="108"/>
                      <a:pt x="2106" y="108"/>
                    </a:cubicBezTo>
                    <a:cubicBezTo>
                      <a:pt x="2107" y="110"/>
                      <a:pt x="2107" y="110"/>
                      <a:pt x="2107" y="110"/>
                    </a:cubicBezTo>
                    <a:cubicBezTo>
                      <a:pt x="2106" y="110"/>
                      <a:pt x="2106" y="110"/>
                      <a:pt x="2106" y="110"/>
                    </a:cubicBezTo>
                    <a:cubicBezTo>
                      <a:pt x="2107" y="112"/>
                      <a:pt x="2107" y="112"/>
                      <a:pt x="2107" y="112"/>
                    </a:cubicBezTo>
                    <a:cubicBezTo>
                      <a:pt x="2108" y="112"/>
                      <a:pt x="2108" y="112"/>
                      <a:pt x="2108" y="112"/>
                    </a:cubicBezTo>
                    <a:cubicBezTo>
                      <a:pt x="2109" y="111"/>
                      <a:pt x="2109" y="111"/>
                      <a:pt x="2109" y="111"/>
                    </a:cubicBezTo>
                    <a:cubicBezTo>
                      <a:pt x="2111" y="111"/>
                      <a:pt x="2111" y="111"/>
                      <a:pt x="2111" y="111"/>
                    </a:cubicBezTo>
                    <a:cubicBezTo>
                      <a:pt x="2112" y="113"/>
                      <a:pt x="2112" y="113"/>
                      <a:pt x="2112" y="113"/>
                    </a:cubicBezTo>
                    <a:cubicBezTo>
                      <a:pt x="2113" y="113"/>
                      <a:pt x="2113" y="113"/>
                      <a:pt x="2113" y="113"/>
                    </a:cubicBezTo>
                    <a:cubicBezTo>
                      <a:pt x="2112" y="112"/>
                      <a:pt x="2112" y="112"/>
                      <a:pt x="2112" y="112"/>
                    </a:cubicBezTo>
                    <a:cubicBezTo>
                      <a:pt x="2112" y="111"/>
                      <a:pt x="2112" y="111"/>
                      <a:pt x="2112" y="111"/>
                    </a:cubicBezTo>
                    <a:cubicBezTo>
                      <a:pt x="2113" y="110"/>
                      <a:pt x="2113" y="110"/>
                      <a:pt x="2113" y="110"/>
                    </a:cubicBezTo>
                    <a:cubicBezTo>
                      <a:pt x="2114" y="112"/>
                      <a:pt x="2114" y="112"/>
                      <a:pt x="2114" y="112"/>
                    </a:cubicBezTo>
                    <a:cubicBezTo>
                      <a:pt x="2115" y="113"/>
                      <a:pt x="2115" y="113"/>
                      <a:pt x="2115" y="113"/>
                    </a:cubicBezTo>
                    <a:cubicBezTo>
                      <a:pt x="2114" y="111"/>
                      <a:pt x="2114" y="111"/>
                      <a:pt x="2114" y="111"/>
                    </a:cubicBezTo>
                    <a:cubicBezTo>
                      <a:pt x="2114" y="109"/>
                      <a:pt x="2114" y="109"/>
                      <a:pt x="2114" y="109"/>
                    </a:cubicBezTo>
                    <a:cubicBezTo>
                      <a:pt x="2113" y="108"/>
                      <a:pt x="2113" y="108"/>
                      <a:pt x="2113" y="108"/>
                    </a:cubicBezTo>
                    <a:cubicBezTo>
                      <a:pt x="2112" y="109"/>
                      <a:pt x="2112" y="109"/>
                      <a:pt x="2112" y="109"/>
                    </a:cubicBezTo>
                    <a:cubicBezTo>
                      <a:pt x="2110" y="110"/>
                      <a:pt x="2110" y="110"/>
                      <a:pt x="2110" y="110"/>
                    </a:cubicBezTo>
                    <a:cubicBezTo>
                      <a:pt x="2110" y="109"/>
                      <a:pt x="2110" y="109"/>
                      <a:pt x="2110" y="109"/>
                    </a:cubicBezTo>
                    <a:cubicBezTo>
                      <a:pt x="2111" y="108"/>
                      <a:pt x="2111" y="108"/>
                      <a:pt x="2111" y="108"/>
                    </a:cubicBezTo>
                    <a:cubicBezTo>
                      <a:pt x="2110" y="106"/>
                      <a:pt x="2110" y="106"/>
                      <a:pt x="2110" y="106"/>
                    </a:cubicBezTo>
                    <a:cubicBezTo>
                      <a:pt x="2108" y="105"/>
                      <a:pt x="2108" y="105"/>
                      <a:pt x="2108" y="105"/>
                    </a:cubicBezTo>
                    <a:cubicBezTo>
                      <a:pt x="2107" y="103"/>
                      <a:pt x="2107" y="103"/>
                      <a:pt x="2107" y="103"/>
                    </a:cubicBezTo>
                    <a:cubicBezTo>
                      <a:pt x="2106" y="102"/>
                      <a:pt x="2106" y="102"/>
                      <a:pt x="2106" y="102"/>
                    </a:cubicBezTo>
                    <a:cubicBezTo>
                      <a:pt x="2104" y="103"/>
                      <a:pt x="2104" y="103"/>
                      <a:pt x="2104" y="103"/>
                    </a:cubicBezTo>
                    <a:cubicBezTo>
                      <a:pt x="2105" y="102"/>
                      <a:pt x="2105" y="102"/>
                      <a:pt x="2105" y="102"/>
                    </a:cubicBezTo>
                    <a:cubicBezTo>
                      <a:pt x="2106" y="100"/>
                      <a:pt x="2106" y="100"/>
                      <a:pt x="2106" y="100"/>
                    </a:cubicBezTo>
                    <a:cubicBezTo>
                      <a:pt x="2108" y="98"/>
                      <a:pt x="2108" y="98"/>
                      <a:pt x="2108" y="98"/>
                    </a:cubicBezTo>
                    <a:cubicBezTo>
                      <a:pt x="2109" y="100"/>
                      <a:pt x="2109" y="100"/>
                      <a:pt x="2109" y="100"/>
                    </a:cubicBezTo>
                    <a:cubicBezTo>
                      <a:pt x="2110" y="101"/>
                      <a:pt x="2110" y="101"/>
                      <a:pt x="2110" y="101"/>
                    </a:cubicBezTo>
                    <a:cubicBezTo>
                      <a:pt x="2111" y="100"/>
                      <a:pt x="2111" y="100"/>
                      <a:pt x="2111" y="100"/>
                    </a:cubicBezTo>
                    <a:cubicBezTo>
                      <a:pt x="2110" y="99"/>
                      <a:pt x="2110" y="99"/>
                      <a:pt x="2110" y="99"/>
                    </a:cubicBezTo>
                    <a:cubicBezTo>
                      <a:pt x="2109" y="98"/>
                      <a:pt x="2109" y="98"/>
                      <a:pt x="2109" y="98"/>
                    </a:cubicBezTo>
                    <a:cubicBezTo>
                      <a:pt x="2110" y="98"/>
                      <a:pt x="2110" y="98"/>
                      <a:pt x="2110" y="98"/>
                    </a:cubicBezTo>
                    <a:cubicBezTo>
                      <a:pt x="2111" y="97"/>
                      <a:pt x="2111" y="97"/>
                      <a:pt x="2111" y="97"/>
                    </a:cubicBezTo>
                    <a:cubicBezTo>
                      <a:pt x="2112" y="96"/>
                      <a:pt x="2112" y="96"/>
                      <a:pt x="2112" y="96"/>
                    </a:cubicBezTo>
                    <a:cubicBezTo>
                      <a:pt x="2111" y="96"/>
                      <a:pt x="2111" y="96"/>
                      <a:pt x="2111" y="96"/>
                    </a:cubicBezTo>
                    <a:cubicBezTo>
                      <a:pt x="2111" y="95"/>
                      <a:pt x="2111" y="95"/>
                      <a:pt x="2111" y="95"/>
                    </a:cubicBezTo>
                    <a:cubicBezTo>
                      <a:pt x="2113" y="95"/>
                      <a:pt x="2113" y="95"/>
                      <a:pt x="2113" y="95"/>
                    </a:cubicBezTo>
                    <a:cubicBezTo>
                      <a:pt x="2114" y="93"/>
                      <a:pt x="2114" y="93"/>
                      <a:pt x="2114" y="93"/>
                    </a:cubicBezTo>
                    <a:cubicBezTo>
                      <a:pt x="2115" y="93"/>
                      <a:pt x="2115" y="93"/>
                      <a:pt x="2115" y="93"/>
                    </a:cubicBezTo>
                    <a:cubicBezTo>
                      <a:pt x="2115" y="94"/>
                      <a:pt x="2115" y="94"/>
                      <a:pt x="2115" y="94"/>
                    </a:cubicBezTo>
                    <a:cubicBezTo>
                      <a:pt x="2116" y="94"/>
                      <a:pt x="2116" y="94"/>
                      <a:pt x="2116" y="94"/>
                    </a:cubicBezTo>
                    <a:cubicBezTo>
                      <a:pt x="2117" y="94"/>
                      <a:pt x="2117" y="94"/>
                      <a:pt x="2117" y="94"/>
                    </a:cubicBezTo>
                    <a:cubicBezTo>
                      <a:pt x="2117" y="95"/>
                      <a:pt x="2117" y="95"/>
                      <a:pt x="2117" y="95"/>
                    </a:cubicBezTo>
                    <a:cubicBezTo>
                      <a:pt x="2118" y="96"/>
                      <a:pt x="2118" y="96"/>
                      <a:pt x="2118" y="96"/>
                    </a:cubicBezTo>
                    <a:cubicBezTo>
                      <a:pt x="2120" y="96"/>
                      <a:pt x="2120" y="96"/>
                      <a:pt x="2120" y="96"/>
                    </a:cubicBezTo>
                    <a:cubicBezTo>
                      <a:pt x="2121" y="96"/>
                      <a:pt x="2121" y="96"/>
                      <a:pt x="2121" y="96"/>
                    </a:cubicBezTo>
                    <a:cubicBezTo>
                      <a:pt x="2125" y="96"/>
                      <a:pt x="2125" y="96"/>
                      <a:pt x="2125" y="96"/>
                    </a:cubicBezTo>
                    <a:cubicBezTo>
                      <a:pt x="2125" y="98"/>
                      <a:pt x="2125" y="98"/>
                      <a:pt x="2125" y="98"/>
                    </a:cubicBezTo>
                    <a:cubicBezTo>
                      <a:pt x="2126" y="98"/>
                      <a:pt x="2126" y="98"/>
                      <a:pt x="2126" y="98"/>
                    </a:cubicBezTo>
                    <a:cubicBezTo>
                      <a:pt x="2126" y="97"/>
                      <a:pt x="2126" y="97"/>
                      <a:pt x="2126" y="97"/>
                    </a:cubicBezTo>
                    <a:cubicBezTo>
                      <a:pt x="2127" y="97"/>
                      <a:pt x="2127" y="97"/>
                      <a:pt x="2127" y="97"/>
                    </a:cubicBezTo>
                    <a:cubicBezTo>
                      <a:pt x="2127" y="99"/>
                      <a:pt x="2127" y="99"/>
                      <a:pt x="2127" y="99"/>
                    </a:cubicBezTo>
                    <a:cubicBezTo>
                      <a:pt x="2128" y="98"/>
                      <a:pt x="2128" y="98"/>
                      <a:pt x="2128" y="98"/>
                    </a:cubicBezTo>
                    <a:cubicBezTo>
                      <a:pt x="2129" y="97"/>
                      <a:pt x="2129" y="97"/>
                      <a:pt x="2129" y="97"/>
                    </a:cubicBezTo>
                    <a:cubicBezTo>
                      <a:pt x="2130" y="97"/>
                      <a:pt x="2130" y="97"/>
                      <a:pt x="2130" y="97"/>
                    </a:cubicBezTo>
                    <a:cubicBezTo>
                      <a:pt x="2130" y="98"/>
                      <a:pt x="2130" y="98"/>
                      <a:pt x="2130" y="98"/>
                    </a:cubicBezTo>
                    <a:cubicBezTo>
                      <a:pt x="2130" y="99"/>
                      <a:pt x="2130" y="99"/>
                      <a:pt x="2130" y="99"/>
                    </a:cubicBezTo>
                    <a:cubicBezTo>
                      <a:pt x="2129" y="100"/>
                      <a:pt x="2129" y="100"/>
                      <a:pt x="2129" y="100"/>
                    </a:cubicBezTo>
                    <a:cubicBezTo>
                      <a:pt x="2130" y="103"/>
                      <a:pt x="2130" y="103"/>
                      <a:pt x="2130" y="103"/>
                    </a:cubicBezTo>
                    <a:cubicBezTo>
                      <a:pt x="2130" y="105"/>
                      <a:pt x="2130" y="105"/>
                      <a:pt x="2130" y="105"/>
                    </a:cubicBezTo>
                    <a:cubicBezTo>
                      <a:pt x="2130" y="106"/>
                      <a:pt x="2130" y="106"/>
                      <a:pt x="2130" y="106"/>
                    </a:cubicBezTo>
                    <a:cubicBezTo>
                      <a:pt x="2131" y="105"/>
                      <a:pt x="2131" y="105"/>
                      <a:pt x="2131" y="105"/>
                    </a:cubicBezTo>
                    <a:cubicBezTo>
                      <a:pt x="2132" y="107"/>
                      <a:pt x="2132" y="107"/>
                      <a:pt x="2132" y="107"/>
                    </a:cubicBezTo>
                    <a:cubicBezTo>
                      <a:pt x="2134" y="107"/>
                      <a:pt x="2134" y="107"/>
                      <a:pt x="2134" y="107"/>
                    </a:cubicBezTo>
                    <a:cubicBezTo>
                      <a:pt x="2134" y="108"/>
                      <a:pt x="2134" y="108"/>
                      <a:pt x="2134" y="108"/>
                    </a:cubicBezTo>
                    <a:cubicBezTo>
                      <a:pt x="2133" y="109"/>
                      <a:pt x="2133" y="109"/>
                      <a:pt x="2133" y="109"/>
                    </a:cubicBezTo>
                    <a:cubicBezTo>
                      <a:pt x="2131" y="109"/>
                      <a:pt x="2131" y="109"/>
                      <a:pt x="2131" y="109"/>
                    </a:cubicBezTo>
                    <a:cubicBezTo>
                      <a:pt x="2129" y="110"/>
                      <a:pt x="2129" y="110"/>
                      <a:pt x="2129" y="110"/>
                    </a:cubicBezTo>
                    <a:cubicBezTo>
                      <a:pt x="2132" y="110"/>
                      <a:pt x="2132" y="110"/>
                      <a:pt x="2132" y="110"/>
                    </a:cubicBezTo>
                    <a:cubicBezTo>
                      <a:pt x="2133" y="111"/>
                      <a:pt x="2133" y="111"/>
                      <a:pt x="2133" y="111"/>
                    </a:cubicBezTo>
                    <a:cubicBezTo>
                      <a:pt x="2133" y="112"/>
                      <a:pt x="2133" y="112"/>
                      <a:pt x="2133" y="112"/>
                    </a:cubicBezTo>
                    <a:cubicBezTo>
                      <a:pt x="2131" y="113"/>
                      <a:pt x="2131" y="113"/>
                      <a:pt x="2131" y="113"/>
                    </a:cubicBezTo>
                    <a:cubicBezTo>
                      <a:pt x="2130" y="115"/>
                      <a:pt x="2130" y="115"/>
                      <a:pt x="2130" y="115"/>
                    </a:cubicBezTo>
                    <a:cubicBezTo>
                      <a:pt x="2129" y="114"/>
                      <a:pt x="2129" y="114"/>
                      <a:pt x="2129" y="114"/>
                    </a:cubicBezTo>
                    <a:cubicBezTo>
                      <a:pt x="2128" y="115"/>
                      <a:pt x="2128" y="115"/>
                      <a:pt x="2128" y="115"/>
                    </a:cubicBezTo>
                    <a:cubicBezTo>
                      <a:pt x="2126" y="115"/>
                      <a:pt x="2126" y="115"/>
                      <a:pt x="2126" y="115"/>
                    </a:cubicBezTo>
                    <a:cubicBezTo>
                      <a:pt x="2125" y="117"/>
                      <a:pt x="2125" y="117"/>
                      <a:pt x="2125" y="117"/>
                    </a:cubicBezTo>
                    <a:cubicBezTo>
                      <a:pt x="2127" y="116"/>
                      <a:pt x="2127" y="116"/>
                      <a:pt x="2127" y="116"/>
                    </a:cubicBezTo>
                    <a:cubicBezTo>
                      <a:pt x="2128" y="117"/>
                      <a:pt x="2128" y="117"/>
                      <a:pt x="2128" y="117"/>
                    </a:cubicBezTo>
                    <a:cubicBezTo>
                      <a:pt x="2128" y="118"/>
                      <a:pt x="2128" y="118"/>
                      <a:pt x="2128" y="118"/>
                    </a:cubicBezTo>
                    <a:cubicBezTo>
                      <a:pt x="2129" y="117"/>
                      <a:pt x="2129" y="117"/>
                      <a:pt x="2129" y="117"/>
                    </a:cubicBezTo>
                    <a:cubicBezTo>
                      <a:pt x="2130" y="117"/>
                      <a:pt x="2130" y="117"/>
                      <a:pt x="2130" y="117"/>
                    </a:cubicBezTo>
                    <a:cubicBezTo>
                      <a:pt x="2130" y="118"/>
                      <a:pt x="2130" y="118"/>
                      <a:pt x="2130" y="118"/>
                    </a:cubicBezTo>
                    <a:cubicBezTo>
                      <a:pt x="2131" y="119"/>
                      <a:pt x="2131" y="119"/>
                      <a:pt x="2131" y="119"/>
                    </a:cubicBezTo>
                    <a:cubicBezTo>
                      <a:pt x="2130" y="120"/>
                      <a:pt x="2130" y="120"/>
                      <a:pt x="2130" y="120"/>
                    </a:cubicBezTo>
                    <a:cubicBezTo>
                      <a:pt x="2130" y="122"/>
                      <a:pt x="2130" y="122"/>
                      <a:pt x="2130" y="122"/>
                    </a:cubicBezTo>
                    <a:cubicBezTo>
                      <a:pt x="2131" y="120"/>
                      <a:pt x="2131" y="120"/>
                      <a:pt x="2131" y="120"/>
                    </a:cubicBezTo>
                    <a:cubicBezTo>
                      <a:pt x="2133" y="120"/>
                      <a:pt x="2133" y="120"/>
                      <a:pt x="2133" y="120"/>
                    </a:cubicBezTo>
                    <a:cubicBezTo>
                      <a:pt x="2135" y="122"/>
                      <a:pt x="2135" y="122"/>
                      <a:pt x="2135" y="122"/>
                    </a:cubicBezTo>
                    <a:cubicBezTo>
                      <a:pt x="2134" y="123"/>
                      <a:pt x="2134" y="123"/>
                      <a:pt x="2134" y="123"/>
                    </a:cubicBezTo>
                    <a:cubicBezTo>
                      <a:pt x="2135" y="124"/>
                      <a:pt x="2135" y="124"/>
                      <a:pt x="2135" y="124"/>
                    </a:cubicBezTo>
                    <a:cubicBezTo>
                      <a:pt x="2134" y="125"/>
                      <a:pt x="2134" y="125"/>
                      <a:pt x="2134" y="125"/>
                    </a:cubicBezTo>
                    <a:cubicBezTo>
                      <a:pt x="2135" y="126"/>
                      <a:pt x="2135" y="126"/>
                      <a:pt x="2135" y="126"/>
                    </a:cubicBezTo>
                    <a:cubicBezTo>
                      <a:pt x="2135" y="128"/>
                      <a:pt x="2135" y="128"/>
                      <a:pt x="2135" y="128"/>
                    </a:cubicBezTo>
                    <a:cubicBezTo>
                      <a:pt x="2134" y="128"/>
                      <a:pt x="2134" y="128"/>
                      <a:pt x="2134" y="128"/>
                    </a:cubicBezTo>
                    <a:cubicBezTo>
                      <a:pt x="2133" y="129"/>
                      <a:pt x="2133" y="129"/>
                      <a:pt x="2133" y="129"/>
                    </a:cubicBezTo>
                    <a:cubicBezTo>
                      <a:pt x="2134" y="130"/>
                      <a:pt x="2134" y="130"/>
                      <a:pt x="2134" y="130"/>
                    </a:cubicBezTo>
                    <a:cubicBezTo>
                      <a:pt x="2134" y="129"/>
                      <a:pt x="2134" y="129"/>
                      <a:pt x="2134" y="129"/>
                    </a:cubicBezTo>
                    <a:cubicBezTo>
                      <a:pt x="2135" y="129"/>
                      <a:pt x="2135" y="129"/>
                      <a:pt x="2135" y="129"/>
                    </a:cubicBezTo>
                    <a:cubicBezTo>
                      <a:pt x="2136" y="129"/>
                      <a:pt x="2136" y="129"/>
                      <a:pt x="2136" y="129"/>
                    </a:cubicBezTo>
                    <a:cubicBezTo>
                      <a:pt x="2136" y="131"/>
                      <a:pt x="2136" y="131"/>
                      <a:pt x="2136" y="131"/>
                    </a:cubicBezTo>
                    <a:cubicBezTo>
                      <a:pt x="2137" y="131"/>
                      <a:pt x="2137" y="131"/>
                      <a:pt x="2137" y="131"/>
                    </a:cubicBezTo>
                    <a:cubicBezTo>
                      <a:pt x="2138" y="132"/>
                      <a:pt x="2138" y="132"/>
                      <a:pt x="2138" y="132"/>
                    </a:cubicBezTo>
                    <a:cubicBezTo>
                      <a:pt x="2138" y="131"/>
                      <a:pt x="2138" y="131"/>
                      <a:pt x="2138" y="131"/>
                    </a:cubicBezTo>
                    <a:cubicBezTo>
                      <a:pt x="2138" y="130"/>
                      <a:pt x="2138" y="130"/>
                      <a:pt x="2138" y="130"/>
                    </a:cubicBezTo>
                    <a:cubicBezTo>
                      <a:pt x="2139" y="130"/>
                      <a:pt x="2139" y="130"/>
                      <a:pt x="2139" y="130"/>
                    </a:cubicBezTo>
                    <a:cubicBezTo>
                      <a:pt x="2141" y="131"/>
                      <a:pt x="2141" y="131"/>
                      <a:pt x="2141" y="131"/>
                    </a:cubicBezTo>
                    <a:cubicBezTo>
                      <a:pt x="2141" y="132"/>
                      <a:pt x="2141" y="132"/>
                      <a:pt x="2141" y="132"/>
                    </a:cubicBezTo>
                    <a:cubicBezTo>
                      <a:pt x="2140" y="133"/>
                      <a:pt x="2140" y="133"/>
                      <a:pt x="2140" y="133"/>
                    </a:cubicBezTo>
                    <a:cubicBezTo>
                      <a:pt x="2139" y="132"/>
                      <a:pt x="2139" y="132"/>
                      <a:pt x="2139" y="132"/>
                    </a:cubicBezTo>
                    <a:cubicBezTo>
                      <a:pt x="2138" y="133"/>
                      <a:pt x="2138" y="133"/>
                      <a:pt x="2138" y="133"/>
                    </a:cubicBezTo>
                    <a:cubicBezTo>
                      <a:pt x="2139" y="134"/>
                      <a:pt x="2139" y="134"/>
                      <a:pt x="2139" y="134"/>
                    </a:cubicBezTo>
                    <a:cubicBezTo>
                      <a:pt x="2140" y="134"/>
                      <a:pt x="2140" y="134"/>
                      <a:pt x="2140" y="134"/>
                    </a:cubicBezTo>
                    <a:cubicBezTo>
                      <a:pt x="2141" y="135"/>
                      <a:pt x="2141" y="135"/>
                      <a:pt x="2141" y="135"/>
                    </a:cubicBezTo>
                    <a:cubicBezTo>
                      <a:pt x="2141" y="136"/>
                      <a:pt x="2141" y="136"/>
                      <a:pt x="2141" y="136"/>
                    </a:cubicBezTo>
                    <a:cubicBezTo>
                      <a:pt x="2139" y="137"/>
                      <a:pt x="2139" y="137"/>
                      <a:pt x="2139" y="137"/>
                    </a:cubicBezTo>
                    <a:cubicBezTo>
                      <a:pt x="2138" y="135"/>
                      <a:pt x="2138" y="135"/>
                      <a:pt x="2138" y="135"/>
                    </a:cubicBezTo>
                    <a:cubicBezTo>
                      <a:pt x="2137" y="135"/>
                      <a:pt x="2137" y="135"/>
                      <a:pt x="2137" y="135"/>
                    </a:cubicBezTo>
                    <a:cubicBezTo>
                      <a:pt x="2138" y="137"/>
                      <a:pt x="2138" y="137"/>
                      <a:pt x="2138" y="137"/>
                    </a:cubicBezTo>
                    <a:cubicBezTo>
                      <a:pt x="2137" y="138"/>
                      <a:pt x="2137" y="138"/>
                      <a:pt x="2137" y="138"/>
                    </a:cubicBezTo>
                    <a:cubicBezTo>
                      <a:pt x="2136" y="137"/>
                      <a:pt x="2136" y="137"/>
                      <a:pt x="2136" y="137"/>
                    </a:cubicBezTo>
                    <a:cubicBezTo>
                      <a:pt x="2135" y="137"/>
                      <a:pt x="2135" y="137"/>
                      <a:pt x="2135" y="137"/>
                    </a:cubicBezTo>
                    <a:cubicBezTo>
                      <a:pt x="2134" y="137"/>
                      <a:pt x="2134" y="137"/>
                      <a:pt x="2134" y="137"/>
                    </a:cubicBezTo>
                    <a:cubicBezTo>
                      <a:pt x="2132" y="137"/>
                      <a:pt x="2132" y="137"/>
                      <a:pt x="2132" y="137"/>
                    </a:cubicBezTo>
                    <a:cubicBezTo>
                      <a:pt x="2130" y="137"/>
                      <a:pt x="2130" y="137"/>
                      <a:pt x="2130" y="137"/>
                    </a:cubicBezTo>
                    <a:cubicBezTo>
                      <a:pt x="2129" y="137"/>
                      <a:pt x="2129" y="137"/>
                      <a:pt x="2129" y="137"/>
                    </a:cubicBezTo>
                    <a:cubicBezTo>
                      <a:pt x="2130" y="136"/>
                      <a:pt x="2130" y="136"/>
                      <a:pt x="2130" y="136"/>
                    </a:cubicBezTo>
                    <a:cubicBezTo>
                      <a:pt x="2129" y="136"/>
                      <a:pt x="2129" y="136"/>
                      <a:pt x="2129" y="136"/>
                    </a:cubicBezTo>
                    <a:cubicBezTo>
                      <a:pt x="2128" y="135"/>
                      <a:pt x="2128" y="135"/>
                      <a:pt x="2128" y="135"/>
                    </a:cubicBezTo>
                    <a:cubicBezTo>
                      <a:pt x="2128" y="137"/>
                      <a:pt x="2128" y="137"/>
                      <a:pt x="2128" y="137"/>
                    </a:cubicBezTo>
                    <a:cubicBezTo>
                      <a:pt x="2127" y="137"/>
                      <a:pt x="2127" y="137"/>
                      <a:pt x="2127" y="137"/>
                    </a:cubicBezTo>
                    <a:cubicBezTo>
                      <a:pt x="2128" y="138"/>
                      <a:pt x="2128" y="138"/>
                      <a:pt x="2128" y="138"/>
                    </a:cubicBezTo>
                    <a:cubicBezTo>
                      <a:pt x="2127" y="140"/>
                      <a:pt x="2127" y="140"/>
                      <a:pt x="2127" y="140"/>
                    </a:cubicBezTo>
                    <a:cubicBezTo>
                      <a:pt x="2127" y="139"/>
                      <a:pt x="2127" y="139"/>
                      <a:pt x="2127" y="139"/>
                    </a:cubicBezTo>
                    <a:cubicBezTo>
                      <a:pt x="2126" y="139"/>
                      <a:pt x="2126" y="139"/>
                      <a:pt x="2126" y="139"/>
                    </a:cubicBezTo>
                    <a:cubicBezTo>
                      <a:pt x="2124" y="139"/>
                      <a:pt x="2124" y="139"/>
                      <a:pt x="2124" y="139"/>
                    </a:cubicBezTo>
                    <a:cubicBezTo>
                      <a:pt x="2123" y="139"/>
                      <a:pt x="2123" y="139"/>
                      <a:pt x="2123" y="139"/>
                    </a:cubicBezTo>
                    <a:cubicBezTo>
                      <a:pt x="2123" y="138"/>
                      <a:pt x="2123" y="138"/>
                      <a:pt x="2123" y="138"/>
                    </a:cubicBezTo>
                    <a:cubicBezTo>
                      <a:pt x="2122" y="137"/>
                      <a:pt x="2122" y="137"/>
                      <a:pt x="2122" y="137"/>
                    </a:cubicBezTo>
                    <a:cubicBezTo>
                      <a:pt x="2122" y="136"/>
                      <a:pt x="2122" y="136"/>
                      <a:pt x="2122" y="136"/>
                    </a:cubicBezTo>
                    <a:cubicBezTo>
                      <a:pt x="2119" y="134"/>
                      <a:pt x="2119" y="134"/>
                      <a:pt x="2119" y="134"/>
                    </a:cubicBezTo>
                    <a:cubicBezTo>
                      <a:pt x="2119" y="133"/>
                      <a:pt x="2119" y="133"/>
                      <a:pt x="2119" y="133"/>
                    </a:cubicBezTo>
                    <a:cubicBezTo>
                      <a:pt x="2117" y="132"/>
                      <a:pt x="2117" y="132"/>
                      <a:pt x="2117" y="132"/>
                    </a:cubicBezTo>
                    <a:cubicBezTo>
                      <a:pt x="2116" y="134"/>
                      <a:pt x="2116" y="134"/>
                      <a:pt x="2116" y="134"/>
                    </a:cubicBezTo>
                    <a:cubicBezTo>
                      <a:pt x="2114" y="134"/>
                      <a:pt x="2114" y="134"/>
                      <a:pt x="2114" y="134"/>
                    </a:cubicBezTo>
                    <a:cubicBezTo>
                      <a:pt x="2113" y="135"/>
                      <a:pt x="2113" y="135"/>
                      <a:pt x="2113" y="135"/>
                    </a:cubicBezTo>
                    <a:cubicBezTo>
                      <a:pt x="2113" y="136"/>
                      <a:pt x="2113" y="136"/>
                      <a:pt x="2113" y="136"/>
                    </a:cubicBezTo>
                    <a:cubicBezTo>
                      <a:pt x="2112" y="134"/>
                      <a:pt x="2112" y="134"/>
                      <a:pt x="2112" y="134"/>
                    </a:cubicBezTo>
                    <a:cubicBezTo>
                      <a:pt x="2112" y="136"/>
                      <a:pt x="2112" y="136"/>
                      <a:pt x="2112" y="136"/>
                    </a:cubicBezTo>
                    <a:cubicBezTo>
                      <a:pt x="2112" y="138"/>
                      <a:pt x="2112" y="138"/>
                      <a:pt x="2112" y="138"/>
                    </a:cubicBezTo>
                    <a:cubicBezTo>
                      <a:pt x="2112" y="139"/>
                      <a:pt x="2112" y="139"/>
                      <a:pt x="2112" y="139"/>
                    </a:cubicBezTo>
                    <a:cubicBezTo>
                      <a:pt x="2110" y="143"/>
                      <a:pt x="2110" y="143"/>
                      <a:pt x="2110" y="143"/>
                    </a:cubicBezTo>
                    <a:cubicBezTo>
                      <a:pt x="2108" y="142"/>
                      <a:pt x="2108" y="142"/>
                      <a:pt x="2108" y="142"/>
                    </a:cubicBezTo>
                    <a:cubicBezTo>
                      <a:pt x="2108" y="140"/>
                      <a:pt x="2108" y="140"/>
                      <a:pt x="2108" y="140"/>
                    </a:cubicBezTo>
                    <a:cubicBezTo>
                      <a:pt x="2107" y="140"/>
                      <a:pt x="2107" y="140"/>
                      <a:pt x="2107" y="140"/>
                    </a:cubicBezTo>
                    <a:cubicBezTo>
                      <a:pt x="2106" y="140"/>
                      <a:pt x="2106" y="140"/>
                      <a:pt x="2106" y="140"/>
                    </a:cubicBezTo>
                    <a:cubicBezTo>
                      <a:pt x="2103" y="138"/>
                      <a:pt x="2103" y="138"/>
                      <a:pt x="2103" y="138"/>
                    </a:cubicBezTo>
                    <a:cubicBezTo>
                      <a:pt x="2103" y="137"/>
                      <a:pt x="2103" y="137"/>
                      <a:pt x="2103" y="137"/>
                    </a:cubicBezTo>
                    <a:cubicBezTo>
                      <a:pt x="2103" y="134"/>
                      <a:pt x="2103" y="134"/>
                      <a:pt x="2103" y="134"/>
                    </a:cubicBezTo>
                    <a:cubicBezTo>
                      <a:pt x="2101" y="134"/>
                      <a:pt x="2101" y="134"/>
                      <a:pt x="2101" y="134"/>
                    </a:cubicBezTo>
                    <a:cubicBezTo>
                      <a:pt x="2101" y="133"/>
                      <a:pt x="2101" y="133"/>
                      <a:pt x="2101" y="133"/>
                    </a:cubicBezTo>
                    <a:cubicBezTo>
                      <a:pt x="2100" y="132"/>
                      <a:pt x="2100" y="132"/>
                      <a:pt x="2100" y="132"/>
                    </a:cubicBezTo>
                    <a:cubicBezTo>
                      <a:pt x="2100" y="133"/>
                      <a:pt x="2100" y="133"/>
                      <a:pt x="2100" y="133"/>
                    </a:cubicBezTo>
                    <a:cubicBezTo>
                      <a:pt x="2100" y="134"/>
                      <a:pt x="2100" y="134"/>
                      <a:pt x="2100" y="134"/>
                    </a:cubicBezTo>
                    <a:cubicBezTo>
                      <a:pt x="2100" y="135"/>
                      <a:pt x="2100" y="135"/>
                      <a:pt x="2100" y="135"/>
                    </a:cubicBezTo>
                    <a:cubicBezTo>
                      <a:pt x="2101" y="135"/>
                      <a:pt x="2101" y="135"/>
                      <a:pt x="2101" y="135"/>
                    </a:cubicBezTo>
                    <a:cubicBezTo>
                      <a:pt x="2100" y="136"/>
                      <a:pt x="2100" y="136"/>
                      <a:pt x="2100" y="136"/>
                    </a:cubicBezTo>
                    <a:cubicBezTo>
                      <a:pt x="2098" y="135"/>
                      <a:pt x="2098" y="135"/>
                      <a:pt x="2098" y="135"/>
                    </a:cubicBezTo>
                    <a:cubicBezTo>
                      <a:pt x="2097" y="134"/>
                      <a:pt x="2097" y="134"/>
                      <a:pt x="2097" y="134"/>
                    </a:cubicBezTo>
                    <a:cubicBezTo>
                      <a:pt x="2097" y="135"/>
                      <a:pt x="2097" y="135"/>
                      <a:pt x="2097" y="135"/>
                    </a:cubicBezTo>
                    <a:cubicBezTo>
                      <a:pt x="2097" y="136"/>
                      <a:pt x="2097" y="136"/>
                      <a:pt x="2097" y="136"/>
                    </a:cubicBezTo>
                    <a:cubicBezTo>
                      <a:pt x="2099" y="136"/>
                      <a:pt x="2099" y="136"/>
                      <a:pt x="2099" y="136"/>
                    </a:cubicBezTo>
                    <a:cubicBezTo>
                      <a:pt x="2100" y="137"/>
                      <a:pt x="2100" y="137"/>
                      <a:pt x="2100" y="137"/>
                    </a:cubicBezTo>
                    <a:cubicBezTo>
                      <a:pt x="2099" y="139"/>
                      <a:pt x="2099" y="139"/>
                      <a:pt x="2099" y="139"/>
                    </a:cubicBezTo>
                    <a:cubicBezTo>
                      <a:pt x="2097" y="139"/>
                      <a:pt x="2097" y="139"/>
                      <a:pt x="2097" y="139"/>
                    </a:cubicBezTo>
                    <a:cubicBezTo>
                      <a:pt x="2097" y="140"/>
                      <a:pt x="2097" y="140"/>
                      <a:pt x="2097" y="140"/>
                    </a:cubicBezTo>
                    <a:cubicBezTo>
                      <a:pt x="2098" y="140"/>
                      <a:pt x="2098" y="140"/>
                      <a:pt x="2098" y="140"/>
                    </a:cubicBezTo>
                    <a:cubicBezTo>
                      <a:pt x="2101" y="144"/>
                      <a:pt x="2101" y="144"/>
                      <a:pt x="2101" y="144"/>
                    </a:cubicBezTo>
                    <a:cubicBezTo>
                      <a:pt x="2104" y="145"/>
                      <a:pt x="2104" y="145"/>
                      <a:pt x="2104" y="145"/>
                    </a:cubicBezTo>
                    <a:cubicBezTo>
                      <a:pt x="2105" y="144"/>
                      <a:pt x="2105" y="144"/>
                      <a:pt x="2105" y="144"/>
                    </a:cubicBezTo>
                    <a:cubicBezTo>
                      <a:pt x="2107" y="145"/>
                      <a:pt x="2107" y="145"/>
                      <a:pt x="2107" y="145"/>
                    </a:cubicBezTo>
                    <a:cubicBezTo>
                      <a:pt x="2107" y="147"/>
                      <a:pt x="2107" y="147"/>
                      <a:pt x="2107" y="147"/>
                    </a:cubicBezTo>
                    <a:cubicBezTo>
                      <a:pt x="2106" y="145"/>
                      <a:pt x="2106" y="145"/>
                      <a:pt x="2106" y="145"/>
                    </a:cubicBezTo>
                    <a:cubicBezTo>
                      <a:pt x="2105" y="145"/>
                      <a:pt x="2105" y="145"/>
                      <a:pt x="2105" y="145"/>
                    </a:cubicBezTo>
                    <a:cubicBezTo>
                      <a:pt x="2106" y="147"/>
                      <a:pt x="2106" y="147"/>
                      <a:pt x="2106" y="147"/>
                    </a:cubicBezTo>
                    <a:cubicBezTo>
                      <a:pt x="2108" y="149"/>
                      <a:pt x="2108" y="149"/>
                      <a:pt x="2108" y="149"/>
                    </a:cubicBezTo>
                    <a:cubicBezTo>
                      <a:pt x="2108" y="150"/>
                      <a:pt x="2108" y="150"/>
                      <a:pt x="2108" y="150"/>
                    </a:cubicBezTo>
                    <a:cubicBezTo>
                      <a:pt x="2110" y="152"/>
                      <a:pt x="2110" y="152"/>
                      <a:pt x="2110" y="152"/>
                    </a:cubicBezTo>
                    <a:cubicBezTo>
                      <a:pt x="2110" y="154"/>
                      <a:pt x="2110" y="154"/>
                      <a:pt x="2110" y="154"/>
                    </a:cubicBezTo>
                    <a:cubicBezTo>
                      <a:pt x="2109" y="158"/>
                      <a:pt x="2109" y="158"/>
                      <a:pt x="2109" y="158"/>
                    </a:cubicBezTo>
                    <a:cubicBezTo>
                      <a:pt x="2109" y="161"/>
                      <a:pt x="2109" y="161"/>
                      <a:pt x="2109" y="161"/>
                    </a:cubicBezTo>
                    <a:cubicBezTo>
                      <a:pt x="2109" y="163"/>
                      <a:pt x="2109" y="163"/>
                      <a:pt x="2109" y="163"/>
                    </a:cubicBezTo>
                    <a:cubicBezTo>
                      <a:pt x="2110" y="163"/>
                      <a:pt x="2110" y="163"/>
                      <a:pt x="2110" y="163"/>
                    </a:cubicBezTo>
                    <a:cubicBezTo>
                      <a:pt x="2108" y="166"/>
                      <a:pt x="2108" y="166"/>
                      <a:pt x="2108" y="166"/>
                    </a:cubicBezTo>
                    <a:cubicBezTo>
                      <a:pt x="2108" y="167"/>
                      <a:pt x="2108" y="167"/>
                      <a:pt x="2108" y="167"/>
                    </a:cubicBezTo>
                    <a:cubicBezTo>
                      <a:pt x="2107" y="168"/>
                      <a:pt x="2107" y="168"/>
                      <a:pt x="2107" y="168"/>
                    </a:cubicBezTo>
                    <a:cubicBezTo>
                      <a:pt x="2107" y="167"/>
                      <a:pt x="2107" y="167"/>
                      <a:pt x="2107" y="167"/>
                    </a:cubicBezTo>
                    <a:cubicBezTo>
                      <a:pt x="2107" y="166"/>
                      <a:pt x="2107" y="166"/>
                      <a:pt x="2107" y="166"/>
                    </a:cubicBezTo>
                    <a:cubicBezTo>
                      <a:pt x="2104" y="169"/>
                      <a:pt x="2104" y="169"/>
                      <a:pt x="2104" y="169"/>
                    </a:cubicBezTo>
                    <a:cubicBezTo>
                      <a:pt x="2103" y="168"/>
                      <a:pt x="2103" y="168"/>
                      <a:pt x="2103" y="168"/>
                    </a:cubicBezTo>
                    <a:cubicBezTo>
                      <a:pt x="2102" y="169"/>
                      <a:pt x="2102" y="169"/>
                      <a:pt x="2102" y="169"/>
                    </a:cubicBezTo>
                    <a:cubicBezTo>
                      <a:pt x="2101" y="168"/>
                      <a:pt x="2101" y="168"/>
                      <a:pt x="2101" y="168"/>
                    </a:cubicBezTo>
                    <a:cubicBezTo>
                      <a:pt x="2100" y="167"/>
                      <a:pt x="2100" y="167"/>
                      <a:pt x="2100" y="167"/>
                    </a:cubicBezTo>
                    <a:cubicBezTo>
                      <a:pt x="2099" y="167"/>
                      <a:pt x="2099" y="167"/>
                      <a:pt x="2099" y="167"/>
                    </a:cubicBezTo>
                    <a:cubicBezTo>
                      <a:pt x="2097" y="165"/>
                      <a:pt x="2097" y="165"/>
                      <a:pt x="2097" y="165"/>
                    </a:cubicBezTo>
                    <a:cubicBezTo>
                      <a:pt x="2096" y="164"/>
                      <a:pt x="2096" y="164"/>
                      <a:pt x="2096" y="164"/>
                    </a:cubicBezTo>
                    <a:cubicBezTo>
                      <a:pt x="2094" y="164"/>
                      <a:pt x="2094" y="164"/>
                      <a:pt x="2094" y="164"/>
                    </a:cubicBezTo>
                    <a:cubicBezTo>
                      <a:pt x="2093" y="163"/>
                      <a:pt x="2093" y="163"/>
                      <a:pt x="2093" y="163"/>
                    </a:cubicBezTo>
                    <a:cubicBezTo>
                      <a:pt x="2092" y="164"/>
                      <a:pt x="2092" y="164"/>
                      <a:pt x="2092" y="164"/>
                    </a:cubicBezTo>
                    <a:cubicBezTo>
                      <a:pt x="2091" y="165"/>
                      <a:pt x="2091" y="165"/>
                      <a:pt x="2091" y="165"/>
                    </a:cubicBezTo>
                    <a:cubicBezTo>
                      <a:pt x="2090" y="165"/>
                      <a:pt x="2090" y="165"/>
                      <a:pt x="2090" y="165"/>
                    </a:cubicBezTo>
                    <a:cubicBezTo>
                      <a:pt x="2091" y="166"/>
                      <a:pt x="2091" y="166"/>
                      <a:pt x="2091" y="166"/>
                    </a:cubicBezTo>
                    <a:cubicBezTo>
                      <a:pt x="2093" y="166"/>
                      <a:pt x="2093" y="166"/>
                      <a:pt x="2093" y="166"/>
                    </a:cubicBezTo>
                    <a:cubicBezTo>
                      <a:pt x="2093" y="164"/>
                      <a:pt x="2093" y="164"/>
                      <a:pt x="2093" y="164"/>
                    </a:cubicBezTo>
                    <a:cubicBezTo>
                      <a:pt x="2097" y="166"/>
                      <a:pt x="2097" y="166"/>
                      <a:pt x="2097" y="166"/>
                    </a:cubicBezTo>
                    <a:cubicBezTo>
                      <a:pt x="2097" y="167"/>
                      <a:pt x="2097" y="167"/>
                      <a:pt x="2097" y="167"/>
                    </a:cubicBezTo>
                    <a:cubicBezTo>
                      <a:pt x="2096" y="168"/>
                      <a:pt x="2096" y="168"/>
                      <a:pt x="2096" y="168"/>
                    </a:cubicBezTo>
                    <a:cubicBezTo>
                      <a:pt x="2095" y="167"/>
                      <a:pt x="2095" y="167"/>
                      <a:pt x="2095" y="167"/>
                    </a:cubicBezTo>
                    <a:cubicBezTo>
                      <a:pt x="2093" y="167"/>
                      <a:pt x="2093" y="167"/>
                      <a:pt x="2093" y="167"/>
                    </a:cubicBezTo>
                    <a:cubicBezTo>
                      <a:pt x="2093" y="169"/>
                      <a:pt x="2093" y="169"/>
                      <a:pt x="2093" y="169"/>
                    </a:cubicBezTo>
                    <a:cubicBezTo>
                      <a:pt x="2092" y="167"/>
                      <a:pt x="2092" y="167"/>
                      <a:pt x="2092" y="167"/>
                    </a:cubicBezTo>
                    <a:cubicBezTo>
                      <a:pt x="2091" y="168"/>
                      <a:pt x="2091" y="168"/>
                      <a:pt x="2091" y="168"/>
                    </a:cubicBezTo>
                    <a:cubicBezTo>
                      <a:pt x="2092" y="169"/>
                      <a:pt x="2092" y="169"/>
                      <a:pt x="2092" y="169"/>
                    </a:cubicBezTo>
                    <a:cubicBezTo>
                      <a:pt x="2094" y="170"/>
                      <a:pt x="2094" y="170"/>
                      <a:pt x="2094" y="170"/>
                    </a:cubicBezTo>
                    <a:cubicBezTo>
                      <a:pt x="2093" y="172"/>
                      <a:pt x="2093" y="172"/>
                      <a:pt x="2093" y="172"/>
                    </a:cubicBezTo>
                    <a:cubicBezTo>
                      <a:pt x="2094" y="174"/>
                      <a:pt x="2094" y="174"/>
                      <a:pt x="2094" y="174"/>
                    </a:cubicBezTo>
                    <a:cubicBezTo>
                      <a:pt x="2095" y="175"/>
                      <a:pt x="2095" y="175"/>
                      <a:pt x="2095" y="175"/>
                    </a:cubicBezTo>
                    <a:cubicBezTo>
                      <a:pt x="2095" y="174"/>
                      <a:pt x="2095" y="174"/>
                      <a:pt x="2095" y="174"/>
                    </a:cubicBezTo>
                    <a:cubicBezTo>
                      <a:pt x="2095" y="172"/>
                      <a:pt x="2095" y="172"/>
                      <a:pt x="2095" y="172"/>
                    </a:cubicBezTo>
                    <a:cubicBezTo>
                      <a:pt x="2096" y="171"/>
                      <a:pt x="2096" y="171"/>
                      <a:pt x="2096" y="171"/>
                    </a:cubicBezTo>
                    <a:cubicBezTo>
                      <a:pt x="2097" y="171"/>
                      <a:pt x="2097" y="171"/>
                      <a:pt x="2097" y="171"/>
                    </a:cubicBezTo>
                    <a:cubicBezTo>
                      <a:pt x="2099" y="169"/>
                      <a:pt x="2099" y="169"/>
                      <a:pt x="2099" y="169"/>
                    </a:cubicBezTo>
                    <a:cubicBezTo>
                      <a:pt x="2100" y="169"/>
                      <a:pt x="2100" y="169"/>
                      <a:pt x="2100" y="169"/>
                    </a:cubicBezTo>
                    <a:cubicBezTo>
                      <a:pt x="2101" y="169"/>
                      <a:pt x="2101" y="169"/>
                      <a:pt x="2101" y="169"/>
                    </a:cubicBezTo>
                    <a:cubicBezTo>
                      <a:pt x="2101" y="170"/>
                      <a:pt x="2101" y="170"/>
                      <a:pt x="2101" y="170"/>
                    </a:cubicBezTo>
                    <a:cubicBezTo>
                      <a:pt x="2102" y="172"/>
                      <a:pt x="2102" y="172"/>
                      <a:pt x="2102" y="172"/>
                    </a:cubicBezTo>
                    <a:cubicBezTo>
                      <a:pt x="2104" y="173"/>
                      <a:pt x="2104" y="173"/>
                      <a:pt x="2104" y="173"/>
                    </a:cubicBezTo>
                    <a:cubicBezTo>
                      <a:pt x="2105" y="174"/>
                      <a:pt x="2105" y="174"/>
                      <a:pt x="2105" y="174"/>
                    </a:cubicBezTo>
                    <a:cubicBezTo>
                      <a:pt x="2107" y="174"/>
                      <a:pt x="2107" y="174"/>
                      <a:pt x="2107" y="174"/>
                    </a:cubicBezTo>
                    <a:cubicBezTo>
                      <a:pt x="2108" y="173"/>
                      <a:pt x="2108" y="173"/>
                      <a:pt x="2108" y="173"/>
                    </a:cubicBezTo>
                    <a:cubicBezTo>
                      <a:pt x="2107" y="172"/>
                      <a:pt x="2107" y="172"/>
                      <a:pt x="2107" y="172"/>
                    </a:cubicBezTo>
                    <a:cubicBezTo>
                      <a:pt x="2108" y="172"/>
                      <a:pt x="2108" y="172"/>
                      <a:pt x="2108" y="172"/>
                    </a:cubicBezTo>
                    <a:cubicBezTo>
                      <a:pt x="2111" y="175"/>
                      <a:pt x="2111" y="175"/>
                      <a:pt x="2111" y="175"/>
                    </a:cubicBezTo>
                    <a:cubicBezTo>
                      <a:pt x="2112" y="176"/>
                      <a:pt x="2112" y="176"/>
                      <a:pt x="2112" y="176"/>
                    </a:cubicBezTo>
                    <a:cubicBezTo>
                      <a:pt x="2110" y="176"/>
                      <a:pt x="2110" y="176"/>
                      <a:pt x="2110" y="176"/>
                    </a:cubicBezTo>
                    <a:cubicBezTo>
                      <a:pt x="2110" y="177"/>
                      <a:pt x="2110" y="177"/>
                      <a:pt x="2110" y="177"/>
                    </a:cubicBezTo>
                    <a:cubicBezTo>
                      <a:pt x="2113" y="179"/>
                      <a:pt x="2113" y="179"/>
                      <a:pt x="2113" y="179"/>
                    </a:cubicBezTo>
                    <a:cubicBezTo>
                      <a:pt x="2113" y="177"/>
                      <a:pt x="2113" y="177"/>
                      <a:pt x="2113" y="177"/>
                    </a:cubicBezTo>
                    <a:cubicBezTo>
                      <a:pt x="2115" y="178"/>
                      <a:pt x="2115" y="178"/>
                      <a:pt x="2115" y="178"/>
                    </a:cubicBezTo>
                    <a:cubicBezTo>
                      <a:pt x="2118" y="182"/>
                      <a:pt x="2118" y="182"/>
                      <a:pt x="2118" y="182"/>
                    </a:cubicBezTo>
                    <a:cubicBezTo>
                      <a:pt x="2117" y="181"/>
                      <a:pt x="2117" y="181"/>
                      <a:pt x="2117" y="181"/>
                    </a:cubicBezTo>
                    <a:cubicBezTo>
                      <a:pt x="2116" y="181"/>
                      <a:pt x="2116" y="181"/>
                      <a:pt x="2116" y="181"/>
                    </a:cubicBezTo>
                    <a:cubicBezTo>
                      <a:pt x="2116" y="182"/>
                      <a:pt x="2116" y="182"/>
                      <a:pt x="2116" y="182"/>
                    </a:cubicBezTo>
                    <a:cubicBezTo>
                      <a:pt x="2117" y="183"/>
                      <a:pt x="2117" y="183"/>
                      <a:pt x="2117" y="183"/>
                    </a:cubicBezTo>
                    <a:cubicBezTo>
                      <a:pt x="2115" y="184"/>
                      <a:pt x="2115" y="184"/>
                      <a:pt x="2115" y="184"/>
                    </a:cubicBezTo>
                    <a:cubicBezTo>
                      <a:pt x="2115" y="185"/>
                      <a:pt x="2115" y="185"/>
                      <a:pt x="2115" y="185"/>
                    </a:cubicBezTo>
                    <a:cubicBezTo>
                      <a:pt x="2116" y="186"/>
                      <a:pt x="2116" y="186"/>
                      <a:pt x="2116" y="186"/>
                    </a:cubicBezTo>
                    <a:cubicBezTo>
                      <a:pt x="2117" y="186"/>
                      <a:pt x="2117" y="186"/>
                      <a:pt x="2117" y="186"/>
                    </a:cubicBezTo>
                    <a:cubicBezTo>
                      <a:pt x="2117" y="184"/>
                      <a:pt x="2117" y="184"/>
                      <a:pt x="2117" y="184"/>
                    </a:cubicBezTo>
                    <a:cubicBezTo>
                      <a:pt x="2118" y="184"/>
                      <a:pt x="2118" y="184"/>
                      <a:pt x="2118" y="184"/>
                    </a:cubicBezTo>
                    <a:cubicBezTo>
                      <a:pt x="2119" y="184"/>
                      <a:pt x="2119" y="184"/>
                      <a:pt x="2119" y="184"/>
                    </a:cubicBezTo>
                    <a:cubicBezTo>
                      <a:pt x="2119" y="183"/>
                      <a:pt x="2119" y="183"/>
                      <a:pt x="2119" y="183"/>
                    </a:cubicBezTo>
                    <a:cubicBezTo>
                      <a:pt x="2120" y="185"/>
                      <a:pt x="2120" y="185"/>
                      <a:pt x="2120" y="185"/>
                    </a:cubicBezTo>
                    <a:cubicBezTo>
                      <a:pt x="2123" y="187"/>
                      <a:pt x="2123" y="187"/>
                      <a:pt x="2123" y="187"/>
                    </a:cubicBezTo>
                    <a:cubicBezTo>
                      <a:pt x="2126" y="187"/>
                      <a:pt x="2126" y="187"/>
                      <a:pt x="2126" y="187"/>
                    </a:cubicBezTo>
                    <a:cubicBezTo>
                      <a:pt x="2127" y="189"/>
                      <a:pt x="2127" y="189"/>
                      <a:pt x="2127" y="189"/>
                    </a:cubicBezTo>
                    <a:cubicBezTo>
                      <a:pt x="2126" y="190"/>
                      <a:pt x="2126" y="190"/>
                      <a:pt x="2126" y="190"/>
                    </a:cubicBezTo>
                    <a:cubicBezTo>
                      <a:pt x="2128" y="192"/>
                      <a:pt x="2128" y="192"/>
                      <a:pt x="2128" y="192"/>
                    </a:cubicBezTo>
                    <a:cubicBezTo>
                      <a:pt x="2129" y="192"/>
                      <a:pt x="2129" y="192"/>
                      <a:pt x="2129" y="192"/>
                    </a:cubicBezTo>
                    <a:cubicBezTo>
                      <a:pt x="2131" y="195"/>
                      <a:pt x="2131" y="195"/>
                      <a:pt x="2131" y="195"/>
                    </a:cubicBezTo>
                    <a:cubicBezTo>
                      <a:pt x="2131" y="199"/>
                      <a:pt x="2131" y="199"/>
                      <a:pt x="2131" y="199"/>
                    </a:cubicBezTo>
                    <a:cubicBezTo>
                      <a:pt x="2130" y="199"/>
                      <a:pt x="2130" y="199"/>
                      <a:pt x="2130" y="199"/>
                    </a:cubicBezTo>
                    <a:cubicBezTo>
                      <a:pt x="2130" y="200"/>
                      <a:pt x="2130" y="200"/>
                      <a:pt x="2130" y="200"/>
                    </a:cubicBezTo>
                    <a:cubicBezTo>
                      <a:pt x="2132" y="200"/>
                      <a:pt x="2132" y="200"/>
                      <a:pt x="2132" y="200"/>
                    </a:cubicBezTo>
                    <a:cubicBezTo>
                      <a:pt x="2132" y="202"/>
                      <a:pt x="2132" y="202"/>
                      <a:pt x="2132" y="202"/>
                    </a:cubicBezTo>
                    <a:cubicBezTo>
                      <a:pt x="2131" y="202"/>
                      <a:pt x="2131" y="202"/>
                      <a:pt x="2131" y="202"/>
                    </a:cubicBezTo>
                    <a:cubicBezTo>
                      <a:pt x="2126" y="202"/>
                      <a:pt x="2126" y="202"/>
                      <a:pt x="2126" y="202"/>
                    </a:cubicBezTo>
                    <a:cubicBezTo>
                      <a:pt x="2125" y="201"/>
                      <a:pt x="2125" y="201"/>
                      <a:pt x="2125" y="201"/>
                    </a:cubicBezTo>
                    <a:cubicBezTo>
                      <a:pt x="2124" y="201"/>
                      <a:pt x="2124" y="201"/>
                      <a:pt x="2124" y="201"/>
                    </a:cubicBezTo>
                    <a:cubicBezTo>
                      <a:pt x="2123" y="201"/>
                      <a:pt x="2123" y="201"/>
                      <a:pt x="2123" y="201"/>
                    </a:cubicBezTo>
                    <a:cubicBezTo>
                      <a:pt x="2123" y="200"/>
                      <a:pt x="2123" y="200"/>
                      <a:pt x="2123" y="200"/>
                    </a:cubicBezTo>
                    <a:cubicBezTo>
                      <a:pt x="2122" y="199"/>
                      <a:pt x="2122" y="199"/>
                      <a:pt x="2122" y="199"/>
                    </a:cubicBezTo>
                    <a:cubicBezTo>
                      <a:pt x="2122" y="200"/>
                      <a:pt x="2122" y="200"/>
                      <a:pt x="2122" y="200"/>
                    </a:cubicBezTo>
                    <a:cubicBezTo>
                      <a:pt x="2122" y="201"/>
                      <a:pt x="2122" y="201"/>
                      <a:pt x="2122" y="201"/>
                    </a:cubicBezTo>
                    <a:cubicBezTo>
                      <a:pt x="2120" y="202"/>
                      <a:pt x="2120" y="202"/>
                      <a:pt x="2120" y="202"/>
                    </a:cubicBezTo>
                    <a:cubicBezTo>
                      <a:pt x="2119" y="202"/>
                      <a:pt x="2119" y="202"/>
                      <a:pt x="2119" y="202"/>
                    </a:cubicBezTo>
                    <a:cubicBezTo>
                      <a:pt x="2118" y="203"/>
                      <a:pt x="2118" y="203"/>
                      <a:pt x="2118" y="203"/>
                    </a:cubicBezTo>
                    <a:cubicBezTo>
                      <a:pt x="2119" y="203"/>
                      <a:pt x="2119" y="203"/>
                      <a:pt x="2119" y="203"/>
                    </a:cubicBezTo>
                    <a:cubicBezTo>
                      <a:pt x="2117" y="205"/>
                      <a:pt x="2117" y="205"/>
                      <a:pt x="2117" y="205"/>
                    </a:cubicBezTo>
                    <a:cubicBezTo>
                      <a:pt x="2116" y="205"/>
                      <a:pt x="2116" y="205"/>
                      <a:pt x="2116" y="205"/>
                    </a:cubicBezTo>
                    <a:cubicBezTo>
                      <a:pt x="2116" y="206"/>
                      <a:pt x="2116" y="206"/>
                      <a:pt x="2116" y="206"/>
                    </a:cubicBezTo>
                    <a:cubicBezTo>
                      <a:pt x="2116" y="207"/>
                      <a:pt x="2116" y="207"/>
                      <a:pt x="2116" y="207"/>
                    </a:cubicBezTo>
                    <a:cubicBezTo>
                      <a:pt x="2115" y="209"/>
                      <a:pt x="2115" y="209"/>
                      <a:pt x="2115" y="209"/>
                    </a:cubicBezTo>
                    <a:cubicBezTo>
                      <a:pt x="2114" y="210"/>
                      <a:pt x="2114" y="210"/>
                      <a:pt x="2114" y="210"/>
                    </a:cubicBezTo>
                    <a:cubicBezTo>
                      <a:pt x="2114" y="209"/>
                      <a:pt x="2114" y="209"/>
                      <a:pt x="2114" y="209"/>
                    </a:cubicBezTo>
                    <a:cubicBezTo>
                      <a:pt x="2113" y="209"/>
                      <a:pt x="2113" y="209"/>
                      <a:pt x="2113" y="209"/>
                    </a:cubicBezTo>
                    <a:cubicBezTo>
                      <a:pt x="2113" y="211"/>
                      <a:pt x="2113" y="211"/>
                      <a:pt x="2113" y="211"/>
                    </a:cubicBezTo>
                    <a:cubicBezTo>
                      <a:pt x="2113" y="213"/>
                      <a:pt x="2113" y="213"/>
                      <a:pt x="2113" y="213"/>
                    </a:cubicBezTo>
                    <a:cubicBezTo>
                      <a:pt x="2112" y="214"/>
                      <a:pt x="2112" y="214"/>
                      <a:pt x="2112" y="214"/>
                    </a:cubicBezTo>
                    <a:cubicBezTo>
                      <a:pt x="2111" y="213"/>
                      <a:pt x="2111" y="213"/>
                      <a:pt x="2111" y="213"/>
                    </a:cubicBezTo>
                    <a:cubicBezTo>
                      <a:pt x="2111" y="215"/>
                      <a:pt x="2111" y="215"/>
                      <a:pt x="2111" y="215"/>
                    </a:cubicBezTo>
                    <a:cubicBezTo>
                      <a:pt x="2112" y="216"/>
                      <a:pt x="2112" y="216"/>
                      <a:pt x="2112" y="216"/>
                    </a:cubicBezTo>
                    <a:cubicBezTo>
                      <a:pt x="2110" y="217"/>
                      <a:pt x="2110" y="217"/>
                      <a:pt x="2110" y="217"/>
                    </a:cubicBezTo>
                    <a:cubicBezTo>
                      <a:pt x="2109" y="217"/>
                      <a:pt x="2109" y="217"/>
                      <a:pt x="2109" y="217"/>
                    </a:cubicBezTo>
                    <a:cubicBezTo>
                      <a:pt x="2110" y="218"/>
                      <a:pt x="2110" y="218"/>
                      <a:pt x="2110" y="218"/>
                    </a:cubicBezTo>
                    <a:cubicBezTo>
                      <a:pt x="2110" y="219"/>
                      <a:pt x="2110" y="219"/>
                      <a:pt x="2110" y="219"/>
                    </a:cubicBezTo>
                    <a:cubicBezTo>
                      <a:pt x="2109" y="220"/>
                      <a:pt x="2109" y="220"/>
                      <a:pt x="2109" y="220"/>
                    </a:cubicBezTo>
                    <a:cubicBezTo>
                      <a:pt x="2108" y="219"/>
                      <a:pt x="2108" y="219"/>
                      <a:pt x="2108" y="219"/>
                    </a:cubicBezTo>
                    <a:cubicBezTo>
                      <a:pt x="2107" y="220"/>
                      <a:pt x="2107" y="220"/>
                      <a:pt x="2107" y="220"/>
                    </a:cubicBezTo>
                    <a:cubicBezTo>
                      <a:pt x="2108" y="221"/>
                      <a:pt x="2108" y="221"/>
                      <a:pt x="2108" y="221"/>
                    </a:cubicBezTo>
                    <a:cubicBezTo>
                      <a:pt x="2108" y="222"/>
                      <a:pt x="2108" y="222"/>
                      <a:pt x="2108" y="222"/>
                    </a:cubicBezTo>
                    <a:cubicBezTo>
                      <a:pt x="2107" y="223"/>
                      <a:pt x="2107" y="223"/>
                      <a:pt x="2107" y="223"/>
                    </a:cubicBezTo>
                    <a:cubicBezTo>
                      <a:pt x="2108" y="224"/>
                      <a:pt x="2108" y="224"/>
                      <a:pt x="2108" y="224"/>
                    </a:cubicBezTo>
                    <a:cubicBezTo>
                      <a:pt x="2107" y="225"/>
                      <a:pt x="2107" y="225"/>
                      <a:pt x="2107" y="225"/>
                    </a:cubicBezTo>
                    <a:cubicBezTo>
                      <a:pt x="2106" y="225"/>
                      <a:pt x="2106" y="225"/>
                      <a:pt x="2106" y="225"/>
                    </a:cubicBezTo>
                    <a:cubicBezTo>
                      <a:pt x="2106" y="224"/>
                      <a:pt x="2106" y="224"/>
                      <a:pt x="2106" y="224"/>
                    </a:cubicBezTo>
                    <a:cubicBezTo>
                      <a:pt x="2105" y="224"/>
                      <a:pt x="2105" y="224"/>
                      <a:pt x="2105" y="224"/>
                    </a:cubicBezTo>
                    <a:cubicBezTo>
                      <a:pt x="2106" y="225"/>
                      <a:pt x="2106" y="225"/>
                      <a:pt x="2106" y="225"/>
                    </a:cubicBezTo>
                    <a:cubicBezTo>
                      <a:pt x="2108" y="226"/>
                      <a:pt x="2108" y="226"/>
                      <a:pt x="2108" y="226"/>
                    </a:cubicBezTo>
                    <a:cubicBezTo>
                      <a:pt x="2107" y="228"/>
                      <a:pt x="2107" y="228"/>
                      <a:pt x="2107" y="228"/>
                    </a:cubicBezTo>
                    <a:cubicBezTo>
                      <a:pt x="2105" y="228"/>
                      <a:pt x="2105" y="228"/>
                      <a:pt x="2105" y="228"/>
                    </a:cubicBezTo>
                    <a:cubicBezTo>
                      <a:pt x="2106" y="229"/>
                      <a:pt x="2106" y="229"/>
                      <a:pt x="2106" y="229"/>
                    </a:cubicBezTo>
                    <a:cubicBezTo>
                      <a:pt x="2107" y="231"/>
                      <a:pt x="2107" y="231"/>
                      <a:pt x="2107" y="231"/>
                    </a:cubicBezTo>
                    <a:cubicBezTo>
                      <a:pt x="2106" y="232"/>
                      <a:pt x="2106" y="232"/>
                      <a:pt x="2106" y="232"/>
                    </a:cubicBezTo>
                    <a:cubicBezTo>
                      <a:pt x="2107" y="232"/>
                      <a:pt x="2107" y="232"/>
                      <a:pt x="2107" y="232"/>
                    </a:cubicBezTo>
                    <a:cubicBezTo>
                      <a:pt x="2105" y="234"/>
                      <a:pt x="2105" y="234"/>
                      <a:pt x="2105" y="234"/>
                    </a:cubicBezTo>
                    <a:cubicBezTo>
                      <a:pt x="2106" y="235"/>
                      <a:pt x="2106" y="235"/>
                      <a:pt x="2106" y="235"/>
                    </a:cubicBezTo>
                    <a:cubicBezTo>
                      <a:pt x="2105" y="238"/>
                      <a:pt x="2105" y="238"/>
                      <a:pt x="2105" y="238"/>
                    </a:cubicBezTo>
                    <a:cubicBezTo>
                      <a:pt x="2104" y="240"/>
                      <a:pt x="2104" y="240"/>
                      <a:pt x="2104" y="240"/>
                    </a:cubicBezTo>
                    <a:cubicBezTo>
                      <a:pt x="2104" y="242"/>
                      <a:pt x="2104" y="242"/>
                      <a:pt x="2104" y="242"/>
                    </a:cubicBezTo>
                    <a:cubicBezTo>
                      <a:pt x="2103" y="243"/>
                      <a:pt x="2103" y="243"/>
                      <a:pt x="2103" y="243"/>
                    </a:cubicBezTo>
                    <a:cubicBezTo>
                      <a:pt x="2104" y="243"/>
                      <a:pt x="2104" y="243"/>
                      <a:pt x="2104" y="243"/>
                    </a:cubicBezTo>
                    <a:cubicBezTo>
                      <a:pt x="2105" y="244"/>
                      <a:pt x="2105" y="244"/>
                      <a:pt x="2105" y="244"/>
                    </a:cubicBezTo>
                    <a:cubicBezTo>
                      <a:pt x="2104" y="244"/>
                      <a:pt x="2104" y="244"/>
                      <a:pt x="2104" y="244"/>
                    </a:cubicBezTo>
                    <a:cubicBezTo>
                      <a:pt x="2106" y="247"/>
                      <a:pt x="2106" y="247"/>
                      <a:pt x="2106" y="247"/>
                    </a:cubicBezTo>
                    <a:cubicBezTo>
                      <a:pt x="2106" y="248"/>
                      <a:pt x="2106" y="248"/>
                      <a:pt x="2106" y="248"/>
                    </a:cubicBezTo>
                    <a:cubicBezTo>
                      <a:pt x="2105" y="248"/>
                      <a:pt x="2105" y="248"/>
                      <a:pt x="2105" y="248"/>
                    </a:cubicBezTo>
                    <a:cubicBezTo>
                      <a:pt x="2104" y="248"/>
                      <a:pt x="2104" y="248"/>
                      <a:pt x="2104" y="248"/>
                    </a:cubicBezTo>
                    <a:cubicBezTo>
                      <a:pt x="2102" y="247"/>
                      <a:pt x="2102" y="247"/>
                      <a:pt x="2102" y="247"/>
                    </a:cubicBezTo>
                    <a:cubicBezTo>
                      <a:pt x="2100" y="245"/>
                      <a:pt x="2100" y="245"/>
                      <a:pt x="2100" y="245"/>
                    </a:cubicBezTo>
                    <a:cubicBezTo>
                      <a:pt x="2099" y="245"/>
                      <a:pt x="2099" y="245"/>
                      <a:pt x="2099" y="245"/>
                    </a:cubicBezTo>
                    <a:cubicBezTo>
                      <a:pt x="2098" y="245"/>
                      <a:pt x="2098" y="245"/>
                      <a:pt x="2098" y="245"/>
                    </a:cubicBezTo>
                    <a:cubicBezTo>
                      <a:pt x="2098" y="244"/>
                      <a:pt x="2098" y="244"/>
                      <a:pt x="2098" y="244"/>
                    </a:cubicBezTo>
                    <a:cubicBezTo>
                      <a:pt x="2094" y="242"/>
                      <a:pt x="2094" y="242"/>
                      <a:pt x="2094" y="242"/>
                    </a:cubicBezTo>
                    <a:cubicBezTo>
                      <a:pt x="2093" y="241"/>
                      <a:pt x="2093" y="241"/>
                      <a:pt x="2093" y="241"/>
                    </a:cubicBezTo>
                    <a:cubicBezTo>
                      <a:pt x="2091" y="243"/>
                      <a:pt x="2091" y="243"/>
                      <a:pt x="2091" y="243"/>
                    </a:cubicBezTo>
                    <a:cubicBezTo>
                      <a:pt x="2090" y="242"/>
                      <a:pt x="2090" y="242"/>
                      <a:pt x="2090" y="242"/>
                    </a:cubicBezTo>
                    <a:cubicBezTo>
                      <a:pt x="2089" y="242"/>
                      <a:pt x="2089" y="242"/>
                      <a:pt x="2089" y="242"/>
                    </a:cubicBezTo>
                    <a:cubicBezTo>
                      <a:pt x="2087" y="244"/>
                      <a:pt x="2087" y="244"/>
                      <a:pt x="2087" y="244"/>
                    </a:cubicBezTo>
                    <a:cubicBezTo>
                      <a:pt x="2086" y="244"/>
                      <a:pt x="2086" y="244"/>
                      <a:pt x="2086" y="244"/>
                    </a:cubicBezTo>
                    <a:cubicBezTo>
                      <a:pt x="2085" y="247"/>
                      <a:pt x="2085" y="247"/>
                      <a:pt x="2085" y="247"/>
                    </a:cubicBezTo>
                    <a:cubicBezTo>
                      <a:pt x="2084" y="247"/>
                      <a:pt x="2084" y="247"/>
                      <a:pt x="2084" y="247"/>
                    </a:cubicBezTo>
                    <a:cubicBezTo>
                      <a:pt x="2083" y="247"/>
                      <a:pt x="2083" y="247"/>
                      <a:pt x="2083" y="247"/>
                    </a:cubicBezTo>
                    <a:cubicBezTo>
                      <a:pt x="2084" y="248"/>
                      <a:pt x="2084" y="248"/>
                      <a:pt x="2084" y="248"/>
                    </a:cubicBezTo>
                    <a:cubicBezTo>
                      <a:pt x="2083" y="249"/>
                      <a:pt x="2083" y="249"/>
                      <a:pt x="2083" y="249"/>
                    </a:cubicBezTo>
                    <a:cubicBezTo>
                      <a:pt x="2084" y="251"/>
                      <a:pt x="2084" y="251"/>
                      <a:pt x="2084" y="251"/>
                    </a:cubicBezTo>
                    <a:cubicBezTo>
                      <a:pt x="2083" y="252"/>
                      <a:pt x="2083" y="252"/>
                      <a:pt x="2083" y="252"/>
                    </a:cubicBezTo>
                    <a:cubicBezTo>
                      <a:pt x="2083" y="255"/>
                      <a:pt x="2083" y="255"/>
                      <a:pt x="2083" y="255"/>
                    </a:cubicBezTo>
                    <a:cubicBezTo>
                      <a:pt x="2082" y="256"/>
                      <a:pt x="2082" y="256"/>
                      <a:pt x="2082" y="256"/>
                    </a:cubicBezTo>
                    <a:cubicBezTo>
                      <a:pt x="2081" y="255"/>
                      <a:pt x="2081" y="255"/>
                      <a:pt x="2081" y="255"/>
                    </a:cubicBezTo>
                    <a:cubicBezTo>
                      <a:pt x="2080" y="251"/>
                      <a:pt x="2080" y="251"/>
                      <a:pt x="2080" y="251"/>
                    </a:cubicBezTo>
                    <a:cubicBezTo>
                      <a:pt x="2080" y="249"/>
                      <a:pt x="2080" y="249"/>
                      <a:pt x="2080" y="249"/>
                    </a:cubicBezTo>
                    <a:cubicBezTo>
                      <a:pt x="2079" y="249"/>
                      <a:pt x="2079" y="249"/>
                      <a:pt x="2079" y="249"/>
                    </a:cubicBezTo>
                    <a:cubicBezTo>
                      <a:pt x="2078" y="248"/>
                      <a:pt x="2078" y="248"/>
                      <a:pt x="2078" y="248"/>
                    </a:cubicBezTo>
                    <a:cubicBezTo>
                      <a:pt x="2078" y="249"/>
                      <a:pt x="2078" y="249"/>
                      <a:pt x="2078" y="249"/>
                    </a:cubicBezTo>
                    <a:cubicBezTo>
                      <a:pt x="2076" y="252"/>
                      <a:pt x="2076" y="252"/>
                      <a:pt x="2076" y="252"/>
                    </a:cubicBezTo>
                    <a:cubicBezTo>
                      <a:pt x="2075" y="252"/>
                      <a:pt x="2075" y="252"/>
                      <a:pt x="2075" y="252"/>
                    </a:cubicBezTo>
                    <a:cubicBezTo>
                      <a:pt x="2075" y="254"/>
                      <a:pt x="2075" y="254"/>
                      <a:pt x="2075" y="254"/>
                    </a:cubicBezTo>
                    <a:cubicBezTo>
                      <a:pt x="2076" y="254"/>
                      <a:pt x="2076" y="254"/>
                      <a:pt x="2076" y="254"/>
                    </a:cubicBezTo>
                    <a:cubicBezTo>
                      <a:pt x="2075" y="257"/>
                      <a:pt x="2075" y="257"/>
                      <a:pt x="2075" y="257"/>
                    </a:cubicBezTo>
                    <a:cubicBezTo>
                      <a:pt x="2074" y="255"/>
                      <a:pt x="2074" y="255"/>
                      <a:pt x="2074" y="255"/>
                    </a:cubicBezTo>
                    <a:cubicBezTo>
                      <a:pt x="2073" y="255"/>
                      <a:pt x="2073" y="255"/>
                      <a:pt x="2073" y="255"/>
                    </a:cubicBezTo>
                    <a:cubicBezTo>
                      <a:pt x="2072" y="255"/>
                      <a:pt x="2072" y="255"/>
                      <a:pt x="2072" y="255"/>
                    </a:cubicBezTo>
                    <a:cubicBezTo>
                      <a:pt x="2071" y="256"/>
                      <a:pt x="2071" y="256"/>
                      <a:pt x="2071" y="256"/>
                    </a:cubicBezTo>
                    <a:cubicBezTo>
                      <a:pt x="2071" y="257"/>
                      <a:pt x="2071" y="257"/>
                      <a:pt x="2071" y="257"/>
                    </a:cubicBezTo>
                    <a:cubicBezTo>
                      <a:pt x="2069" y="256"/>
                      <a:pt x="2069" y="256"/>
                      <a:pt x="2069" y="256"/>
                    </a:cubicBezTo>
                    <a:cubicBezTo>
                      <a:pt x="2068" y="256"/>
                      <a:pt x="2068" y="256"/>
                      <a:pt x="2068" y="256"/>
                    </a:cubicBezTo>
                    <a:cubicBezTo>
                      <a:pt x="2068" y="257"/>
                      <a:pt x="2068" y="257"/>
                      <a:pt x="2068" y="257"/>
                    </a:cubicBezTo>
                    <a:cubicBezTo>
                      <a:pt x="2069" y="258"/>
                      <a:pt x="2069" y="258"/>
                      <a:pt x="2069" y="258"/>
                    </a:cubicBezTo>
                    <a:cubicBezTo>
                      <a:pt x="2068" y="258"/>
                      <a:pt x="2068" y="258"/>
                      <a:pt x="2068" y="258"/>
                    </a:cubicBezTo>
                    <a:cubicBezTo>
                      <a:pt x="2068" y="260"/>
                      <a:pt x="2068" y="260"/>
                      <a:pt x="2068" y="260"/>
                    </a:cubicBezTo>
                    <a:cubicBezTo>
                      <a:pt x="2068" y="261"/>
                      <a:pt x="2068" y="261"/>
                      <a:pt x="2068" y="261"/>
                    </a:cubicBezTo>
                    <a:cubicBezTo>
                      <a:pt x="2069" y="262"/>
                      <a:pt x="2069" y="262"/>
                      <a:pt x="2069" y="262"/>
                    </a:cubicBezTo>
                    <a:cubicBezTo>
                      <a:pt x="2069" y="263"/>
                      <a:pt x="2069" y="263"/>
                      <a:pt x="2069" y="263"/>
                    </a:cubicBezTo>
                    <a:cubicBezTo>
                      <a:pt x="2069" y="264"/>
                      <a:pt x="2069" y="264"/>
                      <a:pt x="2069" y="264"/>
                    </a:cubicBezTo>
                    <a:cubicBezTo>
                      <a:pt x="2069" y="265"/>
                      <a:pt x="2069" y="265"/>
                      <a:pt x="2069" y="265"/>
                    </a:cubicBezTo>
                    <a:cubicBezTo>
                      <a:pt x="2070" y="265"/>
                      <a:pt x="2070" y="265"/>
                      <a:pt x="2070" y="265"/>
                    </a:cubicBezTo>
                    <a:cubicBezTo>
                      <a:pt x="2071" y="266"/>
                      <a:pt x="2071" y="266"/>
                      <a:pt x="2071" y="266"/>
                    </a:cubicBezTo>
                    <a:cubicBezTo>
                      <a:pt x="2071" y="267"/>
                      <a:pt x="2071" y="267"/>
                      <a:pt x="2071" y="267"/>
                    </a:cubicBezTo>
                    <a:cubicBezTo>
                      <a:pt x="2071" y="268"/>
                      <a:pt x="2071" y="268"/>
                      <a:pt x="2071" y="268"/>
                    </a:cubicBezTo>
                    <a:cubicBezTo>
                      <a:pt x="2072" y="268"/>
                      <a:pt x="2072" y="268"/>
                      <a:pt x="2072" y="268"/>
                    </a:cubicBezTo>
                    <a:cubicBezTo>
                      <a:pt x="2072" y="269"/>
                      <a:pt x="2072" y="269"/>
                      <a:pt x="2072" y="269"/>
                    </a:cubicBezTo>
                    <a:cubicBezTo>
                      <a:pt x="2072" y="270"/>
                      <a:pt x="2072" y="270"/>
                      <a:pt x="2072" y="270"/>
                    </a:cubicBezTo>
                    <a:cubicBezTo>
                      <a:pt x="2071" y="269"/>
                      <a:pt x="2071" y="269"/>
                      <a:pt x="2071" y="269"/>
                    </a:cubicBezTo>
                    <a:cubicBezTo>
                      <a:pt x="2070" y="269"/>
                      <a:pt x="2070" y="269"/>
                      <a:pt x="2070" y="269"/>
                    </a:cubicBezTo>
                    <a:cubicBezTo>
                      <a:pt x="2070" y="270"/>
                      <a:pt x="2070" y="270"/>
                      <a:pt x="2070" y="270"/>
                    </a:cubicBezTo>
                    <a:cubicBezTo>
                      <a:pt x="2071" y="271"/>
                      <a:pt x="2071" y="271"/>
                      <a:pt x="2071" y="271"/>
                    </a:cubicBezTo>
                    <a:cubicBezTo>
                      <a:pt x="2072" y="271"/>
                      <a:pt x="2072" y="271"/>
                      <a:pt x="2072" y="271"/>
                    </a:cubicBezTo>
                    <a:cubicBezTo>
                      <a:pt x="2072" y="272"/>
                      <a:pt x="2072" y="272"/>
                      <a:pt x="2072" y="272"/>
                    </a:cubicBezTo>
                    <a:cubicBezTo>
                      <a:pt x="2072" y="273"/>
                      <a:pt x="2072" y="273"/>
                      <a:pt x="2072" y="273"/>
                    </a:cubicBezTo>
                    <a:cubicBezTo>
                      <a:pt x="2072" y="275"/>
                      <a:pt x="2072" y="275"/>
                      <a:pt x="2072" y="275"/>
                    </a:cubicBezTo>
                    <a:cubicBezTo>
                      <a:pt x="2071" y="276"/>
                      <a:pt x="2071" y="276"/>
                      <a:pt x="2071" y="276"/>
                    </a:cubicBezTo>
                    <a:cubicBezTo>
                      <a:pt x="2072" y="278"/>
                      <a:pt x="2072" y="278"/>
                      <a:pt x="2072" y="278"/>
                    </a:cubicBezTo>
                    <a:cubicBezTo>
                      <a:pt x="2071" y="278"/>
                      <a:pt x="2071" y="278"/>
                      <a:pt x="2071" y="278"/>
                    </a:cubicBezTo>
                    <a:cubicBezTo>
                      <a:pt x="2072" y="280"/>
                      <a:pt x="2072" y="280"/>
                      <a:pt x="2072" y="280"/>
                    </a:cubicBezTo>
                    <a:cubicBezTo>
                      <a:pt x="2072" y="282"/>
                      <a:pt x="2072" y="282"/>
                      <a:pt x="2072" y="282"/>
                    </a:cubicBezTo>
                    <a:cubicBezTo>
                      <a:pt x="2073" y="284"/>
                      <a:pt x="2073" y="284"/>
                      <a:pt x="2073" y="284"/>
                    </a:cubicBezTo>
                    <a:cubicBezTo>
                      <a:pt x="2072" y="285"/>
                      <a:pt x="2072" y="285"/>
                      <a:pt x="2072" y="285"/>
                    </a:cubicBezTo>
                    <a:cubicBezTo>
                      <a:pt x="2073" y="285"/>
                      <a:pt x="2073" y="285"/>
                      <a:pt x="2073" y="285"/>
                    </a:cubicBezTo>
                    <a:cubicBezTo>
                      <a:pt x="2075" y="286"/>
                      <a:pt x="2075" y="286"/>
                      <a:pt x="2075" y="286"/>
                    </a:cubicBezTo>
                    <a:cubicBezTo>
                      <a:pt x="2076" y="289"/>
                      <a:pt x="2076" y="289"/>
                      <a:pt x="2076" y="289"/>
                    </a:cubicBezTo>
                    <a:cubicBezTo>
                      <a:pt x="2078" y="289"/>
                      <a:pt x="2078" y="289"/>
                      <a:pt x="2078" y="289"/>
                    </a:cubicBezTo>
                    <a:cubicBezTo>
                      <a:pt x="2078" y="288"/>
                      <a:pt x="2078" y="288"/>
                      <a:pt x="2078" y="288"/>
                    </a:cubicBezTo>
                    <a:cubicBezTo>
                      <a:pt x="2077" y="286"/>
                      <a:pt x="2077" y="286"/>
                      <a:pt x="2077" y="286"/>
                    </a:cubicBezTo>
                    <a:cubicBezTo>
                      <a:pt x="2077" y="285"/>
                      <a:pt x="2077" y="285"/>
                      <a:pt x="2077" y="285"/>
                    </a:cubicBezTo>
                    <a:cubicBezTo>
                      <a:pt x="2078" y="284"/>
                      <a:pt x="2078" y="284"/>
                      <a:pt x="2078" y="284"/>
                    </a:cubicBezTo>
                    <a:cubicBezTo>
                      <a:pt x="2079" y="285"/>
                      <a:pt x="2079" y="285"/>
                      <a:pt x="2079" y="285"/>
                    </a:cubicBezTo>
                    <a:cubicBezTo>
                      <a:pt x="2081" y="286"/>
                      <a:pt x="2081" y="286"/>
                      <a:pt x="2081" y="286"/>
                    </a:cubicBezTo>
                    <a:cubicBezTo>
                      <a:pt x="2082" y="286"/>
                      <a:pt x="2082" y="286"/>
                      <a:pt x="2082" y="286"/>
                    </a:cubicBezTo>
                    <a:cubicBezTo>
                      <a:pt x="2083" y="286"/>
                      <a:pt x="2083" y="286"/>
                      <a:pt x="2083" y="286"/>
                    </a:cubicBezTo>
                    <a:cubicBezTo>
                      <a:pt x="2083" y="287"/>
                      <a:pt x="2083" y="287"/>
                      <a:pt x="2083" y="287"/>
                    </a:cubicBezTo>
                    <a:cubicBezTo>
                      <a:pt x="2083" y="288"/>
                      <a:pt x="2083" y="288"/>
                      <a:pt x="2083" y="288"/>
                    </a:cubicBezTo>
                    <a:cubicBezTo>
                      <a:pt x="2084" y="289"/>
                      <a:pt x="2084" y="289"/>
                      <a:pt x="2084" y="289"/>
                    </a:cubicBezTo>
                    <a:cubicBezTo>
                      <a:pt x="2083" y="290"/>
                      <a:pt x="2083" y="290"/>
                      <a:pt x="2083" y="290"/>
                    </a:cubicBezTo>
                    <a:cubicBezTo>
                      <a:pt x="2083" y="291"/>
                      <a:pt x="2083" y="291"/>
                      <a:pt x="2083" y="291"/>
                    </a:cubicBezTo>
                    <a:cubicBezTo>
                      <a:pt x="2083" y="292"/>
                      <a:pt x="2083" y="292"/>
                      <a:pt x="2083" y="292"/>
                    </a:cubicBezTo>
                    <a:cubicBezTo>
                      <a:pt x="2082" y="293"/>
                      <a:pt x="2082" y="293"/>
                      <a:pt x="2082" y="293"/>
                    </a:cubicBezTo>
                    <a:cubicBezTo>
                      <a:pt x="2083" y="295"/>
                      <a:pt x="2083" y="295"/>
                      <a:pt x="2083" y="295"/>
                    </a:cubicBezTo>
                    <a:cubicBezTo>
                      <a:pt x="2084" y="297"/>
                      <a:pt x="2084" y="297"/>
                      <a:pt x="2084" y="297"/>
                    </a:cubicBezTo>
                    <a:cubicBezTo>
                      <a:pt x="2084" y="299"/>
                      <a:pt x="2084" y="299"/>
                      <a:pt x="2084" y="299"/>
                    </a:cubicBezTo>
                    <a:cubicBezTo>
                      <a:pt x="2085" y="300"/>
                      <a:pt x="2085" y="300"/>
                      <a:pt x="2085" y="300"/>
                    </a:cubicBezTo>
                    <a:cubicBezTo>
                      <a:pt x="2086" y="299"/>
                      <a:pt x="2086" y="299"/>
                      <a:pt x="2086" y="299"/>
                    </a:cubicBezTo>
                    <a:cubicBezTo>
                      <a:pt x="2087" y="298"/>
                      <a:pt x="2087" y="298"/>
                      <a:pt x="2087" y="298"/>
                    </a:cubicBezTo>
                    <a:cubicBezTo>
                      <a:pt x="2089" y="298"/>
                      <a:pt x="2089" y="298"/>
                      <a:pt x="2089" y="298"/>
                    </a:cubicBezTo>
                    <a:cubicBezTo>
                      <a:pt x="2089" y="301"/>
                      <a:pt x="2089" y="301"/>
                      <a:pt x="2089" y="301"/>
                    </a:cubicBezTo>
                    <a:cubicBezTo>
                      <a:pt x="2092" y="304"/>
                      <a:pt x="2092" y="304"/>
                      <a:pt x="2092" y="304"/>
                    </a:cubicBezTo>
                    <a:cubicBezTo>
                      <a:pt x="2093" y="306"/>
                      <a:pt x="2093" y="306"/>
                      <a:pt x="2093" y="306"/>
                    </a:cubicBezTo>
                    <a:cubicBezTo>
                      <a:pt x="2092" y="306"/>
                      <a:pt x="2092" y="306"/>
                      <a:pt x="2092" y="306"/>
                    </a:cubicBezTo>
                    <a:cubicBezTo>
                      <a:pt x="2092" y="308"/>
                      <a:pt x="2092" y="308"/>
                      <a:pt x="2092" y="308"/>
                    </a:cubicBezTo>
                    <a:cubicBezTo>
                      <a:pt x="2091" y="309"/>
                      <a:pt x="2091" y="309"/>
                      <a:pt x="2091" y="309"/>
                    </a:cubicBezTo>
                    <a:cubicBezTo>
                      <a:pt x="2089" y="307"/>
                      <a:pt x="2089" y="307"/>
                      <a:pt x="2089" y="307"/>
                    </a:cubicBezTo>
                    <a:cubicBezTo>
                      <a:pt x="2088" y="307"/>
                      <a:pt x="2088" y="307"/>
                      <a:pt x="2088" y="307"/>
                    </a:cubicBezTo>
                    <a:cubicBezTo>
                      <a:pt x="2087" y="305"/>
                      <a:pt x="2087" y="305"/>
                      <a:pt x="2087" y="305"/>
                    </a:cubicBezTo>
                    <a:cubicBezTo>
                      <a:pt x="2088" y="304"/>
                      <a:pt x="2088" y="304"/>
                      <a:pt x="2088" y="304"/>
                    </a:cubicBezTo>
                    <a:cubicBezTo>
                      <a:pt x="2088" y="302"/>
                      <a:pt x="2088" y="302"/>
                      <a:pt x="2088" y="302"/>
                    </a:cubicBezTo>
                    <a:cubicBezTo>
                      <a:pt x="2088" y="301"/>
                      <a:pt x="2088" y="301"/>
                      <a:pt x="2088" y="301"/>
                    </a:cubicBezTo>
                    <a:cubicBezTo>
                      <a:pt x="2087" y="302"/>
                      <a:pt x="2087" y="302"/>
                      <a:pt x="2087" y="302"/>
                    </a:cubicBezTo>
                    <a:cubicBezTo>
                      <a:pt x="2087" y="303"/>
                      <a:pt x="2087" y="303"/>
                      <a:pt x="2087" y="303"/>
                    </a:cubicBezTo>
                    <a:cubicBezTo>
                      <a:pt x="2086" y="303"/>
                      <a:pt x="2086" y="303"/>
                      <a:pt x="2086" y="303"/>
                    </a:cubicBezTo>
                    <a:cubicBezTo>
                      <a:pt x="2085" y="305"/>
                      <a:pt x="2085" y="305"/>
                      <a:pt x="2085" y="305"/>
                    </a:cubicBezTo>
                    <a:cubicBezTo>
                      <a:pt x="2085" y="306"/>
                      <a:pt x="2085" y="306"/>
                      <a:pt x="2085" y="306"/>
                    </a:cubicBezTo>
                    <a:cubicBezTo>
                      <a:pt x="2087" y="305"/>
                      <a:pt x="2087" y="305"/>
                      <a:pt x="2087" y="305"/>
                    </a:cubicBezTo>
                    <a:cubicBezTo>
                      <a:pt x="2087" y="307"/>
                      <a:pt x="2087" y="307"/>
                      <a:pt x="2087" y="307"/>
                    </a:cubicBezTo>
                    <a:cubicBezTo>
                      <a:pt x="2086" y="308"/>
                      <a:pt x="2086" y="308"/>
                      <a:pt x="2086" y="308"/>
                    </a:cubicBezTo>
                    <a:cubicBezTo>
                      <a:pt x="2086" y="310"/>
                      <a:pt x="2086" y="310"/>
                      <a:pt x="2086" y="310"/>
                    </a:cubicBezTo>
                    <a:cubicBezTo>
                      <a:pt x="2086" y="311"/>
                      <a:pt x="2086" y="311"/>
                      <a:pt x="2086" y="311"/>
                    </a:cubicBezTo>
                    <a:cubicBezTo>
                      <a:pt x="2086" y="315"/>
                      <a:pt x="2086" y="315"/>
                      <a:pt x="2086" y="315"/>
                    </a:cubicBezTo>
                    <a:cubicBezTo>
                      <a:pt x="2087" y="316"/>
                      <a:pt x="2087" y="316"/>
                      <a:pt x="2087" y="316"/>
                    </a:cubicBezTo>
                    <a:cubicBezTo>
                      <a:pt x="2087" y="317"/>
                      <a:pt x="2087" y="317"/>
                      <a:pt x="2087" y="317"/>
                    </a:cubicBezTo>
                    <a:cubicBezTo>
                      <a:pt x="2090" y="322"/>
                      <a:pt x="2090" y="322"/>
                      <a:pt x="2090" y="322"/>
                    </a:cubicBezTo>
                    <a:cubicBezTo>
                      <a:pt x="2091" y="322"/>
                      <a:pt x="2091" y="322"/>
                      <a:pt x="2091" y="322"/>
                    </a:cubicBezTo>
                    <a:cubicBezTo>
                      <a:pt x="2093" y="325"/>
                      <a:pt x="2093" y="325"/>
                      <a:pt x="2093" y="325"/>
                    </a:cubicBezTo>
                    <a:cubicBezTo>
                      <a:pt x="2095" y="326"/>
                      <a:pt x="2095" y="326"/>
                      <a:pt x="2095" y="326"/>
                    </a:cubicBezTo>
                    <a:cubicBezTo>
                      <a:pt x="2094" y="327"/>
                      <a:pt x="2094" y="327"/>
                      <a:pt x="2094" y="327"/>
                    </a:cubicBezTo>
                    <a:cubicBezTo>
                      <a:pt x="2094" y="328"/>
                      <a:pt x="2094" y="328"/>
                      <a:pt x="2094" y="328"/>
                    </a:cubicBezTo>
                    <a:cubicBezTo>
                      <a:pt x="2090" y="330"/>
                      <a:pt x="2090" y="330"/>
                      <a:pt x="2090" y="330"/>
                    </a:cubicBezTo>
                    <a:cubicBezTo>
                      <a:pt x="2090" y="329"/>
                      <a:pt x="2090" y="329"/>
                      <a:pt x="2090" y="329"/>
                    </a:cubicBezTo>
                    <a:cubicBezTo>
                      <a:pt x="2088" y="330"/>
                      <a:pt x="2088" y="330"/>
                      <a:pt x="2088" y="330"/>
                    </a:cubicBezTo>
                    <a:cubicBezTo>
                      <a:pt x="2087" y="330"/>
                      <a:pt x="2087" y="330"/>
                      <a:pt x="2087" y="330"/>
                    </a:cubicBezTo>
                    <a:cubicBezTo>
                      <a:pt x="2088" y="331"/>
                      <a:pt x="2088" y="331"/>
                      <a:pt x="2088" y="331"/>
                    </a:cubicBezTo>
                    <a:cubicBezTo>
                      <a:pt x="2086" y="333"/>
                      <a:pt x="2086" y="333"/>
                      <a:pt x="2086" y="333"/>
                    </a:cubicBezTo>
                    <a:cubicBezTo>
                      <a:pt x="2086" y="335"/>
                      <a:pt x="2086" y="335"/>
                      <a:pt x="2086" y="335"/>
                    </a:cubicBezTo>
                    <a:cubicBezTo>
                      <a:pt x="2085" y="335"/>
                      <a:pt x="2085" y="335"/>
                      <a:pt x="2085" y="335"/>
                    </a:cubicBezTo>
                    <a:cubicBezTo>
                      <a:pt x="2086" y="337"/>
                      <a:pt x="2086" y="337"/>
                      <a:pt x="2086" y="337"/>
                    </a:cubicBezTo>
                    <a:cubicBezTo>
                      <a:pt x="2086" y="340"/>
                      <a:pt x="2086" y="340"/>
                      <a:pt x="2086" y="340"/>
                    </a:cubicBezTo>
                    <a:cubicBezTo>
                      <a:pt x="2087" y="343"/>
                      <a:pt x="2087" y="343"/>
                      <a:pt x="2087" y="343"/>
                    </a:cubicBezTo>
                    <a:cubicBezTo>
                      <a:pt x="2089" y="344"/>
                      <a:pt x="2089" y="344"/>
                      <a:pt x="2089" y="344"/>
                    </a:cubicBezTo>
                    <a:cubicBezTo>
                      <a:pt x="2089" y="346"/>
                      <a:pt x="2089" y="346"/>
                      <a:pt x="2089" y="346"/>
                    </a:cubicBezTo>
                    <a:cubicBezTo>
                      <a:pt x="2090" y="347"/>
                      <a:pt x="2090" y="347"/>
                      <a:pt x="2090" y="347"/>
                    </a:cubicBezTo>
                    <a:cubicBezTo>
                      <a:pt x="2091" y="348"/>
                      <a:pt x="2091" y="348"/>
                      <a:pt x="2091" y="348"/>
                    </a:cubicBezTo>
                    <a:cubicBezTo>
                      <a:pt x="2090" y="348"/>
                      <a:pt x="2090" y="348"/>
                      <a:pt x="2090" y="348"/>
                    </a:cubicBezTo>
                    <a:cubicBezTo>
                      <a:pt x="2089" y="347"/>
                      <a:pt x="2089" y="347"/>
                      <a:pt x="2089" y="347"/>
                    </a:cubicBezTo>
                    <a:cubicBezTo>
                      <a:pt x="2088" y="348"/>
                      <a:pt x="2088" y="348"/>
                      <a:pt x="2088" y="348"/>
                    </a:cubicBezTo>
                    <a:cubicBezTo>
                      <a:pt x="2087" y="349"/>
                      <a:pt x="2087" y="349"/>
                      <a:pt x="2087" y="349"/>
                    </a:cubicBezTo>
                    <a:cubicBezTo>
                      <a:pt x="2086" y="349"/>
                      <a:pt x="2086" y="349"/>
                      <a:pt x="2086" y="349"/>
                    </a:cubicBezTo>
                    <a:cubicBezTo>
                      <a:pt x="2084" y="351"/>
                      <a:pt x="2084" y="351"/>
                      <a:pt x="2084" y="351"/>
                    </a:cubicBezTo>
                    <a:cubicBezTo>
                      <a:pt x="2083" y="350"/>
                      <a:pt x="2083" y="350"/>
                      <a:pt x="2083" y="350"/>
                    </a:cubicBezTo>
                    <a:cubicBezTo>
                      <a:pt x="2082" y="351"/>
                      <a:pt x="2082" y="351"/>
                      <a:pt x="2082" y="351"/>
                    </a:cubicBezTo>
                    <a:cubicBezTo>
                      <a:pt x="2083" y="352"/>
                      <a:pt x="2083" y="352"/>
                      <a:pt x="2083" y="352"/>
                    </a:cubicBezTo>
                    <a:cubicBezTo>
                      <a:pt x="2085" y="352"/>
                      <a:pt x="2085" y="352"/>
                      <a:pt x="2085" y="352"/>
                    </a:cubicBezTo>
                    <a:cubicBezTo>
                      <a:pt x="2084" y="353"/>
                      <a:pt x="2084" y="353"/>
                      <a:pt x="2084" y="353"/>
                    </a:cubicBezTo>
                    <a:cubicBezTo>
                      <a:pt x="2084" y="354"/>
                      <a:pt x="2084" y="354"/>
                      <a:pt x="2084" y="354"/>
                    </a:cubicBezTo>
                    <a:cubicBezTo>
                      <a:pt x="2085" y="355"/>
                      <a:pt x="2085" y="355"/>
                      <a:pt x="2085" y="355"/>
                    </a:cubicBezTo>
                    <a:cubicBezTo>
                      <a:pt x="2085" y="356"/>
                      <a:pt x="2085" y="356"/>
                      <a:pt x="2085" y="356"/>
                    </a:cubicBezTo>
                    <a:cubicBezTo>
                      <a:pt x="2084" y="355"/>
                      <a:pt x="2084" y="355"/>
                      <a:pt x="2084" y="355"/>
                    </a:cubicBezTo>
                    <a:cubicBezTo>
                      <a:pt x="2085" y="357"/>
                      <a:pt x="2085" y="357"/>
                      <a:pt x="2085" y="357"/>
                    </a:cubicBezTo>
                    <a:cubicBezTo>
                      <a:pt x="2084" y="358"/>
                      <a:pt x="2084" y="358"/>
                      <a:pt x="2084" y="358"/>
                    </a:cubicBezTo>
                    <a:cubicBezTo>
                      <a:pt x="2085" y="358"/>
                      <a:pt x="2085" y="358"/>
                      <a:pt x="2085" y="358"/>
                    </a:cubicBezTo>
                    <a:cubicBezTo>
                      <a:pt x="2086" y="358"/>
                      <a:pt x="2086" y="358"/>
                      <a:pt x="2086" y="358"/>
                    </a:cubicBezTo>
                    <a:cubicBezTo>
                      <a:pt x="2087" y="359"/>
                      <a:pt x="2087" y="359"/>
                      <a:pt x="2087" y="359"/>
                    </a:cubicBezTo>
                    <a:cubicBezTo>
                      <a:pt x="2086" y="360"/>
                      <a:pt x="2086" y="360"/>
                      <a:pt x="2086" y="360"/>
                    </a:cubicBezTo>
                    <a:cubicBezTo>
                      <a:pt x="2086" y="362"/>
                      <a:pt x="2086" y="362"/>
                      <a:pt x="2086" y="362"/>
                    </a:cubicBezTo>
                    <a:cubicBezTo>
                      <a:pt x="2087" y="363"/>
                      <a:pt x="2087" y="363"/>
                      <a:pt x="2087" y="363"/>
                    </a:cubicBezTo>
                    <a:cubicBezTo>
                      <a:pt x="2086" y="366"/>
                      <a:pt x="2086" y="366"/>
                      <a:pt x="2086" y="366"/>
                    </a:cubicBezTo>
                    <a:cubicBezTo>
                      <a:pt x="2086" y="367"/>
                      <a:pt x="2086" y="367"/>
                      <a:pt x="2086" y="367"/>
                    </a:cubicBezTo>
                    <a:cubicBezTo>
                      <a:pt x="2086" y="368"/>
                      <a:pt x="2086" y="368"/>
                      <a:pt x="2086" y="368"/>
                    </a:cubicBezTo>
                    <a:cubicBezTo>
                      <a:pt x="2084" y="370"/>
                      <a:pt x="2084" y="370"/>
                      <a:pt x="2084" y="370"/>
                    </a:cubicBezTo>
                    <a:cubicBezTo>
                      <a:pt x="2084" y="371"/>
                      <a:pt x="2084" y="371"/>
                      <a:pt x="2084" y="371"/>
                    </a:cubicBezTo>
                    <a:cubicBezTo>
                      <a:pt x="2083" y="374"/>
                      <a:pt x="2083" y="374"/>
                      <a:pt x="2083" y="374"/>
                    </a:cubicBezTo>
                    <a:cubicBezTo>
                      <a:pt x="2082" y="377"/>
                      <a:pt x="2082" y="377"/>
                      <a:pt x="2082" y="377"/>
                    </a:cubicBezTo>
                    <a:cubicBezTo>
                      <a:pt x="2082" y="376"/>
                      <a:pt x="2082" y="376"/>
                      <a:pt x="2082" y="376"/>
                    </a:cubicBezTo>
                    <a:cubicBezTo>
                      <a:pt x="2081" y="375"/>
                      <a:pt x="2081" y="375"/>
                      <a:pt x="2081" y="375"/>
                    </a:cubicBezTo>
                    <a:cubicBezTo>
                      <a:pt x="2082" y="373"/>
                      <a:pt x="2082" y="373"/>
                      <a:pt x="2082" y="373"/>
                    </a:cubicBezTo>
                    <a:cubicBezTo>
                      <a:pt x="2081" y="373"/>
                      <a:pt x="2081" y="373"/>
                      <a:pt x="2081" y="373"/>
                    </a:cubicBezTo>
                    <a:cubicBezTo>
                      <a:pt x="2079" y="372"/>
                      <a:pt x="2079" y="372"/>
                      <a:pt x="2079" y="372"/>
                    </a:cubicBezTo>
                    <a:cubicBezTo>
                      <a:pt x="2077" y="370"/>
                      <a:pt x="2077" y="370"/>
                      <a:pt x="2077" y="370"/>
                    </a:cubicBezTo>
                    <a:cubicBezTo>
                      <a:pt x="2077" y="368"/>
                      <a:pt x="2077" y="368"/>
                      <a:pt x="2077" y="368"/>
                    </a:cubicBezTo>
                    <a:cubicBezTo>
                      <a:pt x="2075" y="363"/>
                      <a:pt x="2075" y="363"/>
                      <a:pt x="2075" y="363"/>
                    </a:cubicBezTo>
                    <a:cubicBezTo>
                      <a:pt x="2073" y="360"/>
                      <a:pt x="2073" y="360"/>
                      <a:pt x="2073" y="360"/>
                    </a:cubicBezTo>
                    <a:cubicBezTo>
                      <a:pt x="2074" y="360"/>
                      <a:pt x="2074" y="360"/>
                      <a:pt x="2074" y="360"/>
                    </a:cubicBezTo>
                    <a:cubicBezTo>
                      <a:pt x="2075" y="360"/>
                      <a:pt x="2075" y="360"/>
                      <a:pt x="2075" y="360"/>
                    </a:cubicBezTo>
                    <a:cubicBezTo>
                      <a:pt x="2075" y="359"/>
                      <a:pt x="2075" y="359"/>
                      <a:pt x="2075" y="359"/>
                    </a:cubicBezTo>
                    <a:cubicBezTo>
                      <a:pt x="2074" y="359"/>
                      <a:pt x="2074" y="359"/>
                      <a:pt x="2074" y="359"/>
                    </a:cubicBezTo>
                    <a:cubicBezTo>
                      <a:pt x="2073" y="359"/>
                      <a:pt x="2073" y="359"/>
                      <a:pt x="2073" y="359"/>
                    </a:cubicBezTo>
                    <a:cubicBezTo>
                      <a:pt x="2071" y="358"/>
                      <a:pt x="2071" y="358"/>
                      <a:pt x="2071" y="358"/>
                    </a:cubicBezTo>
                    <a:cubicBezTo>
                      <a:pt x="2066" y="349"/>
                      <a:pt x="2066" y="349"/>
                      <a:pt x="2066" y="349"/>
                    </a:cubicBezTo>
                    <a:cubicBezTo>
                      <a:pt x="2061" y="344"/>
                      <a:pt x="2061" y="344"/>
                      <a:pt x="2061" y="344"/>
                    </a:cubicBezTo>
                    <a:cubicBezTo>
                      <a:pt x="2061" y="342"/>
                      <a:pt x="2061" y="342"/>
                      <a:pt x="2061" y="342"/>
                    </a:cubicBezTo>
                    <a:cubicBezTo>
                      <a:pt x="2060" y="340"/>
                      <a:pt x="2060" y="340"/>
                      <a:pt x="2060" y="340"/>
                    </a:cubicBezTo>
                    <a:cubicBezTo>
                      <a:pt x="2056" y="335"/>
                      <a:pt x="2056" y="335"/>
                      <a:pt x="2056" y="335"/>
                    </a:cubicBezTo>
                    <a:cubicBezTo>
                      <a:pt x="2053" y="328"/>
                      <a:pt x="2053" y="328"/>
                      <a:pt x="2053" y="328"/>
                    </a:cubicBezTo>
                    <a:cubicBezTo>
                      <a:pt x="2050" y="322"/>
                      <a:pt x="2050" y="322"/>
                      <a:pt x="2050" y="322"/>
                    </a:cubicBezTo>
                    <a:cubicBezTo>
                      <a:pt x="2050" y="320"/>
                      <a:pt x="2050" y="320"/>
                      <a:pt x="2050" y="320"/>
                    </a:cubicBezTo>
                    <a:cubicBezTo>
                      <a:pt x="2048" y="317"/>
                      <a:pt x="2048" y="317"/>
                      <a:pt x="2048" y="317"/>
                    </a:cubicBezTo>
                    <a:cubicBezTo>
                      <a:pt x="2048" y="313"/>
                      <a:pt x="2048" y="313"/>
                      <a:pt x="2048" y="313"/>
                    </a:cubicBezTo>
                    <a:cubicBezTo>
                      <a:pt x="2047" y="310"/>
                      <a:pt x="2047" y="310"/>
                      <a:pt x="2047" y="310"/>
                    </a:cubicBezTo>
                    <a:cubicBezTo>
                      <a:pt x="2047" y="308"/>
                      <a:pt x="2047" y="308"/>
                      <a:pt x="2047" y="308"/>
                    </a:cubicBezTo>
                    <a:cubicBezTo>
                      <a:pt x="2048" y="306"/>
                      <a:pt x="2048" y="306"/>
                      <a:pt x="2048" y="306"/>
                    </a:cubicBezTo>
                    <a:cubicBezTo>
                      <a:pt x="2049" y="304"/>
                      <a:pt x="2049" y="304"/>
                      <a:pt x="2049" y="304"/>
                    </a:cubicBezTo>
                    <a:cubicBezTo>
                      <a:pt x="2050" y="304"/>
                      <a:pt x="2050" y="304"/>
                      <a:pt x="2050" y="304"/>
                    </a:cubicBezTo>
                    <a:cubicBezTo>
                      <a:pt x="2049" y="303"/>
                      <a:pt x="2049" y="303"/>
                      <a:pt x="2049" y="303"/>
                    </a:cubicBezTo>
                    <a:cubicBezTo>
                      <a:pt x="2050" y="302"/>
                      <a:pt x="2050" y="302"/>
                      <a:pt x="2050" y="302"/>
                    </a:cubicBezTo>
                    <a:cubicBezTo>
                      <a:pt x="2050" y="299"/>
                      <a:pt x="2050" y="299"/>
                      <a:pt x="2050" y="299"/>
                    </a:cubicBezTo>
                    <a:cubicBezTo>
                      <a:pt x="2047" y="296"/>
                      <a:pt x="2047" y="296"/>
                      <a:pt x="2047" y="296"/>
                    </a:cubicBezTo>
                    <a:cubicBezTo>
                      <a:pt x="2046" y="296"/>
                      <a:pt x="2046" y="296"/>
                      <a:pt x="2046" y="296"/>
                    </a:cubicBezTo>
                    <a:cubicBezTo>
                      <a:pt x="2046" y="295"/>
                      <a:pt x="2046" y="295"/>
                      <a:pt x="2046" y="295"/>
                    </a:cubicBezTo>
                    <a:cubicBezTo>
                      <a:pt x="2047" y="294"/>
                      <a:pt x="2047" y="294"/>
                      <a:pt x="2047" y="294"/>
                    </a:cubicBezTo>
                    <a:cubicBezTo>
                      <a:pt x="2049" y="295"/>
                      <a:pt x="2049" y="295"/>
                      <a:pt x="2049" y="295"/>
                    </a:cubicBezTo>
                    <a:cubicBezTo>
                      <a:pt x="2051" y="293"/>
                      <a:pt x="2051" y="293"/>
                      <a:pt x="2051" y="293"/>
                    </a:cubicBezTo>
                    <a:cubicBezTo>
                      <a:pt x="2050" y="292"/>
                      <a:pt x="2050" y="292"/>
                      <a:pt x="2050" y="292"/>
                    </a:cubicBezTo>
                    <a:cubicBezTo>
                      <a:pt x="2050" y="290"/>
                      <a:pt x="2050" y="290"/>
                      <a:pt x="2050" y="290"/>
                    </a:cubicBezTo>
                    <a:cubicBezTo>
                      <a:pt x="2052" y="290"/>
                      <a:pt x="2052" y="290"/>
                      <a:pt x="2052" y="290"/>
                    </a:cubicBezTo>
                    <a:cubicBezTo>
                      <a:pt x="2054" y="290"/>
                      <a:pt x="2054" y="290"/>
                      <a:pt x="2054" y="290"/>
                    </a:cubicBezTo>
                    <a:cubicBezTo>
                      <a:pt x="2053" y="288"/>
                      <a:pt x="2053" y="288"/>
                      <a:pt x="2053" y="288"/>
                    </a:cubicBezTo>
                    <a:cubicBezTo>
                      <a:pt x="2055" y="285"/>
                      <a:pt x="2055" y="285"/>
                      <a:pt x="2055" y="285"/>
                    </a:cubicBezTo>
                    <a:cubicBezTo>
                      <a:pt x="2054" y="282"/>
                      <a:pt x="2054" y="282"/>
                      <a:pt x="2054" y="282"/>
                    </a:cubicBezTo>
                    <a:cubicBezTo>
                      <a:pt x="2054" y="280"/>
                      <a:pt x="2054" y="280"/>
                      <a:pt x="2054" y="280"/>
                    </a:cubicBezTo>
                    <a:cubicBezTo>
                      <a:pt x="2053" y="278"/>
                      <a:pt x="2053" y="278"/>
                      <a:pt x="2053" y="278"/>
                    </a:cubicBezTo>
                    <a:cubicBezTo>
                      <a:pt x="2054" y="277"/>
                      <a:pt x="2054" y="277"/>
                      <a:pt x="2054" y="277"/>
                    </a:cubicBezTo>
                    <a:cubicBezTo>
                      <a:pt x="2054" y="276"/>
                      <a:pt x="2054" y="276"/>
                      <a:pt x="2054" y="276"/>
                    </a:cubicBezTo>
                    <a:cubicBezTo>
                      <a:pt x="2054" y="275"/>
                      <a:pt x="2054" y="275"/>
                      <a:pt x="2054" y="275"/>
                    </a:cubicBezTo>
                    <a:cubicBezTo>
                      <a:pt x="2054" y="273"/>
                      <a:pt x="2054" y="273"/>
                      <a:pt x="2054" y="273"/>
                    </a:cubicBezTo>
                    <a:cubicBezTo>
                      <a:pt x="2055" y="273"/>
                      <a:pt x="2055" y="273"/>
                      <a:pt x="2055" y="273"/>
                    </a:cubicBezTo>
                    <a:cubicBezTo>
                      <a:pt x="2054" y="272"/>
                      <a:pt x="2054" y="272"/>
                      <a:pt x="2054" y="272"/>
                    </a:cubicBezTo>
                    <a:cubicBezTo>
                      <a:pt x="2054" y="271"/>
                      <a:pt x="2054" y="271"/>
                      <a:pt x="2054" y="271"/>
                    </a:cubicBezTo>
                    <a:cubicBezTo>
                      <a:pt x="2054" y="270"/>
                      <a:pt x="2054" y="270"/>
                      <a:pt x="2054" y="270"/>
                    </a:cubicBezTo>
                    <a:cubicBezTo>
                      <a:pt x="2054" y="268"/>
                      <a:pt x="2054" y="268"/>
                      <a:pt x="2054" y="268"/>
                    </a:cubicBezTo>
                    <a:cubicBezTo>
                      <a:pt x="2054" y="267"/>
                      <a:pt x="2054" y="267"/>
                      <a:pt x="2054" y="267"/>
                    </a:cubicBezTo>
                    <a:cubicBezTo>
                      <a:pt x="2054" y="266"/>
                      <a:pt x="2054" y="266"/>
                      <a:pt x="2054" y="266"/>
                    </a:cubicBezTo>
                    <a:cubicBezTo>
                      <a:pt x="2055" y="266"/>
                      <a:pt x="2055" y="266"/>
                      <a:pt x="2055" y="266"/>
                    </a:cubicBezTo>
                    <a:cubicBezTo>
                      <a:pt x="2056" y="265"/>
                      <a:pt x="2056" y="265"/>
                      <a:pt x="2056" y="265"/>
                    </a:cubicBezTo>
                    <a:cubicBezTo>
                      <a:pt x="2056" y="263"/>
                      <a:pt x="2056" y="263"/>
                      <a:pt x="2056" y="263"/>
                    </a:cubicBezTo>
                    <a:cubicBezTo>
                      <a:pt x="2056" y="260"/>
                      <a:pt x="2056" y="260"/>
                      <a:pt x="2056" y="260"/>
                    </a:cubicBezTo>
                    <a:cubicBezTo>
                      <a:pt x="2055" y="260"/>
                      <a:pt x="2055" y="260"/>
                      <a:pt x="2055" y="260"/>
                    </a:cubicBezTo>
                    <a:cubicBezTo>
                      <a:pt x="2055" y="259"/>
                      <a:pt x="2055" y="259"/>
                      <a:pt x="2055" y="259"/>
                    </a:cubicBezTo>
                    <a:cubicBezTo>
                      <a:pt x="2056" y="257"/>
                      <a:pt x="2056" y="257"/>
                      <a:pt x="2056" y="257"/>
                    </a:cubicBezTo>
                    <a:cubicBezTo>
                      <a:pt x="2056" y="255"/>
                      <a:pt x="2056" y="255"/>
                      <a:pt x="2056" y="255"/>
                    </a:cubicBezTo>
                    <a:cubicBezTo>
                      <a:pt x="2055" y="255"/>
                      <a:pt x="2055" y="255"/>
                      <a:pt x="2055" y="255"/>
                    </a:cubicBezTo>
                    <a:cubicBezTo>
                      <a:pt x="2055" y="254"/>
                      <a:pt x="2055" y="254"/>
                      <a:pt x="2055" y="254"/>
                    </a:cubicBezTo>
                    <a:cubicBezTo>
                      <a:pt x="2056" y="253"/>
                      <a:pt x="2056" y="253"/>
                      <a:pt x="2056" y="253"/>
                    </a:cubicBezTo>
                    <a:cubicBezTo>
                      <a:pt x="2056" y="252"/>
                      <a:pt x="2056" y="252"/>
                      <a:pt x="2056" y="252"/>
                    </a:cubicBezTo>
                    <a:cubicBezTo>
                      <a:pt x="2057" y="251"/>
                      <a:pt x="2057" y="251"/>
                      <a:pt x="2057" y="251"/>
                    </a:cubicBezTo>
                    <a:cubicBezTo>
                      <a:pt x="2058" y="250"/>
                      <a:pt x="2058" y="250"/>
                      <a:pt x="2058" y="250"/>
                    </a:cubicBezTo>
                    <a:cubicBezTo>
                      <a:pt x="2059" y="249"/>
                      <a:pt x="2059" y="249"/>
                      <a:pt x="2059" y="249"/>
                    </a:cubicBezTo>
                    <a:cubicBezTo>
                      <a:pt x="2060" y="247"/>
                      <a:pt x="2060" y="247"/>
                      <a:pt x="2060" y="247"/>
                    </a:cubicBezTo>
                    <a:cubicBezTo>
                      <a:pt x="2062" y="246"/>
                      <a:pt x="2062" y="246"/>
                      <a:pt x="2062" y="246"/>
                    </a:cubicBezTo>
                    <a:cubicBezTo>
                      <a:pt x="2063" y="245"/>
                      <a:pt x="2063" y="245"/>
                      <a:pt x="2063" y="245"/>
                    </a:cubicBezTo>
                    <a:cubicBezTo>
                      <a:pt x="2062" y="245"/>
                      <a:pt x="2062" y="245"/>
                      <a:pt x="2062" y="245"/>
                    </a:cubicBezTo>
                    <a:cubicBezTo>
                      <a:pt x="2061" y="245"/>
                      <a:pt x="2061" y="245"/>
                      <a:pt x="2061" y="245"/>
                    </a:cubicBezTo>
                    <a:cubicBezTo>
                      <a:pt x="2060" y="245"/>
                      <a:pt x="2060" y="245"/>
                      <a:pt x="2060" y="245"/>
                    </a:cubicBezTo>
                    <a:cubicBezTo>
                      <a:pt x="2059" y="245"/>
                      <a:pt x="2059" y="245"/>
                      <a:pt x="2059" y="245"/>
                    </a:cubicBezTo>
                    <a:cubicBezTo>
                      <a:pt x="2059" y="242"/>
                      <a:pt x="2059" y="242"/>
                      <a:pt x="2059" y="242"/>
                    </a:cubicBezTo>
                    <a:cubicBezTo>
                      <a:pt x="2060" y="240"/>
                      <a:pt x="2060" y="240"/>
                      <a:pt x="2060" y="240"/>
                    </a:cubicBezTo>
                    <a:cubicBezTo>
                      <a:pt x="2060" y="239"/>
                      <a:pt x="2060" y="239"/>
                      <a:pt x="2060" y="239"/>
                    </a:cubicBezTo>
                    <a:cubicBezTo>
                      <a:pt x="2059" y="238"/>
                      <a:pt x="2059" y="238"/>
                      <a:pt x="2059" y="238"/>
                    </a:cubicBezTo>
                    <a:cubicBezTo>
                      <a:pt x="2058" y="239"/>
                      <a:pt x="2058" y="239"/>
                      <a:pt x="2058" y="239"/>
                    </a:cubicBezTo>
                    <a:cubicBezTo>
                      <a:pt x="2057" y="236"/>
                      <a:pt x="2057" y="236"/>
                      <a:pt x="2057" y="236"/>
                    </a:cubicBezTo>
                    <a:cubicBezTo>
                      <a:pt x="2058" y="235"/>
                      <a:pt x="2058" y="235"/>
                      <a:pt x="2058" y="235"/>
                    </a:cubicBezTo>
                    <a:cubicBezTo>
                      <a:pt x="2058" y="234"/>
                      <a:pt x="2058" y="234"/>
                      <a:pt x="2058" y="234"/>
                    </a:cubicBezTo>
                    <a:cubicBezTo>
                      <a:pt x="2058" y="233"/>
                      <a:pt x="2058" y="233"/>
                      <a:pt x="2058" y="233"/>
                    </a:cubicBezTo>
                    <a:cubicBezTo>
                      <a:pt x="2056" y="232"/>
                      <a:pt x="2056" y="232"/>
                      <a:pt x="2056" y="232"/>
                    </a:cubicBezTo>
                    <a:cubicBezTo>
                      <a:pt x="2056" y="231"/>
                      <a:pt x="2056" y="231"/>
                      <a:pt x="2056" y="231"/>
                    </a:cubicBezTo>
                    <a:cubicBezTo>
                      <a:pt x="2055" y="229"/>
                      <a:pt x="2055" y="229"/>
                      <a:pt x="2055" y="229"/>
                    </a:cubicBezTo>
                    <a:cubicBezTo>
                      <a:pt x="2054" y="228"/>
                      <a:pt x="2054" y="228"/>
                      <a:pt x="2054" y="228"/>
                    </a:cubicBezTo>
                    <a:cubicBezTo>
                      <a:pt x="2054" y="227"/>
                      <a:pt x="2054" y="227"/>
                      <a:pt x="2054" y="227"/>
                    </a:cubicBezTo>
                    <a:cubicBezTo>
                      <a:pt x="2053" y="225"/>
                      <a:pt x="2053" y="225"/>
                      <a:pt x="2053" y="225"/>
                    </a:cubicBezTo>
                    <a:cubicBezTo>
                      <a:pt x="2053" y="224"/>
                      <a:pt x="2053" y="224"/>
                      <a:pt x="2053" y="224"/>
                    </a:cubicBezTo>
                    <a:cubicBezTo>
                      <a:pt x="2055" y="222"/>
                      <a:pt x="2055" y="222"/>
                      <a:pt x="2055" y="222"/>
                    </a:cubicBezTo>
                    <a:cubicBezTo>
                      <a:pt x="2056" y="223"/>
                      <a:pt x="2056" y="223"/>
                      <a:pt x="2056" y="223"/>
                    </a:cubicBezTo>
                    <a:cubicBezTo>
                      <a:pt x="2058" y="222"/>
                      <a:pt x="2058" y="222"/>
                      <a:pt x="2058" y="222"/>
                    </a:cubicBezTo>
                    <a:cubicBezTo>
                      <a:pt x="2057" y="222"/>
                      <a:pt x="2057" y="222"/>
                      <a:pt x="2057" y="222"/>
                    </a:cubicBezTo>
                    <a:cubicBezTo>
                      <a:pt x="2059" y="221"/>
                      <a:pt x="2059" y="221"/>
                      <a:pt x="2059" y="221"/>
                    </a:cubicBezTo>
                    <a:cubicBezTo>
                      <a:pt x="2058" y="221"/>
                      <a:pt x="2058" y="221"/>
                      <a:pt x="2058" y="221"/>
                    </a:cubicBezTo>
                    <a:cubicBezTo>
                      <a:pt x="2057" y="221"/>
                      <a:pt x="2057" y="221"/>
                      <a:pt x="2057" y="221"/>
                    </a:cubicBezTo>
                    <a:cubicBezTo>
                      <a:pt x="2056" y="220"/>
                      <a:pt x="2056" y="220"/>
                      <a:pt x="2056" y="220"/>
                    </a:cubicBezTo>
                    <a:cubicBezTo>
                      <a:pt x="2054" y="220"/>
                      <a:pt x="2054" y="220"/>
                      <a:pt x="2054" y="220"/>
                    </a:cubicBezTo>
                    <a:cubicBezTo>
                      <a:pt x="2052" y="219"/>
                      <a:pt x="2052" y="219"/>
                      <a:pt x="2052" y="219"/>
                    </a:cubicBezTo>
                    <a:cubicBezTo>
                      <a:pt x="2050" y="219"/>
                      <a:pt x="2050" y="219"/>
                      <a:pt x="2050" y="219"/>
                    </a:cubicBezTo>
                    <a:cubicBezTo>
                      <a:pt x="2049" y="221"/>
                      <a:pt x="2049" y="221"/>
                      <a:pt x="2049" y="221"/>
                    </a:cubicBezTo>
                    <a:cubicBezTo>
                      <a:pt x="2048" y="221"/>
                      <a:pt x="2048" y="221"/>
                      <a:pt x="2048" y="221"/>
                    </a:cubicBezTo>
                    <a:cubicBezTo>
                      <a:pt x="2046" y="222"/>
                      <a:pt x="2046" y="222"/>
                      <a:pt x="2046" y="222"/>
                    </a:cubicBezTo>
                    <a:cubicBezTo>
                      <a:pt x="2047" y="223"/>
                      <a:pt x="2047" y="223"/>
                      <a:pt x="2047" y="223"/>
                    </a:cubicBezTo>
                    <a:cubicBezTo>
                      <a:pt x="2046" y="224"/>
                      <a:pt x="2046" y="224"/>
                      <a:pt x="2046" y="224"/>
                    </a:cubicBezTo>
                    <a:cubicBezTo>
                      <a:pt x="2048" y="225"/>
                      <a:pt x="2048" y="225"/>
                      <a:pt x="2048" y="225"/>
                    </a:cubicBezTo>
                    <a:cubicBezTo>
                      <a:pt x="2048" y="226"/>
                      <a:pt x="2048" y="226"/>
                      <a:pt x="2048" y="226"/>
                    </a:cubicBezTo>
                    <a:cubicBezTo>
                      <a:pt x="2048" y="227"/>
                      <a:pt x="2048" y="227"/>
                      <a:pt x="2048" y="227"/>
                    </a:cubicBezTo>
                    <a:cubicBezTo>
                      <a:pt x="2048" y="229"/>
                      <a:pt x="2048" y="229"/>
                      <a:pt x="2048" y="229"/>
                    </a:cubicBezTo>
                    <a:cubicBezTo>
                      <a:pt x="2049" y="230"/>
                      <a:pt x="2049" y="230"/>
                      <a:pt x="2049" y="230"/>
                    </a:cubicBezTo>
                    <a:cubicBezTo>
                      <a:pt x="2050" y="231"/>
                      <a:pt x="2050" y="231"/>
                      <a:pt x="2050" y="231"/>
                    </a:cubicBezTo>
                    <a:cubicBezTo>
                      <a:pt x="2051" y="233"/>
                      <a:pt x="2051" y="233"/>
                      <a:pt x="2051" y="233"/>
                    </a:cubicBezTo>
                    <a:cubicBezTo>
                      <a:pt x="2053" y="234"/>
                      <a:pt x="2053" y="234"/>
                      <a:pt x="2053" y="234"/>
                    </a:cubicBezTo>
                    <a:cubicBezTo>
                      <a:pt x="2052" y="236"/>
                      <a:pt x="2052" y="236"/>
                      <a:pt x="2052" y="236"/>
                    </a:cubicBezTo>
                    <a:cubicBezTo>
                      <a:pt x="2051" y="235"/>
                      <a:pt x="2051" y="235"/>
                      <a:pt x="2051" y="235"/>
                    </a:cubicBezTo>
                    <a:cubicBezTo>
                      <a:pt x="2050" y="236"/>
                      <a:pt x="2050" y="236"/>
                      <a:pt x="2050" y="236"/>
                    </a:cubicBezTo>
                    <a:cubicBezTo>
                      <a:pt x="2049" y="237"/>
                      <a:pt x="2049" y="237"/>
                      <a:pt x="2049" y="237"/>
                    </a:cubicBezTo>
                    <a:cubicBezTo>
                      <a:pt x="2048" y="238"/>
                      <a:pt x="2048" y="238"/>
                      <a:pt x="2048" y="238"/>
                    </a:cubicBezTo>
                    <a:cubicBezTo>
                      <a:pt x="2049" y="239"/>
                      <a:pt x="2049" y="239"/>
                      <a:pt x="2049" y="239"/>
                    </a:cubicBezTo>
                    <a:cubicBezTo>
                      <a:pt x="2048" y="241"/>
                      <a:pt x="2048" y="241"/>
                      <a:pt x="2048" y="241"/>
                    </a:cubicBezTo>
                    <a:cubicBezTo>
                      <a:pt x="2048" y="242"/>
                      <a:pt x="2048" y="242"/>
                      <a:pt x="2048" y="242"/>
                    </a:cubicBezTo>
                    <a:cubicBezTo>
                      <a:pt x="2048" y="243"/>
                      <a:pt x="2048" y="243"/>
                      <a:pt x="2048" y="243"/>
                    </a:cubicBezTo>
                    <a:cubicBezTo>
                      <a:pt x="2047" y="244"/>
                      <a:pt x="2047" y="244"/>
                      <a:pt x="2047" y="244"/>
                    </a:cubicBezTo>
                    <a:cubicBezTo>
                      <a:pt x="2048" y="245"/>
                      <a:pt x="2048" y="245"/>
                      <a:pt x="2048" y="245"/>
                    </a:cubicBezTo>
                    <a:cubicBezTo>
                      <a:pt x="2047" y="246"/>
                      <a:pt x="2047" y="246"/>
                      <a:pt x="2047" y="246"/>
                    </a:cubicBezTo>
                    <a:cubicBezTo>
                      <a:pt x="2047" y="249"/>
                      <a:pt x="2047" y="249"/>
                      <a:pt x="2047" y="249"/>
                    </a:cubicBezTo>
                    <a:cubicBezTo>
                      <a:pt x="2047" y="250"/>
                      <a:pt x="2047" y="250"/>
                      <a:pt x="2047" y="250"/>
                    </a:cubicBezTo>
                    <a:cubicBezTo>
                      <a:pt x="2047" y="251"/>
                      <a:pt x="2047" y="251"/>
                      <a:pt x="2047" y="251"/>
                    </a:cubicBezTo>
                    <a:cubicBezTo>
                      <a:pt x="2046" y="251"/>
                      <a:pt x="2046" y="251"/>
                      <a:pt x="2046" y="251"/>
                    </a:cubicBezTo>
                    <a:cubicBezTo>
                      <a:pt x="2045" y="253"/>
                      <a:pt x="2045" y="253"/>
                      <a:pt x="2045" y="253"/>
                    </a:cubicBezTo>
                    <a:cubicBezTo>
                      <a:pt x="2045" y="252"/>
                      <a:pt x="2045" y="252"/>
                      <a:pt x="2045" y="252"/>
                    </a:cubicBezTo>
                    <a:cubicBezTo>
                      <a:pt x="2044" y="251"/>
                      <a:pt x="2044" y="251"/>
                      <a:pt x="2044" y="251"/>
                    </a:cubicBezTo>
                    <a:cubicBezTo>
                      <a:pt x="2045" y="249"/>
                      <a:pt x="2045" y="249"/>
                      <a:pt x="2045" y="249"/>
                    </a:cubicBezTo>
                    <a:cubicBezTo>
                      <a:pt x="2044" y="248"/>
                      <a:pt x="2044" y="248"/>
                      <a:pt x="2044" y="248"/>
                    </a:cubicBezTo>
                    <a:cubicBezTo>
                      <a:pt x="2043" y="248"/>
                      <a:pt x="2043" y="248"/>
                      <a:pt x="2043" y="248"/>
                    </a:cubicBezTo>
                    <a:cubicBezTo>
                      <a:pt x="2042" y="249"/>
                      <a:pt x="2042" y="249"/>
                      <a:pt x="2042" y="249"/>
                    </a:cubicBezTo>
                    <a:cubicBezTo>
                      <a:pt x="2042" y="250"/>
                      <a:pt x="2042" y="250"/>
                      <a:pt x="2042" y="250"/>
                    </a:cubicBezTo>
                    <a:cubicBezTo>
                      <a:pt x="2041" y="250"/>
                      <a:pt x="2041" y="250"/>
                      <a:pt x="2041" y="250"/>
                    </a:cubicBezTo>
                    <a:cubicBezTo>
                      <a:pt x="2041" y="248"/>
                      <a:pt x="2041" y="248"/>
                      <a:pt x="2041" y="248"/>
                    </a:cubicBezTo>
                    <a:cubicBezTo>
                      <a:pt x="2040" y="248"/>
                      <a:pt x="2040" y="248"/>
                      <a:pt x="2040" y="248"/>
                    </a:cubicBezTo>
                    <a:cubicBezTo>
                      <a:pt x="2040" y="247"/>
                      <a:pt x="2040" y="247"/>
                      <a:pt x="2040" y="247"/>
                    </a:cubicBezTo>
                    <a:cubicBezTo>
                      <a:pt x="2038" y="248"/>
                      <a:pt x="2038" y="248"/>
                      <a:pt x="2038" y="248"/>
                    </a:cubicBezTo>
                    <a:cubicBezTo>
                      <a:pt x="2038" y="247"/>
                      <a:pt x="2038" y="247"/>
                      <a:pt x="2038" y="247"/>
                    </a:cubicBezTo>
                    <a:cubicBezTo>
                      <a:pt x="2039" y="246"/>
                      <a:pt x="2039" y="246"/>
                      <a:pt x="2039" y="246"/>
                    </a:cubicBezTo>
                    <a:cubicBezTo>
                      <a:pt x="2039" y="245"/>
                      <a:pt x="2039" y="245"/>
                      <a:pt x="2039" y="245"/>
                    </a:cubicBezTo>
                    <a:cubicBezTo>
                      <a:pt x="2039" y="243"/>
                      <a:pt x="2039" y="243"/>
                      <a:pt x="2039" y="243"/>
                    </a:cubicBezTo>
                    <a:cubicBezTo>
                      <a:pt x="2038" y="243"/>
                      <a:pt x="2038" y="243"/>
                      <a:pt x="2038" y="243"/>
                    </a:cubicBezTo>
                    <a:cubicBezTo>
                      <a:pt x="2039" y="242"/>
                      <a:pt x="2039" y="242"/>
                      <a:pt x="2039" y="242"/>
                    </a:cubicBezTo>
                    <a:cubicBezTo>
                      <a:pt x="2038" y="241"/>
                      <a:pt x="2038" y="241"/>
                      <a:pt x="2038" y="241"/>
                    </a:cubicBezTo>
                    <a:cubicBezTo>
                      <a:pt x="2038" y="240"/>
                      <a:pt x="2038" y="240"/>
                      <a:pt x="2038" y="240"/>
                    </a:cubicBezTo>
                    <a:cubicBezTo>
                      <a:pt x="2038" y="238"/>
                      <a:pt x="2038" y="238"/>
                      <a:pt x="2038" y="238"/>
                    </a:cubicBezTo>
                    <a:cubicBezTo>
                      <a:pt x="2037" y="237"/>
                      <a:pt x="2037" y="237"/>
                      <a:pt x="2037" y="237"/>
                    </a:cubicBezTo>
                    <a:cubicBezTo>
                      <a:pt x="2036" y="236"/>
                      <a:pt x="2036" y="236"/>
                      <a:pt x="2036" y="236"/>
                    </a:cubicBezTo>
                    <a:cubicBezTo>
                      <a:pt x="2036" y="238"/>
                      <a:pt x="2036" y="238"/>
                      <a:pt x="2036" y="238"/>
                    </a:cubicBezTo>
                    <a:cubicBezTo>
                      <a:pt x="2035" y="238"/>
                      <a:pt x="2035" y="238"/>
                      <a:pt x="2035" y="238"/>
                    </a:cubicBezTo>
                    <a:cubicBezTo>
                      <a:pt x="2035" y="240"/>
                      <a:pt x="2035" y="240"/>
                      <a:pt x="2035" y="240"/>
                    </a:cubicBezTo>
                    <a:cubicBezTo>
                      <a:pt x="2034" y="241"/>
                      <a:pt x="2034" y="241"/>
                      <a:pt x="2034" y="241"/>
                    </a:cubicBezTo>
                    <a:cubicBezTo>
                      <a:pt x="2033" y="241"/>
                      <a:pt x="2033" y="241"/>
                      <a:pt x="2033" y="241"/>
                    </a:cubicBezTo>
                    <a:cubicBezTo>
                      <a:pt x="2033" y="239"/>
                      <a:pt x="2033" y="239"/>
                      <a:pt x="2033" y="239"/>
                    </a:cubicBezTo>
                    <a:cubicBezTo>
                      <a:pt x="2032" y="239"/>
                      <a:pt x="2032" y="239"/>
                      <a:pt x="2032" y="239"/>
                    </a:cubicBezTo>
                    <a:cubicBezTo>
                      <a:pt x="2032" y="240"/>
                      <a:pt x="2032" y="240"/>
                      <a:pt x="2032" y="240"/>
                    </a:cubicBezTo>
                    <a:cubicBezTo>
                      <a:pt x="2031" y="238"/>
                      <a:pt x="2031" y="238"/>
                      <a:pt x="2031" y="238"/>
                    </a:cubicBezTo>
                    <a:cubicBezTo>
                      <a:pt x="2030" y="238"/>
                      <a:pt x="2030" y="238"/>
                      <a:pt x="2030" y="238"/>
                    </a:cubicBezTo>
                    <a:cubicBezTo>
                      <a:pt x="2030" y="239"/>
                      <a:pt x="2030" y="239"/>
                      <a:pt x="2030" y="239"/>
                    </a:cubicBezTo>
                    <a:cubicBezTo>
                      <a:pt x="2029" y="239"/>
                      <a:pt x="2029" y="239"/>
                      <a:pt x="2029" y="239"/>
                    </a:cubicBezTo>
                    <a:cubicBezTo>
                      <a:pt x="2029" y="240"/>
                      <a:pt x="2029" y="240"/>
                      <a:pt x="2029" y="240"/>
                    </a:cubicBezTo>
                    <a:cubicBezTo>
                      <a:pt x="2028" y="240"/>
                      <a:pt x="2028" y="240"/>
                      <a:pt x="2028" y="240"/>
                    </a:cubicBezTo>
                    <a:cubicBezTo>
                      <a:pt x="2028" y="241"/>
                      <a:pt x="2028" y="241"/>
                      <a:pt x="2028" y="241"/>
                    </a:cubicBezTo>
                    <a:cubicBezTo>
                      <a:pt x="2025" y="241"/>
                      <a:pt x="2025" y="241"/>
                      <a:pt x="2025" y="241"/>
                    </a:cubicBezTo>
                    <a:cubicBezTo>
                      <a:pt x="2025" y="242"/>
                      <a:pt x="2025" y="242"/>
                      <a:pt x="2025" y="242"/>
                    </a:cubicBezTo>
                    <a:cubicBezTo>
                      <a:pt x="2024" y="242"/>
                      <a:pt x="2024" y="242"/>
                      <a:pt x="2024" y="242"/>
                    </a:cubicBezTo>
                    <a:cubicBezTo>
                      <a:pt x="2023" y="242"/>
                      <a:pt x="2023" y="242"/>
                      <a:pt x="2023" y="242"/>
                    </a:cubicBezTo>
                    <a:cubicBezTo>
                      <a:pt x="2022" y="242"/>
                      <a:pt x="2022" y="242"/>
                      <a:pt x="2022" y="242"/>
                    </a:cubicBezTo>
                    <a:cubicBezTo>
                      <a:pt x="2020" y="244"/>
                      <a:pt x="2020" y="244"/>
                      <a:pt x="2020" y="244"/>
                    </a:cubicBezTo>
                    <a:cubicBezTo>
                      <a:pt x="2019" y="245"/>
                      <a:pt x="2019" y="245"/>
                      <a:pt x="2019" y="245"/>
                    </a:cubicBezTo>
                    <a:cubicBezTo>
                      <a:pt x="2020" y="246"/>
                      <a:pt x="2020" y="246"/>
                      <a:pt x="2020" y="246"/>
                    </a:cubicBezTo>
                    <a:cubicBezTo>
                      <a:pt x="2018" y="247"/>
                      <a:pt x="2018" y="247"/>
                      <a:pt x="2018" y="247"/>
                    </a:cubicBezTo>
                    <a:cubicBezTo>
                      <a:pt x="2018" y="248"/>
                      <a:pt x="2018" y="248"/>
                      <a:pt x="2018" y="248"/>
                    </a:cubicBezTo>
                    <a:cubicBezTo>
                      <a:pt x="2019" y="248"/>
                      <a:pt x="2019" y="248"/>
                      <a:pt x="2019" y="248"/>
                    </a:cubicBezTo>
                    <a:cubicBezTo>
                      <a:pt x="2019" y="250"/>
                      <a:pt x="2019" y="250"/>
                      <a:pt x="2019" y="250"/>
                    </a:cubicBezTo>
                    <a:cubicBezTo>
                      <a:pt x="2021" y="252"/>
                      <a:pt x="2021" y="252"/>
                      <a:pt x="2021" y="252"/>
                    </a:cubicBezTo>
                    <a:cubicBezTo>
                      <a:pt x="2020" y="253"/>
                      <a:pt x="2020" y="253"/>
                      <a:pt x="2020" y="253"/>
                    </a:cubicBezTo>
                    <a:cubicBezTo>
                      <a:pt x="2019" y="257"/>
                      <a:pt x="2019" y="257"/>
                      <a:pt x="2019" y="257"/>
                    </a:cubicBezTo>
                    <a:cubicBezTo>
                      <a:pt x="2021" y="259"/>
                      <a:pt x="2021" y="259"/>
                      <a:pt x="2021" y="259"/>
                    </a:cubicBezTo>
                    <a:cubicBezTo>
                      <a:pt x="2019" y="259"/>
                      <a:pt x="2019" y="259"/>
                      <a:pt x="2019" y="259"/>
                    </a:cubicBezTo>
                    <a:cubicBezTo>
                      <a:pt x="2020" y="260"/>
                      <a:pt x="2020" y="260"/>
                      <a:pt x="2020" y="260"/>
                    </a:cubicBezTo>
                    <a:cubicBezTo>
                      <a:pt x="2020" y="261"/>
                      <a:pt x="2020" y="261"/>
                      <a:pt x="2020" y="261"/>
                    </a:cubicBezTo>
                    <a:cubicBezTo>
                      <a:pt x="2019" y="262"/>
                      <a:pt x="2019" y="262"/>
                      <a:pt x="2019" y="262"/>
                    </a:cubicBezTo>
                    <a:cubicBezTo>
                      <a:pt x="2018" y="264"/>
                      <a:pt x="2018" y="264"/>
                      <a:pt x="2018" y="264"/>
                    </a:cubicBezTo>
                    <a:cubicBezTo>
                      <a:pt x="2017" y="265"/>
                      <a:pt x="2017" y="265"/>
                      <a:pt x="2017" y="265"/>
                    </a:cubicBezTo>
                    <a:cubicBezTo>
                      <a:pt x="2017" y="267"/>
                      <a:pt x="2017" y="267"/>
                      <a:pt x="2017" y="267"/>
                    </a:cubicBezTo>
                    <a:cubicBezTo>
                      <a:pt x="2017" y="269"/>
                      <a:pt x="2017" y="269"/>
                      <a:pt x="2017" y="269"/>
                    </a:cubicBezTo>
                    <a:cubicBezTo>
                      <a:pt x="2018" y="271"/>
                      <a:pt x="2018" y="271"/>
                      <a:pt x="2018" y="271"/>
                    </a:cubicBezTo>
                    <a:cubicBezTo>
                      <a:pt x="2017" y="271"/>
                      <a:pt x="2017" y="271"/>
                      <a:pt x="2017" y="271"/>
                    </a:cubicBezTo>
                    <a:cubicBezTo>
                      <a:pt x="2019" y="274"/>
                      <a:pt x="2019" y="274"/>
                      <a:pt x="2019" y="274"/>
                    </a:cubicBezTo>
                    <a:cubicBezTo>
                      <a:pt x="2018" y="274"/>
                      <a:pt x="2018" y="274"/>
                      <a:pt x="2018" y="274"/>
                    </a:cubicBezTo>
                    <a:cubicBezTo>
                      <a:pt x="2018" y="275"/>
                      <a:pt x="2018" y="275"/>
                      <a:pt x="2018" y="275"/>
                    </a:cubicBezTo>
                    <a:cubicBezTo>
                      <a:pt x="2019" y="276"/>
                      <a:pt x="2019" y="276"/>
                      <a:pt x="2019" y="276"/>
                    </a:cubicBezTo>
                    <a:cubicBezTo>
                      <a:pt x="2019" y="275"/>
                      <a:pt x="2019" y="275"/>
                      <a:pt x="2019" y="275"/>
                    </a:cubicBezTo>
                    <a:cubicBezTo>
                      <a:pt x="2020" y="275"/>
                      <a:pt x="2020" y="275"/>
                      <a:pt x="2020" y="275"/>
                    </a:cubicBezTo>
                    <a:cubicBezTo>
                      <a:pt x="2021" y="274"/>
                      <a:pt x="2021" y="274"/>
                      <a:pt x="2021" y="274"/>
                    </a:cubicBezTo>
                    <a:cubicBezTo>
                      <a:pt x="2022" y="275"/>
                      <a:pt x="2022" y="275"/>
                      <a:pt x="2022" y="275"/>
                    </a:cubicBezTo>
                    <a:cubicBezTo>
                      <a:pt x="2022" y="274"/>
                      <a:pt x="2022" y="274"/>
                      <a:pt x="2022" y="274"/>
                    </a:cubicBezTo>
                    <a:cubicBezTo>
                      <a:pt x="2023" y="274"/>
                      <a:pt x="2023" y="274"/>
                      <a:pt x="2023" y="274"/>
                    </a:cubicBezTo>
                    <a:cubicBezTo>
                      <a:pt x="2023" y="275"/>
                      <a:pt x="2023" y="275"/>
                      <a:pt x="2023" y="275"/>
                    </a:cubicBezTo>
                    <a:cubicBezTo>
                      <a:pt x="2024" y="275"/>
                      <a:pt x="2024" y="275"/>
                      <a:pt x="2024" y="275"/>
                    </a:cubicBezTo>
                    <a:cubicBezTo>
                      <a:pt x="2025" y="276"/>
                      <a:pt x="2025" y="276"/>
                      <a:pt x="2025" y="276"/>
                    </a:cubicBezTo>
                    <a:cubicBezTo>
                      <a:pt x="2024" y="276"/>
                      <a:pt x="2024" y="276"/>
                      <a:pt x="2024" y="276"/>
                    </a:cubicBezTo>
                    <a:cubicBezTo>
                      <a:pt x="2025" y="277"/>
                      <a:pt x="2025" y="277"/>
                      <a:pt x="2025" y="277"/>
                    </a:cubicBezTo>
                    <a:cubicBezTo>
                      <a:pt x="2025" y="278"/>
                      <a:pt x="2025" y="278"/>
                      <a:pt x="2025" y="278"/>
                    </a:cubicBezTo>
                    <a:cubicBezTo>
                      <a:pt x="2024" y="278"/>
                      <a:pt x="2024" y="278"/>
                      <a:pt x="2024" y="278"/>
                    </a:cubicBezTo>
                    <a:cubicBezTo>
                      <a:pt x="2023" y="278"/>
                      <a:pt x="2023" y="278"/>
                      <a:pt x="2023" y="278"/>
                    </a:cubicBezTo>
                    <a:cubicBezTo>
                      <a:pt x="2022" y="279"/>
                      <a:pt x="2022" y="279"/>
                      <a:pt x="2022" y="279"/>
                    </a:cubicBezTo>
                    <a:cubicBezTo>
                      <a:pt x="2022" y="280"/>
                      <a:pt x="2022" y="280"/>
                      <a:pt x="2022" y="280"/>
                    </a:cubicBezTo>
                    <a:cubicBezTo>
                      <a:pt x="2021" y="281"/>
                      <a:pt x="2021" y="281"/>
                      <a:pt x="2021" y="281"/>
                    </a:cubicBezTo>
                    <a:cubicBezTo>
                      <a:pt x="2020" y="281"/>
                      <a:pt x="2020" y="281"/>
                      <a:pt x="2020" y="281"/>
                    </a:cubicBezTo>
                    <a:cubicBezTo>
                      <a:pt x="2020" y="280"/>
                      <a:pt x="2020" y="280"/>
                      <a:pt x="2020" y="280"/>
                    </a:cubicBezTo>
                    <a:cubicBezTo>
                      <a:pt x="2019" y="279"/>
                      <a:pt x="2019" y="279"/>
                      <a:pt x="2019" y="279"/>
                    </a:cubicBezTo>
                    <a:cubicBezTo>
                      <a:pt x="2018" y="280"/>
                      <a:pt x="2018" y="280"/>
                      <a:pt x="2018" y="280"/>
                    </a:cubicBezTo>
                    <a:cubicBezTo>
                      <a:pt x="2017" y="279"/>
                      <a:pt x="2017" y="279"/>
                      <a:pt x="2017" y="279"/>
                    </a:cubicBezTo>
                    <a:cubicBezTo>
                      <a:pt x="2017" y="280"/>
                      <a:pt x="2017" y="280"/>
                      <a:pt x="2017" y="280"/>
                    </a:cubicBezTo>
                    <a:cubicBezTo>
                      <a:pt x="2017" y="281"/>
                      <a:pt x="2017" y="281"/>
                      <a:pt x="2017" y="281"/>
                    </a:cubicBezTo>
                    <a:cubicBezTo>
                      <a:pt x="2017" y="282"/>
                      <a:pt x="2017" y="282"/>
                      <a:pt x="2017" y="282"/>
                    </a:cubicBezTo>
                    <a:cubicBezTo>
                      <a:pt x="2016" y="282"/>
                      <a:pt x="2016" y="282"/>
                      <a:pt x="2016" y="282"/>
                    </a:cubicBezTo>
                    <a:cubicBezTo>
                      <a:pt x="2015" y="283"/>
                      <a:pt x="2015" y="283"/>
                      <a:pt x="2015" y="283"/>
                    </a:cubicBezTo>
                    <a:cubicBezTo>
                      <a:pt x="2015" y="284"/>
                      <a:pt x="2015" y="284"/>
                      <a:pt x="2015" y="284"/>
                    </a:cubicBezTo>
                    <a:cubicBezTo>
                      <a:pt x="2014" y="284"/>
                      <a:pt x="2014" y="284"/>
                      <a:pt x="2014" y="284"/>
                    </a:cubicBezTo>
                    <a:cubicBezTo>
                      <a:pt x="2012" y="283"/>
                      <a:pt x="2012" y="283"/>
                      <a:pt x="2012" y="283"/>
                    </a:cubicBezTo>
                    <a:cubicBezTo>
                      <a:pt x="2013" y="284"/>
                      <a:pt x="2013" y="284"/>
                      <a:pt x="2013" y="284"/>
                    </a:cubicBezTo>
                    <a:cubicBezTo>
                      <a:pt x="2011" y="285"/>
                      <a:pt x="2011" y="285"/>
                      <a:pt x="2011" y="285"/>
                    </a:cubicBezTo>
                    <a:cubicBezTo>
                      <a:pt x="2012" y="285"/>
                      <a:pt x="2012" y="285"/>
                      <a:pt x="2012" y="285"/>
                    </a:cubicBezTo>
                    <a:cubicBezTo>
                      <a:pt x="2011" y="286"/>
                      <a:pt x="2011" y="286"/>
                      <a:pt x="2011" y="286"/>
                    </a:cubicBezTo>
                    <a:cubicBezTo>
                      <a:pt x="2009" y="287"/>
                      <a:pt x="2009" y="287"/>
                      <a:pt x="2009" y="287"/>
                    </a:cubicBezTo>
                    <a:cubicBezTo>
                      <a:pt x="2008" y="287"/>
                      <a:pt x="2008" y="287"/>
                      <a:pt x="2008" y="287"/>
                    </a:cubicBezTo>
                    <a:cubicBezTo>
                      <a:pt x="2007" y="285"/>
                      <a:pt x="2007" y="285"/>
                      <a:pt x="2007" y="285"/>
                    </a:cubicBezTo>
                    <a:cubicBezTo>
                      <a:pt x="2006" y="285"/>
                      <a:pt x="2006" y="285"/>
                      <a:pt x="2006" y="285"/>
                    </a:cubicBezTo>
                    <a:cubicBezTo>
                      <a:pt x="2005" y="285"/>
                      <a:pt x="2005" y="285"/>
                      <a:pt x="2005" y="285"/>
                    </a:cubicBezTo>
                    <a:cubicBezTo>
                      <a:pt x="2006" y="284"/>
                      <a:pt x="2006" y="284"/>
                      <a:pt x="2006" y="284"/>
                    </a:cubicBezTo>
                    <a:cubicBezTo>
                      <a:pt x="2007" y="284"/>
                      <a:pt x="2007" y="284"/>
                      <a:pt x="2007" y="284"/>
                    </a:cubicBezTo>
                    <a:cubicBezTo>
                      <a:pt x="2006" y="283"/>
                      <a:pt x="2006" y="283"/>
                      <a:pt x="2006" y="283"/>
                    </a:cubicBezTo>
                    <a:cubicBezTo>
                      <a:pt x="2007" y="282"/>
                      <a:pt x="2007" y="282"/>
                      <a:pt x="2007" y="282"/>
                    </a:cubicBezTo>
                    <a:cubicBezTo>
                      <a:pt x="2009" y="282"/>
                      <a:pt x="2009" y="282"/>
                      <a:pt x="2009" y="282"/>
                    </a:cubicBezTo>
                    <a:cubicBezTo>
                      <a:pt x="2011" y="281"/>
                      <a:pt x="2011" y="281"/>
                      <a:pt x="2011" y="281"/>
                    </a:cubicBezTo>
                    <a:cubicBezTo>
                      <a:pt x="2011" y="280"/>
                      <a:pt x="2011" y="280"/>
                      <a:pt x="2011" y="280"/>
                    </a:cubicBezTo>
                    <a:cubicBezTo>
                      <a:pt x="2010" y="280"/>
                      <a:pt x="2010" y="280"/>
                      <a:pt x="2010" y="280"/>
                    </a:cubicBezTo>
                    <a:cubicBezTo>
                      <a:pt x="2009" y="281"/>
                      <a:pt x="2009" y="281"/>
                      <a:pt x="2009" y="281"/>
                    </a:cubicBezTo>
                    <a:cubicBezTo>
                      <a:pt x="2007" y="280"/>
                      <a:pt x="2007" y="280"/>
                      <a:pt x="2007" y="280"/>
                    </a:cubicBezTo>
                    <a:cubicBezTo>
                      <a:pt x="2006" y="279"/>
                      <a:pt x="2006" y="279"/>
                      <a:pt x="2006" y="279"/>
                    </a:cubicBezTo>
                    <a:cubicBezTo>
                      <a:pt x="2005" y="279"/>
                      <a:pt x="2005" y="279"/>
                      <a:pt x="2005" y="279"/>
                    </a:cubicBezTo>
                    <a:cubicBezTo>
                      <a:pt x="2003" y="278"/>
                      <a:pt x="2003" y="278"/>
                      <a:pt x="2003" y="278"/>
                    </a:cubicBezTo>
                    <a:cubicBezTo>
                      <a:pt x="2001" y="278"/>
                      <a:pt x="2001" y="278"/>
                      <a:pt x="2001" y="278"/>
                    </a:cubicBezTo>
                    <a:cubicBezTo>
                      <a:pt x="2002" y="279"/>
                      <a:pt x="2002" y="279"/>
                      <a:pt x="2002" y="279"/>
                    </a:cubicBezTo>
                    <a:cubicBezTo>
                      <a:pt x="2001" y="280"/>
                      <a:pt x="2001" y="280"/>
                      <a:pt x="2001" y="280"/>
                    </a:cubicBezTo>
                    <a:cubicBezTo>
                      <a:pt x="2000" y="279"/>
                      <a:pt x="2000" y="279"/>
                      <a:pt x="2000" y="279"/>
                    </a:cubicBezTo>
                    <a:cubicBezTo>
                      <a:pt x="2000" y="278"/>
                      <a:pt x="2000" y="278"/>
                      <a:pt x="2000" y="278"/>
                    </a:cubicBezTo>
                    <a:cubicBezTo>
                      <a:pt x="1998" y="279"/>
                      <a:pt x="1998" y="279"/>
                      <a:pt x="1998" y="279"/>
                    </a:cubicBezTo>
                    <a:cubicBezTo>
                      <a:pt x="1996" y="278"/>
                      <a:pt x="1996" y="278"/>
                      <a:pt x="1996" y="278"/>
                    </a:cubicBezTo>
                    <a:cubicBezTo>
                      <a:pt x="1995" y="279"/>
                      <a:pt x="1995" y="279"/>
                      <a:pt x="1995" y="279"/>
                    </a:cubicBezTo>
                    <a:cubicBezTo>
                      <a:pt x="1994" y="278"/>
                      <a:pt x="1994" y="278"/>
                      <a:pt x="1994" y="278"/>
                    </a:cubicBezTo>
                    <a:cubicBezTo>
                      <a:pt x="1992" y="278"/>
                      <a:pt x="1992" y="278"/>
                      <a:pt x="1992" y="278"/>
                    </a:cubicBezTo>
                    <a:cubicBezTo>
                      <a:pt x="1991" y="280"/>
                      <a:pt x="1991" y="280"/>
                      <a:pt x="1991" y="280"/>
                    </a:cubicBezTo>
                    <a:cubicBezTo>
                      <a:pt x="1990" y="280"/>
                      <a:pt x="1990" y="280"/>
                      <a:pt x="1990" y="280"/>
                    </a:cubicBezTo>
                    <a:cubicBezTo>
                      <a:pt x="1990" y="281"/>
                      <a:pt x="1990" y="281"/>
                      <a:pt x="1990" y="281"/>
                    </a:cubicBezTo>
                    <a:cubicBezTo>
                      <a:pt x="1992" y="282"/>
                      <a:pt x="1992" y="282"/>
                      <a:pt x="1992" y="282"/>
                    </a:cubicBezTo>
                    <a:cubicBezTo>
                      <a:pt x="1990" y="282"/>
                      <a:pt x="1990" y="282"/>
                      <a:pt x="1990" y="282"/>
                    </a:cubicBezTo>
                    <a:cubicBezTo>
                      <a:pt x="1989" y="281"/>
                      <a:pt x="1989" y="281"/>
                      <a:pt x="1989" y="281"/>
                    </a:cubicBezTo>
                    <a:cubicBezTo>
                      <a:pt x="1988" y="283"/>
                      <a:pt x="1988" y="283"/>
                      <a:pt x="1988" y="283"/>
                    </a:cubicBezTo>
                    <a:cubicBezTo>
                      <a:pt x="1990" y="284"/>
                      <a:pt x="1990" y="284"/>
                      <a:pt x="1990" y="284"/>
                    </a:cubicBezTo>
                    <a:cubicBezTo>
                      <a:pt x="1991" y="283"/>
                      <a:pt x="1991" y="283"/>
                      <a:pt x="1991" y="283"/>
                    </a:cubicBezTo>
                    <a:cubicBezTo>
                      <a:pt x="1991" y="284"/>
                      <a:pt x="1991" y="284"/>
                      <a:pt x="1991" y="284"/>
                    </a:cubicBezTo>
                    <a:cubicBezTo>
                      <a:pt x="1991" y="285"/>
                      <a:pt x="1991" y="285"/>
                      <a:pt x="1991" y="285"/>
                    </a:cubicBezTo>
                    <a:cubicBezTo>
                      <a:pt x="1989" y="286"/>
                      <a:pt x="1989" y="286"/>
                      <a:pt x="1989" y="286"/>
                    </a:cubicBezTo>
                    <a:cubicBezTo>
                      <a:pt x="1988" y="285"/>
                      <a:pt x="1988" y="285"/>
                      <a:pt x="1988" y="285"/>
                    </a:cubicBezTo>
                    <a:cubicBezTo>
                      <a:pt x="1986" y="284"/>
                      <a:pt x="1986" y="284"/>
                      <a:pt x="1986" y="284"/>
                    </a:cubicBezTo>
                    <a:cubicBezTo>
                      <a:pt x="1985" y="285"/>
                      <a:pt x="1985" y="285"/>
                      <a:pt x="1985" y="285"/>
                    </a:cubicBezTo>
                    <a:cubicBezTo>
                      <a:pt x="1986" y="286"/>
                      <a:pt x="1986" y="286"/>
                      <a:pt x="1986" y="286"/>
                    </a:cubicBezTo>
                    <a:cubicBezTo>
                      <a:pt x="1985" y="286"/>
                      <a:pt x="1985" y="286"/>
                      <a:pt x="1985" y="286"/>
                    </a:cubicBezTo>
                    <a:cubicBezTo>
                      <a:pt x="1984" y="287"/>
                      <a:pt x="1984" y="287"/>
                      <a:pt x="1984" y="287"/>
                    </a:cubicBezTo>
                    <a:cubicBezTo>
                      <a:pt x="1983" y="287"/>
                      <a:pt x="1983" y="287"/>
                      <a:pt x="1983" y="287"/>
                    </a:cubicBezTo>
                    <a:cubicBezTo>
                      <a:pt x="1983" y="286"/>
                      <a:pt x="1983" y="286"/>
                      <a:pt x="1983" y="286"/>
                    </a:cubicBezTo>
                    <a:cubicBezTo>
                      <a:pt x="1980" y="286"/>
                      <a:pt x="1980" y="286"/>
                      <a:pt x="1980" y="286"/>
                    </a:cubicBezTo>
                    <a:cubicBezTo>
                      <a:pt x="1979" y="286"/>
                      <a:pt x="1979" y="286"/>
                      <a:pt x="1979" y="286"/>
                    </a:cubicBezTo>
                    <a:cubicBezTo>
                      <a:pt x="1977" y="286"/>
                      <a:pt x="1977" y="286"/>
                      <a:pt x="1977" y="286"/>
                    </a:cubicBezTo>
                    <a:cubicBezTo>
                      <a:pt x="1975" y="287"/>
                      <a:pt x="1975" y="287"/>
                      <a:pt x="1975" y="287"/>
                    </a:cubicBezTo>
                    <a:cubicBezTo>
                      <a:pt x="1977" y="289"/>
                      <a:pt x="1977" y="289"/>
                      <a:pt x="1977" y="289"/>
                    </a:cubicBezTo>
                    <a:cubicBezTo>
                      <a:pt x="1976" y="290"/>
                      <a:pt x="1976" y="290"/>
                      <a:pt x="1976" y="290"/>
                    </a:cubicBezTo>
                    <a:cubicBezTo>
                      <a:pt x="1976" y="291"/>
                      <a:pt x="1976" y="291"/>
                      <a:pt x="1976" y="291"/>
                    </a:cubicBezTo>
                    <a:cubicBezTo>
                      <a:pt x="1974" y="290"/>
                      <a:pt x="1974" y="290"/>
                      <a:pt x="1974" y="290"/>
                    </a:cubicBezTo>
                    <a:cubicBezTo>
                      <a:pt x="1974" y="289"/>
                      <a:pt x="1974" y="289"/>
                      <a:pt x="1974" y="289"/>
                    </a:cubicBezTo>
                    <a:cubicBezTo>
                      <a:pt x="1974" y="288"/>
                      <a:pt x="1974" y="288"/>
                      <a:pt x="1974" y="288"/>
                    </a:cubicBezTo>
                    <a:cubicBezTo>
                      <a:pt x="1973" y="287"/>
                      <a:pt x="1973" y="287"/>
                      <a:pt x="1973" y="287"/>
                    </a:cubicBezTo>
                    <a:cubicBezTo>
                      <a:pt x="1972" y="288"/>
                      <a:pt x="1972" y="288"/>
                      <a:pt x="1972" y="288"/>
                    </a:cubicBezTo>
                    <a:cubicBezTo>
                      <a:pt x="1971" y="288"/>
                      <a:pt x="1971" y="288"/>
                      <a:pt x="1971" y="288"/>
                    </a:cubicBezTo>
                    <a:cubicBezTo>
                      <a:pt x="1970" y="288"/>
                      <a:pt x="1970" y="288"/>
                      <a:pt x="1970" y="288"/>
                    </a:cubicBezTo>
                    <a:cubicBezTo>
                      <a:pt x="1969" y="289"/>
                      <a:pt x="1969" y="289"/>
                      <a:pt x="1969" y="289"/>
                    </a:cubicBezTo>
                    <a:cubicBezTo>
                      <a:pt x="1968" y="289"/>
                      <a:pt x="1968" y="289"/>
                      <a:pt x="1968" y="289"/>
                    </a:cubicBezTo>
                    <a:cubicBezTo>
                      <a:pt x="1966" y="290"/>
                      <a:pt x="1966" y="290"/>
                      <a:pt x="1966" y="290"/>
                    </a:cubicBezTo>
                    <a:cubicBezTo>
                      <a:pt x="1964" y="290"/>
                      <a:pt x="1964" y="290"/>
                      <a:pt x="1964" y="290"/>
                    </a:cubicBezTo>
                    <a:cubicBezTo>
                      <a:pt x="1962" y="292"/>
                      <a:pt x="1962" y="292"/>
                      <a:pt x="1962" y="292"/>
                    </a:cubicBezTo>
                    <a:cubicBezTo>
                      <a:pt x="1960" y="292"/>
                      <a:pt x="1960" y="292"/>
                      <a:pt x="1960" y="292"/>
                    </a:cubicBezTo>
                    <a:cubicBezTo>
                      <a:pt x="1960" y="291"/>
                      <a:pt x="1960" y="291"/>
                      <a:pt x="1960" y="291"/>
                    </a:cubicBezTo>
                    <a:cubicBezTo>
                      <a:pt x="1959" y="292"/>
                      <a:pt x="1959" y="292"/>
                      <a:pt x="1959" y="292"/>
                    </a:cubicBezTo>
                    <a:cubicBezTo>
                      <a:pt x="1958" y="293"/>
                      <a:pt x="1958" y="293"/>
                      <a:pt x="1958" y="293"/>
                    </a:cubicBezTo>
                    <a:cubicBezTo>
                      <a:pt x="1956" y="294"/>
                      <a:pt x="1956" y="294"/>
                      <a:pt x="1956" y="294"/>
                    </a:cubicBezTo>
                    <a:cubicBezTo>
                      <a:pt x="1956" y="296"/>
                      <a:pt x="1956" y="296"/>
                      <a:pt x="1956" y="296"/>
                    </a:cubicBezTo>
                    <a:cubicBezTo>
                      <a:pt x="1955" y="297"/>
                      <a:pt x="1955" y="297"/>
                      <a:pt x="1955" y="297"/>
                    </a:cubicBezTo>
                    <a:cubicBezTo>
                      <a:pt x="1954" y="298"/>
                      <a:pt x="1954" y="298"/>
                      <a:pt x="1954" y="298"/>
                    </a:cubicBezTo>
                    <a:cubicBezTo>
                      <a:pt x="1956" y="301"/>
                      <a:pt x="1956" y="301"/>
                      <a:pt x="1956" y="301"/>
                    </a:cubicBezTo>
                    <a:cubicBezTo>
                      <a:pt x="1956" y="303"/>
                      <a:pt x="1956" y="303"/>
                      <a:pt x="1956" y="303"/>
                    </a:cubicBezTo>
                    <a:cubicBezTo>
                      <a:pt x="1954" y="305"/>
                      <a:pt x="1954" y="305"/>
                      <a:pt x="1954" y="305"/>
                    </a:cubicBezTo>
                    <a:cubicBezTo>
                      <a:pt x="1953" y="307"/>
                      <a:pt x="1953" y="307"/>
                      <a:pt x="1953" y="307"/>
                    </a:cubicBezTo>
                    <a:cubicBezTo>
                      <a:pt x="1953" y="309"/>
                      <a:pt x="1953" y="309"/>
                      <a:pt x="1953" y="309"/>
                    </a:cubicBezTo>
                    <a:cubicBezTo>
                      <a:pt x="1953" y="311"/>
                      <a:pt x="1953" y="311"/>
                      <a:pt x="1953" y="311"/>
                    </a:cubicBezTo>
                    <a:cubicBezTo>
                      <a:pt x="1954" y="312"/>
                      <a:pt x="1954" y="312"/>
                      <a:pt x="1954" y="312"/>
                    </a:cubicBezTo>
                    <a:cubicBezTo>
                      <a:pt x="1954" y="314"/>
                      <a:pt x="1954" y="314"/>
                      <a:pt x="1954" y="314"/>
                    </a:cubicBezTo>
                    <a:cubicBezTo>
                      <a:pt x="1953" y="314"/>
                      <a:pt x="1953" y="314"/>
                      <a:pt x="1953" y="314"/>
                    </a:cubicBezTo>
                    <a:cubicBezTo>
                      <a:pt x="1952" y="314"/>
                      <a:pt x="1952" y="314"/>
                      <a:pt x="1952" y="314"/>
                    </a:cubicBezTo>
                    <a:cubicBezTo>
                      <a:pt x="1952" y="316"/>
                      <a:pt x="1952" y="316"/>
                      <a:pt x="1952" y="316"/>
                    </a:cubicBezTo>
                    <a:cubicBezTo>
                      <a:pt x="1952" y="318"/>
                      <a:pt x="1952" y="318"/>
                      <a:pt x="1952" y="318"/>
                    </a:cubicBezTo>
                    <a:cubicBezTo>
                      <a:pt x="1951" y="319"/>
                      <a:pt x="1951" y="319"/>
                      <a:pt x="1951" y="319"/>
                    </a:cubicBezTo>
                    <a:cubicBezTo>
                      <a:pt x="1951" y="321"/>
                      <a:pt x="1951" y="321"/>
                      <a:pt x="1951" y="321"/>
                    </a:cubicBezTo>
                    <a:cubicBezTo>
                      <a:pt x="1949" y="323"/>
                      <a:pt x="1949" y="323"/>
                      <a:pt x="1949" y="323"/>
                    </a:cubicBezTo>
                    <a:cubicBezTo>
                      <a:pt x="1950" y="324"/>
                      <a:pt x="1950" y="324"/>
                      <a:pt x="1950" y="324"/>
                    </a:cubicBezTo>
                    <a:cubicBezTo>
                      <a:pt x="1949" y="325"/>
                      <a:pt x="1949" y="325"/>
                      <a:pt x="1949" y="325"/>
                    </a:cubicBezTo>
                    <a:cubicBezTo>
                      <a:pt x="1948" y="327"/>
                      <a:pt x="1948" y="327"/>
                      <a:pt x="1948" y="327"/>
                    </a:cubicBezTo>
                    <a:cubicBezTo>
                      <a:pt x="1947" y="330"/>
                      <a:pt x="1947" y="330"/>
                      <a:pt x="1947" y="330"/>
                    </a:cubicBezTo>
                    <a:cubicBezTo>
                      <a:pt x="1947" y="332"/>
                      <a:pt x="1947" y="332"/>
                      <a:pt x="1947" y="332"/>
                    </a:cubicBezTo>
                    <a:cubicBezTo>
                      <a:pt x="1947" y="333"/>
                      <a:pt x="1947" y="333"/>
                      <a:pt x="1947" y="333"/>
                    </a:cubicBezTo>
                    <a:cubicBezTo>
                      <a:pt x="1947" y="335"/>
                      <a:pt x="1947" y="335"/>
                      <a:pt x="1947" y="335"/>
                    </a:cubicBezTo>
                    <a:cubicBezTo>
                      <a:pt x="1946" y="336"/>
                      <a:pt x="1946" y="336"/>
                      <a:pt x="1946" y="336"/>
                    </a:cubicBezTo>
                    <a:cubicBezTo>
                      <a:pt x="1946" y="337"/>
                      <a:pt x="1946" y="337"/>
                      <a:pt x="1946" y="337"/>
                    </a:cubicBezTo>
                    <a:cubicBezTo>
                      <a:pt x="1945" y="339"/>
                      <a:pt x="1945" y="339"/>
                      <a:pt x="1945" y="339"/>
                    </a:cubicBezTo>
                    <a:cubicBezTo>
                      <a:pt x="1945" y="340"/>
                      <a:pt x="1945" y="340"/>
                      <a:pt x="1945" y="340"/>
                    </a:cubicBezTo>
                    <a:cubicBezTo>
                      <a:pt x="1944" y="340"/>
                      <a:pt x="1944" y="340"/>
                      <a:pt x="1944" y="340"/>
                    </a:cubicBezTo>
                    <a:cubicBezTo>
                      <a:pt x="1944" y="342"/>
                      <a:pt x="1944" y="342"/>
                      <a:pt x="1944" y="342"/>
                    </a:cubicBezTo>
                    <a:cubicBezTo>
                      <a:pt x="1942" y="343"/>
                      <a:pt x="1942" y="343"/>
                      <a:pt x="1942" y="343"/>
                    </a:cubicBezTo>
                    <a:cubicBezTo>
                      <a:pt x="1942" y="345"/>
                      <a:pt x="1942" y="345"/>
                      <a:pt x="1942" y="345"/>
                    </a:cubicBezTo>
                    <a:cubicBezTo>
                      <a:pt x="1941" y="347"/>
                      <a:pt x="1941" y="347"/>
                      <a:pt x="1941" y="347"/>
                    </a:cubicBezTo>
                    <a:cubicBezTo>
                      <a:pt x="1941" y="348"/>
                      <a:pt x="1941" y="348"/>
                      <a:pt x="1941" y="348"/>
                    </a:cubicBezTo>
                    <a:cubicBezTo>
                      <a:pt x="1939" y="350"/>
                      <a:pt x="1939" y="350"/>
                      <a:pt x="1939" y="350"/>
                    </a:cubicBezTo>
                    <a:cubicBezTo>
                      <a:pt x="1939" y="351"/>
                      <a:pt x="1939" y="351"/>
                      <a:pt x="1939" y="351"/>
                    </a:cubicBezTo>
                    <a:cubicBezTo>
                      <a:pt x="1938" y="352"/>
                      <a:pt x="1938" y="352"/>
                      <a:pt x="1938" y="352"/>
                    </a:cubicBezTo>
                    <a:cubicBezTo>
                      <a:pt x="1939" y="353"/>
                      <a:pt x="1939" y="353"/>
                      <a:pt x="1939" y="353"/>
                    </a:cubicBezTo>
                    <a:cubicBezTo>
                      <a:pt x="1940" y="354"/>
                      <a:pt x="1940" y="354"/>
                      <a:pt x="1940" y="354"/>
                    </a:cubicBezTo>
                    <a:cubicBezTo>
                      <a:pt x="1941" y="354"/>
                      <a:pt x="1941" y="354"/>
                      <a:pt x="1941" y="354"/>
                    </a:cubicBezTo>
                    <a:cubicBezTo>
                      <a:pt x="1942" y="355"/>
                      <a:pt x="1942" y="355"/>
                      <a:pt x="1942" y="355"/>
                    </a:cubicBezTo>
                    <a:cubicBezTo>
                      <a:pt x="1944" y="355"/>
                      <a:pt x="1944" y="355"/>
                      <a:pt x="1944" y="355"/>
                    </a:cubicBezTo>
                    <a:cubicBezTo>
                      <a:pt x="1945" y="354"/>
                      <a:pt x="1945" y="354"/>
                      <a:pt x="1945" y="354"/>
                    </a:cubicBezTo>
                    <a:cubicBezTo>
                      <a:pt x="1946" y="353"/>
                      <a:pt x="1946" y="353"/>
                      <a:pt x="1946" y="353"/>
                    </a:cubicBezTo>
                    <a:cubicBezTo>
                      <a:pt x="1947" y="353"/>
                      <a:pt x="1947" y="353"/>
                      <a:pt x="1947" y="353"/>
                    </a:cubicBezTo>
                    <a:cubicBezTo>
                      <a:pt x="1948" y="353"/>
                      <a:pt x="1948" y="353"/>
                      <a:pt x="1948" y="353"/>
                    </a:cubicBezTo>
                    <a:cubicBezTo>
                      <a:pt x="1949" y="352"/>
                      <a:pt x="1949" y="352"/>
                      <a:pt x="1949" y="352"/>
                    </a:cubicBezTo>
                    <a:cubicBezTo>
                      <a:pt x="1949" y="356"/>
                      <a:pt x="1949" y="356"/>
                      <a:pt x="1949" y="356"/>
                    </a:cubicBezTo>
                    <a:cubicBezTo>
                      <a:pt x="1951" y="358"/>
                      <a:pt x="1951" y="358"/>
                      <a:pt x="1951" y="358"/>
                    </a:cubicBezTo>
                    <a:cubicBezTo>
                      <a:pt x="1951" y="360"/>
                      <a:pt x="1951" y="360"/>
                      <a:pt x="1951" y="360"/>
                    </a:cubicBezTo>
                    <a:cubicBezTo>
                      <a:pt x="1951" y="361"/>
                      <a:pt x="1951" y="361"/>
                      <a:pt x="1951" y="361"/>
                    </a:cubicBezTo>
                    <a:cubicBezTo>
                      <a:pt x="1953" y="362"/>
                      <a:pt x="1953" y="362"/>
                      <a:pt x="1953" y="362"/>
                    </a:cubicBezTo>
                    <a:cubicBezTo>
                      <a:pt x="1953" y="361"/>
                      <a:pt x="1953" y="361"/>
                      <a:pt x="1953" y="361"/>
                    </a:cubicBezTo>
                    <a:cubicBezTo>
                      <a:pt x="1954" y="362"/>
                      <a:pt x="1954" y="362"/>
                      <a:pt x="1954" y="362"/>
                    </a:cubicBezTo>
                    <a:cubicBezTo>
                      <a:pt x="1954" y="361"/>
                      <a:pt x="1954" y="361"/>
                      <a:pt x="1954" y="361"/>
                    </a:cubicBezTo>
                    <a:cubicBezTo>
                      <a:pt x="1955" y="360"/>
                      <a:pt x="1955" y="360"/>
                      <a:pt x="1955" y="360"/>
                    </a:cubicBezTo>
                    <a:cubicBezTo>
                      <a:pt x="1956" y="359"/>
                      <a:pt x="1956" y="359"/>
                      <a:pt x="1956" y="359"/>
                    </a:cubicBezTo>
                    <a:cubicBezTo>
                      <a:pt x="1956" y="360"/>
                      <a:pt x="1956" y="360"/>
                      <a:pt x="1956" y="360"/>
                    </a:cubicBezTo>
                    <a:cubicBezTo>
                      <a:pt x="1957" y="360"/>
                      <a:pt x="1957" y="360"/>
                      <a:pt x="1957" y="360"/>
                    </a:cubicBezTo>
                    <a:cubicBezTo>
                      <a:pt x="1958" y="360"/>
                      <a:pt x="1958" y="360"/>
                      <a:pt x="1958" y="360"/>
                    </a:cubicBezTo>
                    <a:cubicBezTo>
                      <a:pt x="1957" y="361"/>
                      <a:pt x="1957" y="361"/>
                      <a:pt x="1957" y="361"/>
                    </a:cubicBezTo>
                    <a:cubicBezTo>
                      <a:pt x="1958" y="363"/>
                      <a:pt x="1958" y="363"/>
                      <a:pt x="1958" y="363"/>
                    </a:cubicBezTo>
                    <a:cubicBezTo>
                      <a:pt x="1957" y="363"/>
                      <a:pt x="1957" y="363"/>
                      <a:pt x="1957" y="363"/>
                    </a:cubicBezTo>
                    <a:cubicBezTo>
                      <a:pt x="1956" y="364"/>
                      <a:pt x="1956" y="364"/>
                      <a:pt x="1956" y="364"/>
                    </a:cubicBezTo>
                    <a:cubicBezTo>
                      <a:pt x="1959" y="364"/>
                      <a:pt x="1959" y="364"/>
                      <a:pt x="1959" y="364"/>
                    </a:cubicBezTo>
                    <a:cubicBezTo>
                      <a:pt x="1960" y="363"/>
                      <a:pt x="1960" y="363"/>
                      <a:pt x="1960" y="363"/>
                    </a:cubicBezTo>
                    <a:cubicBezTo>
                      <a:pt x="1961" y="361"/>
                      <a:pt x="1961" y="361"/>
                      <a:pt x="1961" y="361"/>
                    </a:cubicBezTo>
                    <a:cubicBezTo>
                      <a:pt x="1961" y="360"/>
                      <a:pt x="1961" y="360"/>
                      <a:pt x="1961" y="360"/>
                    </a:cubicBezTo>
                    <a:cubicBezTo>
                      <a:pt x="1961" y="359"/>
                      <a:pt x="1961" y="359"/>
                      <a:pt x="1961" y="359"/>
                    </a:cubicBezTo>
                    <a:cubicBezTo>
                      <a:pt x="1962" y="361"/>
                      <a:pt x="1962" y="361"/>
                      <a:pt x="1962" y="361"/>
                    </a:cubicBezTo>
                    <a:cubicBezTo>
                      <a:pt x="1962" y="362"/>
                      <a:pt x="1962" y="362"/>
                      <a:pt x="1962" y="362"/>
                    </a:cubicBezTo>
                    <a:cubicBezTo>
                      <a:pt x="1962" y="364"/>
                      <a:pt x="1962" y="364"/>
                      <a:pt x="1962" y="364"/>
                    </a:cubicBezTo>
                    <a:cubicBezTo>
                      <a:pt x="1963" y="363"/>
                      <a:pt x="1963" y="363"/>
                      <a:pt x="1963" y="363"/>
                    </a:cubicBezTo>
                    <a:cubicBezTo>
                      <a:pt x="1963" y="362"/>
                      <a:pt x="1963" y="362"/>
                      <a:pt x="1963" y="362"/>
                    </a:cubicBezTo>
                    <a:cubicBezTo>
                      <a:pt x="1962" y="360"/>
                      <a:pt x="1962" y="360"/>
                      <a:pt x="1962" y="360"/>
                    </a:cubicBezTo>
                    <a:cubicBezTo>
                      <a:pt x="1963" y="358"/>
                      <a:pt x="1963" y="358"/>
                      <a:pt x="1963" y="358"/>
                    </a:cubicBezTo>
                    <a:cubicBezTo>
                      <a:pt x="1962" y="357"/>
                      <a:pt x="1962" y="357"/>
                      <a:pt x="1962" y="357"/>
                    </a:cubicBezTo>
                    <a:cubicBezTo>
                      <a:pt x="1961" y="355"/>
                      <a:pt x="1961" y="355"/>
                      <a:pt x="1961" y="355"/>
                    </a:cubicBezTo>
                    <a:cubicBezTo>
                      <a:pt x="1963" y="355"/>
                      <a:pt x="1963" y="355"/>
                      <a:pt x="1963" y="355"/>
                    </a:cubicBezTo>
                    <a:cubicBezTo>
                      <a:pt x="1964" y="356"/>
                      <a:pt x="1964" y="356"/>
                      <a:pt x="1964" y="356"/>
                    </a:cubicBezTo>
                    <a:cubicBezTo>
                      <a:pt x="1964" y="357"/>
                      <a:pt x="1964" y="357"/>
                      <a:pt x="1964" y="357"/>
                    </a:cubicBezTo>
                    <a:cubicBezTo>
                      <a:pt x="1965" y="357"/>
                      <a:pt x="1965" y="357"/>
                      <a:pt x="1965" y="357"/>
                    </a:cubicBezTo>
                    <a:cubicBezTo>
                      <a:pt x="1965" y="356"/>
                      <a:pt x="1965" y="356"/>
                      <a:pt x="1965" y="356"/>
                    </a:cubicBezTo>
                    <a:cubicBezTo>
                      <a:pt x="1967" y="356"/>
                      <a:pt x="1967" y="356"/>
                      <a:pt x="1967" y="356"/>
                    </a:cubicBezTo>
                    <a:cubicBezTo>
                      <a:pt x="1968" y="355"/>
                      <a:pt x="1968" y="355"/>
                      <a:pt x="1968" y="355"/>
                    </a:cubicBezTo>
                    <a:cubicBezTo>
                      <a:pt x="1969" y="356"/>
                      <a:pt x="1969" y="356"/>
                      <a:pt x="1969" y="356"/>
                    </a:cubicBezTo>
                    <a:cubicBezTo>
                      <a:pt x="1971" y="356"/>
                      <a:pt x="1971" y="356"/>
                      <a:pt x="1971" y="356"/>
                    </a:cubicBezTo>
                    <a:cubicBezTo>
                      <a:pt x="1972" y="357"/>
                      <a:pt x="1972" y="357"/>
                      <a:pt x="1972" y="357"/>
                    </a:cubicBezTo>
                    <a:cubicBezTo>
                      <a:pt x="1972" y="359"/>
                      <a:pt x="1972" y="359"/>
                      <a:pt x="1972" y="359"/>
                    </a:cubicBezTo>
                    <a:cubicBezTo>
                      <a:pt x="1973" y="359"/>
                      <a:pt x="1973" y="359"/>
                      <a:pt x="1973" y="359"/>
                    </a:cubicBezTo>
                    <a:cubicBezTo>
                      <a:pt x="1975" y="359"/>
                      <a:pt x="1975" y="359"/>
                      <a:pt x="1975" y="359"/>
                    </a:cubicBezTo>
                    <a:cubicBezTo>
                      <a:pt x="1976" y="360"/>
                      <a:pt x="1976" y="360"/>
                      <a:pt x="1976" y="360"/>
                    </a:cubicBezTo>
                    <a:cubicBezTo>
                      <a:pt x="1978" y="361"/>
                      <a:pt x="1978" y="361"/>
                      <a:pt x="1978" y="361"/>
                    </a:cubicBezTo>
                    <a:cubicBezTo>
                      <a:pt x="1979" y="362"/>
                      <a:pt x="1979" y="362"/>
                      <a:pt x="1979" y="362"/>
                    </a:cubicBezTo>
                    <a:cubicBezTo>
                      <a:pt x="1980" y="362"/>
                      <a:pt x="1980" y="362"/>
                      <a:pt x="1980" y="362"/>
                    </a:cubicBezTo>
                    <a:cubicBezTo>
                      <a:pt x="1980" y="363"/>
                      <a:pt x="1980" y="363"/>
                      <a:pt x="1980" y="363"/>
                    </a:cubicBezTo>
                    <a:cubicBezTo>
                      <a:pt x="1981" y="363"/>
                      <a:pt x="1981" y="363"/>
                      <a:pt x="1981" y="363"/>
                    </a:cubicBezTo>
                    <a:cubicBezTo>
                      <a:pt x="1982" y="365"/>
                      <a:pt x="1982" y="365"/>
                      <a:pt x="1982" y="365"/>
                    </a:cubicBezTo>
                    <a:cubicBezTo>
                      <a:pt x="1982" y="366"/>
                      <a:pt x="1982" y="366"/>
                      <a:pt x="1982" y="366"/>
                    </a:cubicBezTo>
                    <a:cubicBezTo>
                      <a:pt x="1982" y="367"/>
                      <a:pt x="1982" y="367"/>
                      <a:pt x="1982" y="367"/>
                    </a:cubicBezTo>
                    <a:cubicBezTo>
                      <a:pt x="1981" y="368"/>
                      <a:pt x="1981" y="368"/>
                      <a:pt x="1981" y="368"/>
                    </a:cubicBezTo>
                    <a:cubicBezTo>
                      <a:pt x="1982" y="369"/>
                      <a:pt x="1982" y="369"/>
                      <a:pt x="1982" y="369"/>
                    </a:cubicBezTo>
                    <a:cubicBezTo>
                      <a:pt x="1983" y="369"/>
                      <a:pt x="1983" y="369"/>
                      <a:pt x="1983" y="369"/>
                    </a:cubicBezTo>
                    <a:cubicBezTo>
                      <a:pt x="1984" y="371"/>
                      <a:pt x="1984" y="371"/>
                      <a:pt x="1984" y="371"/>
                    </a:cubicBezTo>
                    <a:cubicBezTo>
                      <a:pt x="1985" y="372"/>
                      <a:pt x="1985" y="372"/>
                      <a:pt x="1985" y="372"/>
                    </a:cubicBezTo>
                    <a:cubicBezTo>
                      <a:pt x="1984" y="373"/>
                      <a:pt x="1984" y="373"/>
                      <a:pt x="1984" y="373"/>
                    </a:cubicBezTo>
                    <a:cubicBezTo>
                      <a:pt x="1984" y="375"/>
                      <a:pt x="1984" y="375"/>
                      <a:pt x="1984" y="375"/>
                    </a:cubicBezTo>
                    <a:cubicBezTo>
                      <a:pt x="1985" y="376"/>
                      <a:pt x="1985" y="376"/>
                      <a:pt x="1985" y="376"/>
                    </a:cubicBezTo>
                    <a:cubicBezTo>
                      <a:pt x="1986" y="376"/>
                      <a:pt x="1986" y="376"/>
                      <a:pt x="1986" y="376"/>
                    </a:cubicBezTo>
                    <a:cubicBezTo>
                      <a:pt x="1987" y="375"/>
                      <a:pt x="1987" y="375"/>
                      <a:pt x="1987" y="375"/>
                    </a:cubicBezTo>
                    <a:cubicBezTo>
                      <a:pt x="1987" y="376"/>
                      <a:pt x="1987" y="376"/>
                      <a:pt x="1987" y="376"/>
                    </a:cubicBezTo>
                    <a:cubicBezTo>
                      <a:pt x="1987" y="377"/>
                      <a:pt x="1987" y="377"/>
                      <a:pt x="1987" y="377"/>
                    </a:cubicBezTo>
                    <a:cubicBezTo>
                      <a:pt x="1987" y="379"/>
                      <a:pt x="1987" y="379"/>
                      <a:pt x="1987" y="379"/>
                    </a:cubicBezTo>
                    <a:cubicBezTo>
                      <a:pt x="1988" y="379"/>
                      <a:pt x="1988" y="379"/>
                      <a:pt x="1988" y="379"/>
                    </a:cubicBezTo>
                    <a:cubicBezTo>
                      <a:pt x="1987" y="380"/>
                      <a:pt x="1987" y="380"/>
                      <a:pt x="1987" y="380"/>
                    </a:cubicBezTo>
                    <a:cubicBezTo>
                      <a:pt x="1987" y="381"/>
                      <a:pt x="1987" y="381"/>
                      <a:pt x="1987" y="381"/>
                    </a:cubicBezTo>
                    <a:cubicBezTo>
                      <a:pt x="1987" y="382"/>
                      <a:pt x="1987" y="382"/>
                      <a:pt x="1987" y="382"/>
                    </a:cubicBezTo>
                    <a:cubicBezTo>
                      <a:pt x="1987" y="383"/>
                      <a:pt x="1987" y="383"/>
                      <a:pt x="1987" y="383"/>
                    </a:cubicBezTo>
                    <a:cubicBezTo>
                      <a:pt x="1987" y="384"/>
                      <a:pt x="1987" y="384"/>
                      <a:pt x="1987" y="384"/>
                    </a:cubicBezTo>
                    <a:cubicBezTo>
                      <a:pt x="1987" y="385"/>
                      <a:pt x="1987" y="385"/>
                      <a:pt x="1987" y="385"/>
                    </a:cubicBezTo>
                    <a:cubicBezTo>
                      <a:pt x="1988" y="386"/>
                      <a:pt x="1988" y="386"/>
                      <a:pt x="1988" y="386"/>
                    </a:cubicBezTo>
                    <a:cubicBezTo>
                      <a:pt x="1987" y="387"/>
                      <a:pt x="1987" y="387"/>
                      <a:pt x="1987" y="387"/>
                    </a:cubicBezTo>
                    <a:cubicBezTo>
                      <a:pt x="1988" y="390"/>
                      <a:pt x="1988" y="390"/>
                      <a:pt x="1988" y="390"/>
                    </a:cubicBezTo>
                    <a:cubicBezTo>
                      <a:pt x="1987" y="390"/>
                      <a:pt x="1987" y="390"/>
                      <a:pt x="1987" y="390"/>
                    </a:cubicBezTo>
                    <a:cubicBezTo>
                      <a:pt x="1988" y="393"/>
                      <a:pt x="1988" y="393"/>
                      <a:pt x="1988" y="393"/>
                    </a:cubicBezTo>
                    <a:cubicBezTo>
                      <a:pt x="1988" y="394"/>
                      <a:pt x="1988" y="394"/>
                      <a:pt x="1988" y="394"/>
                    </a:cubicBezTo>
                    <a:cubicBezTo>
                      <a:pt x="1988" y="395"/>
                      <a:pt x="1988" y="395"/>
                      <a:pt x="1988" y="395"/>
                    </a:cubicBezTo>
                    <a:cubicBezTo>
                      <a:pt x="1989" y="399"/>
                      <a:pt x="1989" y="399"/>
                      <a:pt x="1989" y="399"/>
                    </a:cubicBezTo>
                    <a:cubicBezTo>
                      <a:pt x="1990" y="399"/>
                      <a:pt x="1990" y="399"/>
                      <a:pt x="1990" y="399"/>
                    </a:cubicBezTo>
                    <a:cubicBezTo>
                      <a:pt x="1991" y="398"/>
                      <a:pt x="1991" y="398"/>
                      <a:pt x="1991" y="398"/>
                    </a:cubicBezTo>
                    <a:cubicBezTo>
                      <a:pt x="1991" y="399"/>
                      <a:pt x="1991" y="399"/>
                      <a:pt x="1991" y="399"/>
                    </a:cubicBezTo>
                    <a:cubicBezTo>
                      <a:pt x="1990" y="400"/>
                      <a:pt x="1990" y="400"/>
                      <a:pt x="1990" y="400"/>
                    </a:cubicBezTo>
                    <a:cubicBezTo>
                      <a:pt x="1990" y="401"/>
                      <a:pt x="1990" y="401"/>
                      <a:pt x="1990" y="401"/>
                    </a:cubicBezTo>
                    <a:cubicBezTo>
                      <a:pt x="1990" y="402"/>
                      <a:pt x="1990" y="402"/>
                      <a:pt x="1990" y="402"/>
                    </a:cubicBezTo>
                    <a:cubicBezTo>
                      <a:pt x="1991" y="402"/>
                      <a:pt x="1991" y="402"/>
                      <a:pt x="1991" y="402"/>
                    </a:cubicBezTo>
                    <a:cubicBezTo>
                      <a:pt x="1993" y="404"/>
                      <a:pt x="1993" y="404"/>
                      <a:pt x="1993" y="404"/>
                    </a:cubicBezTo>
                    <a:cubicBezTo>
                      <a:pt x="1993" y="406"/>
                      <a:pt x="1993" y="406"/>
                      <a:pt x="1993" y="406"/>
                    </a:cubicBezTo>
                    <a:cubicBezTo>
                      <a:pt x="1993" y="407"/>
                      <a:pt x="1993" y="407"/>
                      <a:pt x="1993" y="407"/>
                    </a:cubicBezTo>
                    <a:cubicBezTo>
                      <a:pt x="1993" y="408"/>
                      <a:pt x="1993" y="408"/>
                      <a:pt x="1993" y="408"/>
                    </a:cubicBezTo>
                    <a:cubicBezTo>
                      <a:pt x="1993" y="411"/>
                      <a:pt x="1993" y="411"/>
                      <a:pt x="1993" y="411"/>
                    </a:cubicBezTo>
                    <a:cubicBezTo>
                      <a:pt x="1994" y="411"/>
                      <a:pt x="1994" y="411"/>
                      <a:pt x="1994" y="411"/>
                    </a:cubicBezTo>
                    <a:cubicBezTo>
                      <a:pt x="1994" y="413"/>
                      <a:pt x="1994" y="413"/>
                      <a:pt x="1994" y="413"/>
                    </a:cubicBezTo>
                    <a:cubicBezTo>
                      <a:pt x="1994" y="415"/>
                      <a:pt x="1994" y="415"/>
                      <a:pt x="1994" y="415"/>
                    </a:cubicBezTo>
                    <a:cubicBezTo>
                      <a:pt x="1995" y="416"/>
                      <a:pt x="1995" y="416"/>
                      <a:pt x="1995" y="416"/>
                    </a:cubicBezTo>
                    <a:cubicBezTo>
                      <a:pt x="1995" y="418"/>
                      <a:pt x="1995" y="418"/>
                      <a:pt x="1995" y="418"/>
                    </a:cubicBezTo>
                    <a:cubicBezTo>
                      <a:pt x="1993" y="420"/>
                      <a:pt x="1993" y="420"/>
                      <a:pt x="1993" y="420"/>
                    </a:cubicBezTo>
                    <a:cubicBezTo>
                      <a:pt x="1993" y="421"/>
                      <a:pt x="1993" y="421"/>
                      <a:pt x="1993" y="421"/>
                    </a:cubicBezTo>
                    <a:cubicBezTo>
                      <a:pt x="1992" y="423"/>
                      <a:pt x="1992" y="423"/>
                      <a:pt x="1992" y="423"/>
                    </a:cubicBezTo>
                    <a:cubicBezTo>
                      <a:pt x="1992" y="426"/>
                      <a:pt x="1992" y="426"/>
                      <a:pt x="1992" y="426"/>
                    </a:cubicBezTo>
                    <a:cubicBezTo>
                      <a:pt x="1992" y="428"/>
                      <a:pt x="1992" y="428"/>
                      <a:pt x="1992" y="428"/>
                    </a:cubicBezTo>
                    <a:cubicBezTo>
                      <a:pt x="1991" y="429"/>
                      <a:pt x="1991" y="429"/>
                      <a:pt x="1991" y="429"/>
                    </a:cubicBezTo>
                    <a:cubicBezTo>
                      <a:pt x="1991" y="430"/>
                      <a:pt x="1991" y="430"/>
                      <a:pt x="1991" y="430"/>
                    </a:cubicBezTo>
                    <a:cubicBezTo>
                      <a:pt x="1990" y="432"/>
                      <a:pt x="1990" y="432"/>
                      <a:pt x="1990" y="432"/>
                    </a:cubicBezTo>
                    <a:cubicBezTo>
                      <a:pt x="1991" y="432"/>
                      <a:pt x="1991" y="432"/>
                      <a:pt x="1991" y="432"/>
                    </a:cubicBezTo>
                    <a:cubicBezTo>
                      <a:pt x="1991" y="433"/>
                      <a:pt x="1991" y="433"/>
                      <a:pt x="1991" y="433"/>
                    </a:cubicBezTo>
                    <a:cubicBezTo>
                      <a:pt x="1990" y="435"/>
                      <a:pt x="1990" y="435"/>
                      <a:pt x="1990" y="435"/>
                    </a:cubicBezTo>
                    <a:cubicBezTo>
                      <a:pt x="1990" y="438"/>
                      <a:pt x="1990" y="438"/>
                      <a:pt x="1990" y="438"/>
                    </a:cubicBezTo>
                    <a:cubicBezTo>
                      <a:pt x="1989" y="439"/>
                      <a:pt x="1989" y="439"/>
                      <a:pt x="1989" y="439"/>
                    </a:cubicBezTo>
                    <a:cubicBezTo>
                      <a:pt x="1990" y="441"/>
                      <a:pt x="1990" y="441"/>
                      <a:pt x="1990" y="441"/>
                    </a:cubicBezTo>
                    <a:cubicBezTo>
                      <a:pt x="1990" y="442"/>
                      <a:pt x="1990" y="442"/>
                      <a:pt x="1990" y="442"/>
                    </a:cubicBezTo>
                    <a:cubicBezTo>
                      <a:pt x="1989" y="444"/>
                      <a:pt x="1989" y="444"/>
                      <a:pt x="1989" y="444"/>
                    </a:cubicBezTo>
                    <a:cubicBezTo>
                      <a:pt x="1988" y="445"/>
                      <a:pt x="1988" y="445"/>
                      <a:pt x="1988" y="445"/>
                    </a:cubicBezTo>
                    <a:cubicBezTo>
                      <a:pt x="1987" y="446"/>
                      <a:pt x="1987" y="446"/>
                      <a:pt x="1987" y="446"/>
                    </a:cubicBezTo>
                    <a:cubicBezTo>
                      <a:pt x="1987" y="448"/>
                      <a:pt x="1987" y="448"/>
                      <a:pt x="1987" y="448"/>
                    </a:cubicBezTo>
                    <a:cubicBezTo>
                      <a:pt x="1986" y="449"/>
                      <a:pt x="1986" y="449"/>
                      <a:pt x="1986" y="449"/>
                    </a:cubicBezTo>
                    <a:cubicBezTo>
                      <a:pt x="1984" y="455"/>
                      <a:pt x="1984" y="455"/>
                      <a:pt x="1984" y="455"/>
                    </a:cubicBezTo>
                    <a:cubicBezTo>
                      <a:pt x="1984" y="457"/>
                      <a:pt x="1984" y="457"/>
                      <a:pt x="1984" y="457"/>
                    </a:cubicBezTo>
                    <a:cubicBezTo>
                      <a:pt x="1984" y="458"/>
                      <a:pt x="1984" y="458"/>
                      <a:pt x="1984" y="458"/>
                    </a:cubicBezTo>
                    <a:cubicBezTo>
                      <a:pt x="1982" y="459"/>
                      <a:pt x="1982" y="459"/>
                      <a:pt x="1982" y="459"/>
                    </a:cubicBezTo>
                    <a:cubicBezTo>
                      <a:pt x="1982" y="460"/>
                      <a:pt x="1982" y="460"/>
                      <a:pt x="1982" y="460"/>
                    </a:cubicBezTo>
                    <a:cubicBezTo>
                      <a:pt x="1981" y="461"/>
                      <a:pt x="1981" y="461"/>
                      <a:pt x="1981" y="461"/>
                    </a:cubicBezTo>
                    <a:cubicBezTo>
                      <a:pt x="1981" y="463"/>
                      <a:pt x="1981" y="463"/>
                      <a:pt x="1981" y="463"/>
                    </a:cubicBezTo>
                    <a:cubicBezTo>
                      <a:pt x="1980" y="463"/>
                      <a:pt x="1980" y="463"/>
                      <a:pt x="1980" y="463"/>
                    </a:cubicBezTo>
                    <a:cubicBezTo>
                      <a:pt x="1981" y="464"/>
                      <a:pt x="1981" y="464"/>
                      <a:pt x="1981" y="464"/>
                    </a:cubicBezTo>
                    <a:cubicBezTo>
                      <a:pt x="1980" y="466"/>
                      <a:pt x="1980" y="466"/>
                      <a:pt x="1980" y="466"/>
                    </a:cubicBezTo>
                    <a:cubicBezTo>
                      <a:pt x="1979" y="466"/>
                      <a:pt x="1979" y="466"/>
                      <a:pt x="1979" y="466"/>
                    </a:cubicBezTo>
                    <a:cubicBezTo>
                      <a:pt x="1978" y="465"/>
                      <a:pt x="1978" y="465"/>
                      <a:pt x="1978" y="465"/>
                    </a:cubicBezTo>
                    <a:cubicBezTo>
                      <a:pt x="1979" y="467"/>
                      <a:pt x="1979" y="467"/>
                      <a:pt x="1979" y="467"/>
                    </a:cubicBezTo>
                    <a:cubicBezTo>
                      <a:pt x="1979" y="468"/>
                      <a:pt x="1979" y="468"/>
                      <a:pt x="1979" y="468"/>
                    </a:cubicBezTo>
                    <a:cubicBezTo>
                      <a:pt x="1977" y="469"/>
                      <a:pt x="1977" y="469"/>
                      <a:pt x="1977" y="469"/>
                    </a:cubicBezTo>
                    <a:cubicBezTo>
                      <a:pt x="1978" y="470"/>
                      <a:pt x="1978" y="470"/>
                      <a:pt x="1978" y="470"/>
                    </a:cubicBezTo>
                    <a:cubicBezTo>
                      <a:pt x="1976" y="472"/>
                      <a:pt x="1976" y="472"/>
                      <a:pt x="1976" y="472"/>
                    </a:cubicBezTo>
                    <a:cubicBezTo>
                      <a:pt x="1975" y="474"/>
                      <a:pt x="1975" y="474"/>
                      <a:pt x="1975" y="474"/>
                    </a:cubicBezTo>
                    <a:cubicBezTo>
                      <a:pt x="1974" y="474"/>
                      <a:pt x="1974" y="474"/>
                      <a:pt x="1974" y="474"/>
                    </a:cubicBezTo>
                    <a:cubicBezTo>
                      <a:pt x="1974" y="475"/>
                      <a:pt x="1974" y="475"/>
                      <a:pt x="1974" y="475"/>
                    </a:cubicBezTo>
                    <a:cubicBezTo>
                      <a:pt x="1972" y="475"/>
                      <a:pt x="1972" y="475"/>
                      <a:pt x="1972" y="475"/>
                    </a:cubicBezTo>
                    <a:cubicBezTo>
                      <a:pt x="1970" y="476"/>
                      <a:pt x="1970" y="476"/>
                      <a:pt x="1970" y="476"/>
                    </a:cubicBezTo>
                    <a:cubicBezTo>
                      <a:pt x="1969" y="476"/>
                      <a:pt x="1969" y="476"/>
                      <a:pt x="1969" y="476"/>
                    </a:cubicBezTo>
                    <a:cubicBezTo>
                      <a:pt x="1967" y="475"/>
                      <a:pt x="1967" y="475"/>
                      <a:pt x="1967" y="475"/>
                    </a:cubicBezTo>
                    <a:cubicBezTo>
                      <a:pt x="1965" y="475"/>
                      <a:pt x="1965" y="475"/>
                      <a:pt x="1965" y="475"/>
                    </a:cubicBezTo>
                    <a:cubicBezTo>
                      <a:pt x="1965" y="472"/>
                      <a:pt x="1965" y="472"/>
                      <a:pt x="1965" y="472"/>
                    </a:cubicBezTo>
                    <a:cubicBezTo>
                      <a:pt x="1964" y="472"/>
                      <a:pt x="1964" y="472"/>
                      <a:pt x="1964" y="472"/>
                    </a:cubicBezTo>
                    <a:cubicBezTo>
                      <a:pt x="1963" y="472"/>
                      <a:pt x="1963" y="472"/>
                      <a:pt x="1963" y="472"/>
                    </a:cubicBezTo>
                    <a:cubicBezTo>
                      <a:pt x="1961" y="472"/>
                      <a:pt x="1961" y="472"/>
                      <a:pt x="1961" y="472"/>
                    </a:cubicBezTo>
                    <a:cubicBezTo>
                      <a:pt x="1961" y="473"/>
                      <a:pt x="1961" y="473"/>
                      <a:pt x="1961" y="473"/>
                    </a:cubicBezTo>
                    <a:cubicBezTo>
                      <a:pt x="1960" y="474"/>
                      <a:pt x="1960" y="474"/>
                      <a:pt x="1960" y="474"/>
                    </a:cubicBezTo>
                    <a:cubicBezTo>
                      <a:pt x="1960" y="477"/>
                      <a:pt x="1960" y="477"/>
                      <a:pt x="1960" y="477"/>
                    </a:cubicBezTo>
                    <a:cubicBezTo>
                      <a:pt x="1959" y="477"/>
                      <a:pt x="1959" y="477"/>
                      <a:pt x="1959" y="477"/>
                    </a:cubicBezTo>
                    <a:cubicBezTo>
                      <a:pt x="1958" y="479"/>
                      <a:pt x="1958" y="479"/>
                      <a:pt x="1958" y="479"/>
                    </a:cubicBezTo>
                    <a:cubicBezTo>
                      <a:pt x="1956" y="479"/>
                      <a:pt x="1956" y="479"/>
                      <a:pt x="1956" y="479"/>
                    </a:cubicBezTo>
                    <a:cubicBezTo>
                      <a:pt x="1956" y="481"/>
                      <a:pt x="1956" y="481"/>
                      <a:pt x="1956" y="481"/>
                    </a:cubicBezTo>
                    <a:cubicBezTo>
                      <a:pt x="1955" y="481"/>
                      <a:pt x="1955" y="481"/>
                      <a:pt x="1955" y="481"/>
                    </a:cubicBezTo>
                    <a:cubicBezTo>
                      <a:pt x="1955" y="481"/>
                      <a:pt x="1955" y="481"/>
                      <a:pt x="1953" y="483"/>
                    </a:cubicBezTo>
                    <a:cubicBezTo>
                      <a:pt x="1953" y="483"/>
                      <a:pt x="1953" y="483"/>
                      <a:pt x="1952" y="484"/>
                    </a:cubicBezTo>
                    <a:cubicBezTo>
                      <a:pt x="1952" y="484"/>
                      <a:pt x="1952" y="484"/>
                      <a:pt x="1952" y="488"/>
                    </a:cubicBezTo>
                    <a:cubicBezTo>
                      <a:pt x="1952" y="488"/>
                      <a:pt x="1952" y="488"/>
                      <a:pt x="1952" y="489"/>
                    </a:cubicBezTo>
                    <a:cubicBezTo>
                      <a:pt x="1952" y="489"/>
                      <a:pt x="1952" y="489"/>
                      <a:pt x="1953" y="490"/>
                    </a:cubicBezTo>
                    <a:cubicBezTo>
                      <a:pt x="1953" y="490"/>
                      <a:pt x="1953" y="490"/>
                      <a:pt x="1953" y="494"/>
                    </a:cubicBezTo>
                    <a:cubicBezTo>
                      <a:pt x="1953" y="494"/>
                      <a:pt x="1953" y="494"/>
                      <a:pt x="1954" y="494"/>
                    </a:cubicBezTo>
                    <a:cubicBezTo>
                      <a:pt x="1954" y="494"/>
                      <a:pt x="1954" y="494"/>
                      <a:pt x="1954" y="496"/>
                    </a:cubicBezTo>
                    <a:cubicBezTo>
                      <a:pt x="1954" y="496"/>
                      <a:pt x="1954" y="496"/>
                      <a:pt x="1952" y="497"/>
                    </a:cubicBezTo>
                    <a:cubicBezTo>
                      <a:pt x="1952" y="497"/>
                      <a:pt x="1952" y="497"/>
                      <a:pt x="1952" y="498"/>
                    </a:cubicBezTo>
                    <a:cubicBezTo>
                      <a:pt x="1952" y="498"/>
                      <a:pt x="1952" y="498"/>
                      <a:pt x="1949" y="501"/>
                    </a:cubicBezTo>
                    <a:cubicBezTo>
                      <a:pt x="1949" y="501"/>
                      <a:pt x="1949" y="501"/>
                      <a:pt x="1949" y="502"/>
                    </a:cubicBezTo>
                    <a:cubicBezTo>
                      <a:pt x="1949" y="502"/>
                      <a:pt x="1949" y="502"/>
                      <a:pt x="1949" y="503"/>
                    </a:cubicBezTo>
                    <a:cubicBezTo>
                      <a:pt x="1949" y="503"/>
                      <a:pt x="1949" y="503"/>
                      <a:pt x="1948" y="503"/>
                    </a:cubicBezTo>
                    <a:cubicBezTo>
                      <a:pt x="1948" y="503"/>
                      <a:pt x="1948" y="503"/>
                      <a:pt x="1947" y="503"/>
                    </a:cubicBezTo>
                    <a:cubicBezTo>
                      <a:pt x="1947" y="503"/>
                      <a:pt x="1947" y="503"/>
                      <a:pt x="1946" y="504"/>
                    </a:cubicBezTo>
                    <a:cubicBezTo>
                      <a:pt x="1946" y="504"/>
                      <a:pt x="1946" y="504"/>
                      <a:pt x="1945" y="506"/>
                    </a:cubicBezTo>
                    <a:cubicBezTo>
                      <a:pt x="1945" y="506"/>
                      <a:pt x="1945" y="506"/>
                      <a:pt x="1944" y="507"/>
                    </a:cubicBezTo>
                    <a:cubicBezTo>
                      <a:pt x="1944" y="507"/>
                      <a:pt x="1944" y="507"/>
                      <a:pt x="1944" y="508"/>
                    </a:cubicBezTo>
                    <a:cubicBezTo>
                      <a:pt x="1944" y="508"/>
                      <a:pt x="1944" y="508"/>
                      <a:pt x="1944" y="510"/>
                    </a:cubicBezTo>
                    <a:cubicBezTo>
                      <a:pt x="1944" y="510"/>
                      <a:pt x="1944" y="510"/>
                      <a:pt x="1943" y="510"/>
                    </a:cubicBezTo>
                    <a:cubicBezTo>
                      <a:pt x="1943" y="510"/>
                      <a:pt x="1943" y="510"/>
                      <a:pt x="1944" y="512"/>
                    </a:cubicBezTo>
                    <a:cubicBezTo>
                      <a:pt x="1944" y="512"/>
                      <a:pt x="1944" y="512"/>
                      <a:pt x="1946" y="512"/>
                    </a:cubicBezTo>
                    <a:cubicBezTo>
                      <a:pt x="1946" y="512"/>
                      <a:pt x="1946" y="512"/>
                      <a:pt x="1947" y="513"/>
                    </a:cubicBezTo>
                    <a:cubicBezTo>
                      <a:pt x="1947" y="513"/>
                      <a:pt x="1947" y="513"/>
                      <a:pt x="1951" y="516"/>
                    </a:cubicBezTo>
                    <a:cubicBezTo>
                      <a:pt x="1951" y="516"/>
                      <a:pt x="1951" y="516"/>
                      <a:pt x="1952" y="517"/>
                    </a:cubicBezTo>
                    <a:cubicBezTo>
                      <a:pt x="1952" y="517"/>
                      <a:pt x="1952" y="517"/>
                      <a:pt x="1954" y="522"/>
                    </a:cubicBezTo>
                    <a:cubicBezTo>
                      <a:pt x="1954" y="522"/>
                      <a:pt x="1954" y="522"/>
                      <a:pt x="1958" y="525"/>
                    </a:cubicBezTo>
                    <a:cubicBezTo>
                      <a:pt x="1958" y="525"/>
                      <a:pt x="1958" y="525"/>
                      <a:pt x="1961" y="530"/>
                    </a:cubicBezTo>
                    <a:cubicBezTo>
                      <a:pt x="1961" y="530"/>
                      <a:pt x="1961" y="530"/>
                      <a:pt x="1962" y="533"/>
                    </a:cubicBezTo>
                    <a:cubicBezTo>
                      <a:pt x="1962" y="533"/>
                      <a:pt x="1962" y="533"/>
                      <a:pt x="1963" y="534"/>
                    </a:cubicBezTo>
                    <a:cubicBezTo>
                      <a:pt x="1963" y="534"/>
                      <a:pt x="1963" y="534"/>
                      <a:pt x="1963" y="538"/>
                    </a:cubicBezTo>
                    <a:cubicBezTo>
                      <a:pt x="1963" y="538"/>
                      <a:pt x="1963" y="538"/>
                      <a:pt x="1963" y="539"/>
                    </a:cubicBezTo>
                    <a:cubicBezTo>
                      <a:pt x="1963" y="539"/>
                      <a:pt x="1963" y="539"/>
                      <a:pt x="1964" y="539"/>
                    </a:cubicBezTo>
                    <a:cubicBezTo>
                      <a:pt x="1964" y="539"/>
                      <a:pt x="1964" y="539"/>
                      <a:pt x="1965" y="544"/>
                    </a:cubicBezTo>
                    <a:cubicBezTo>
                      <a:pt x="1965" y="544"/>
                      <a:pt x="1965" y="544"/>
                      <a:pt x="1964" y="544"/>
                    </a:cubicBezTo>
                    <a:cubicBezTo>
                      <a:pt x="1964" y="544"/>
                      <a:pt x="1964" y="544"/>
                      <a:pt x="1964" y="545"/>
                    </a:cubicBezTo>
                    <a:cubicBezTo>
                      <a:pt x="1964" y="545"/>
                      <a:pt x="1964" y="545"/>
                      <a:pt x="1962" y="547"/>
                    </a:cubicBezTo>
                    <a:cubicBezTo>
                      <a:pt x="1962" y="547"/>
                      <a:pt x="1962" y="547"/>
                      <a:pt x="1961" y="547"/>
                    </a:cubicBezTo>
                    <a:cubicBezTo>
                      <a:pt x="1961" y="547"/>
                      <a:pt x="1961" y="547"/>
                      <a:pt x="1959" y="548"/>
                    </a:cubicBezTo>
                    <a:cubicBezTo>
                      <a:pt x="1959" y="548"/>
                      <a:pt x="1959" y="548"/>
                      <a:pt x="1960" y="549"/>
                    </a:cubicBezTo>
                    <a:cubicBezTo>
                      <a:pt x="1960" y="549"/>
                      <a:pt x="1960" y="549"/>
                      <a:pt x="1959" y="550"/>
                    </a:cubicBezTo>
                    <a:cubicBezTo>
                      <a:pt x="1959" y="550"/>
                      <a:pt x="1959" y="550"/>
                      <a:pt x="1959" y="549"/>
                    </a:cubicBezTo>
                    <a:cubicBezTo>
                      <a:pt x="1959" y="549"/>
                      <a:pt x="1959" y="549"/>
                      <a:pt x="1958" y="549"/>
                    </a:cubicBezTo>
                    <a:cubicBezTo>
                      <a:pt x="1958" y="549"/>
                      <a:pt x="1958" y="549"/>
                      <a:pt x="1957" y="548"/>
                    </a:cubicBezTo>
                    <a:cubicBezTo>
                      <a:pt x="1957" y="548"/>
                      <a:pt x="1957" y="548"/>
                      <a:pt x="1956" y="548"/>
                    </a:cubicBezTo>
                    <a:cubicBezTo>
                      <a:pt x="1956" y="548"/>
                      <a:pt x="1956" y="548"/>
                      <a:pt x="1956" y="549"/>
                    </a:cubicBezTo>
                    <a:cubicBezTo>
                      <a:pt x="1956" y="549"/>
                      <a:pt x="1956" y="549"/>
                      <a:pt x="1955" y="549"/>
                    </a:cubicBezTo>
                    <a:cubicBezTo>
                      <a:pt x="1955" y="549"/>
                      <a:pt x="1955" y="549"/>
                      <a:pt x="1954" y="549"/>
                    </a:cubicBezTo>
                    <a:cubicBezTo>
                      <a:pt x="1954" y="549"/>
                      <a:pt x="1954" y="549"/>
                      <a:pt x="1951" y="551"/>
                    </a:cubicBezTo>
                    <a:cubicBezTo>
                      <a:pt x="1951" y="551"/>
                      <a:pt x="1951" y="551"/>
                      <a:pt x="1951" y="552"/>
                    </a:cubicBezTo>
                    <a:cubicBezTo>
                      <a:pt x="1951" y="552"/>
                      <a:pt x="1951" y="552"/>
                      <a:pt x="1950" y="552"/>
                    </a:cubicBezTo>
                    <a:cubicBezTo>
                      <a:pt x="1950" y="552"/>
                      <a:pt x="1950" y="552"/>
                      <a:pt x="1950" y="553"/>
                    </a:cubicBezTo>
                    <a:cubicBezTo>
                      <a:pt x="1950" y="553"/>
                      <a:pt x="1950" y="553"/>
                      <a:pt x="1949" y="554"/>
                    </a:cubicBezTo>
                    <a:cubicBezTo>
                      <a:pt x="1949" y="554"/>
                      <a:pt x="1949" y="554"/>
                      <a:pt x="1949" y="553"/>
                    </a:cubicBezTo>
                    <a:cubicBezTo>
                      <a:pt x="1949" y="553"/>
                      <a:pt x="1949" y="553"/>
                      <a:pt x="1948" y="551"/>
                    </a:cubicBezTo>
                    <a:cubicBezTo>
                      <a:pt x="1948" y="551"/>
                      <a:pt x="1948" y="551"/>
                      <a:pt x="1947" y="551"/>
                    </a:cubicBezTo>
                    <a:cubicBezTo>
                      <a:pt x="1947" y="551"/>
                      <a:pt x="1947" y="551"/>
                      <a:pt x="1946" y="548"/>
                    </a:cubicBezTo>
                    <a:cubicBezTo>
                      <a:pt x="1946" y="548"/>
                      <a:pt x="1946" y="548"/>
                      <a:pt x="1947" y="548"/>
                    </a:cubicBezTo>
                    <a:cubicBezTo>
                      <a:pt x="1947" y="548"/>
                      <a:pt x="1947" y="548"/>
                      <a:pt x="1946" y="547"/>
                    </a:cubicBezTo>
                    <a:cubicBezTo>
                      <a:pt x="1946" y="547"/>
                      <a:pt x="1946" y="547"/>
                      <a:pt x="1946" y="546"/>
                    </a:cubicBezTo>
                    <a:cubicBezTo>
                      <a:pt x="1946" y="546"/>
                      <a:pt x="1946" y="546"/>
                      <a:pt x="1947" y="545"/>
                    </a:cubicBezTo>
                    <a:cubicBezTo>
                      <a:pt x="1947" y="545"/>
                      <a:pt x="1947" y="545"/>
                      <a:pt x="1947" y="544"/>
                    </a:cubicBezTo>
                    <a:cubicBezTo>
                      <a:pt x="1947" y="544"/>
                      <a:pt x="1947" y="544"/>
                      <a:pt x="1946" y="543"/>
                    </a:cubicBezTo>
                    <a:cubicBezTo>
                      <a:pt x="1946" y="543"/>
                      <a:pt x="1946" y="543"/>
                      <a:pt x="1948" y="541"/>
                    </a:cubicBezTo>
                    <a:cubicBezTo>
                      <a:pt x="1948" y="541"/>
                      <a:pt x="1948" y="541"/>
                      <a:pt x="1947" y="539"/>
                    </a:cubicBezTo>
                    <a:cubicBezTo>
                      <a:pt x="1947" y="539"/>
                      <a:pt x="1947" y="539"/>
                      <a:pt x="1946" y="540"/>
                    </a:cubicBezTo>
                    <a:cubicBezTo>
                      <a:pt x="1946" y="540"/>
                      <a:pt x="1946" y="540"/>
                      <a:pt x="1946" y="539"/>
                    </a:cubicBezTo>
                    <a:cubicBezTo>
                      <a:pt x="1946" y="539"/>
                      <a:pt x="1946" y="539"/>
                      <a:pt x="1946" y="537"/>
                    </a:cubicBezTo>
                    <a:cubicBezTo>
                      <a:pt x="1946" y="537"/>
                      <a:pt x="1946" y="537"/>
                      <a:pt x="1945" y="535"/>
                    </a:cubicBezTo>
                    <a:cubicBezTo>
                      <a:pt x="1945" y="535"/>
                      <a:pt x="1945" y="535"/>
                      <a:pt x="1944" y="535"/>
                    </a:cubicBezTo>
                    <a:cubicBezTo>
                      <a:pt x="1944" y="535"/>
                      <a:pt x="1944" y="535"/>
                      <a:pt x="1942" y="534"/>
                    </a:cubicBezTo>
                    <a:cubicBezTo>
                      <a:pt x="1942" y="534"/>
                      <a:pt x="1942" y="534"/>
                      <a:pt x="1943" y="532"/>
                    </a:cubicBezTo>
                    <a:cubicBezTo>
                      <a:pt x="1943" y="532"/>
                      <a:pt x="1943" y="532"/>
                      <a:pt x="1944" y="533"/>
                    </a:cubicBezTo>
                    <a:cubicBezTo>
                      <a:pt x="1944" y="533"/>
                      <a:pt x="1944" y="533"/>
                      <a:pt x="1944" y="531"/>
                    </a:cubicBezTo>
                    <a:cubicBezTo>
                      <a:pt x="1944" y="531"/>
                      <a:pt x="1944" y="531"/>
                      <a:pt x="1945" y="532"/>
                    </a:cubicBezTo>
                    <a:cubicBezTo>
                      <a:pt x="1945" y="532"/>
                      <a:pt x="1945" y="532"/>
                      <a:pt x="1947" y="533"/>
                    </a:cubicBezTo>
                    <a:cubicBezTo>
                      <a:pt x="1947" y="533"/>
                      <a:pt x="1947" y="533"/>
                      <a:pt x="1946" y="532"/>
                    </a:cubicBezTo>
                    <a:cubicBezTo>
                      <a:pt x="1946" y="532"/>
                      <a:pt x="1946" y="532"/>
                      <a:pt x="1945" y="530"/>
                    </a:cubicBezTo>
                    <a:cubicBezTo>
                      <a:pt x="1945" y="530"/>
                      <a:pt x="1945" y="530"/>
                      <a:pt x="1943" y="527"/>
                    </a:cubicBezTo>
                    <a:cubicBezTo>
                      <a:pt x="1943" y="527"/>
                      <a:pt x="1943" y="527"/>
                      <a:pt x="1941" y="525"/>
                    </a:cubicBezTo>
                    <a:cubicBezTo>
                      <a:pt x="1941" y="525"/>
                      <a:pt x="1941" y="525"/>
                      <a:pt x="1940" y="525"/>
                    </a:cubicBezTo>
                    <a:cubicBezTo>
                      <a:pt x="1940" y="525"/>
                      <a:pt x="1940" y="525"/>
                      <a:pt x="1939" y="525"/>
                    </a:cubicBezTo>
                    <a:cubicBezTo>
                      <a:pt x="1939" y="525"/>
                      <a:pt x="1939" y="525"/>
                      <a:pt x="1938" y="525"/>
                    </a:cubicBezTo>
                    <a:cubicBezTo>
                      <a:pt x="1938" y="525"/>
                      <a:pt x="1938" y="525"/>
                      <a:pt x="1937" y="524"/>
                    </a:cubicBezTo>
                    <a:cubicBezTo>
                      <a:pt x="1937" y="524"/>
                      <a:pt x="1937" y="524"/>
                      <a:pt x="1936" y="524"/>
                    </a:cubicBezTo>
                    <a:cubicBezTo>
                      <a:pt x="1936" y="524"/>
                      <a:pt x="1936" y="524"/>
                      <a:pt x="1937" y="525"/>
                    </a:cubicBezTo>
                    <a:cubicBezTo>
                      <a:pt x="1937" y="525"/>
                      <a:pt x="1937" y="525"/>
                      <a:pt x="1936" y="526"/>
                    </a:cubicBezTo>
                    <a:cubicBezTo>
                      <a:pt x="1936" y="526"/>
                      <a:pt x="1936" y="526"/>
                      <a:pt x="1935" y="526"/>
                    </a:cubicBezTo>
                    <a:cubicBezTo>
                      <a:pt x="1935" y="526"/>
                      <a:pt x="1935" y="526"/>
                      <a:pt x="1934" y="527"/>
                    </a:cubicBezTo>
                    <a:cubicBezTo>
                      <a:pt x="1934" y="527"/>
                      <a:pt x="1934" y="527"/>
                      <a:pt x="1933" y="526"/>
                    </a:cubicBezTo>
                    <a:cubicBezTo>
                      <a:pt x="1933" y="526"/>
                      <a:pt x="1933" y="526"/>
                      <a:pt x="1934" y="524"/>
                    </a:cubicBezTo>
                    <a:cubicBezTo>
                      <a:pt x="1934" y="524"/>
                      <a:pt x="1934" y="524"/>
                      <a:pt x="1933" y="524"/>
                    </a:cubicBezTo>
                    <a:cubicBezTo>
                      <a:pt x="1933" y="524"/>
                      <a:pt x="1933" y="524"/>
                      <a:pt x="1932" y="524"/>
                    </a:cubicBezTo>
                    <a:cubicBezTo>
                      <a:pt x="1932" y="524"/>
                      <a:pt x="1932" y="524"/>
                      <a:pt x="1931" y="524"/>
                    </a:cubicBezTo>
                    <a:cubicBezTo>
                      <a:pt x="1931" y="524"/>
                      <a:pt x="1931" y="524"/>
                      <a:pt x="1931" y="523"/>
                    </a:cubicBezTo>
                    <a:cubicBezTo>
                      <a:pt x="1931" y="523"/>
                      <a:pt x="1931" y="523"/>
                      <a:pt x="1932" y="520"/>
                    </a:cubicBezTo>
                    <a:cubicBezTo>
                      <a:pt x="1932" y="520"/>
                      <a:pt x="1932" y="520"/>
                      <a:pt x="1932" y="519"/>
                    </a:cubicBezTo>
                    <a:cubicBezTo>
                      <a:pt x="1932" y="519"/>
                      <a:pt x="1932" y="519"/>
                      <a:pt x="1934" y="519"/>
                    </a:cubicBezTo>
                    <a:cubicBezTo>
                      <a:pt x="1934" y="519"/>
                      <a:pt x="1934" y="519"/>
                      <a:pt x="1935" y="517"/>
                    </a:cubicBezTo>
                    <a:cubicBezTo>
                      <a:pt x="1935" y="517"/>
                      <a:pt x="1935" y="517"/>
                      <a:pt x="1934" y="518"/>
                    </a:cubicBezTo>
                    <a:cubicBezTo>
                      <a:pt x="1934" y="518"/>
                      <a:pt x="1934" y="518"/>
                      <a:pt x="1932" y="518"/>
                    </a:cubicBezTo>
                    <a:cubicBezTo>
                      <a:pt x="1932" y="518"/>
                      <a:pt x="1932" y="518"/>
                      <a:pt x="1931" y="517"/>
                    </a:cubicBezTo>
                    <a:cubicBezTo>
                      <a:pt x="1931" y="517"/>
                      <a:pt x="1931" y="517"/>
                      <a:pt x="1931" y="514"/>
                    </a:cubicBezTo>
                    <a:cubicBezTo>
                      <a:pt x="1931" y="514"/>
                      <a:pt x="1931" y="514"/>
                      <a:pt x="1933" y="512"/>
                    </a:cubicBezTo>
                    <a:cubicBezTo>
                      <a:pt x="1933" y="512"/>
                      <a:pt x="1933" y="512"/>
                      <a:pt x="1932" y="511"/>
                    </a:cubicBezTo>
                    <a:cubicBezTo>
                      <a:pt x="1932" y="511"/>
                      <a:pt x="1932" y="511"/>
                      <a:pt x="1933" y="510"/>
                    </a:cubicBezTo>
                    <a:cubicBezTo>
                      <a:pt x="1933" y="510"/>
                      <a:pt x="1933" y="510"/>
                      <a:pt x="1933" y="509"/>
                    </a:cubicBezTo>
                    <a:cubicBezTo>
                      <a:pt x="1933" y="509"/>
                      <a:pt x="1933" y="509"/>
                      <a:pt x="1932" y="509"/>
                    </a:cubicBezTo>
                    <a:cubicBezTo>
                      <a:pt x="1932" y="509"/>
                      <a:pt x="1932" y="509"/>
                      <a:pt x="1932" y="510"/>
                    </a:cubicBezTo>
                    <a:cubicBezTo>
                      <a:pt x="1932" y="510"/>
                      <a:pt x="1932" y="510"/>
                      <a:pt x="1930" y="510"/>
                    </a:cubicBezTo>
                    <a:cubicBezTo>
                      <a:pt x="1930" y="510"/>
                      <a:pt x="1930" y="510"/>
                      <a:pt x="1929" y="509"/>
                    </a:cubicBezTo>
                    <a:cubicBezTo>
                      <a:pt x="1929" y="509"/>
                      <a:pt x="1929" y="509"/>
                      <a:pt x="1928" y="509"/>
                    </a:cubicBezTo>
                    <a:cubicBezTo>
                      <a:pt x="1928" y="509"/>
                      <a:pt x="1928" y="509"/>
                      <a:pt x="1928" y="510"/>
                    </a:cubicBezTo>
                    <a:cubicBezTo>
                      <a:pt x="1928" y="510"/>
                      <a:pt x="1928" y="510"/>
                      <a:pt x="1927" y="510"/>
                    </a:cubicBezTo>
                    <a:cubicBezTo>
                      <a:pt x="1927" y="510"/>
                      <a:pt x="1927" y="510"/>
                      <a:pt x="1926" y="508"/>
                    </a:cubicBezTo>
                    <a:cubicBezTo>
                      <a:pt x="1925" y="507"/>
                      <a:pt x="1925" y="507"/>
                      <a:pt x="1925" y="507"/>
                    </a:cubicBezTo>
                    <a:cubicBezTo>
                      <a:pt x="1923" y="509"/>
                      <a:pt x="1923" y="509"/>
                      <a:pt x="1923" y="509"/>
                    </a:cubicBezTo>
                    <a:cubicBezTo>
                      <a:pt x="1922" y="509"/>
                      <a:pt x="1922" y="509"/>
                      <a:pt x="1922" y="509"/>
                    </a:cubicBezTo>
                    <a:cubicBezTo>
                      <a:pt x="1921" y="509"/>
                      <a:pt x="1921" y="509"/>
                      <a:pt x="1921" y="509"/>
                    </a:cubicBezTo>
                    <a:cubicBezTo>
                      <a:pt x="1921" y="508"/>
                      <a:pt x="1921" y="508"/>
                      <a:pt x="1921" y="508"/>
                    </a:cubicBezTo>
                    <a:cubicBezTo>
                      <a:pt x="1919" y="510"/>
                      <a:pt x="1919" y="510"/>
                      <a:pt x="1919" y="510"/>
                    </a:cubicBezTo>
                    <a:cubicBezTo>
                      <a:pt x="1918" y="510"/>
                      <a:pt x="1918" y="510"/>
                      <a:pt x="1918" y="510"/>
                    </a:cubicBezTo>
                    <a:cubicBezTo>
                      <a:pt x="1917" y="511"/>
                      <a:pt x="1917" y="511"/>
                      <a:pt x="1917" y="511"/>
                    </a:cubicBezTo>
                    <a:cubicBezTo>
                      <a:pt x="1914" y="513"/>
                      <a:pt x="1914" y="513"/>
                      <a:pt x="1914" y="513"/>
                    </a:cubicBezTo>
                    <a:cubicBezTo>
                      <a:pt x="1912" y="514"/>
                      <a:pt x="1912" y="514"/>
                      <a:pt x="1912" y="514"/>
                    </a:cubicBezTo>
                    <a:cubicBezTo>
                      <a:pt x="1913" y="515"/>
                      <a:pt x="1913" y="515"/>
                      <a:pt x="1913" y="515"/>
                    </a:cubicBezTo>
                    <a:cubicBezTo>
                      <a:pt x="1913" y="516"/>
                      <a:pt x="1913" y="516"/>
                      <a:pt x="1913" y="516"/>
                    </a:cubicBezTo>
                    <a:cubicBezTo>
                      <a:pt x="1911" y="517"/>
                      <a:pt x="1911" y="517"/>
                      <a:pt x="1911" y="517"/>
                    </a:cubicBezTo>
                    <a:cubicBezTo>
                      <a:pt x="1910" y="518"/>
                      <a:pt x="1910" y="518"/>
                      <a:pt x="1910" y="518"/>
                    </a:cubicBezTo>
                    <a:cubicBezTo>
                      <a:pt x="1909" y="518"/>
                      <a:pt x="1909" y="518"/>
                      <a:pt x="1909" y="518"/>
                    </a:cubicBezTo>
                    <a:cubicBezTo>
                      <a:pt x="1908" y="519"/>
                      <a:pt x="1908" y="519"/>
                      <a:pt x="1908" y="519"/>
                    </a:cubicBezTo>
                    <a:cubicBezTo>
                      <a:pt x="1907" y="518"/>
                      <a:pt x="1907" y="518"/>
                      <a:pt x="1907" y="518"/>
                    </a:cubicBezTo>
                    <a:cubicBezTo>
                      <a:pt x="1906" y="518"/>
                      <a:pt x="1906" y="518"/>
                      <a:pt x="1906" y="518"/>
                    </a:cubicBezTo>
                    <a:cubicBezTo>
                      <a:pt x="1907" y="517"/>
                      <a:pt x="1907" y="517"/>
                      <a:pt x="1907" y="517"/>
                    </a:cubicBezTo>
                    <a:cubicBezTo>
                      <a:pt x="1908" y="517"/>
                      <a:pt x="1908" y="517"/>
                      <a:pt x="1908" y="517"/>
                    </a:cubicBezTo>
                    <a:cubicBezTo>
                      <a:pt x="1909" y="516"/>
                      <a:pt x="1909" y="516"/>
                      <a:pt x="1909" y="516"/>
                    </a:cubicBezTo>
                    <a:cubicBezTo>
                      <a:pt x="1910" y="516"/>
                      <a:pt x="1910" y="516"/>
                      <a:pt x="1910" y="516"/>
                    </a:cubicBezTo>
                    <a:cubicBezTo>
                      <a:pt x="1911" y="515"/>
                      <a:pt x="1911" y="515"/>
                      <a:pt x="1911" y="515"/>
                    </a:cubicBezTo>
                    <a:cubicBezTo>
                      <a:pt x="1910" y="515"/>
                      <a:pt x="1910" y="515"/>
                      <a:pt x="1910" y="515"/>
                    </a:cubicBezTo>
                    <a:cubicBezTo>
                      <a:pt x="1910" y="514"/>
                      <a:pt x="1910" y="514"/>
                      <a:pt x="1910" y="514"/>
                    </a:cubicBezTo>
                    <a:cubicBezTo>
                      <a:pt x="1911" y="513"/>
                      <a:pt x="1911" y="513"/>
                      <a:pt x="1911" y="513"/>
                    </a:cubicBezTo>
                    <a:cubicBezTo>
                      <a:pt x="1912" y="512"/>
                      <a:pt x="1912" y="512"/>
                      <a:pt x="1912" y="512"/>
                    </a:cubicBezTo>
                    <a:cubicBezTo>
                      <a:pt x="1910" y="513"/>
                      <a:pt x="1910" y="513"/>
                      <a:pt x="1910" y="513"/>
                    </a:cubicBezTo>
                    <a:cubicBezTo>
                      <a:pt x="1909" y="514"/>
                      <a:pt x="1909" y="514"/>
                      <a:pt x="1909" y="514"/>
                    </a:cubicBezTo>
                    <a:cubicBezTo>
                      <a:pt x="1908" y="513"/>
                      <a:pt x="1908" y="513"/>
                      <a:pt x="1908" y="513"/>
                    </a:cubicBezTo>
                    <a:cubicBezTo>
                      <a:pt x="1908" y="512"/>
                      <a:pt x="1908" y="512"/>
                      <a:pt x="1908" y="512"/>
                    </a:cubicBezTo>
                    <a:cubicBezTo>
                      <a:pt x="1909" y="512"/>
                      <a:pt x="1909" y="512"/>
                      <a:pt x="1909" y="512"/>
                    </a:cubicBezTo>
                    <a:cubicBezTo>
                      <a:pt x="1909" y="511"/>
                      <a:pt x="1909" y="511"/>
                      <a:pt x="1909" y="511"/>
                    </a:cubicBezTo>
                    <a:cubicBezTo>
                      <a:pt x="1907" y="510"/>
                      <a:pt x="1907" y="510"/>
                      <a:pt x="1907" y="510"/>
                    </a:cubicBezTo>
                    <a:cubicBezTo>
                      <a:pt x="1908" y="508"/>
                      <a:pt x="1908" y="508"/>
                      <a:pt x="1908" y="508"/>
                    </a:cubicBezTo>
                    <a:cubicBezTo>
                      <a:pt x="1909" y="508"/>
                      <a:pt x="1909" y="508"/>
                      <a:pt x="1909" y="508"/>
                    </a:cubicBezTo>
                    <a:cubicBezTo>
                      <a:pt x="1909" y="506"/>
                      <a:pt x="1909" y="506"/>
                      <a:pt x="1909" y="506"/>
                    </a:cubicBezTo>
                    <a:cubicBezTo>
                      <a:pt x="1910" y="504"/>
                      <a:pt x="1910" y="504"/>
                      <a:pt x="1910" y="504"/>
                    </a:cubicBezTo>
                    <a:cubicBezTo>
                      <a:pt x="1910" y="503"/>
                      <a:pt x="1910" y="503"/>
                      <a:pt x="1910" y="503"/>
                    </a:cubicBezTo>
                    <a:cubicBezTo>
                      <a:pt x="1911" y="503"/>
                      <a:pt x="1911" y="503"/>
                      <a:pt x="1911" y="503"/>
                    </a:cubicBezTo>
                    <a:cubicBezTo>
                      <a:pt x="1911" y="502"/>
                      <a:pt x="1911" y="502"/>
                      <a:pt x="1911" y="502"/>
                    </a:cubicBezTo>
                    <a:cubicBezTo>
                      <a:pt x="1908" y="500"/>
                      <a:pt x="1908" y="500"/>
                      <a:pt x="1908" y="500"/>
                    </a:cubicBezTo>
                    <a:cubicBezTo>
                      <a:pt x="1906" y="498"/>
                      <a:pt x="1906" y="498"/>
                      <a:pt x="1906" y="498"/>
                    </a:cubicBezTo>
                    <a:cubicBezTo>
                      <a:pt x="1906" y="499"/>
                      <a:pt x="1906" y="499"/>
                      <a:pt x="1906" y="499"/>
                    </a:cubicBezTo>
                    <a:cubicBezTo>
                      <a:pt x="1905" y="499"/>
                      <a:pt x="1905" y="499"/>
                      <a:pt x="1905" y="499"/>
                    </a:cubicBezTo>
                    <a:cubicBezTo>
                      <a:pt x="1904" y="499"/>
                      <a:pt x="1904" y="499"/>
                      <a:pt x="1904" y="499"/>
                    </a:cubicBezTo>
                    <a:cubicBezTo>
                      <a:pt x="1903" y="499"/>
                      <a:pt x="1903" y="499"/>
                      <a:pt x="1903" y="499"/>
                    </a:cubicBezTo>
                    <a:cubicBezTo>
                      <a:pt x="1902" y="500"/>
                      <a:pt x="1902" y="500"/>
                      <a:pt x="1902" y="500"/>
                    </a:cubicBezTo>
                    <a:cubicBezTo>
                      <a:pt x="1901" y="501"/>
                      <a:pt x="1901" y="501"/>
                      <a:pt x="1901" y="501"/>
                    </a:cubicBezTo>
                    <a:cubicBezTo>
                      <a:pt x="1901" y="502"/>
                      <a:pt x="1901" y="502"/>
                      <a:pt x="1901" y="502"/>
                    </a:cubicBezTo>
                    <a:cubicBezTo>
                      <a:pt x="1900" y="503"/>
                      <a:pt x="1900" y="503"/>
                      <a:pt x="1900" y="503"/>
                    </a:cubicBezTo>
                    <a:cubicBezTo>
                      <a:pt x="1900" y="506"/>
                      <a:pt x="1900" y="506"/>
                      <a:pt x="1900" y="506"/>
                    </a:cubicBezTo>
                    <a:cubicBezTo>
                      <a:pt x="1899" y="506"/>
                      <a:pt x="1899" y="506"/>
                      <a:pt x="1899" y="506"/>
                    </a:cubicBezTo>
                    <a:cubicBezTo>
                      <a:pt x="1898" y="508"/>
                      <a:pt x="1898" y="508"/>
                      <a:pt x="1898" y="508"/>
                    </a:cubicBezTo>
                    <a:cubicBezTo>
                      <a:pt x="1897" y="508"/>
                      <a:pt x="1897" y="508"/>
                      <a:pt x="1897" y="508"/>
                    </a:cubicBezTo>
                    <a:cubicBezTo>
                      <a:pt x="1895" y="509"/>
                      <a:pt x="1895" y="509"/>
                      <a:pt x="1895" y="509"/>
                    </a:cubicBezTo>
                    <a:cubicBezTo>
                      <a:pt x="1894" y="512"/>
                      <a:pt x="1894" y="512"/>
                      <a:pt x="1894" y="512"/>
                    </a:cubicBezTo>
                    <a:cubicBezTo>
                      <a:pt x="1893" y="513"/>
                      <a:pt x="1893" y="513"/>
                      <a:pt x="1893" y="513"/>
                    </a:cubicBezTo>
                    <a:cubicBezTo>
                      <a:pt x="1894" y="513"/>
                      <a:pt x="1894" y="513"/>
                      <a:pt x="1894" y="513"/>
                    </a:cubicBezTo>
                    <a:cubicBezTo>
                      <a:pt x="1894" y="515"/>
                      <a:pt x="1894" y="515"/>
                      <a:pt x="1894" y="515"/>
                    </a:cubicBezTo>
                    <a:cubicBezTo>
                      <a:pt x="1893" y="517"/>
                      <a:pt x="1893" y="517"/>
                      <a:pt x="1893" y="517"/>
                    </a:cubicBezTo>
                    <a:cubicBezTo>
                      <a:pt x="1891" y="517"/>
                      <a:pt x="1891" y="517"/>
                      <a:pt x="1891" y="517"/>
                    </a:cubicBezTo>
                    <a:cubicBezTo>
                      <a:pt x="1889" y="517"/>
                      <a:pt x="1889" y="517"/>
                      <a:pt x="1889" y="517"/>
                    </a:cubicBezTo>
                    <a:cubicBezTo>
                      <a:pt x="1887" y="516"/>
                      <a:pt x="1887" y="516"/>
                      <a:pt x="1887" y="516"/>
                    </a:cubicBezTo>
                    <a:cubicBezTo>
                      <a:pt x="1887" y="517"/>
                      <a:pt x="1887" y="517"/>
                      <a:pt x="1887" y="517"/>
                    </a:cubicBezTo>
                    <a:cubicBezTo>
                      <a:pt x="1886" y="517"/>
                      <a:pt x="1886" y="517"/>
                      <a:pt x="1886" y="517"/>
                    </a:cubicBezTo>
                    <a:cubicBezTo>
                      <a:pt x="1886" y="519"/>
                      <a:pt x="1886" y="519"/>
                      <a:pt x="1886" y="519"/>
                    </a:cubicBezTo>
                    <a:cubicBezTo>
                      <a:pt x="1886" y="520"/>
                      <a:pt x="1886" y="520"/>
                      <a:pt x="1886" y="520"/>
                    </a:cubicBezTo>
                    <a:cubicBezTo>
                      <a:pt x="1885" y="520"/>
                      <a:pt x="1885" y="520"/>
                      <a:pt x="1885" y="520"/>
                    </a:cubicBezTo>
                    <a:cubicBezTo>
                      <a:pt x="1886" y="522"/>
                      <a:pt x="1886" y="522"/>
                      <a:pt x="1886" y="522"/>
                    </a:cubicBezTo>
                    <a:cubicBezTo>
                      <a:pt x="1886" y="523"/>
                      <a:pt x="1886" y="523"/>
                      <a:pt x="1886" y="523"/>
                    </a:cubicBezTo>
                    <a:cubicBezTo>
                      <a:pt x="1887" y="524"/>
                      <a:pt x="1887" y="524"/>
                      <a:pt x="1887" y="524"/>
                    </a:cubicBezTo>
                    <a:cubicBezTo>
                      <a:pt x="1889" y="525"/>
                      <a:pt x="1889" y="525"/>
                      <a:pt x="1889" y="525"/>
                    </a:cubicBezTo>
                    <a:cubicBezTo>
                      <a:pt x="1890" y="526"/>
                      <a:pt x="1890" y="526"/>
                      <a:pt x="1890" y="526"/>
                    </a:cubicBezTo>
                    <a:cubicBezTo>
                      <a:pt x="1891" y="528"/>
                      <a:pt x="1891" y="528"/>
                      <a:pt x="1891" y="528"/>
                    </a:cubicBezTo>
                    <a:cubicBezTo>
                      <a:pt x="1892" y="527"/>
                      <a:pt x="1892" y="527"/>
                      <a:pt x="1892" y="527"/>
                    </a:cubicBezTo>
                    <a:cubicBezTo>
                      <a:pt x="1892" y="528"/>
                      <a:pt x="1892" y="528"/>
                      <a:pt x="1892" y="528"/>
                    </a:cubicBezTo>
                    <a:cubicBezTo>
                      <a:pt x="1893" y="527"/>
                      <a:pt x="1893" y="527"/>
                      <a:pt x="1893" y="527"/>
                    </a:cubicBezTo>
                    <a:cubicBezTo>
                      <a:pt x="1895" y="527"/>
                      <a:pt x="1895" y="527"/>
                      <a:pt x="1895" y="527"/>
                    </a:cubicBezTo>
                    <a:cubicBezTo>
                      <a:pt x="1895" y="528"/>
                      <a:pt x="1895" y="528"/>
                      <a:pt x="1895" y="528"/>
                    </a:cubicBezTo>
                    <a:cubicBezTo>
                      <a:pt x="1895" y="530"/>
                      <a:pt x="1895" y="530"/>
                      <a:pt x="1895" y="530"/>
                    </a:cubicBezTo>
                    <a:cubicBezTo>
                      <a:pt x="1897" y="534"/>
                      <a:pt x="1897" y="534"/>
                      <a:pt x="1897" y="534"/>
                    </a:cubicBezTo>
                    <a:cubicBezTo>
                      <a:pt x="1898" y="534"/>
                      <a:pt x="1898" y="534"/>
                      <a:pt x="1898" y="534"/>
                    </a:cubicBezTo>
                    <a:cubicBezTo>
                      <a:pt x="1900" y="533"/>
                      <a:pt x="1900" y="533"/>
                      <a:pt x="1900" y="533"/>
                    </a:cubicBezTo>
                    <a:cubicBezTo>
                      <a:pt x="1901" y="533"/>
                      <a:pt x="1901" y="533"/>
                      <a:pt x="1901" y="533"/>
                    </a:cubicBezTo>
                    <a:cubicBezTo>
                      <a:pt x="1902" y="532"/>
                      <a:pt x="1902" y="532"/>
                      <a:pt x="1902" y="532"/>
                    </a:cubicBezTo>
                    <a:cubicBezTo>
                      <a:pt x="1901" y="531"/>
                      <a:pt x="1901" y="531"/>
                      <a:pt x="1901" y="531"/>
                    </a:cubicBezTo>
                    <a:cubicBezTo>
                      <a:pt x="1903" y="530"/>
                      <a:pt x="1903" y="530"/>
                      <a:pt x="1903" y="530"/>
                    </a:cubicBezTo>
                    <a:cubicBezTo>
                      <a:pt x="1904" y="529"/>
                      <a:pt x="1904" y="529"/>
                      <a:pt x="1904" y="529"/>
                    </a:cubicBezTo>
                    <a:cubicBezTo>
                      <a:pt x="1904" y="528"/>
                      <a:pt x="1904" y="528"/>
                      <a:pt x="1904" y="528"/>
                    </a:cubicBezTo>
                    <a:cubicBezTo>
                      <a:pt x="1905" y="528"/>
                      <a:pt x="1905" y="528"/>
                      <a:pt x="1905" y="528"/>
                    </a:cubicBezTo>
                    <a:cubicBezTo>
                      <a:pt x="1908" y="526"/>
                      <a:pt x="1908" y="526"/>
                      <a:pt x="1908" y="526"/>
                    </a:cubicBezTo>
                    <a:cubicBezTo>
                      <a:pt x="1908" y="527"/>
                      <a:pt x="1908" y="527"/>
                      <a:pt x="1908" y="527"/>
                    </a:cubicBezTo>
                    <a:cubicBezTo>
                      <a:pt x="1909" y="527"/>
                      <a:pt x="1909" y="527"/>
                      <a:pt x="1909" y="527"/>
                    </a:cubicBezTo>
                    <a:cubicBezTo>
                      <a:pt x="1909" y="528"/>
                      <a:pt x="1909" y="528"/>
                      <a:pt x="1909" y="528"/>
                    </a:cubicBezTo>
                    <a:cubicBezTo>
                      <a:pt x="1910" y="529"/>
                      <a:pt x="1910" y="529"/>
                      <a:pt x="1910" y="529"/>
                    </a:cubicBezTo>
                    <a:cubicBezTo>
                      <a:pt x="1911" y="529"/>
                      <a:pt x="1911" y="529"/>
                      <a:pt x="1911" y="529"/>
                    </a:cubicBezTo>
                    <a:cubicBezTo>
                      <a:pt x="1915" y="529"/>
                      <a:pt x="1915" y="529"/>
                      <a:pt x="1915" y="529"/>
                    </a:cubicBezTo>
                    <a:cubicBezTo>
                      <a:pt x="1917" y="529"/>
                      <a:pt x="1917" y="529"/>
                      <a:pt x="1917" y="529"/>
                    </a:cubicBezTo>
                    <a:cubicBezTo>
                      <a:pt x="1918" y="529"/>
                      <a:pt x="1918" y="529"/>
                      <a:pt x="1918" y="529"/>
                    </a:cubicBezTo>
                    <a:cubicBezTo>
                      <a:pt x="1920" y="529"/>
                      <a:pt x="1920" y="529"/>
                      <a:pt x="1920" y="529"/>
                    </a:cubicBezTo>
                    <a:cubicBezTo>
                      <a:pt x="1921" y="529"/>
                      <a:pt x="1921" y="529"/>
                      <a:pt x="1921" y="529"/>
                    </a:cubicBezTo>
                    <a:cubicBezTo>
                      <a:pt x="1919" y="530"/>
                      <a:pt x="1919" y="530"/>
                      <a:pt x="1919" y="530"/>
                    </a:cubicBezTo>
                    <a:cubicBezTo>
                      <a:pt x="1920" y="532"/>
                      <a:pt x="1920" y="532"/>
                      <a:pt x="1920" y="532"/>
                    </a:cubicBezTo>
                    <a:cubicBezTo>
                      <a:pt x="1919" y="532"/>
                      <a:pt x="1919" y="532"/>
                      <a:pt x="1919" y="532"/>
                    </a:cubicBezTo>
                    <a:cubicBezTo>
                      <a:pt x="1919" y="533"/>
                      <a:pt x="1919" y="533"/>
                      <a:pt x="1919" y="533"/>
                    </a:cubicBezTo>
                    <a:cubicBezTo>
                      <a:pt x="1920" y="534"/>
                      <a:pt x="1920" y="534"/>
                      <a:pt x="1920" y="534"/>
                    </a:cubicBezTo>
                    <a:cubicBezTo>
                      <a:pt x="1918" y="536"/>
                      <a:pt x="1918" y="536"/>
                      <a:pt x="1918" y="536"/>
                    </a:cubicBezTo>
                    <a:cubicBezTo>
                      <a:pt x="1917" y="535"/>
                      <a:pt x="1917" y="535"/>
                      <a:pt x="1917" y="535"/>
                    </a:cubicBezTo>
                    <a:cubicBezTo>
                      <a:pt x="1917" y="534"/>
                      <a:pt x="1917" y="534"/>
                      <a:pt x="1917" y="534"/>
                    </a:cubicBezTo>
                    <a:cubicBezTo>
                      <a:pt x="1916" y="535"/>
                      <a:pt x="1916" y="535"/>
                      <a:pt x="1916" y="535"/>
                    </a:cubicBezTo>
                    <a:cubicBezTo>
                      <a:pt x="1916" y="534"/>
                      <a:pt x="1916" y="534"/>
                      <a:pt x="1916" y="534"/>
                    </a:cubicBezTo>
                    <a:cubicBezTo>
                      <a:pt x="1914" y="536"/>
                      <a:pt x="1914" y="536"/>
                      <a:pt x="1914" y="536"/>
                    </a:cubicBezTo>
                    <a:cubicBezTo>
                      <a:pt x="1912" y="537"/>
                      <a:pt x="1912" y="537"/>
                      <a:pt x="1912" y="537"/>
                    </a:cubicBezTo>
                    <a:cubicBezTo>
                      <a:pt x="1911" y="536"/>
                      <a:pt x="1911" y="536"/>
                      <a:pt x="1911" y="536"/>
                    </a:cubicBezTo>
                    <a:cubicBezTo>
                      <a:pt x="1911" y="537"/>
                      <a:pt x="1911" y="537"/>
                      <a:pt x="1911" y="537"/>
                    </a:cubicBezTo>
                    <a:cubicBezTo>
                      <a:pt x="1910" y="536"/>
                      <a:pt x="1910" y="536"/>
                      <a:pt x="1910" y="536"/>
                    </a:cubicBezTo>
                    <a:cubicBezTo>
                      <a:pt x="1909" y="537"/>
                      <a:pt x="1909" y="537"/>
                      <a:pt x="1909" y="537"/>
                    </a:cubicBezTo>
                    <a:cubicBezTo>
                      <a:pt x="1910" y="538"/>
                      <a:pt x="1910" y="538"/>
                      <a:pt x="1910" y="538"/>
                    </a:cubicBezTo>
                    <a:cubicBezTo>
                      <a:pt x="1909" y="539"/>
                      <a:pt x="1909" y="539"/>
                      <a:pt x="1909" y="539"/>
                    </a:cubicBezTo>
                    <a:cubicBezTo>
                      <a:pt x="1909" y="540"/>
                      <a:pt x="1909" y="540"/>
                      <a:pt x="1909" y="540"/>
                    </a:cubicBezTo>
                    <a:cubicBezTo>
                      <a:pt x="1907" y="540"/>
                      <a:pt x="1907" y="540"/>
                      <a:pt x="1907" y="540"/>
                    </a:cubicBezTo>
                    <a:cubicBezTo>
                      <a:pt x="1906" y="541"/>
                      <a:pt x="1906" y="541"/>
                      <a:pt x="1906" y="541"/>
                    </a:cubicBezTo>
                    <a:cubicBezTo>
                      <a:pt x="1906" y="542"/>
                      <a:pt x="1906" y="542"/>
                      <a:pt x="1906" y="542"/>
                    </a:cubicBezTo>
                    <a:cubicBezTo>
                      <a:pt x="1907" y="543"/>
                      <a:pt x="1907" y="543"/>
                      <a:pt x="1907" y="543"/>
                    </a:cubicBezTo>
                    <a:cubicBezTo>
                      <a:pt x="1906" y="544"/>
                      <a:pt x="1906" y="544"/>
                      <a:pt x="1906" y="544"/>
                    </a:cubicBezTo>
                    <a:cubicBezTo>
                      <a:pt x="1904" y="545"/>
                      <a:pt x="1904" y="545"/>
                      <a:pt x="1904" y="545"/>
                    </a:cubicBezTo>
                    <a:cubicBezTo>
                      <a:pt x="1904" y="546"/>
                      <a:pt x="1904" y="546"/>
                      <a:pt x="1904" y="546"/>
                    </a:cubicBezTo>
                    <a:cubicBezTo>
                      <a:pt x="1903" y="545"/>
                      <a:pt x="1903" y="545"/>
                      <a:pt x="1903" y="545"/>
                    </a:cubicBezTo>
                    <a:cubicBezTo>
                      <a:pt x="1903" y="547"/>
                      <a:pt x="1903" y="547"/>
                      <a:pt x="1903" y="547"/>
                    </a:cubicBezTo>
                    <a:cubicBezTo>
                      <a:pt x="1903" y="549"/>
                      <a:pt x="1903" y="549"/>
                      <a:pt x="1903" y="549"/>
                    </a:cubicBezTo>
                    <a:cubicBezTo>
                      <a:pt x="1903" y="551"/>
                      <a:pt x="1903" y="551"/>
                      <a:pt x="1903" y="551"/>
                    </a:cubicBezTo>
                    <a:cubicBezTo>
                      <a:pt x="1903" y="554"/>
                      <a:pt x="1903" y="554"/>
                      <a:pt x="1903" y="554"/>
                    </a:cubicBezTo>
                    <a:cubicBezTo>
                      <a:pt x="1907" y="555"/>
                      <a:pt x="1907" y="555"/>
                      <a:pt x="1907" y="555"/>
                    </a:cubicBezTo>
                    <a:cubicBezTo>
                      <a:pt x="1907" y="556"/>
                      <a:pt x="1907" y="556"/>
                      <a:pt x="1907" y="556"/>
                    </a:cubicBezTo>
                    <a:cubicBezTo>
                      <a:pt x="1911" y="557"/>
                      <a:pt x="1911" y="557"/>
                      <a:pt x="1911" y="557"/>
                    </a:cubicBezTo>
                    <a:cubicBezTo>
                      <a:pt x="1913" y="561"/>
                      <a:pt x="1913" y="561"/>
                      <a:pt x="1913" y="561"/>
                    </a:cubicBezTo>
                    <a:cubicBezTo>
                      <a:pt x="1913" y="562"/>
                      <a:pt x="1913" y="562"/>
                      <a:pt x="1913" y="562"/>
                    </a:cubicBezTo>
                    <a:cubicBezTo>
                      <a:pt x="1913" y="563"/>
                      <a:pt x="1913" y="563"/>
                      <a:pt x="1913" y="563"/>
                    </a:cubicBezTo>
                    <a:cubicBezTo>
                      <a:pt x="1914" y="563"/>
                      <a:pt x="1914" y="563"/>
                      <a:pt x="1914" y="563"/>
                    </a:cubicBezTo>
                    <a:cubicBezTo>
                      <a:pt x="1914" y="565"/>
                      <a:pt x="1914" y="565"/>
                      <a:pt x="1914" y="565"/>
                    </a:cubicBezTo>
                    <a:cubicBezTo>
                      <a:pt x="1916" y="567"/>
                      <a:pt x="1916" y="567"/>
                      <a:pt x="1916" y="567"/>
                    </a:cubicBezTo>
                    <a:cubicBezTo>
                      <a:pt x="1916" y="569"/>
                      <a:pt x="1916" y="569"/>
                      <a:pt x="1916" y="569"/>
                    </a:cubicBezTo>
                    <a:cubicBezTo>
                      <a:pt x="1918" y="571"/>
                      <a:pt x="1918" y="571"/>
                      <a:pt x="1918" y="571"/>
                    </a:cubicBezTo>
                    <a:cubicBezTo>
                      <a:pt x="1919" y="572"/>
                      <a:pt x="1919" y="572"/>
                      <a:pt x="1919" y="572"/>
                    </a:cubicBezTo>
                    <a:cubicBezTo>
                      <a:pt x="1921" y="572"/>
                      <a:pt x="1921" y="572"/>
                      <a:pt x="1921" y="572"/>
                    </a:cubicBezTo>
                    <a:cubicBezTo>
                      <a:pt x="1921" y="573"/>
                      <a:pt x="1921" y="573"/>
                      <a:pt x="1921" y="573"/>
                    </a:cubicBezTo>
                    <a:cubicBezTo>
                      <a:pt x="1923" y="574"/>
                      <a:pt x="1923" y="574"/>
                      <a:pt x="1923" y="574"/>
                    </a:cubicBezTo>
                    <a:cubicBezTo>
                      <a:pt x="1924" y="575"/>
                      <a:pt x="1924" y="575"/>
                      <a:pt x="1924" y="575"/>
                    </a:cubicBezTo>
                    <a:cubicBezTo>
                      <a:pt x="1924" y="577"/>
                      <a:pt x="1924" y="577"/>
                      <a:pt x="1924" y="577"/>
                    </a:cubicBezTo>
                    <a:cubicBezTo>
                      <a:pt x="1921" y="576"/>
                      <a:pt x="1921" y="576"/>
                      <a:pt x="1921" y="576"/>
                    </a:cubicBezTo>
                    <a:cubicBezTo>
                      <a:pt x="1919" y="577"/>
                      <a:pt x="1919" y="577"/>
                      <a:pt x="1919" y="577"/>
                    </a:cubicBezTo>
                    <a:cubicBezTo>
                      <a:pt x="1918" y="576"/>
                      <a:pt x="1918" y="576"/>
                      <a:pt x="1918" y="576"/>
                    </a:cubicBezTo>
                    <a:cubicBezTo>
                      <a:pt x="1917" y="576"/>
                      <a:pt x="1917" y="576"/>
                      <a:pt x="1917" y="576"/>
                    </a:cubicBezTo>
                    <a:cubicBezTo>
                      <a:pt x="1916" y="575"/>
                      <a:pt x="1916" y="575"/>
                      <a:pt x="1916" y="575"/>
                    </a:cubicBezTo>
                    <a:cubicBezTo>
                      <a:pt x="1918" y="578"/>
                      <a:pt x="1918" y="578"/>
                      <a:pt x="1918" y="578"/>
                    </a:cubicBezTo>
                    <a:cubicBezTo>
                      <a:pt x="1920" y="579"/>
                      <a:pt x="1920" y="579"/>
                      <a:pt x="1920" y="579"/>
                    </a:cubicBezTo>
                    <a:cubicBezTo>
                      <a:pt x="1924" y="581"/>
                      <a:pt x="1924" y="581"/>
                      <a:pt x="1924" y="581"/>
                    </a:cubicBezTo>
                    <a:cubicBezTo>
                      <a:pt x="1925" y="583"/>
                      <a:pt x="1925" y="583"/>
                      <a:pt x="1925" y="583"/>
                    </a:cubicBezTo>
                    <a:cubicBezTo>
                      <a:pt x="1925" y="584"/>
                      <a:pt x="1925" y="584"/>
                      <a:pt x="1925" y="584"/>
                    </a:cubicBezTo>
                    <a:cubicBezTo>
                      <a:pt x="1923" y="584"/>
                      <a:pt x="1923" y="584"/>
                      <a:pt x="1923" y="584"/>
                    </a:cubicBezTo>
                    <a:cubicBezTo>
                      <a:pt x="1922" y="586"/>
                      <a:pt x="1922" y="586"/>
                      <a:pt x="1922" y="586"/>
                    </a:cubicBezTo>
                    <a:cubicBezTo>
                      <a:pt x="1921" y="586"/>
                      <a:pt x="1921" y="586"/>
                      <a:pt x="1921" y="586"/>
                    </a:cubicBezTo>
                    <a:cubicBezTo>
                      <a:pt x="1921" y="587"/>
                      <a:pt x="1921" y="587"/>
                      <a:pt x="1921" y="587"/>
                    </a:cubicBezTo>
                    <a:cubicBezTo>
                      <a:pt x="1920" y="588"/>
                      <a:pt x="1920" y="588"/>
                      <a:pt x="1920" y="588"/>
                    </a:cubicBezTo>
                    <a:cubicBezTo>
                      <a:pt x="1919" y="588"/>
                      <a:pt x="1919" y="588"/>
                      <a:pt x="1919" y="588"/>
                    </a:cubicBezTo>
                    <a:cubicBezTo>
                      <a:pt x="1918" y="587"/>
                      <a:pt x="1918" y="587"/>
                      <a:pt x="1918" y="587"/>
                    </a:cubicBezTo>
                    <a:cubicBezTo>
                      <a:pt x="1917" y="588"/>
                      <a:pt x="1917" y="588"/>
                      <a:pt x="1917" y="588"/>
                    </a:cubicBezTo>
                    <a:cubicBezTo>
                      <a:pt x="1916" y="588"/>
                      <a:pt x="1916" y="588"/>
                      <a:pt x="1916" y="588"/>
                    </a:cubicBezTo>
                    <a:cubicBezTo>
                      <a:pt x="1915" y="589"/>
                      <a:pt x="1915" y="589"/>
                      <a:pt x="1915" y="589"/>
                    </a:cubicBezTo>
                    <a:cubicBezTo>
                      <a:pt x="1915" y="590"/>
                      <a:pt x="1915" y="590"/>
                      <a:pt x="1915" y="590"/>
                    </a:cubicBezTo>
                    <a:cubicBezTo>
                      <a:pt x="1916" y="589"/>
                      <a:pt x="1916" y="589"/>
                      <a:pt x="1916" y="589"/>
                    </a:cubicBezTo>
                    <a:cubicBezTo>
                      <a:pt x="1918" y="588"/>
                      <a:pt x="1918" y="588"/>
                      <a:pt x="1918" y="588"/>
                    </a:cubicBezTo>
                    <a:cubicBezTo>
                      <a:pt x="1919" y="590"/>
                      <a:pt x="1919" y="590"/>
                      <a:pt x="1919" y="590"/>
                    </a:cubicBezTo>
                    <a:cubicBezTo>
                      <a:pt x="1920" y="590"/>
                      <a:pt x="1920" y="590"/>
                      <a:pt x="1920" y="590"/>
                    </a:cubicBezTo>
                    <a:cubicBezTo>
                      <a:pt x="1922" y="589"/>
                      <a:pt x="1922" y="589"/>
                      <a:pt x="1922" y="589"/>
                    </a:cubicBezTo>
                    <a:cubicBezTo>
                      <a:pt x="1923" y="589"/>
                      <a:pt x="1923" y="589"/>
                      <a:pt x="1923" y="589"/>
                    </a:cubicBezTo>
                    <a:cubicBezTo>
                      <a:pt x="1925" y="592"/>
                      <a:pt x="1925" y="592"/>
                      <a:pt x="1925" y="592"/>
                    </a:cubicBezTo>
                    <a:cubicBezTo>
                      <a:pt x="1926" y="591"/>
                      <a:pt x="1926" y="591"/>
                      <a:pt x="1926" y="591"/>
                    </a:cubicBezTo>
                    <a:cubicBezTo>
                      <a:pt x="1926" y="592"/>
                      <a:pt x="1926" y="592"/>
                      <a:pt x="1926" y="592"/>
                    </a:cubicBezTo>
                    <a:cubicBezTo>
                      <a:pt x="1927" y="592"/>
                      <a:pt x="1927" y="592"/>
                      <a:pt x="1927" y="592"/>
                    </a:cubicBezTo>
                    <a:cubicBezTo>
                      <a:pt x="1928" y="592"/>
                      <a:pt x="1928" y="592"/>
                      <a:pt x="1928" y="592"/>
                    </a:cubicBezTo>
                    <a:cubicBezTo>
                      <a:pt x="1925" y="595"/>
                      <a:pt x="1925" y="595"/>
                      <a:pt x="1925" y="595"/>
                    </a:cubicBezTo>
                    <a:cubicBezTo>
                      <a:pt x="1923" y="595"/>
                      <a:pt x="1923" y="595"/>
                      <a:pt x="1923" y="595"/>
                    </a:cubicBezTo>
                    <a:cubicBezTo>
                      <a:pt x="1923" y="596"/>
                      <a:pt x="1923" y="596"/>
                      <a:pt x="1923" y="596"/>
                    </a:cubicBezTo>
                    <a:cubicBezTo>
                      <a:pt x="1924" y="596"/>
                      <a:pt x="1924" y="596"/>
                      <a:pt x="1924" y="596"/>
                    </a:cubicBezTo>
                    <a:cubicBezTo>
                      <a:pt x="1926" y="595"/>
                      <a:pt x="1926" y="595"/>
                      <a:pt x="1926" y="595"/>
                    </a:cubicBezTo>
                    <a:cubicBezTo>
                      <a:pt x="1927" y="595"/>
                      <a:pt x="1927" y="595"/>
                      <a:pt x="1927" y="595"/>
                    </a:cubicBezTo>
                    <a:cubicBezTo>
                      <a:pt x="1927" y="594"/>
                      <a:pt x="1927" y="594"/>
                      <a:pt x="1927" y="594"/>
                    </a:cubicBezTo>
                    <a:cubicBezTo>
                      <a:pt x="1928" y="594"/>
                      <a:pt x="1928" y="594"/>
                      <a:pt x="1928" y="594"/>
                    </a:cubicBezTo>
                    <a:cubicBezTo>
                      <a:pt x="1928" y="596"/>
                      <a:pt x="1928" y="596"/>
                      <a:pt x="1928" y="596"/>
                    </a:cubicBezTo>
                    <a:cubicBezTo>
                      <a:pt x="1929" y="597"/>
                      <a:pt x="1929" y="597"/>
                      <a:pt x="1929" y="597"/>
                    </a:cubicBezTo>
                    <a:cubicBezTo>
                      <a:pt x="1928" y="597"/>
                      <a:pt x="1928" y="597"/>
                      <a:pt x="1928" y="597"/>
                    </a:cubicBezTo>
                    <a:cubicBezTo>
                      <a:pt x="1927" y="596"/>
                      <a:pt x="1927" y="596"/>
                      <a:pt x="1927" y="596"/>
                    </a:cubicBezTo>
                    <a:cubicBezTo>
                      <a:pt x="1927" y="597"/>
                      <a:pt x="1927" y="597"/>
                      <a:pt x="1927" y="597"/>
                    </a:cubicBezTo>
                    <a:cubicBezTo>
                      <a:pt x="1926" y="597"/>
                      <a:pt x="1926" y="597"/>
                      <a:pt x="1926" y="597"/>
                    </a:cubicBezTo>
                    <a:cubicBezTo>
                      <a:pt x="1925" y="597"/>
                      <a:pt x="1925" y="597"/>
                      <a:pt x="1925" y="597"/>
                    </a:cubicBezTo>
                    <a:cubicBezTo>
                      <a:pt x="1924" y="598"/>
                      <a:pt x="1924" y="598"/>
                      <a:pt x="1924" y="598"/>
                    </a:cubicBezTo>
                    <a:cubicBezTo>
                      <a:pt x="1924" y="599"/>
                      <a:pt x="1924" y="599"/>
                      <a:pt x="1924" y="599"/>
                    </a:cubicBezTo>
                    <a:cubicBezTo>
                      <a:pt x="1926" y="599"/>
                      <a:pt x="1926" y="599"/>
                      <a:pt x="1926" y="599"/>
                    </a:cubicBezTo>
                    <a:cubicBezTo>
                      <a:pt x="1927" y="599"/>
                      <a:pt x="1927" y="599"/>
                      <a:pt x="1927" y="599"/>
                    </a:cubicBezTo>
                    <a:cubicBezTo>
                      <a:pt x="1926" y="600"/>
                      <a:pt x="1926" y="600"/>
                      <a:pt x="1926" y="600"/>
                    </a:cubicBezTo>
                    <a:cubicBezTo>
                      <a:pt x="1925" y="600"/>
                      <a:pt x="1925" y="600"/>
                      <a:pt x="1925" y="600"/>
                    </a:cubicBezTo>
                    <a:cubicBezTo>
                      <a:pt x="1926" y="601"/>
                      <a:pt x="1926" y="601"/>
                      <a:pt x="1926" y="601"/>
                    </a:cubicBezTo>
                    <a:cubicBezTo>
                      <a:pt x="1926" y="602"/>
                      <a:pt x="1926" y="602"/>
                      <a:pt x="1926" y="602"/>
                    </a:cubicBezTo>
                    <a:cubicBezTo>
                      <a:pt x="1925" y="602"/>
                      <a:pt x="1925" y="602"/>
                      <a:pt x="1925" y="602"/>
                    </a:cubicBezTo>
                    <a:cubicBezTo>
                      <a:pt x="1924" y="602"/>
                      <a:pt x="1924" y="602"/>
                      <a:pt x="1924" y="602"/>
                    </a:cubicBezTo>
                    <a:cubicBezTo>
                      <a:pt x="1925" y="603"/>
                      <a:pt x="1925" y="603"/>
                      <a:pt x="1925" y="603"/>
                    </a:cubicBezTo>
                    <a:cubicBezTo>
                      <a:pt x="1926" y="603"/>
                      <a:pt x="1926" y="603"/>
                      <a:pt x="1926" y="603"/>
                    </a:cubicBezTo>
                    <a:cubicBezTo>
                      <a:pt x="1927" y="604"/>
                      <a:pt x="1927" y="604"/>
                      <a:pt x="1927" y="604"/>
                    </a:cubicBezTo>
                    <a:cubicBezTo>
                      <a:pt x="1926" y="605"/>
                      <a:pt x="1926" y="605"/>
                      <a:pt x="1926" y="605"/>
                    </a:cubicBezTo>
                    <a:cubicBezTo>
                      <a:pt x="1926" y="606"/>
                      <a:pt x="1926" y="606"/>
                      <a:pt x="1926" y="606"/>
                    </a:cubicBezTo>
                    <a:cubicBezTo>
                      <a:pt x="1925" y="606"/>
                      <a:pt x="1925" y="606"/>
                      <a:pt x="1925" y="606"/>
                    </a:cubicBezTo>
                    <a:cubicBezTo>
                      <a:pt x="1925" y="605"/>
                      <a:pt x="1925" y="605"/>
                      <a:pt x="1925" y="605"/>
                    </a:cubicBezTo>
                    <a:cubicBezTo>
                      <a:pt x="1924" y="605"/>
                      <a:pt x="1924" y="605"/>
                      <a:pt x="1924" y="605"/>
                    </a:cubicBezTo>
                    <a:cubicBezTo>
                      <a:pt x="1923" y="607"/>
                      <a:pt x="1923" y="607"/>
                      <a:pt x="1923" y="607"/>
                    </a:cubicBezTo>
                    <a:cubicBezTo>
                      <a:pt x="1922" y="608"/>
                      <a:pt x="1922" y="608"/>
                      <a:pt x="1922" y="608"/>
                    </a:cubicBezTo>
                    <a:cubicBezTo>
                      <a:pt x="1922" y="609"/>
                      <a:pt x="1922" y="609"/>
                      <a:pt x="1922" y="609"/>
                    </a:cubicBezTo>
                    <a:cubicBezTo>
                      <a:pt x="1922" y="610"/>
                      <a:pt x="1922" y="610"/>
                      <a:pt x="1922" y="610"/>
                    </a:cubicBezTo>
                    <a:cubicBezTo>
                      <a:pt x="1922" y="611"/>
                      <a:pt x="1922" y="611"/>
                      <a:pt x="1922" y="611"/>
                    </a:cubicBezTo>
                    <a:cubicBezTo>
                      <a:pt x="1922" y="612"/>
                      <a:pt x="1922" y="612"/>
                      <a:pt x="1922" y="612"/>
                    </a:cubicBezTo>
                    <a:cubicBezTo>
                      <a:pt x="1922" y="613"/>
                      <a:pt x="1922" y="613"/>
                      <a:pt x="1922" y="613"/>
                    </a:cubicBezTo>
                    <a:cubicBezTo>
                      <a:pt x="1921" y="613"/>
                      <a:pt x="1921" y="613"/>
                      <a:pt x="1921" y="613"/>
                    </a:cubicBezTo>
                    <a:cubicBezTo>
                      <a:pt x="1920" y="612"/>
                      <a:pt x="1920" y="612"/>
                      <a:pt x="1920" y="612"/>
                    </a:cubicBezTo>
                    <a:cubicBezTo>
                      <a:pt x="1920" y="613"/>
                      <a:pt x="1920" y="613"/>
                      <a:pt x="1920" y="613"/>
                    </a:cubicBezTo>
                    <a:cubicBezTo>
                      <a:pt x="1921" y="613"/>
                      <a:pt x="1921" y="613"/>
                      <a:pt x="1921" y="613"/>
                    </a:cubicBezTo>
                    <a:cubicBezTo>
                      <a:pt x="1921" y="615"/>
                      <a:pt x="1921" y="615"/>
                      <a:pt x="1921" y="615"/>
                    </a:cubicBezTo>
                    <a:cubicBezTo>
                      <a:pt x="1920" y="614"/>
                      <a:pt x="1920" y="614"/>
                      <a:pt x="1920" y="614"/>
                    </a:cubicBezTo>
                    <a:cubicBezTo>
                      <a:pt x="1920" y="615"/>
                      <a:pt x="1920" y="615"/>
                      <a:pt x="1920" y="615"/>
                    </a:cubicBezTo>
                    <a:cubicBezTo>
                      <a:pt x="1918" y="617"/>
                      <a:pt x="1918" y="617"/>
                      <a:pt x="1918" y="617"/>
                    </a:cubicBezTo>
                    <a:cubicBezTo>
                      <a:pt x="1917" y="617"/>
                      <a:pt x="1917" y="617"/>
                      <a:pt x="1917" y="617"/>
                    </a:cubicBezTo>
                    <a:cubicBezTo>
                      <a:pt x="1918" y="616"/>
                      <a:pt x="1918" y="616"/>
                      <a:pt x="1918" y="616"/>
                    </a:cubicBezTo>
                    <a:cubicBezTo>
                      <a:pt x="1917" y="616"/>
                      <a:pt x="1917" y="616"/>
                      <a:pt x="1917" y="616"/>
                    </a:cubicBezTo>
                    <a:cubicBezTo>
                      <a:pt x="1916" y="617"/>
                      <a:pt x="1916" y="617"/>
                      <a:pt x="1916" y="617"/>
                    </a:cubicBezTo>
                    <a:cubicBezTo>
                      <a:pt x="1915" y="618"/>
                      <a:pt x="1915" y="618"/>
                      <a:pt x="1915" y="618"/>
                    </a:cubicBezTo>
                    <a:cubicBezTo>
                      <a:pt x="1916" y="618"/>
                      <a:pt x="1916" y="618"/>
                      <a:pt x="1916" y="618"/>
                    </a:cubicBezTo>
                    <a:cubicBezTo>
                      <a:pt x="1917" y="619"/>
                      <a:pt x="1917" y="619"/>
                      <a:pt x="1917" y="619"/>
                    </a:cubicBezTo>
                    <a:cubicBezTo>
                      <a:pt x="1916" y="619"/>
                      <a:pt x="1916" y="619"/>
                      <a:pt x="1916" y="619"/>
                    </a:cubicBezTo>
                    <a:cubicBezTo>
                      <a:pt x="1917" y="620"/>
                      <a:pt x="1917" y="620"/>
                      <a:pt x="1917" y="620"/>
                    </a:cubicBezTo>
                    <a:cubicBezTo>
                      <a:pt x="1918" y="620"/>
                      <a:pt x="1918" y="620"/>
                      <a:pt x="1918" y="620"/>
                    </a:cubicBezTo>
                    <a:cubicBezTo>
                      <a:pt x="1919" y="620"/>
                      <a:pt x="1919" y="620"/>
                      <a:pt x="1919" y="620"/>
                    </a:cubicBezTo>
                    <a:cubicBezTo>
                      <a:pt x="1917" y="621"/>
                      <a:pt x="1917" y="621"/>
                      <a:pt x="1917" y="621"/>
                    </a:cubicBezTo>
                    <a:cubicBezTo>
                      <a:pt x="1915" y="622"/>
                      <a:pt x="1915" y="622"/>
                      <a:pt x="1915" y="622"/>
                    </a:cubicBezTo>
                    <a:cubicBezTo>
                      <a:pt x="1915" y="623"/>
                      <a:pt x="1915" y="623"/>
                      <a:pt x="1915" y="623"/>
                    </a:cubicBezTo>
                    <a:cubicBezTo>
                      <a:pt x="1916" y="623"/>
                      <a:pt x="1916" y="623"/>
                      <a:pt x="1916" y="623"/>
                    </a:cubicBezTo>
                    <a:cubicBezTo>
                      <a:pt x="1917" y="623"/>
                      <a:pt x="1917" y="623"/>
                      <a:pt x="1917" y="623"/>
                    </a:cubicBezTo>
                    <a:cubicBezTo>
                      <a:pt x="1916" y="624"/>
                      <a:pt x="1916" y="624"/>
                      <a:pt x="1916" y="624"/>
                    </a:cubicBezTo>
                    <a:cubicBezTo>
                      <a:pt x="1917" y="625"/>
                      <a:pt x="1917" y="625"/>
                      <a:pt x="1917" y="625"/>
                    </a:cubicBezTo>
                    <a:cubicBezTo>
                      <a:pt x="1917" y="626"/>
                      <a:pt x="1917" y="626"/>
                      <a:pt x="1917" y="626"/>
                    </a:cubicBezTo>
                    <a:cubicBezTo>
                      <a:pt x="1916" y="626"/>
                      <a:pt x="1916" y="626"/>
                      <a:pt x="1916" y="626"/>
                    </a:cubicBezTo>
                    <a:cubicBezTo>
                      <a:pt x="1916" y="627"/>
                      <a:pt x="1916" y="627"/>
                      <a:pt x="1916" y="627"/>
                    </a:cubicBezTo>
                    <a:cubicBezTo>
                      <a:pt x="1915" y="626"/>
                      <a:pt x="1915" y="626"/>
                      <a:pt x="1915" y="626"/>
                    </a:cubicBezTo>
                    <a:cubicBezTo>
                      <a:pt x="1915" y="627"/>
                      <a:pt x="1915" y="627"/>
                      <a:pt x="1915" y="627"/>
                    </a:cubicBezTo>
                    <a:cubicBezTo>
                      <a:pt x="1914" y="627"/>
                      <a:pt x="1914" y="627"/>
                      <a:pt x="1914" y="627"/>
                    </a:cubicBezTo>
                    <a:cubicBezTo>
                      <a:pt x="1914" y="628"/>
                      <a:pt x="1914" y="628"/>
                      <a:pt x="1914" y="628"/>
                    </a:cubicBezTo>
                    <a:cubicBezTo>
                      <a:pt x="1915" y="629"/>
                      <a:pt x="1915" y="629"/>
                      <a:pt x="1915" y="629"/>
                    </a:cubicBezTo>
                    <a:cubicBezTo>
                      <a:pt x="1915" y="630"/>
                      <a:pt x="1915" y="630"/>
                      <a:pt x="1915" y="630"/>
                    </a:cubicBezTo>
                    <a:cubicBezTo>
                      <a:pt x="1914" y="629"/>
                      <a:pt x="1914" y="629"/>
                      <a:pt x="1914" y="629"/>
                    </a:cubicBezTo>
                    <a:cubicBezTo>
                      <a:pt x="1913" y="629"/>
                      <a:pt x="1913" y="629"/>
                      <a:pt x="1913" y="629"/>
                    </a:cubicBezTo>
                    <a:cubicBezTo>
                      <a:pt x="1913" y="630"/>
                      <a:pt x="1913" y="630"/>
                      <a:pt x="1913" y="630"/>
                    </a:cubicBezTo>
                    <a:cubicBezTo>
                      <a:pt x="1914" y="630"/>
                      <a:pt x="1914" y="630"/>
                      <a:pt x="1914" y="630"/>
                    </a:cubicBezTo>
                    <a:cubicBezTo>
                      <a:pt x="1914" y="631"/>
                      <a:pt x="1914" y="631"/>
                      <a:pt x="1914" y="631"/>
                    </a:cubicBezTo>
                    <a:cubicBezTo>
                      <a:pt x="1914" y="632"/>
                      <a:pt x="1914" y="632"/>
                      <a:pt x="1914" y="632"/>
                    </a:cubicBezTo>
                    <a:cubicBezTo>
                      <a:pt x="1912" y="631"/>
                      <a:pt x="1912" y="631"/>
                      <a:pt x="1912" y="631"/>
                    </a:cubicBezTo>
                    <a:cubicBezTo>
                      <a:pt x="1912" y="632"/>
                      <a:pt x="1912" y="632"/>
                      <a:pt x="1912" y="632"/>
                    </a:cubicBezTo>
                    <a:cubicBezTo>
                      <a:pt x="1914" y="633"/>
                      <a:pt x="1914" y="633"/>
                      <a:pt x="1914" y="633"/>
                    </a:cubicBezTo>
                    <a:cubicBezTo>
                      <a:pt x="1913" y="634"/>
                      <a:pt x="1913" y="634"/>
                      <a:pt x="1913" y="634"/>
                    </a:cubicBezTo>
                    <a:cubicBezTo>
                      <a:pt x="1911" y="633"/>
                      <a:pt x="1911" y="633"/>
                      <a:pt x="1911" y="633"/>
                    </a:cubicBezTo>
                    <a:cubicBezTo>
                      <a:pt x="1910" y="633"/>
                      <a:pt x="1910" y="633"/>
                      <a:pt x="1910" y="633"/>
                    </a:cubicBezTo>
                    <a:cubicBezTo>
                      <a:pt x="1909" y="634"/>
                      <a:pt x="1909" y="634"/>
                      <a:pt x="1909" y="634"/>
                    </a:cubicBezTo>
                    <a:cubicBezTo>
                      <a:pt x="1907" y="634"/>
                      <a:pt x="1907" y="634"/>
                      <a:pt x="1907" y="634"/>
                    </a:cubicBezTo>
                    <a:cubicBezTo>
                      <a:pt x="1909" y="636"/>
                      <a:pt x="1909" y="636"/>
                      <a:pt x="1909" y="636"/>
                    </a:cubicBezTo>
                    <a:cubicBezTo>
                      <a:pt x="1910" y="635"/>
                      <a:pt x="1910" y="635"/>
                      <a:pt x="1910" y="635"/>
                    </a:cubicBezTo>
                    <a:cubicBezTo>
                      <a:pt x="1911" y="635"/>
                      <a:pt x="1911" y="635"/>
                      <a:pt x="1911" y="635"/>
                    </a:cubicBezTo>
                    <a:cubicBezTo>
                      <a:pt x="1910" y="636"/>
                      <a:pt x="1910" y="636"/>
                      <a:pt x="1910" y="636"/>
                    </a:cubicBezTo>
                    <a:cubicBezTo>
                      <a:pt x="1910" y="637"/>
                      <a:pt x="1910" y="637"/>
                      <a:pt x="1910" y="637"/>
                    </a:cubicBezTo>
                    <a:cubicBezTo>
                      <a:pt x="1909" y="638"/>
                      <a:pt x="1909" y="638"/>
                      <a:pt x="1909" y="638"/>
                    </a:cubicBezTo>
                    <a:cubicBezTo>
                      <a:pt x="1909" y="637"/>
                      <a:pt x="1909" y="637"/>
                      <a:pt x="1909" y="637"/>
                    </a:cubicBezTo>
                    <a:cubicBezTo>
                      <a:pt x="1908" y="638"/>
                      <a:pt x="1908" y="638"/>
                      <a:pt x="1908" y="638"/>
                    </a:cubicBezTo>
                    <a:cubicBezTo>
                      <a:pt x="1907" y="638"/>
                      <a:pt x="1907" y="638"/>
                      <a:pt x="1907" y="638"/>
                    </a:cubicBezTo>
                    <a:cubicBezTo>
                      <a:pt x="1907" y="639"/>
                      <a:pt x="1907" y="639"/>
                      <a:pt x="1907" y="639"/>
                    </a:cubicBezTo>
                    <a:cubicBezTo>
                      <a:pt x="1906" y="639"/>
                      <a:pt x="1906" y="639"/>
                      <a:pt x="1906" y="639"/>
                    </a:cubicBezTo>
                    <a:cubicBezTo>
                      <a:pt x="1906" y="640"/>
                      <a:pt x="1906" y="640"/>
                      <a:pt x="1906" y="640"/>
                    </a:cubicBezTo>
                    <a:cubicBezTo>
                      <a:pt x="1905" y="640"/>
                      <a:pt x="1905" y="640"/>
                      <a:pt x="1905" y="640"/>
                    </a:cubicBezTo>
                    <a:cubicBezTo>
                      <a:pt x="1904" y="640"/>
                      <a:pt x="1904" y="640"/>
                      <a:pt x="1904" y="640"/>
                    </a:cubicBezTo>
                    <a:cubicBezTo>
                      <a:pt x="1903" y="640"/>
                      <a:pt x="1903" y="640"/>
                      <a:pt x="1903" y="640"/>
                    </a:cubicBezTo>
                    <a:cubicBezTo>
                      <a:pt x="1902" y="641"/>
                      <a:pt x="1902" y="641"/>
                      <a:pt x="1902" y="641"/>
                    </a:cubicBezTo>
                    <a:cubicBezTo>
                      <a:pt x="1902" y="642"/>
                      <a:pt x="1902" y="642"/>
                      <a:pt x="1902" y="642"/>
                    </a:cubicBezTo>
                    <a:cubicBezTo>
                      <a:pt x="1902" y="643"/>
                      <a:pt x="1902" y="643"/>
                      <a:pt x="1902" y="643"/>
                    </a:cubicBezTo>
                    <a:cubicBezTo>
                      <a:pt x="1901" y="644"/>
                      <a:pt x="1901" y="644"/>
                      <a:pt x="1901" y="644"/>
                    </a:cubicBezTo>
                    <a:cubicBezTo>
                      <a:pt x="1902" y="645"/>
                      <a:pt x="1902" y="645"/>
                      <a:pt x="1902" y="645"/>
                    </a:cubicBezTo>
                    <a:cubicBezTo>
                      <a:pt x="1901" y="645"/>
                      <a:pt x="1901" y="645"/>
                      <a:pt x="1901" y="645"/>
                    </a:cubicBezTo>
                    <a:cubicBezTo>
                      <a:pt x="1900" y="645"/>
                      <a:pt x="1900" y="645"/>
                      <a:pt x="1900" y="645"/>
                    </a:cubicBezTo>
                    <a:cubicBezTo>
                      <a:pt x="1899" y="645"/>
                      <a:pt x="1899" y="645"/>
                      <a:pt x="1899" y="645"/>
                    </a:cubicBezTo>
                    <a:cubicBezTo>
                      <a:pt x="1898" y="646"/>
                      <a:pt x="1898" y="646"/>
                      <a:pt x="1898" y="646"/>
                    </a:cubicBezTo>
                    <a:cubicBezTo>
                      <a:pt x="1897" y="646"/>
                      <a:pt x="1897" y="646"/>
                      <a:pt x="1897" y="646"/>
                    </a:cubicBezTo>
                    <a:cubicBezTo>
                      <a:pt x="1897" y="647"/>
                      <a:pt x="1897" y="647"/>
                      <a:pt x="1897" y="647"/>
                    </a:cubicBezTo>
                    <a:cubicBezTo>
                      <a:pt x="1896" y="647"/>
                      <a:pt x="1896" y="647"/>
                      <a:pt x="1896" y="647"/>
                    </a:cubicBezTo>
                    <a:cubicBezTo>
                      <a:pt x="1895" y="647"/>
                      <a:pt x="1895" y="647"/>
                      <a:pt x="1895" y="647"/>
                    </a:cubicBezTo>
                    <a:cubicBezTo>
                      <a:pt x="1895" y="648"/>
                      <a:pt x="1895" y="648"/>
                      <a:pt x="1895" y="648"/>
                    </a:cubicBezTo>
                    <a:cubicBezTo>
                      <a:pt x="1894" y="648"/>
                      <a:pt x="1894" y="648"/>
                      <a:pt x="1894" y="648"/>
                    </a:cubicBezTo>
                    <a:cubicBezTo>
                      <a:pt x="1893" y="647"/>
                      <a:pt x="1893" y="647"/>
                      <a:pt x="1893" y="647"/>
                    </a:cubicBezTo>
                    <a:cubicBezTo>
                      <a:pt x="1893" y="646"/>
                      <a:pt x="1893" y="646"/>
                      <a:pt x="1893" y="646"/>
                    </a:cubicBezTo>
                    <a:cubicBezTo>
                      <a:pt x="1892" y="647"/>
                      <a:pt x="1892" y="647"/>
                      <a:pt x="1892" y="647"/>
                    </a:cubicBezTo>
                    <a:cubicBezTo>
                      <a:pt x="1891" y="647"/>
                      <a:pt x="1891" y="647"/>
                      <a:pt x="1891" y="647"/>
                    </a:cubicBezTo>
                    <a:cubicBezTo>
                      <a:pt x="1891" y="648"/>
                      <a:pt x="1891" y="648"/>
                      <a:pt x="1891" y="648"/>
                    </a:cubicBezTo>
                    <a:cubicBezTo>
                      <a:pt x="1890" y="648"/>
                      <a:pt x="1890" y="648"/>
                      <a:pt x="1890" y="648"/>
                    </a:cubicBezTo>
                    <a:cubicBezTo>
                      <a:pt x="1889" y="648"/>
                      <a:pt x="1889" y="648"/>
                      <a:pt x="1889" y="648"/>
                    </a:cubicBezTo>
                    <a:cubicBezTo>
                      <a:pt x="1888" y="649"/>
                      <a:pt x="1888" y="649"/>
                      <a:pt x="1888" y="649"/>
                    </a:cubicBezTo>
                    <a:cubicBezTo>
                      <a:pt x="1887" y="650"/>
                      <a:pt x="1887" y="650"/>
                      <a:pt x="1887" y="650"/>
                    </a:cubicBezTo>
                    <a:cubicBezTo>
                      <a:pt x="1885" y="651"/>
                      <a:pt x="1885" y="651"/>
                      <a:pt x="1885" y="651"/>
                    </a:cubicBezTo>
                    <a:cubicBezTo>
                      <a:pt x="1885" y="650"/>
                      <a:pt x="1885" y="650"/>
                      <a:pt x="1885" y="650"/>
                    </a:cubicBezTo>
                    <a:cubicBezTo>
                      <a:pt x="1886" y="650"/>
                      <a:pt x="1886" y="650"/>
                      <a:pt x="1886" y="650"/>
                    </a:cubicBezTo>
                    <a:cubicBezTo>
                      <a:pt x="1886" y="649"/>
                      <a:pt x="1886" y="649"/>
                      <a:pt x="1886" y="649"/>
                    </a:cubicBezTo>
                    <a:cubicBezTo>
                      <a:pt x="1884" y="648"/>
                      <a:pt x="1884" y="648"/>
                      <a:pt x="1884" y="648"/>
                    </a:cubicBezTo>
                    <a:cubicBezTo>
                      <a:pt x="1884" y="647"/>
                      <a:pt x="1884" y="647"/>
                      <a:pt x="1884" y="647"/>
                    </a:cubicBezTo>
                    <a:cubicBezTo>
                      <a:pt x="1883" y="647"/>
                      <a:pt x="1883" y="647"/>
                      <a:pt x="1883" y="647"/>
                    </a:cubicBezTo>
                    <a:cubicBezTo>
                      <a:pt x="1882" y="646"/>
                      <a:pt x="1882" y="646"/>
                      <a:pt x="1882" y="646"/>
                    </a:cubicBezTo>
                    <a:cubicBezTo>
                      <a:pt x="1882" y="647"/>
                      <a:pt x="1882" y="647"/>
                      <a:pt x="1882" y="647"/>
                    </a:cubicBezTo>
                    <a:cubicBezTo>
                      <a:pt x="1882" y="648"/>
                      <a:pt x="1882" y="648"/>
                      <a:pt x="1882" y="648"/>
                    </a:cubicBezTo>
                    <a:cubicBezTo>
                      <a:pt x="1882" y="649"/>
                      <a:pt x="1882" y="649"/>
                      <a:pt x="1882" y="649"/>
                    </a:cubicBezTo>
                    <a:cubicBezTo>
                      <a:pt x="1883" y="650"/>
                      <a:pt x="1883" y="650"/>
                      <a:pt x="1883" y="650"/>
                    </a:cubicBezTo>
                    <a:cubicBezTo>
                      <a:pt x="1882" y="651"/>
                      <a:pt x="1882" y="651"/>
                      <a:pt x="1882" y="651"/>
                    </a:cubicBezTo>
                    <a:cubicBezTo>
                      <a:pt x="1881" y="652"/>
                      <a:pt x="1881" y="652"/>
                      <a:pt x="1881" y="652"/>
                    </a:cubicBezTo>
                    <a:cubicBezTo>
                      <a:pt x="1880" y="652"/>
                      <a:pt x="1880" y="652"/>
                      <a:pt x="1880" y="652"/>
                    </a:cubicBezTo>
                    <a:cubicBezTo>
                      <a:pt x="1879" y="653"/>
                      <a:pt x="1879" y="653"/>
                      <a:pt x="1879" y="653"/>
                    </a:cubicBezTo>
                    <a:cubicBezTo>
                      <a:pt x="1878" y="654"/>
                      <a:pt x="1878" y="654"/>
                      <a:pt x="1878" y="654"/>
                    </a:cubicBezTo>
                    <a:cubicBezTo>
                      <a:pt x="1876" y="655"/>
                      <a:pt x="1876" y="655"/>
                      <a:pt x="1876" y="655"/>
                    </a:cubicBezTo>
                    <a:cubicBezTo>
                      <a:pt x="1875" y="655"/>
                      <a:pt x="1875" y="655"/>
                      <a:pt x="1875" y="655"/>
                    </a:cubicBezTo>
                    <a:cubicBezTo>
                      <a:pt x="1874" y="655"/>
                      <a:pt x="1874" y="655"/>
                      <a:pt x="1874" y="655"/>
                    </a:cubicBezTo>
                    <a:cubicBezTo>
                      <a:pt x="1873" y="655"/>
                      <a:pt x="1873" y="655"/>
                      <a:pt x="1873" y="655"/>
                    </a:cubicBezTo>
                    <a:cubicBezTo>
                      <a:pt x="1872" y="655"/>
                      <a:pt x="1872" y="655"/>
                      <a:pt x="1872" y="655"/>
                    </a:cubicBezTo>
                    <a:cubicBezTo>
                      <a:pt x="1872" y="656"/>
                      <a:pt x="1872" y="656"/>
                      <a:pt x="1872" y="656"/>
                    </a:cubicBezTo>
                    <a:cubicBezTo>
                      <a:pt x="1871" y="657"/>
                      <a:pt x="1871" y="657"/>
                      <a:pt x="1871" y="657"/>
                    </a:cubicBezTo>
                    <a:cubicBezTo>
                      <a:pt x="1870" y="657"/>
                      <a:pt x="1870" y="657"/>
                      <a:pt x="1870" y="657"/>
                    </a:cubicBezTo>
                    <a:cubicBezTo>
                      <a:pt x="1869" y="657"/>
                      <a:pt x="1869" y="657"/>
                      <a:pt x="1869" y="657"/>
                    </a:cubicBezTo>
                    <a:cubicBezTo>
                      <a:pt x="1868" y="657"/>
                      <a:pt x="1868" y="657"/>
                      <a:pt x="1868" y="657"/>
                    </a:cubicBezTo>
                    <a:cubicBezTo>
                      <a:pt x="1867" y="658"/>
                      <a:pt x="1867" y="658"/>
                      <a:pt x="1867" y="658"/>
                    </a:cubicBezTo>
                    <a:cubicBezTo>
                      <a:pt x="1866" y="658"/>
                      <a:pt x="1866" y="658"/>
                      <a:pt x="1866" y="658"/>
                    </a:cubicBezTo>
                    <a:cubicBezTo>
                      <a:pt x="1866" y="657"/>
                      <a:pt x="1866" y="657"/>
                      <a:pt x="1866" y="657"/>
                    </a:cubicBezTo>
                    <a:cubicBezTo>
                      <a:pt x="1865" y="657"/>
                      <a:pt x="1865" y="657"/>
                      <a:pt x="1865" y="657"/>
                    </a:cubicBezTo>
                    <a:cubicBezTo>
                      <a:pt x="1865" y="658"/>
                      <a:pt x="1865" y="658"/>
                      <a:pt x="1865" y="658"/>
                    </a:cubicBezTo>
                    <a:cubicBezTo>
                      <a:pt x="1865" y="659"/>
                      <a:pt x="1865" y="659"/>
                      <a:pt x="1865" y="659"/>
                    </a:cubicBezTo>
                    <a:cubicBezTo>
                      <a:pt x="1864" y="659"/>
                      <a:pt x="1864" y="659"/>
                      <a:pt x="1864" y="659"/>
                    </a:cubicBezTo>
                    <a:cubicBezTo>
                      <a:pt x="1863" y="660"/>
                      <a:pt x="1863" y="660"/>
                      <a:pt x="1863" y="660"/>
                    </a:cubicBezTo>
                    <a:cubicBezTo>
                      <a:pt x="1864" y="661"/>
                      <a:pt x="1864" y="661"/>
                      <a:pt x="1864" y="661"/>
                    </a:cubicBezTo>
                    <a:cubicBezTo>
                      <a:pt x="1865" y="661"/>
                      <a:pt x="1865" y="661"/>
                      <a:pt x="1865" y="661"/>
                    </a:cubicBezTo>
                    <a:cubicBezTo>
                      <a:pt x="1865" y="662"/>
                      <a:pt x="1865" y="662"/>
                      <a:pt x="1865" y="662"/>
                    </a:cubicBezTo>
                    <a:cubicBezTo>
                      <a:pt x="1865" y="663"/>
                      <a:pt x="1865" y="663"/>
                      <a:pt x="1865" y="663"/>
                    </a:cubicBezTo>
                    <a:cubicBezTo>
                      <a:pt x="1866" y="663"/>
                      <a:pt x="1866" y="663"/>
                      <a:pt x="1866" y="663"/>
                    </a:cubicBezTo>
                    <a:cubicBezTo>
                      <a:pt x="1865" y="665"/>
                      <a:pt x="1865" y="665"/>
                      <a:pt x="1865" y="665"/>
                    </a:cubicBezTo>
                    <a:cubicBezTo>
                      <a:pt x="1864" y="665"/>
                      <a:pt x="1864" y="665"/>
                      <a:pt x="1864" y="665"/>
                    </a:cubicBezTo>
                    <a:cubicBezTo>
                      <a:pt x="1864" y="664"/>
                      <a:pt x="1864" y="664"/>
                      <a:pt x="1864" y="664"/>
                    </a:cubicBezTo>
                    <a:cubicBezTo>
                      <a:pt x="1863" y="664"/>
                      <a:pt x="1863" y="664"/>
                      <a:pt x="1863" y="664"/>
                    </a:cubicBezTo>
                    <a:cubicBezTo>
                      <a:pt x="1862" y="665"/>
                      <a:pt x="1862" y="665"/>
                      <a:pt x="1862" y="665"/>
                    </a:cubicBezTo>
                    <a:cubicBezTo>
                      <a:pt x="1862" y="664"/>
                      <a:pt x="1862" y="664"/>
                      <a:pt x="1862" y="664"/>
                    </a:cubicBezTo>
                    <a:cubicBezTo>
                      <a:pt x="1862" y="663"/>
                      <a:pt x="1862" y="663"/>
                      <a:pt x="1862" y="663"/>
                    </a:cubicBezTo>
                    <a:cubicBezTo>
                      <a:pt x="1861" y="663"/>
                      <a:pt x="1861" y="663"/>
                      <a:pt x="1861" y="663"/>
                    </a:cubicBezTo>
                    <a:cubicBezTo>
                      <a:pt x="1860" y="661"/>
                      <a:pt x="1860" y="661"/>
                      <a:pt x="1860" y="661"/>
                    </a:cubicBezTo>
                    <a:cubicBezTo>
                      <a:pt x="1860" y="660"/>
                      <a:pt x="1860" y="660"/>
                      <a:pt x="1860" y="660"/>
                    </a:cubicBezTo>
                    <a:cubicBezTo>
                      <a:pt x="1860" y="659"/>
                      <a:pt x="1860" y="659"/>
                      <a:pt x="1860" y="659"/>
                    </a:cubicBezTo>
                    <a:cubicBezTo>
                      <a:pt x="1861" y="658"/>
                      <a:pt x="1861" y="658"/>
                      <a:pt x="1861" y="658"/>
                    </a:cubicBezTo>
                    <a:cubicBezTo>
                      <a:pt x="1862" y="657"/>
                      <a:pt x="1862" y="657"/>
                      <a:pt x="1862" y="657"/>
                    </a:cubicBezTo>
                    <a:cubicBezTo>
                      <a:pt x="1861" y="657"/>
                      <a:pt x="1861" y="657"/>
                      <a:pt x="1861" y="657"/>
                    </a:cubicBezTo>
                    <a:cubicBezTo>
                      <a:pt x="1860" y="657"/>
                      <a:pt x="1860" y="657"/>
                      <a:pt x="1860" y="657"/>
                    </a:cubicBezTo>
                    <a:cubicBezTo>
                      <a:pt x="1859" y="656"/>
                      <a:pt x="1859" y="656"/>
                      <a:pt x="1859" y="656"/>
                    </a:cubicBezTo>
                    <a:cubicBezTo>
                      <a:pt x="1858" y="657"/>
                      <a:pt x="1858" y="657"/>
                      <a:pt x="1858" y="657"/>
                    </a:cubicBezTo>
                    <a:cubicBezTo>
                      <a:pt x="1857" y="657"/>
                      <a:pt x="1857" y="657"/>
                      <a:pt x="1857" y="657"/>
                    </a:cubicBezTo>
                    <a:cubicBezTo>
                      <a:pt x="1855" y="656"/>
                      <a:pt x="1855" y="656"/>
                      <a:pt x="1855" y="656"/>
                    </a:cubicBezTo>
                    <a:cubicBezTo>
                      <a:pt x="1854" y="655"/>
                      <a:pt x="1854" y="655"/>
                      <a:pt x="1854" y="655"/>
                    </a:cubicBezTo>
                    <a:cubicBezTo>
                      <a:pt x="1853" y="654"/>
                      <a:pt x="1853" y="654"/>
                      <a:pt x="1853" y="654"/>
                    </a:cubicBezTo>
                    <a:cubicBezTo>
                      <a:pt x="1853" y="655"/>
                      <a:pt x="1853" y="655"/>
                      <a:pt x="1853" y="655"/>
                    </a:cubicBezTo>
                    <a:cubicBezTo>
                      <a:pt x="1853" y="656"/>
                      <a:pt x="1853" y="656"/>
                      <a:pt x="1853" y="656"/>
                    </a:cubicBezTo>
                    <a:cubicBezTo>
                      <a:pt x="1852" y="656"/>
                      <a:pt x="1852" y="656"/>
                      <a:pt x="1852" y="656"/>
                    </a:cubicBezTo>
                    <a:cubicBezTo>
                      <a:pt x="1851" y="656"/>
                      <a:pt x="1851" y="656"/>
                      <a:pt x="1851" y="656"/>
                    </a:cubicBezTo>
                    <a:cubicBezTo>
                      <a:pt x="1850" y="656"/>
                      <a:pt x="1850" y="656"/>
                      <a:pt x="1850" y="656"/>
                    </a:cubicBezTo>
                    <a:cubicBezTo>
                      <a:pt x="1850" y="656"/>
                      <a:pt x="1850" y="656"/>
                      <a:pt x="1850" y="657"/>
                    </a:cubicBezTo>
                    <a:cubicBezTo>
                      <a:pt x="1850" y="657"/>
                      <a:pt x="1850" y="657"/>
                      <a:pt x="1849" y="658"/>
                    </a:cubicBezTo>
                    <a:cubicBezTo>
                      <a:pt x="1849" y="658"/>
                      <a:pt x="1849" y="658"/>
                      <a:pt x="1848" y="658"/>
                    </a:cubicBezTo>
                    <a:cubicBezTo>
                      <a:pt x="1848" y="658"/>
                      <a:pt x="1848" y="658"/>
                      <a:pt x="1847" y="658"/>
                    </a:cubicBezTo>
                    <a:cubicBezTo>
                      <a:pt x="1847" y="658"/>
                      <a:pt x="1847" y="658"/>
                      <a:pt x="1845" y="659"/>
                    </a:cubicBezTo>
                    <a:cubicBezTo>
                      <a:pt x="1845" y="659"/>
                      <a:pt x="1845" y="659"/>
                      <a:pt x="1845" y="660"/>
                    </a:cubicBezTo>
                    <a:cubicBezTo>
                      <a:pt x="1845" y="660"/>
                      <a:pt x="1845" y="660"/>
                      <a:pt x="1844" y="661"/>
                    </a:cubicBezTo>
                    <a:cubicBezTo>
                      <a:pt x="1844" y="661"/>
                      <a:pt x="1844" y="661"/>
                      <a:pt x="1844" y="660"/>
                    </a:cubicBezTo>
                    <a:cubicBezTo>
                      <a:pt x="1844" y="660"/>
                      <a:pt x="1844" y="660"/>
                      <a:pt x="1843" y="661"/>
                    </a:cubicBezTo>
                    <a:cubicBezTo>
                      <a:pt x="1843" y="661"/>
                      <a:pt x="1843" y="661"/>
                      <a:pt x="1842" y="661"/>
                    </a:cubicBezTo>
                    <a:cubicBezTo>
                      <a:pt x="1842" y="661"/>
                      <a:pt x="1842" y="661"/>
                      <a:pt x="1841" y="661"/>
                    </a:cubicBezTo>
                    <a:cubicBezTo>
                      <a:pt x="1841" y="661"/>
                      <a:pt x="1841" y="661"/>
                      <a:pt x="1841" y="662"/>
                    </a:cubicBezTo>
                    <a:cubicBezTo>
                      <a:pt x="1841" y="662"/>
                      <a:pt x="1841" y="662"/>
                      <a:pt x="1841" y="663"/>
                    </a:cubicBezTo>
                    <a:cubicBezTo>
                      <a:pt x="1841" y="663"/>
                      <a:pt x="1841" y="663"/>
                      <a:pt x="1841" y="664"/>
                    </a:cubicBezTo>
                    <a:cubicBezTo>
                      <a:pt x="1841" y="664"/>
                      <a:pt x="1841" y="664"/>
                      <a:pt x="1841" y="665"/>
                    </a:cubicBezTo>
                    <a:cubicBezTo>
                      <a:pt x="1841" y="665"/>
                      <a:pt x="1841" y="665"/>
                      <a:pt x="1841" y="666"/>
                    </a:cubicBezTo>
                    <a:cubicBezTo>
                      <a:pt x="1841" y="666"/>
                      <a:pt x="1841" y="666"/>
                      <a:pt x="1840" y="666"/>
                    </a:cubicBezTo>
                    <a:cubicBezTo>
                      <a:pt x="1840" y="666"/>
                      <a:pt x="1840" y="666"/>
                      <a:pt x="1839" y="668"/>
                    </a:cubicBezTo>
                    <a:cubicBezTo>
                      <a:pt x="1839" y="668"/>
                      <a:pt x="1839" y="668"/>
                      <a:pt x="1838" y="668"/>
                    </a:cubicBezTo>
                    <a:cubicBezTo>
                      <a:pt x="1838" y="668"/>
                      <a:pt x="1838" y="668"/>
                      <a:pt x="1837" y="668"/>
                    </a:cubicBezTo>
                    <a:cubicBezTo>
                      <a:pt x="1837" y="668"/>
                      <a:pt x="1837" y="668"/>
                      <a:pt x="1837" y="669"/>
                    </a:cubicBezTo>
                    <a:cubicBezTo>
                      <a:pt x="1837" y="669"/>
                      <a:pt x="1837" y="669"/>
                      <a:pt x="1837" y="670"/>
                    </a:cubicBezTo>
                    <a:cubicBezTo>
                      <a:pt x="1837" y="670"/>
                      <a:pt x="1837" y="670"/>
                      <a:pt x="1837" y="671"/>
                    </a:cubicBezTo>
                    <a:cubicBezTo>
                      <a:pt x="1837" y="671"/>
                      <a:pt x="1837" y="671"/>
                      <a:pt x="1838" y="672"/>
                    </a:cubicBezTo>
                    <a:cubicBezTo>
                      <a:pt x="1838" y="672"/>
                      <a:pt x="1838" y="672"/>
                      <a:pt x="1837" y="674"/>
                    </a:cubicBezTo>
                    <a:cubicBezTo>
                      <a:pt x="1837" y="674"/>
                      <a:pt x="1837" y="674"/>
                      <a:pt x="1836" y="675"/>
                    </a:cubicBezTo>
                    <a:cubicBezTo>
                      <a:pt x="1836" y="675"/>
                      <a:pt x="1836" y="675"/>
                      <a:pt x="1838" y="676"/>
                    </a:cubicBezTo>
                    <a:cubicBezTo>
                      <a:pt x="1838" y="676"/>
                      <a:pt x="1838" y="676"/>
                      <a:pt x="1837" y="677"/>
                    </a:cubicBezTo>
                    <a:cubicBezTo>
                      <a:pt x="1837" y="677"/>
                      <a:pt x="1837" y="677"/>
                      <a:pt x="1839" y="678"/>
                    </a:cubicBezTo>
                    <a:cubicBezTo>
                      <a:pt x="1839" y="678"/>
                      <a:pt x="1839" y="678"/>
                      <a:pt x="1841" y="680"/>
                    </a:cubicBezTo>
                    <a:cubicBezTo>
                      <a:pt x="1841" y="680"/>
                      <a:pt x="1841" y="680"/>
                      <a:pt x="1842" y="680"/>
                    </a:cubicBezTo>
                    <a:cubicBezTo>
                      <a:pt x="1842" y="680"/>
                      <a:pt x="1842" y="680"/>
                      <a:pt x="1842" y="681"/>
                    </a:cubicBezTo>
                    <a:cubicBezTo>
                      <a:pt x="1842" y="681"/>
                      <a:pt x="1842" y="681"/>
                      <a:pt x="1842" y="682"/>
                    </a:cubicBezTo>
                    <a:cubicBezTo>
                      <a:pt x="1842" y="682"/>
                      <a:pt x="1842" y="682"/>
                      <a:pt x="1843" y="684"/>
                    </a:cubicBezTo>
                    <a:cubicBezTo>
                      <a:pt x="1843" y="684"/>
                      <a:pt x="1843" y="684"/>
                      <a:pt x="1843" y="685"/>
                    </a:cubicBezTo>
                    <a:cubicBezTo>
                      <a:pt x="1843" y="685"/>
                      <a:pt x="1843" y="685"/>
                      <a:pt x="1845" y="687"/>
                    </a:cubicBezTo>
                    <a:cubicBezTo>
                      <a:pt x="1845" y="687"/>
                      <a:pt x="1845" y="687"/>
                      <a:pt x="1847" y="687"/>
                    </a:cubicBezTo>
                    <a:cubicBezTo>
                      <a:pt x="1847" y="687"/>
                      <a:pt x="1847" y="687"/>
                      <a:pt x="1847" y="688"/>
                    </a:cubicBezTo>
                    <a:cubicBezTo>
                      <a:pt x="1847" y="688"/>
                      <a:pt x="1847" y="688"/>
                      <a:pt x="1850" y="690"/>
                    </a:cubicBezTo>
                    <a:cubicBezTo>
                      <a:pt x="1850" y="690"/>
                      <a:pt x="1850" y="690"/>
                      <a:pt x="1853" y="692"/>
                    </a:cubicBezTo>
                    <a:cubicBezTo>
                      <a:pt x="1853" y="692"/>
                      <a:pt x="1853" y="692"/>
                      <a:pt x="1854" y="693"/>
                    </a:cubicBezTo>
                    <a:cubicBezTo>
                      <a:pt x="1854" y="693"/>
                      <a:pt x="1854" y="693"/>
                      <a:pt x="1857" y="695"/>
                    </a:cubicBezTo>
                    <a:cubicBezTo>
                      <a:pt x="1857" y="695"/>
                      <a:pt x="1857" y="695"/>
                      <a:pt x="1858" y="697"/>
                    </a:cubicBezTo>
                    <a:cubicBezTo>
                      <a:pt x="1858" y="697"/>
                      <a:pt x="1858" y="697"/>
                      <a:pt x="1858" y="698"/>
                    </a:cubicBezTo>
                    <a:cubicBezTo>
                      <a:pt x="1858" y="698"/>
                      <a:pt x="1858" y="698"/>
                      <a:pt x="1858" y="699"/>
                    </a:cubicBezTo>
                    <a:cubicBezTo>
                      <a:pt x="1858" y="699"/>
                      <a:pt x="1858" y="699"/>
                      <a:pt x="1860" y="700"/>
                    </a:cubicBezTo>
                    <a:cubicBezTo>
                      <a:pt x="1860" y="700"/>
                      <a:pt x="1860" y="700"/>
                      <a:pt x="1860" y="701"/>
                    </a:cubicBezTo>
                    <a:cubicBezTo>
                      <a:pt x="1860" y="701"/>
                      <a:pt x="1860" y="701"/>
                      <a:pt x="1860" y="702"/>
                    </a:cubicBezTo>
                    <a:cubicBezTo>
                      <a:pt x="1860" y="702"/>
                      <a:pt x="1860" y="702"/>
                      <a:pt x="1861" y="703"/>
                    </a:cubicBezTo>
                    <a:cubicBezTo>
                      <a:pt x="1861" y="703"/>
                      <a:pt x="1861" y="703"/>
                      <a:pt x="1861" y="705"/>
                    </a:cubicBezTo>
                    <a:cubicBezTo>
                      <a:pt x="1861" y="705"/>
                      <a:pt x="1861" y="705"/>
                      <a:pt x="1861" y="706"/>
                    </a:cubicBezTo>
                    <a:cubicBezTo>
                      <a:pt x="1861" y="706"/>
                      <a:pt x="1861" y="706"/>
                      <a:pt x="1862" y="708"/>
                    </a:cubicBezTo>
                    <a:cubicBezTo>
                      <a:pt x="1862" y="708"/>
                      <a:pt x="1862" y="708"/>
                      <a:pt x="1862" y="709"/>
                    </a:cubicBezTo>
                    <a:cubicBezTo>
                      <a:pt x="1862" y="709"/>
                      <a:pt x="1862" y="709"/>
                      <a:pt x="1862" y="710"/>
                    </a:cubicBezTo>
                    <a:cubicBezTo>
                      <a:pt x="1862" y="710"/>
                      <a:pt x="1862" y="710"/>
                      <a:pt x="1863" y="711"/>
                    </a:cubicBezTo>
                    <a:cubicBezTo>
                      <a:pt x="1863" y="711"/>
                      <a:pt x="1863" y="711"/>
                      <a:pt x="1862" y="712"/>
                    </a:cubicBezTo>
                    <a:cubicBezTo>
                      <a:pt x="1862" y="712"/>
                      <a:pt x="1862" y="712"/>
                      <a:pt x="1863" y="713"/>
                    </a:cubicBezTo>
                    <a:cubicBezTo>
                      <a:pt x="1863" y="713"/>
                      <a:pt x="1863" y="713"/>
                      <a:pt x="1863" y="714"/>
                    </a:cubicBezTo>
                    <a:cubicBezTo>
                      <a:pt x="1863" y="714"/>
                      <a:pt x="1863" y="714"/>
                      <a:pt x="1864" y="715"/>
                    </a:cubicBezTo>
                    <a:cubicBezTo>
                      <a:pt x="1864" y="715"/>
                      <a:pt x="1864" y="715"/>
                      <a:pt x="1864" y="716"/>
                    </a:cubicBezTo>
                    <a:cubicBezTo>
                      <a:pt x="1864" y="716"/>
                      <a:pt x="1864" y="716"/>
                      <a:pt x="1863" y="717"/>
                    </a:cubicBezTo>
                    <a:cubicBezTo>
                      <a:pt x="1863" y="717"/>
                      <a:pt x="1863" y="717"/>
                      <a:pt x="1863" y="718"/>
                    </a:cubicBezTo>
                    <a:cubicBezTo>
                      <a:pt x="1863" y="718"/>
                      <a:pt x="1863" y="718"/>
                      <a:pt x="1864" y="718"/>
                    </a:cubicBezTo>
                    <a:cubicBezTo>
                      <a:pt x="1864" y="718"/>
                      <a:pt x="1864" y="718"/>
                      <a:pt x="1864" y="719"/>
                    </a:cubicBezTo>
                    <a:cubicBezTo>
                      <a:pt x="1864" y="719"/>
                      <a:pt x="1864" y="719"/>
                      <a:pt x="1863" y="719"/>
                    </a:cubicBezTo>
                    <a:cubicBezTo>
                      <a:pt x="1863" y="719"/>
                      <a:pt x="1863" y="719"/>
                      <a:pt x="1863" y="720"/>
                    </a:cubicBezTo>
                    <a:cubicBezTo>
                      <a:pt x="1863" y="720"/>
                      <a:pt x="1863" y="720"/>
                      <a:pt x="1862" y="721"/>
                    </a:cubicBezTo>
                    <a:cubicBezTo>
                      <a:pt x="1862" y="721"/>
                      <a:pt x="1862" y="721"/>
                      <a:pt x="1863" y="722"/>
                    </a:cubicBezTo>
                    <a:cubicBezTo>
                      <a:pt x="1863" y="722"/>
                      <a:pt x="1863" y="722"/>
                      <a:pt x="1862" y="723"/>
                    </a:cubicBezTo>
                    <a:cubicBezTo>
                      <a:pt x="1862" y="723"/>
                      <a:pt x="1862" y="723"/>
                      <a:pt x="1863" y="724"/>
                    </a:cubicBezTo>
                    <a:cubicBezTo>
                      <a:pt x="1863" y="724"/>
                      <a:pt x="1863" y="724"/>
                      <a:pt x="1862" y="724"/>
                    </a:cubicBezTo>
                    <a:cubicBezTo>
                      <a:pt x="1862" y="724"/>
                      <a:pt x="1862" y="724"/>
                      <a:pt x="1861" y="725"/>
                    </a:cubicBezTo>
                    <a:cubicBezTo>
                      <a:pt x="1861" y="725"/>
                      <a:pt x="1861" y="725"/>
                      <a:pt x="1861" y="726"/>
                    </a:cubicBezTo>
                    <a:cubicBezTo>
                      <a:pt x="1861" y="726"/>
                      <a:pt x="1861" y="726"/>
                      <a:pt x="1860" y="727"/>
                    </a:cubicBezTo>
                    <a:cubicBezTo>
                      <a:pt x="1860" y="727"/>
                      <a:pt x="1860" y="727"/>
                      <a:pt x="1859" y="728"/>
                    </a:cubicBezTo>
                    <a:cubicBezTo>
                      <a:pt x="1859" y="728"/>
                      <a:pt x="1859" y="728"/>
                      <a:pt x="1858" y="728"/>
                    </a:cubicBezTo>
                    <a:cubicBezTo>
                      <a:pt x="1858" y="728"/>
                      <a:pt x="1858" y="728"/>
                      <a:pt x="1857" y="729"/>
                    </a:cubicBezTo>
                    <a:cubicBezTo>
                      <a:pt x="1857" y="729"/>
                      <a:pt x="1857" y="729"/>
                      <a:pt x="1857" y="730"/>
                    </a:cubicBezTo>
                    <a:cubicBezTo>
                      <a:pt x="1857" y="730"/>
                      <a:pt x="1857" y="730"/>
                      <a:pt x="1855" y="730"/>
                    </a:cubicBezTo>
                    <a:cubicBezTo>
                      <a:pt x="1855" y="730"/>
                      <a:pt x="1855" y="730"/>
                      <a:pt x="1855" y="731"/>
                    </a:cubicBezTo>
                    <a:cubicBezTo>
                      <a:pt x="1855" y="731"/>
                      <a:pt x="1855" y="731"/>
                      <a:pt x="1852" y="733"/>
                    </a:cubicBezTo>
                    <a:cubicBezTo>
                      <a:pt x="1852" y="733"/>
                      <a:pt x="1852" y="733"/>
                      <a:pt x="1850" y="733"/>
                    </a:cubicBezTo>
                    <a:cubicBezTo>
                      <a:pt x="1850" y="733"/>
                      <a:pt x="1850" y="733"/>
                      <a:pt x="1848" y="733"/>
                    </a:cubicBezTo>
                    <a:cubicBezTo>
                      <a:pt x="1848" y="733"/>
                      <a:pt x="1848" y="733"/>
                      <a:pt x="1848" y="732"/>
                    </a:cubicBezTo>
                    <a:cubicBezTo>
                      <a:pt x="1848" y="732"/>
                      <a:pt x="1848" y="732"/>
                      <a:pt x="1847" y="732"/>
                    </a:cubicBezTo>
                    <a:cubicBezTo>
                      <a:pt x="1847" y="732"/>
                      <a:pt x="1847" y="732"/>
                      <a:pt x="1848" y="733"/>
                    </a:cubicBezTo>
                    <a:cubicBezTo>
                      <a:pt x="1848" y="733"/>
                      <a:pt x="1848" y="733"/>
                      <a:pt x="1847" y="733"/>
                    </a:cubicBezTo>
                    <a:cubicBezTo>
                      <a:pt x="1847" y="733"/>
                      <a:pt x="1847" y="733"/>
                      <a:pt x="1846" y="733"/>
                    </a:cubicBezTo>
                    <a:cubicBezTo>
                      <a:pt x="1846" y="733"/>
                      <a:pt x="1846" y="733"/>
                      <a:pt x="1848" y="734"/>
                    </a:cubicBezTo>
                    <a:cubicBezTo>
                      <a:pt x="1848" y="734"/>
                      <a:pt x="1848" y="734"/>
                      <a:pt x="1847" y="734"/>
                    </a:cubicBezTo>
                    <a:cubicBezTo>
                      <a:pt x="1847" y="734"/>
                      <a:pt x="1847" y="734"/>
                      <a:pt x="1848" y="735"/>
                    </a:cubicBezTo>
                    <a:cubicBezTo>
                      <a:pt x="1848" y="735"/>
                      <a:pt x="1848" y="735"/>
                      <a:pt x="1847" y="736"/>
                    </a:cubicBezTo>
                    <a:cubicBezTo>
                      <a:pt x="1847" y="736"/>
                      <a:pt x="1847" y="736"/>
                      <a:pt x="1847" y="737"/>
                    </a:cubicBezTo>
                    <a:cubicBezTo>
                      <a:pt x="1847" y="737"/>
                      <a:pt x="1847" y="737"/>
                      <a:pt x="1846" y="737"/>
                    </a:cubicBezTo>
                    <a:cubicBezTo>
                      <a:pt x="1846" y="737"/>
                      <a:pt x="1846" y="737"/>
                      <a:pt x="1845" y="736"/>
                    </a:cubicBezTo>
                    <a:cubicBezTo>
                      <a:pt x="1845" y="736"/>
                      <a:pt x="1845" y="736"/>
                      <a:pt x="1844" y="737"/>
                    </a:cubicBezTo>
                    <a:cubicBezTo>
                      <a:pt x="1844" y="737"/>
                      <a:pt x="1844" y="737"/>
                      <a:pt x="1845" y="738"/>
                    </a:cubicBezTo>
                    <a:cubicBezTo>
                      <a:pt x="1845" y="738"/>
                      <a:pt x="1845" y="738"/>
                      <a:pt x="1844" y="739"/>
                    </a:cubicBezTo>
                    <a:cubicBezTo>
                      <a:pt x="1844" y="739"/>
                      <a:pt x="1844" y="739"/>
                      <a:pt x="1842" y="740"/>
                    </a:cubicBezTo>
                    <a:cubicBezTo>
                      <a:pt x="1842" y="740"/>
                      <a:pt x="1842" y="740"/>
                      <a:pt x="1841" y="740"/>
                    </a:cubicBezTo>
                    <a:cubicBezTo>
                      <a:pt x="1841" y="740"/>
                      <a:pt x="1841" y="740"/>
                      <a:pt x="1841" y="741"/>
                    </a:cubicBezTo>
                    <a:cubicBezTo>
                      <a:pt x="1841" y="741"/>
                      <a:pt x="1841" y="741"/>
                      <a:pt x="1841" y="742"/>
                    </a:cubicBezTo>
                    <a:cubicBezTo>
                      <a:pt x="1841" y="742"/>
                      <a:pt x="1841" y="742"/>
                      <a:pt x="1840" y="743"/>
                    </a:cubicBezTo>
                    <a:cubicBezTo>
                      <a:pt x="1840" y="743"/>
                      <a:pt x="1840" y="743"/>
                      <a:pt x="1839" y="743"/>
                    </a:cubicBezTo>
                    <a:cubicBezTo>
                      <a:pt x="1839" y="743"/>
                      <a:pt x="1839" y="743"/>
                      <a:pt x="1837" y="745"/>
                    </a:cubicBezTo>
                    <a:cubicBezTo>
                      <a:pt x="1837" y="745"/>
                      <a:pt x="1837" y="745"/>
                      <a:pt x="1835" y="744"/>
                    </a:cubicBezTo>
                    <a:cubicBezTo>
                      <a:pt x="1835" y="744"/>
                      <a:pt x="1835" y="744"/>
                      <a:pt x="1836" y="744"/>
                    </a:cubicBezTo>
                    <a:cubicBezTo>
                      <a:pt x="1836" y="744"/>
                      <a:pt x="1836" y="744"/>
                      <a:pt x="1837" y="743"/>
                    </a:cubicBezTo>
                    <a:cubicBezTo>
                      <a:pt x="1837" y="743"/>
                      <a:pt x="1837" y="743"/>
                      <a:pt x="1836" y="742"/>
                    </a:cubicBezTo>
                    <a:cubicBezTo>
                      <a:pt x="1836" y="742"/>
                      <a:pt x="1836" y="742"/>
                      <a:pt x="1837" y="740"/>
                    </a:cubicBezTo>
                    <a:cubicBezTo>
                      <a:pt x="1837" y="740"/>
                      <a:pt x="1837" y="740"/>
                      <a:pt x="1836" y="740"/>
                    </a:cubicBezTo>
                    <a:cubicBezTo>
                      <a:pt x="1836" y="740"/>
                      <a:pt x="1836" y="740"/>
                      <a:pt x="1837" y="739"/>
                    </a:cubicBezTo>
                    <a:cubicBezTo>
                      <a:pt x="1837" y="739"/>
                      <a:pt x="1837" y="739"/>
                      <a:pt x="1836" y="737"/>
                    </a:cubicBezTo>
                    <a:cubicBezTo>
                      <a:pt x="1836" y="737"/>
                      <a:pt x="1836" y="737"/>
                      <a:pt x="1837" y="736"/>
                    </a:cubicBezTo>
                    <a:cubicBezTo>
                      <a:pt x="1837" y="736"/>
                      <a:pt x="1837" y="736"/>
                      <a:pt x="1839" y="734"/>
                    </a:cubicBezTo>
                    <a:cubicBezTo>
                      <a:pt x="1839" y="734"/>
                      <a:pt x="1839" y="734"/>
                      <a:pt x="1837" y="734"/>
                    </a:cubicBezTo>
                    <a:cubicBezTo>
                      <a:pt x="1837" y="734"/>
                      <a:pt x="1837" y="734"/>
                      <a:pt x="1836" y="734"/>
                    </a:cubicBezTo>
                    <a:cubicBezTo>
                      <a:pt x="1836" y="734"/>
                      <a:pt x="1836" y="734"/>
                      <a:pt x="1835" y="734"/>
                    </a:cubicBezTo>
                    <a:cubicBezTo>
                      <a:pt x="1835" y="734"/>
                      <a:pt x="1835" y="734"/>
                      <a:pt x="1834" y="734"/>
                    </a:cubicBezTo>
                    <a:cubicBezTo>
                      <a:pt x="1834" y="734"/>
                      <a:pt x="1834" y="734"/>
                      <a:pt x="1834" y="733"/>
                    </a:cubicBezTo>
                    <a:cubicBezTo>
                      <a:pt x="1834" y="733"/>
                      <a:pt x="1834" y="733"/>
                      <a:pt x="1834" y="732"/>
                    </a:cubicBezTo>
                    <a:cubicBezTo>
                      <a:pt x="1834" y="732"/>
                      <a:pt x="1834" y="732"/>
                      <a:pt x="1833" y="731"/>
                    </a:cubicBezTo>
                    <a:cubicBezTo>
                      <a:pt x="1833" y="731"/>
                      <a:pt x="1833" y="731"/>
                      <a:pt x="1832" y="732"/>
                    </a:cubicBezTo>
                    <a:cubicBezTo>
                      <a:pt x="1832" y="732"/>
                      <a:pt x="1832" y="732"/>
                      <a:pt x="1831" y="731"/>
                    </a:cubicBezTo>
                    <a:cubicBezTo>
                      <a:pt x="1831" y="731"/>
                      <a:pt x="1831" y="731"/>
                      <a:pt x="1830" y="731"/>
                    </a:cubicBezTo>
                    <a:cubicBezTo>
                      <a:pt x="1830" y="731"/>
                      <a:pt x="1830" y="731"/>
                      <a:pt x="1829" y="732"/>
                    </a:cubicBezTo>
                    <a:cubicBezTo>
                      <a:pt x="1829" y="732"/>
                      <a:pt x="1829" y="732"/>
                      <a:pt x="1828" y="731"/>
                    </a:cubicBezTo>
                    <a:cubicBezTo>
                      <a:pt x="1828" y="731"/>
                      <a:pt x="1828" y="731"/>
                      <a:pt x="1829" y="730"/>
                    </a:cubicBezTo>
                    <a:cubicBezTo>
                      <a:pt x="1829" y="730"/>
                      <a:pt x="1829" y="730"/>
                      <a:pt x="1829" y="729"/>
                    </a:cubicBezTo>
                    <a:cubicBezTo>
                      <a:pt x="1829" y="729"/>
                      <a:pt x="1829" y="729"/>
                      <a:pt x="1829" y="728"/>
                    </a:cubicBezTo>
                    <a:cubicBezTo>
                      <a:pt x="1829" y="728"/>
                      <a:pt x="1829" y="728"/>
                      <a:pt x="1828" y="728"/>
                    </a:cubicBezTo>
                    <a:cubicBezTo>
                      <a:pt x="1828" y="728"/>
                      <a:pt x="1828" y="728"/>
                      <a:pt x="1827" y="729"/>
                    </a:cubicBezTo>
                    <a:cubicBezTo>
                      <a:pt x="1827" y="729"/>
                      <a:pt x="1827" y="729"/>
                      <a:pt x="1827" y="730"/>
                    </a:cubicBezTo>
                    <a:cubicBezTo>
                      <a:pt x="1827" y="730"/>
                      <a:pt x="1827" y="730"/>
                      <a:pt x="1826" y="730"/>
                    </a:cubicBezTo>
                    <a:cubicBezTo>
                      <a:pt x="1826" y="730"/>
                      <a:pt x="1826" y="730"/>
                      <a:pt x="1825" y="729"/>
                    </a:cubicBezTo>
                    <a:cubicBezTo>
                      <a:pt x="1825" y="729"/>
                      <a:pt x="1825" y="729"/>
                      <a:pt x="1825" y="728"/>
                    </a:cubicBezTo>
                    <a:cubicBezTo>
                      <a:pt x="1825" y="728"/>
                      <a:pt x="1825" y="728"/>
                      <a:pt x="1825" y="727"/>
                    </a:cubicBezTo>
                    <a:cubicBezTo>
                      <a:pt x="1825" y="727"/>
                      <a:pt x="1825" y="727"/>
                      <a:pt x="1825" y="726"/>
                    </a:cubicBezTo>
                    <a:cubicBezTo>
                      <a:pt x="1825" y="726"/>
                      <a:pt x="1825" y="726"/>
                      <a:pt x="1824" y="726"/>
                    </a:cubicBezTo>
                    <a:cubicBezTo>
                      <a:pt x="1824" y="726"/>
                      <a:pt x="1824" y="726"/>
                      <a:pt x="1823" y="725"/>
                    </a:cubicBezTo>
                    <a:cubicBezTo>
                      <a:pt x="1823" y="725"/>
                      <a:pt x="1823" y="725"/>
                      <a:pt x="1823" y="724"/>
                    </a:cubicBezTo>
                    <a:cubicBezTo>
                      <a:pt x="1823" y="724"/>
                      <a:pt x="1823" y="724"/>
                      <a:pt x="1822" y="723"/>
                    </a:cubicBezTo>
                    <a:cubicBezTo>
                      <a:pt x="1822" y="723"/>
                      <a:pt x="1822" y="723"/>
                      <a:pt x="1822" y="722"/>
                    </a:cubicBezTo>
                    <a:cubicBezTo>
                      <a:pt x="1822" y="722"/>
                      <a:pt x="1822" y="722"/>
                      <a:pt x="1821" y="721"/>
                    </a:cubicBezTo>
                    <a:cubicBezTo>
                      <a:pt x="1821" y="722"/>
                      <a:pt x="1821" y="722"/>
                      <a:pt x="1821" y="722"/>
                    </a:cubicBezTo>
                    <a:cubicBezTo>
                      <a:pt x="1820" y="721"/>
                      <a:pt x="1820" y="721"/>
                      <a:pt x="1820" y="721"/>
                    </a:cubicBezTo>
                    <a:cubicBezTo>
                      <a:pt x="1819" y="720"/>
                      <a:pt x="1819" y="720"/>
                      <a:pt x="1819" y="720"/>
                    </a:cubicBezTo>
                    <a:cubicBezTo>
                      <a:pt x="1818" y="719"/>
                      <a:pt x="1818" y="719"/>
                      <a:pt x="1818" y="719"/>
                    </a:cubicBezTo>
                    <a:cubicBezTo>
                      <a:pt x="1816" y="718"/>
                      <a:pt x="1816" y="718"/>
                      <a:pt x="1816" y="718"/>
                    </a:cubicBezTo>
                    <a:cubicBezTo>
                      <a:pt x="1815" y="717"/>
                      <a:pt x="1815" y="717"/>
                      <a:pt x="1815" y="717"/>
                    </a:cubicBezTo>
                    <a:cubicBezTo>
                      <a:pt x="1815" y="718"/>
                      <a:pt x="1815" y="718"/>
                      <a:pt x="1815" y="718"/>
                    </a:cubicBezTo>
                    <a:cubicBezTo>
                      <a:pt x="1815" y="719"/>
                      <a:pt x="1815" y="719"/>
                      <a:pt x="1815" y="719"/>
                    </a:cubicBezTo>
                    <a:cubicBezTo>
                      <a:pt x="1814" y="718"/>
                      <a:pt x="1814" y="718"/>
                      <a:pt x="1814" y="718"/>
                    </a:cubicBezTo>
                    <a:cubicBezTo>
                      <a:pt x="1813" y="718"/>
                      <a:pt x="1813" y="718"/>
                      <a:pt x="1813" y="718"/>
                    </a:cubicBezTo>
                    <a:cubicBezTo>
                      <a:pt x="1811" y="718"/>
                      <a:pt x="1811" y="718"/>
                      <a:pt x="1811" y="718"/>
                    </a:cubicBezTo>
                    <a:cubicBezTo>
                      <a:pt x="1810" y="718"/>
                      <a:pt x="1810" y="718"/>
                      <a:pt x="1810" y="718"/>
                    </a:cubicBezTo>
                    <a:cubicBezTo>
                      <a:pt x="1810" y="717"/>
                      <a:pt x="1810" y="717"/>
                      <a:pt x="1810" y="717"/>
                    </a:cubicBezTo>
                    <a:cubicBezTo>
                      <a:pt x="1810" y="716"/>
                      <a:pt x="1810" y="716"/>
                      <a:pt x="1810" y="716"/>
                    </a:cubicBezTo>
                    <a:cubicBezTo>
                      <a:pt x="1810" y="714"/>
                      <a:pt x="1810" y="714"/>
                      <a:pt x="1810" y="714"/>
                    </a:cubicBezTo>
                    <a:cubicBezTo>
                      <a:pt x="1810" y="713"/>
                      <a:pt x="1810" y="713"/>
                      <a:pt x="1810" y="713"/>
                    </a:cubicBezTo>
                    <a:cubicBezTo>
                      <a:pt x="1809" y="712"/>
                      <a:pt x="1809" y="712"/>
                      <a:pt x="1809" y="712"/>
                    </a:cubicBezTo>
                    <a:cubicBezTo>
                      <a:pt x="1808" y="712"/>
                      <a:pt x="1808" y="712"/>
                      <a:pt x="1808" y="712"/>
                    </a:cubicBezTo>
                    <a:cubicBezTo>
                      <a:pt x="1807" y="713"/>
                      <a:pt x="1807" y="713"/>
                      <a:pt x="1807" y="713"/>
                    </a:cubicBezTo>
                    <a:cubicBezTo>
                      <a:pt x="1806" y="713"/>
                      <a:pt x="1806" y="713"/>
                      <a:pt x="1806" y="713"/>
                    </a:cubicBezTo>
                    <a:cubicBezTo>
                      <a:pt x="1806" y="712"/>
                      <a:pt x="1806" y="712"/>
                      <a:pt x="1806" y="712"/>
                    </a:cubicBezTo>
                    <a:cubicBezTo>
                      <a:pt x="1805" y="713"/>
                      <a:pt x="1805" y="713"/>
                      <a:pt x="1805" y="713"/>
                    </a:cubicBezTo>
                    <a:cubicBezTo>
                      <a:pt x="1804" y="713"/>
                      <a:pt x="1804" y="713"/>
                      <a:pt x="1804" y="713"/>
                    </a:cubicBezTo>
                    <a:cubicBezTo>
                      <a:pt x="1804" y="714"/>
                      <a:pt x="1804" y="714"/>
                      <a:pt x="1804" y="714"/>
                    </a:cubicBezTo>
                    <a:cubicBezTo>
                      <a:pt x="1805" y="714"/>
                      <a:pt x="1805" y="714"/>
                      <a:pt x="1805" y="714"/>
                    </a:cubicBezTo>
                    <a:cubicBezTo>
                      <a:pt x="1805" y="715"/>
                      <a:pt x="1805" y="715"/>
                      <a:pt x="1805" y="715"/>
                    </a:cubicBezTo>
                    <a:cubicBezTo>
                      <a:pt x="1804" y="716"/>
                      <a:pt x="1804" y="716"/>
                      <a:pt x="1804" y="716"/>
                    </a:cubicBezTo>
                    <a:cubicBezTo>
                      <a:pt x="1804" y="718"/>
                      <a:pt x="1804" y="718"/>
                      <a:pt x="1804" y="718"/>
                    </a:cubicBezTo>
                    <a:cubicBezTo>
                      <a:pt x="1804" y="719"/>
                      <a:pt x="1804" y="719"/>
                      <a:pt x="1804" y="719"/>
                    </a:cubicBezTo>
                    <a:cubicBezTo>
                      <a:pt x="1805" y="719"/>
                      <a:pt x="1805" y="719"/>
                      <a:pt x="1805" y="719"/>
                    </a:cubicBezTo>
                    <a:cubicBezTo>
                      <a:pt x="1804" y="721"/>
                      <a:pt x="1804" y="721"/>
                      <a:pt x="1804" y="721"/>
                    </a:cubicBezTo>
                    <a:cubicBezTo>
                      <a:pt x="1804" y="722"/>
                      <a:pt x="1804" y="722"/>
                      <a:pt x="1804" y="722"/>
                    </a:cubicBezTo>
                    <a:cubicBezTo>
                      <a:pt x="1803" y="723"/>
                      <a:pt x="1803" y="723"/>
                      <a:pt x="1803" y="723"/>
                    </a:cubicBezTo>
                    <a:cubicBezTo>
                      <a:pt x="1802" y="724"/>
                      <a:pt x="1802" y="724"/>
                      <a:pt x="1802" y="724"/>
                    </a:cubicBezTo>
                    <a:cubicBezTo>
                      <a:pt x="1802" y="729"/>
                      <a:pt x="1802" y="729"/>
                      <a:pt x="1802" y="729"/>
                    </a:cubicBezTo>
                    <a:cubicBezTo>
                      <a:pt x="1801" y="731"/>
                      <a:pt x="1801" y="731"/>
                      <a:pt x="1801" y="731"/>
                    </a:cubicBezTo>
                    <a:cubicBezTo>
                      <a:pt x="1801" y="732"/>
                      <a:pt x="1801" y="732"/>
                      <a:pt x="1801" y="732"/>
                    </a:cubicBezTo>
                    <a:cubicBezTo>
                      <a:pt x="1800" y="734"/>
                      <a:pt x="1800" y="734"/>
                      <a:pt x="1800" y="734"/>
                    </a:cubicBezTo>
                    <a:cubicBezTo>
                      <a:pt x="1801" y="734"/>
                      <a:pt x="1801" y="734"/>
                      <a:pt x="1801" y="734"/>
                    </a:cubicBezTo>
                    <a:cubicBezTo>
                      <a:pt x="1800" y="735"/>
                      <a:pt x="1800" y="735"/>
                      <a:pt x="1800" y="735"/>
                    </a:cubicBezTo>
                    <a:cubicBezTo>
                      <a:pt x="1801" y="737"/>
                      <a:pt x="1801" y="737"/>
                      <a:pt x="1801" y="737"/>
                    </a:cubicBezTo>
                    <a:cubicBezTo>
                      <a:pt x="1801" y="738"/>
                      <a:pt x="1801" y="738"/>
                      <a:pt x="1801" y="738"/>
                    </a:cubicBezTo>
                    <a:cubicBezTo>
                      <a:pt x="1802" y="739"/>
                      <a:pt x="1802" y="739"/>
                      <a:pt x="1802" y="739"/>
                    </a:cubicBezTo>
                    <a:cubicBezTo>
                      <a:pt x="1801" y="741"/>
                      <a:pt x="1801" y="741"/>
                      <a:pt x="1801" y="741"/>
                    </a:cubicBezTo>
                    <a:cubicBezTo>
                      <a:pt x="1802" y="741"/>
                      <a:pt x="1802" y="741"/>
                      <a:pt x="1802" y="741"/>
                    </a:cubicBezTo>
                    <a:cubicBezTo>
                      <a:pt x="1802" y="740"/>
                      <a:pt x="1802" y="740"/>
                      <a:pt x="1802" y="740"/>
                    </a:cubicBezTo>
                    <a:cubicBezTo>
                      <a:pt x="1803" y="740"/>
                      <a:pt x="1803" y="740"/>
                      <a:pt x="1803" y="740"/>
                    </a:cubicBezTo>
                    <a:cubicBezTo>
                      <a:pt x="1804" y="740"/>
                      <a:pt x="1804" y="740"/>
                      <a:pt x="1804" y="740"/>
                    </a:cubicBezTo>
                    <a:cubicBezTo>
                      <a:pt x="1805" y="741"/>
                      <a:pt x="1805" y="741"/>
                      <a:pt x="1805" y="741"/>
                    </a:cubicBezTo>
                    <a:cubicBezTo>
                      <a:pt x="1805" y="742"/>
                      <a:pt x="1805" y="742"/>
                      <a:pt x="1805" y="742"/>
                    </a:cubicBezTo>
                    <a:cubicBezTo>
                      <a:pt x="1806" y="743"/>
                      <a:pt x="1806" y="743"/>
                      <a:pt x="1806" y="743"/>
                    </a:cubicBezTo>
                    <a:cubicBezTo>
                      <a:pt x="1805" y="744"/>
                      <a:pt x="1805" y="744"/>
                      <a:pt x="1805" y="744"/>
                    </a:cubicBezTo>
                    <a:cubicBezTo>
                      <a:pt x="1806" y="744"/>
                      <a:pt x="1806" y="744"/>
                      <a:pt x="1806" y="744"/>
                    </a:cubicBezTo>
                    <a:cubicBezTo>
                      <a:pt x="1807" y="746"/>
                      <a:pt x="1807" y="746"/>
                      <a:pt x="1807" y="746"/>
                    </a:cubicBezTo>
                    <a:cubicBezTo>
                      <a:pt x="1807" y="745"/>
                      <a:pt x="1807" y="745"/>
                      <a:pt x="1807" y="745"/>
                    </a:cubicBezTo>
                    <a:cubicBezTo>
                      <a:pt x="1808" y="744"/>
                      <a:pt x="1808" y="744"/>
                      <a:pt x="1808" y="744"/>
                    </a:cubicBezTo>
                    <a:cubicBezTo>
                      <a:pt x="1808" y="745"/>
                      <a:pt x="1808" y="745"/>
                      <a:pt x="1808" y="745"/>
                    </a:cubicBezTo>
                    <a:cubicBezTo>
                      <a:pt x="1809" y="746"/>
                      <a:pt x="1809" y="746"/>
                      <a:pt x="1809" y="746"/>
                    </a:cubicBezTo>
                    <a:cubicBezTo>
                      <a:pt x="1809" y="747"/>
                      <a:pt x="1809" y="747"/>
                      <a:pt x="1809" y="747"/>
                    </a:cubicBezTo>
                    <a:cubicBezTo>
                      <a:pt x="1809" y="748"/>
                      <a:pt x="1809" y="748"/>
                      <a:pt x="1809" y="748"/>
                    </a:cubicBezTo>
                    <a:cubicBezTo>
                      <a:pt x="1810" y="750"/>
                      <a:pt x="1810" y="750"/>
                      <a:pt x="1810" y="750"/>
                    </a:cubicBezTo>
                    <a:cubicBezTo>
                      <a:pt x="1809" y="751"/>
                      <a:pt x="1809" y="751"/>
                      <a:pt x="1809" y="751"/>
                    </a:cubicBezTo>
                    <a:cubicBezTo>
                      <a:pt x="1808" y="751"/>
                      <a:pt x="1808" y="751"/>
                      <a:pt x="1808" y="751"/>
                    </a:cubicBezTo>
                    <a:cubicBezTo>
                      <a:pt x="1808" y="752"/>
                      <a:pt x="1808" y="752"/>
                      <a:pt x="1808" y="752"/>
                    </a:cubicBezTo>
                    <a:cubicBezTo>
                      <a:pt x="1810" y="753"/>
                      <a:pt x="1810" y="753"/>
                      <a:pt x="1810" y="753"/>
                    </a:cubicBezTo>
                    <a:cubicBezTo>
                      <a:pt x="1811" y="754"/>
                      <a:pt x="1811" y="754"/>
                      <a:pt x="1811" y="754"/>
                    </a:cubicBezTo>
                    <a:cubicBezTo>
                      <a:pt x="1813" y="756"/>
                      <a:pt x="1813" y="756"/>
                      <a:pt x="1813" y="756"/>
                    </a:cubicBezTo>
                    <a:cubicBezTo>
                      <a:pt x="1814" y="756"/>
                      <a:pt x="1814" y="756"/>
                      <a:pt x="1814" y="756"/>
                    </a:cubicBezTo>
                    <a:cubicBezTo>
                      <a:pt x="1815" y="756"/>
                      <a:pt x="1815" y="756"/>
                      <a:pt x="1815" y="756"/>
                    </a:cubicBezTo>
                    <a:cubicBezTo>
                      <a:pt x="1817" y="757"/>
                      <a:pt x="1817" y="757"/>
                      <a:pt x="1817" y="757"/>
                    </a:cubicBezTo>
                    <a:cubicBezTo>
                      <a:pt x="1817" y="759"/>
                      <a:pt x="1817" y="759"/>
                      <a:pt x="1817" y="759"/>
                    </a:cubicBezTo>
                    <a:cubicBezTo>
                      <a:pt x="1818" y="759"/>
                      <a:pt x="1818" y="759"/>
                      <a:pt x="1818" y="759"/>
                    </a:cubicBezTo>
                    <a:cubicBezTo>
                      <a:pt x="1819" y="760"/>
                      <a:pt x="1819" y="760"/>
                      <a:pt x="1819" y="760"/>
                    </a:cubicBezTo>
                    <a:cubicBezTo>
                      <a:pt x="1819" y="761"/>
                      <a:pt x="1819" y="761"/>
                      <a:pt x="1819" y="761"/>
                    </a:cubicBezTo>
                    <a:cubicBezTo>
                      <a:pt x="1819" y="761"/>
                      <a:pt x="1819" y="761"/>
                      <a:pt x="1820" y="761"/>
                    </a:cubicBezTo>
                    <a:cubicBezTo>
                      <a:pt x="1820" y="761"/>
                      <a:pt x="1820" y="761"/>
                      <a:pt x="1821" y="760"/>
                    </a:cubicBezTo>
                    <a:cubicBezTo>
                      <a:pt x="1821" y="760"/>
                      <a:pt x="1821" y="760"/>
                      <a:pt x="1822" y="762"/>
                    </a:cubicBezTo>
                    <a:cubicBezTo>
                      <a:pt x="1822" y="762"/>
                      <a:pt x="1822" y="762"/>
                      <a:pt x="1827" y="766"/>
                    </a:cubicBezTo>
                    <a:cubicBezTo>
                      <a:pt x="1827" y="766"/>
                      <a:pt x="1827" y="766"/>
                      <a:pt x="1828" y="769"/>
                    </a:cubicBezTo>
                    <a:cubicBezTo>
                      <a:pt x="1828" y="769"/>
                      <a:pt x="1828" y="769"/>
                      <a:pt x="1829" y="771"/>
                    </a:cubicBezTo>
                    <a:cubicBezTo>
                      <a:pt x="1829" y="771"/>
                      <a:pt x="1829" y="771"/>
                      <a:pt x="1828" y="772"/>
                    </a:cubicBezTo>
                    <a:cubicBezTo>
                      <a:pt x="1828" y="772"/>
                      <a:pt x="1828" y="772"/>
                      <a:pt x="1829" y="775"/>
                    </a:cubicBezTo>
                    <a:cubicBezTo>
                      <a:pt x="1829" y="775"/>
                      <a:pt x="1829" y="775"/>
                      <a:pt x="1828" y="775"/>
                    </a:cubicBezTo>
                    <a:cubicBezTo>
                      <a:pt x="1828" y="775"/>
                      <a:pt x="1828" y="775"/>
                      <a:pt x="1828" y="776"/>
                    </a:cubicBezTo>
                    <a:cubicBezTo>
                      <a:pt x="1828" y="776"/>
                      <a:pt x="1828" y="776"/>
                      <a:pt x="1829" y="777"/>
                    </a:cubicBezTo>
                    <a:cubicBezTo>
                      <a:pt x="1829" y="777"/>
                      <a:pt x="1829" y="777"/>
                      <a:pt x="1829" y="780"/>
                    </a:cubicBezTo>
                    <a:cubicBezTo>
                      <a:pt x="1829" y="780"/>
                      <a:pt x="1829" y="780"/>
                      <a:pt x="1830" y="782"/>
                    </a:cubicBezTo>
                    <a:cubicBezTo>
                      <a:pt x="1830" y="782"/>
                      <a:pt x="1830" y="782"/>
                      <a:pt x="1831" y="783"/>
                    </a:cubicBezTo>
                    <a:cubicBezTo>
                      <a:pt x="1831" y="783"/>
                      <a:pt x="1831" y="783"/>
                      <a:pt x="1832" y="783"/>
                    </a:cubicBezTo>
                    <a:cubicBezTo>
                      <a:pt x="1832" y="783"/>
                      <a:pt x="1832" y="783"/>
                      <a:pt x="1832" y="784"/>
                    </a:cubicBezTo>
                    <a:cubicBezTo>
                      <a:pt x="1832" y="784"/>
                      <a:pt x="1832" y="784"/>
                      <a:pt x="1832" y="786"/>
                    </a:cubicBezTo>
                    <a:cubicBezTo>
                      <a:pt x="1832" y="786"/>
                      <a:pt x="1832" y="786"/>
                      <a:pt x="1833" y="787"/>
                    </a:cubicBezTo>
                    <a:cubicBezTo>
                      <a:pt x="1833" y="787"/>
                      <a:pt x="1833" y="787"/>
                      <a:pt x="1833" y="788"/>
                    </a:cubicBezTo>
                    <a:cubicBezTo>
                      <a:pt x="1833" y="788"/>
                      <a:pt x="1833" y="788"/>
                      <a:pt x="1835" y="790"/>
                    </a:cubicBezTo>
                    <a:cubicBezTo>
                      <a:pt x="1835" y="790"/>
                      <a:pt x="1835" y="790"/>
                      <a:pt x="1835" y="792"/>
                    </a:cubicBezTo>
                    <a:cubicBezTo>
                      <a:pt x="1835" y="792"/>
                      <a:pt x="1835" y="792"/>
                      <a:pt x="1834" y="792"/>
                    </a:cubicBezTo>
                    <a:cubicBezTo>
                      <a:pt x="1834" y="792"/>
                      <a:pt x="1834" y="792"/>
                      <a:pt x="1834" y="791"/>
                    </a:cubicBezTo>
                    <a:cubicBezTo>
                      <a:pt x="1834" y="791"/>
                      <a:pt x="1834" y="791"/>
                      <a:pt x="1833" y="790"/>
                    </a:cubicBezTo>
                    <a:cubicBezTo>
                      <a:pt x="1833" y="790"/>
                      <a:pt x="1833" y="790"/>
                      <a:pt x="1833" y="791"/>
                    </a:cubicBezTo>
                    <a:cubicBezTo>
                      <a:pt x="1833" y="791"/>
                      <a:pt x="1833" y="791"/>
                      <a:pt x="1833" y="792"/>
                    </a:cubicBezTo>
                    <a:cubicBezTo>
                      <a:pt x="1833" y="792"/>
                      <a:pt x="1833" y="792"/>
                      <a:pt x="1832" y="792"/>
                    </a:cubicBezTo>
                    <a:cubicBezTo>
                      <a:pt x="1832" y="792"/>
                      <a:pt x="1832" y="792"/>
                      <a:pt x="1831" y="792"/>
                    </a:cubicBezTo>
                    <a:cubicBezTo>
                      <a:pt x="1831" y="792"/>
                      <a:pt x="1831" y="792"/>
                      <a:pt x="1830" y="792"/>
                    </a:cubicBezTo>
                    <a:cubicBezTo>
                      <a:pt x="1830" y="792"/>
                      <a:pt x="1830" y="792"/>
                      <a:pt x="1829" y="791"/>
                    </a:cubicBezTo>
                    <a:cubicBezTo>
                      <a:pt x="1829" y="791"/>
                      <a:pt x="1829" y="791"/>
                      <a:pt x="1827" y="790"/>
                    </a:cubicBezTo>
                    <a:cubicBezTo>
                      <a:pt x="1827" y="790"/>
                      <a:pt x="1827" y="790"/>
                      <a:pt x="1825" y="789"/>
                    </a:cubicBezTo>
                    <a:cubicBezTo>
                      <a:pt x="1825" y="789"/>
                      <a:pt x="1825" y="789"/>
                      <a:pt x="1824" y="788"/>
                    </a:cubicBezTo>
                    <a:cubicBezTo>
                      <a:pt x="1824" y="788"/>
                      <a:pt x="1824" y="788"/>
                      <a:pt x="1823" y="788"/>
                    </a:cubicBezTo>
                    <a:cubicBezTo>
                      <a:pt x="1823" y="788"/>
                      <a:pt x="1823" y="788"/>
                      <a:pt x="1822" y="788"/>
                    </a:cubicBezTo>
                    <a:cubicBezTo>
                      <a:pt x="1822" y="788"/>
                      <a:pt x="1822" y="788"/>
                      <a:pt x="1820" y="786"/>
                    </a:cubicBezTo>
                    <a:cubicBezTo>
                      <a:pt x="1820" y="786"/>
                      <a:pt x="1820" y="786"/>
                      <a:pt x="1820" y="785"/>
                    </a:cubicBezTo>
                    <a:cubicBezTo>
                      <a:pt x="1820" y="785"/>
                      <a:pt x="1820" y="785"/>
                      <a:pt x="1819" y="784"/>
                    </a:cubicBezTo>
                    <a:cubicBezTo>
                      <a:pt x="1819" y="784"/>
                      <a:pt x="1819" y="784"/>
                      <a:pt x="1816" y="783"/>
                    </a:cubicBezTo>
                    <a:cubicBezTo>
                      <a:pt x="1816" y="783"/>
                      <a:pt x="1816" y="783"/>
                      <a:pt x="1816" y="782"/>
                    </a:cubicBezTo>
                    <a:cubicBezTo>
                      <a:pt x="1816" y="782"/>
                      <a:pt x="1816" y="782"/>
                      <a:pt x="1816" y="781"/>
                    </a:cubicBezTo>
                    <a:cubicBezTo>
                      <a:pt x="1816" y="781"/>
                      <a:pt x="1816" y="781"/>
                      <a:pt x="1817" y="780"/>
                    </a:cubicBezTo>
                    <a:cubicBezTo>
                      <a:pt x="1817" y="780"/>
                      <a:pt x="1817" y="780"/>
                      <a:pt x="1816" y="779"/>
                    </a:cubicBezTo>
                    <a:cubicBezTo>
                      <a:pt x="1816" y="779"/>
                      <a:pt x="1816" y="779"/>
                      <a:pt x="1815" y="778"/>
                    </a:cubicBezTo>
                    <a:cubicBezTo>
                      <a:pt x="1815" y="778"/>
                      <a:pt x="1815" y="778"/>
                      <a:pt x="1814" y="777"/>
                    </a:cubicBezTo>
                    <a:cubicBezTo>
                      <a:pt x="1814" y="777"/>
                      <a:pt x="1814" y="777"/>
                      <a:pt x="1812" y="776"/>
                    </a:cubicBezTo>
                    <a:cubicBezTo>
                      <a:pt x="1812" y="776"/>
                      <a:pt x="1812" y="776"/>
                      <a:pt x="1811" y="775"/>
                    </a:cubicBezTo>
                    <a:cubicBezTo>
                      <a:pt x="1811" y="775"/>
                      <a:pt x="1811" y="775"/>
                      <a:pt x="1811" y="774"/>
                    </a:cubicBezTo>
                    <a:cubicBezTo>
                      <a:pt x="1811" y="774"/>
                      <a:pt x="1811" y="774"/>
                      <a:pt x="1811" y="773"/>
                    </a:cubicBezTo>
                    <a:cubicBezTo>
                      <a:pt x="1811" y="773"/>
                      <a:pt x="1811" y="773"/>
                      <a:pt x="1810" y="772"/>
                    </a:cubicBezTo>
                    <a:cubicBezTo>
                      <a:pt x="1810" y="772"/>
                      <a:pt x="1810" y="772"/>
                      <a:pt x="1811" y="771"/>
                    </a:cubicBezTo>
                    <a:cubicBezTo>
                      <a:pt x="1811" y="771"/>
                      <a:pt x="1811" y="771"/>
                      <a:pt x="1811" y="769"/>
                    </a:cubicBezTo>
                    <a:cubicBezTo>
                      <a:pt x="1811" y="769"/>
                      <a:pt x="1811" y="769"/>
                      <a:pt x="1810" y="768"/>
                    </a:cubicBezTo>
                    <a:cubicBezTo>
                      <a:pt x="1810" y="768"/>
                      <a:pt x="1810" y="768"/>
                      <a:pt x="1810" y="766"/>
                    </a:cubicBezTo>
                    <a:cubicBezTo>
                      <a:pt x="1810" y="766"/>
                      <a:pt x="1810" y="766"/>
                      <a:pt x="1809" y="761"/>
                    </a:cubicBezTo>
                    <a:cubicBezTo>
                      <a:pt x="1809" y="761"/>
                      <a:pt x="1809" y="761"/>
                      <a:pt x="1808" y="759"/>
                    </a:cubicBezTo>
                    <a:cubicBezTo>
                      <a:pt x="1807" y="758"/>
                      <a:pt x="1807" y="758"/>
                      <a:pt x="1807" y="758"/>
                    </a:cubicBezTo>
                    <a:cubicBezTo>
                      <a:pt x="1804" y="756"/>
                      <a:pt x="1804" y="756"/>
                      <a:pt x="1804" y="756"/>
                    </a:cubicBezTo>
                    <a:cubicBezTo>
                      <a:pt x="1805" y="755"/>
                      <a:pt x="1805" y="755"/>
                      <a:pt x="1805" y="755"/>
                    </a:cubicBezTo>
                    <a:cubicBezTo>
                      <a:pt x="1805" y="754"/>
                      <a:pt x="1805" y="754"/>
                      <a:pt x="1805" y="754"/>
                    </a:cubicBezTo>
                    <a:cubicBezTo>
                      <a:pt x="1804" y="754"/>
                      <a:pt x="1804" y="754"/>
                      <a:pt x="1804" y="754"/>
                    </a:cubicBezTo>
                    <a:cubicBezTo>
                      <a:pt x="1804" y="753"/>
                      <a:pt x="1804" y="753"/>
                      <a:pt x="1804" y="753"/>
                    </a:cubicBezTo>
                    <a:cubicBezTo>
                      <a:pt x="1803" y="753"/>
                      <a:pt x="1803" y="753"/>
                      <a:pt x="1803" y="753"/>
                    </a:cubicBezTo>
                    <a:cubicBezTo>
                      <a:pt x="1803" y="752"/>
                      <a:pt x="1803" y="752"/>
                      <a:pt x="1803" y="752"/>
                    </a:cubicBezTo>
                    <a:cubicBezTo>
                      <a:pt x="1801" y="750"/>
                      <a:pt x="1801" y="750"/>
                      <a:pt x="1801" y="750"/>
                    </a:cubicBezTo>
                    <a:cubicBezTo>
                      <a:pt x="1800" y="750"/>
                      <a:pt x="1800" y="750"/>
                      <a:pt x="1800" y="750"/>
                    </a:cubicBezTo>
                    <a:cubicBezTo>
                      <a:pt x="1799" y="748"/>
                      <a:pt x="1799" y="748"/>
                      <a:pt x="1799" y="748"/>
                    </a:cubicBezTo>
                    <a:cubicBezTo>
                      <a:pt x="1798" y="748"/>
                      <a:pt x="1798" y="748"/>
                      <a:pt x="1798" y="748"/>
                    </a:cubicBezTo>
                    <a:cubicBezTo>
                      <a:pt x="1798" y="747"/>
                      <a:pt x="1798" y="747"/>
                      <a:pt x="1798" y="747"/>
                    </a:cubicBezTo>
                    <a:cubicBezTo>
                      <a:pt x="1798" y="746"/>
                      <a:pt x="1798" y="746"/>
                      <a:pt x="1798" y="746"/>
                    </a:cubicBezTo>
                    <a:cubicBezTo>
                      <a:pt x="1796" y="746"/>
                      <a:pt x="1796" y="746"/>
                      <a:pt x="1796" y="746"/>
                    </a:cubicBezTo>
                    <a:cubicBezTo>
                      <a:pt x="1797" y="747"/>
                      <a:pt x="1797" y="747"/>
                      <a:pt x="1797" y="747"/>
                    </a:cubicBezTo>
                    <a:cubicBezTo>
                      <a:pt x="1796" y="747"/>
                      <a:pt x="1796" y="747"/>
                      <a:pt x="1796" y="747"/>
                    </a:cubicBezTo>
                    <a:cubicBezTo>
                      <a:pt x="1795" y="746"/>
                      <a:pt x="1795" y="746"/>
                      <a:pt x="1795" y="746"/>
                    </a:cubicBezTo>
                    <a:cubicBezTo>
                      <a:pt x="1795" y="744"/>
                      <a:pt x="1795" y="744"/>
                      <a:pt x="1795" y="744"/>
                    </a:cubicBezTo>
                    <a:cubicBezTo>
                      <a:pt x="1795" y="742"/>
                      <a:pt x="1795" y="742"/>
                      <a:pt x="1795" y="742"/>
                    </a:cubicBezTo>
                    <a:cubicBezTo>
                      <a:pt x="1796" y="742"/>
                      <a:pt x="1796" y="742"/>
                      <a:pt x="1796" y="742"/>
                    </a:cubicBezTo>
                    <a:cubicBezTo>
                      <a:pt x="1796" y="739"/>
                      <a:pt x="1796" y="739"/>
                      <a:pt x="1796" y="739"/>
                    </a:cubicBezTo>
                    <a:cubicBezTo>
                      <a:pt x="1797" y="738"/>
                      <a:pt x="1797" y="738"/>
                      <a:pt x="1797" y="738"/>
                    </a:cubicBezTo>
                    <a:cubicBezTo>
                      <a:pt x="1796" y="738"/>
                      <a:pt x="1796" y="738"/>
                      <a:pt x="1796" y="738"/>
                    </a:cubicBezTo>
                    <a:cubicBezTo>
                      <a:pt x="1797" y="737"/>
                      <a:pt x="1797" y="737"/>
                      <a:pt x="1797" y="737"/>
                    </a:cubicBezTo>
                    <a:cubicBezTo>
                      <a:pt x="1797" y="736"/>
                      <a:pt x="1797" y="736"/>
                      <a:pt x="1797" y="736"/>
                    </a:cubicBezTo>
                    <a:cubicBezTo>
                      <a:pt x="1798" y="735"/>
                      <a:pt x="1798" y="735"/>
                      <a:pt x="1798" y="735"/>
                    </a:cubicBezTo>
                    <a:cubicBezTo>
                      <a:pt x="1797" y="735"/>
                      <a:pt x="1797" y="735"/>
                      <a:pt x="1797" y="735"/>
                    </a:cubicBezTo>
                    <a:cubicBezTo>
                      <a:pt x="1797" y="734"/>
                      <a:pt x="1797" y="734"/>
                      <a:pt x="1797" y="734"/>
                    </a:cubicBezTo>
                    <a:cubicBezTo>
                      <a:pt x="1797" y="734"/>
                      <a:pt x="1797" y="734"/>
                      <a:pt x="1796" y="736"/>
                    </a:cubicBezTo>
                    <a:cubicBezTo>
                      <a:pt x="1796" y="736"/>
                      <a:pt x="1796" y="736"/>
                      <a:pt x="1796" y="734"/>
                    </a:cubicBezTo>
                    <a:cubicBezTo>
                      <a:pt x="1796" y="734"/>
                      <a:pt x="1796" y="734"/>
                      <a:pt x="1796" y="732"/>
                    </a:cubicBezTo>
                    <a:cubicBezTo>
                      <a:pt x="1796" y="732"/>
                      <a:pt x="1796" y="732"/>
                      <a:pt x="1795" y="731"/>
                    </a:cubicBezTo>
                    <a:cubicBezTo>
                      <a:pt x="1795" y="731"/>
                      <a:pt x="1795" y="731"/>
                      <a:pt x="1796" y="731"/>
                    </a:cubicBezTo>
                    <a:cubicBezTo>
                      <a:pt x="1796" y="731"/>
                      <a:pt x="1796" y="731"/>
                      <a:pt x="1797" y="729"/>
                    </a:cubicBezTo>
                    <a:cubicBezTo>
                      <a:pt x="1797" y="729"/>
                      <a:pt x="1797" y="729"/>
                      <a:pt x="1797" y="728"/>
                    </a:cubicBezTo>
                    <a:cubicBezTo>
                      <a:pt x="1797" y="728"/>
                      <a:pt x="1797" y="728"/>
                      <a:pt x="1797" y="726"/>
                    </a:cubicBezTo>
                    <a:cubicBezTo>
                      <a:pt x="1797" y="726"/>
                      <a:pt x="1797" y="726"/>
                      <a:pt x="1797" y="725"/>
                    </a:cubicBezTo>
                    <a:cubicBezTo>
                      <a:pt x="1797" y="725"/>
                      <a:pt x="1797" y="725"/>
                      <a:pt x="1797" y="724"/>
                    </a:cubicBezTo>
                    <a:cubicBezTo>
                      <a:pt x="1797" y="724"/>
                      <a:pt x="1797" y="724"/>
                      <a:pt x="1798" y="723"/>
                    </a:cubicBezTo>
                    <a:cubicBezTo>
                      <a:pt x="1798" y="723"/>
                      <a:pt x="1798" y="723"/>
                      <a:pt x="1797" y="722"/>
                    </a:cubicBezTo>
                    <a:cubicBezTo>
                      <a:pt x="1797" y="722"/>
                      <a:pt x="1797" y="722"/>
                      <a:pt x="1796" y="721"/>
                    </a:cubicBezTo>
                    <a:cubicBezTo>
                      <a:pt x="1796" y="721"/>
                      <a:pt x="1796" y="721"/>
                      <a:pt x="1796" y="719"/>
                    </a:cubicBezTo>
                    <a:cubicBezTo>
                      <a:pt x="1796" y="719"/>
                      <a:pt x="1796" y="719"/>
                      <a:pt x="1797" y="719"/>
                    </a:cubicBezTo>
                    <a:cubicBezTo>
                      <a:pt x="1797" y="719"/>
                      <a:pt x="1797" y="719"/>
                      <a:pt x="1796" y="718"/>
                    </a:cubicBezTo>
                    <a:cubicBezTo>
                      <a:pt x="1796" y="718"/>
                      <a:pt x="1796" y="718"/>
                      <a:pt x="1796" y="717"/>
                    </a:cubicBezTo>
                    <a:cubicBezTo>
                      <a:pt x="1796" y="717"/>
                      <a:pt x="1796" y="717"/>
                      <a:pt x="1795" y="713"/>
                    </a:cubicBezTo>
                    <a:cubicBezTo>
                      <a:pt x="1795" y="713"/>
                      <a:pt x="1795" y="713"/>
                      <a:pt x="1794" y="713"/>
                    </a:cubicBezTo>
                    <a:cubicBezTo>
                      <a:pt x="1794" y="713"/>
                      <a:pt x="1794" y="713"/>
                      <a:pt x="1794" y="711"/>
                    </a:cubicBezTo>
                    <a:cubicBezTo>
                      <a:pt x="1794" y="711"/>
                      <a:pt x="1794" y="711"/>
                      <a:pt x="1793" y="710"/>
                    </a:cubicBezTo>
                    <a:cubicBezTo>
                      <a:pt x="1793" y="710"/>
                      <a:pt x="1793" y="710"/>
                      <a:pt x="1793" y="711"/>
                    </a:cubicBezTo>
                    <a:cubicBezTo>
                      <a:pt x="1793" y="711"/>
                      <a:pt x="1793" y="711"/>
                      <a:pt x="1792" y="710"/>
                    </a:cubicBezTo>
                    <a:cubicBezTo>
                      <a:pt x="1792" y="710"/>
                      <a:pt x="1792" y="710"/>
                      <a:pt x="1792" y="707"/>
                    </a:cubicBezTo>
                    <a:cubicBezTo>
                      <a:pt x="1792" y="707"/>
                      <a:pt x="1792" y="707"/>
                      <a:pt x="1791" y="706"/>
                    </a:cubicBezTo>
                    <a:cubicBezTo>
                      <a:pt x="1791" y="706"/>
                      <a:pt x="1791" y="706"/>
                      <a:pt x="1791" y="705"/>
                    </a:cubicBezTo>
                    <a:cubicBezTo>
                      <a:pt x="1791" y="705"/>
                      <a:pt x="1791" y="705"/>
                      <a:pt x="1792" y="704"/>
                    </a:cubicBezTo>
                    <a:cubicBezTo>
                      <a:pt x="1792" y="704"/>
                      <a:pt x="1792" y="704"/>
                      <a:pt x="1790" y="703"/>
                    </a:cubicBezTo>
                    <a:cubicBezTo>
                      <a:pt x="1790" y="703"/>
                      <a:pt x="1790" y="703"/>
                      <a:pt x="1790" y="701"/>
                    </a:cubicBezTo>
                    <a:cubicBezTo>
                      <a:pt x="1790" y="701"/>
                      <a:pt x="1790" y="701"/>
                      <a:pt x="1789" y="696"/>
                    </a:cubicBezTo>
                    <a:cubicBezTo>
                      <a:pt x="1789" y="696"/>
                      <a:pt x="1789" y="696"/>
                      <a:pt x="1788" y="696"/>
                    </a:cubicBezTo>
                    <a:cubicBezTo>
                      <a:pt x="1788" y="696"/>
                      <a:pt x="1788" y="696"/>
                      <a:pt x="1788" y="695"/>
                    </a:cubicBezTo>
                    <a:cubicBezTo>
                      <a:pt x="1788" y="695"/>
                      <a:pt x="1788" y="695"/>
                      <a:pt x="1788" y="694"/>
                    </a:cubicBezTo>
                    <a:cubicBezTo>
                      <a:pt x="1788" y="694"/>
                      <a:pt x="1788" y="694"/>
                      <a:pt x="1788" y="692"/>
                    </a:cubicBezTo>
                    <a:cubicBezTo>
                      <a:pt x="1788" y="692"/>
                      <a:pt x="1788" y="692"/>
                      <a:pt x="1787" y="692"/>
                    </a:cubicBezTo>
                    <a:cubicBezTo>
                      <a:pt x="1787" y="692"/>
                      <a:pt x="1787" y="692"/>
                      <a:pt x="1786" y="692"/>
                    </a:cubicBezTo>
                    <a:cubicBezTo>
                      <a:pt x="1786" y="692"/>
                      <a:pt x="1786" y="692"/>
                      <a:pt x="1785" y="691"/>
                    </a:cubicBezTo>
                    <a:cubicBezTo>
                      <a:pt x="1785" y="691"/>
                      <a:pt x="1785" y="691"/>
                      <a:pt x="1785" y="690"/>
                    </a:cubicBezTo>
                    <a:cubicBezTo>
                      <a:pt x="1785" y="690"/>
                      <a:pt x="1785" y="690"/>
                      <a:pt x="1784" y="687"/>
                    </a:cubicBezTo>
                    <a:cubicBezTo>
                      <a:pt x="1784" y="687"/>
                      <a:pt x="1784" y="687"/>
                      <a:pt x="1783" y="687"/>
                    </a:cubicBezTo>
                    <a:cubicBezTo>
                      <a:pt x="1783" y="687"/>
                      <a:pt x="1783" y="687"/>
                      <a:pt x="1783" y="686"/>
                    </a:cubicBezTo>
                    <a:cubicBezTo>
                      <a:pt x="1783" y="686"/>
                      <a:pt x="1783" y="686"/>
                      <a:pt x="1782" y="685"/>
                    </a:cubicBezTo>
                    <a:cubicBezTo>
                      <a:pt x="1782" y="685"/>
                      <a:pt x="1782" y="685"/>
                      <a:pt x="1782" y="686"/>
                    </a:cubicBezTo>
                    <a:cubicBezTo>
                      <a:pt x="1782" y="686"/>
                      <a:pt x="1782" y="686"/>
                      <a:pt x="1782" y="687"/>
                    </a:cubicBezTo>
                    <a:cubicBezTo>
                      <a:pt x="1782" y="687"/>
                      <a:pt x="1782" y="687"/>
                      <a:pt x="1783" y="688"/>
                    </a:cubicBezTo>
                    <a:cubicBezTo>
                      <a:pt x="1783" y="688"/>
                      <a:pt x="1783" y="688"/>
                      <a:pt x="1783" y="689"/>
                    </a:cubicBezTo>
                    <a:cubicBezTo>
                      <a:pt x="1783" y="689"/>
                      <a:pt x="1783" y="689"/>
                      <a:pt x="1782" y="690"/>
                    </a:cubicBezTo>
                    <a:cubicBezTo>
                      <a:pt x="1782" y="690"/>
                      <a:pt x="1782" y="690"/>
                      <a:pt x="1782" y="691"/>
                    </a:cubicBezTo>
                    <a:cubicBezTo>
                      <a:pt x="1782" y="691"/>
                      <a:pt x="1782" y="691"/>
                      <a:pt x="1781" y="692"/>
                    </a:cubicBezTo>
                    <a:cubicBezTo>
                      <a:pt x="1781" y="692"/>
                      <a:pt x="1781" y="692"/>
                      <a:pt x="1780" y="692"/>
                    </a:cubicBezTo>
                    <a:cubicBezTo>
                      <a:pt x="1780" y="692"/>
                      <a:pt x="1780" y="692"/>
                      <a:pt x="1779" y="691"/>
                    </a:cubicBezTo>
                    <a:cubicBezTo>
                      <a:pt x="1779" y="691"/>
                      <a:pt x="1779" y="691"/>
                      <a:pt x="1778" y="691"/>
                    </a:cubicBezTo>
                    <a:cubicBezTo>
                      <a:pt x="1778" y="691"/>
                      <a:pt x="1778" y="691"/>
                      <a:pt x="1779" y="692"/>
                    </a:cubicBezTo>
                    <a:cubicBezTo>
                      <a:pt x="1779" y="692"/>
                      <a:pt x="1779" y="692"/>
                      <a:pt x="1780" y="692"/>
                    </a:cubicBezTo>
                    <a:cubicBezTo>
                      <a:pt x="1780" y="692"/>
                      <a:pt x="1780" y="692"/>
                      <a:pt x="1778" y="693"/>
                    </a:cubicBezTo>
                    <a:cubicBezTo>
                      <a:pt x="1778" y="693"/>
                      <a:pt x="1778" y="693"/>
                      <a:pt x="1777" y="693"/>
                    </a:cubicBezTo>
                    <a:lnTo>
                      <a:pt x="1777" y="694"/>
                    </a:lnTo>
                    <a:close/>
                    <a:moveTo>
                      <a:pt x="1908" y="573"/>
                    </a:moveTo>
                    <a:cubicBezTo>
                      <a:pt x="1907" y="574"/>
                      <a:pt x="1907" y="574"/>
                      <a:pt x="1907" y="574"/>
                    </a:cubicBezTo>
                    <a:cubicBezTo>
                      <a:pt x="1908" y="574"/>
                      <a:pt x="1908" y="574"/>
                      <a:pt x="1908" y="574"/>
                    </a:cubicBezTo>
                    <a:cubicBezTo>
                      <a:pt x="1909" y="574"/>
                      <a:pt x="1909" y="574"/>
                      <a:pt x="1909" y="574"/>
                    </a:cubicBezTo>
                    <a:cubicBezTo>
                      <a:pt x="1910" y="574"/>
                      <a:pt x="1910" y="574"/>
                      <a:pt x="1910" y="574"/>
                    </a:cubicBezTo>
                    <a:cubicBezTo>
                      <a:pt x="1910" y="575"/>
                      <a:pt x="1910" y="575"/>
                      <a:pt x="1910" y="575"/>
                    </a:cubicBezTo>
                    <a:cubicBezTo>
                      <a:pt x="1912" y="576"/>
                      <a:pt x="1912" y="576"/>
                      <a:pt x="1912" y="576"/>
                    </a:cubicBezTo>
                    <a:cubicBezTo>
                      <a:pt x="1913" y="577"/>
                      <a:pt x="1913" y="577"/>
                      <a:pt x="1913" y="577"/>
                    </a:cubicBezTo>
                    <a:cubicBezTo>
                      <a:pt x="1915" y="575"/>
                      <a:pt x="1915" y="575"/>
                      <a:pt x="1915" y="575"/>
                    </a:cubicBezTo>
                    <a:cubicBezTo>
                      <a:pt x="1914" y="575"/>
                      <a:pt x="1914" y="575"/>
                      <a:pt x="1914" y="575"/>
                    </a:cubicBezTo>
                    <a:cubicBezTo>
                      <a:pt x="1913" y="576"/>
                      <a:pt x="1913" y="576"/>
                      <a:pt x="1913" y="576"/>
                    </a:cubicBezTo>
                    <a:cubicBezTo>
                      <a:pt x="1912" y="576"/>
                      <a:pt x="1912" y="576"/>
                      <a:pt x="1912" y="576"/>
                    </a:cubicBezTo>
                    <a:cubicBezTo>
                      <a:pt x="1911" y="575"/>
                      <a:pt x="1911" y="575"/>
                      <a:pt x="1911" y="575"/>
                    </a:cubicBezTo>
                    <a:cubicBezTo>
                      <a:pt x="1910" y="573"/>
                      <a:pt x="1910" y="573"/>
                      <a:pt x="1910" y="573"/>
                    </a:cubicBezTo>
                    <a:cubicBezTo>
                      <a:pt x="1909" y="574"/>
                      <a:pt x="1909" y="574"/>
                      <a:pt x="1909" y="574"/>
                    </a:cubicBezTo>
                    <a:cubicBezTo>
                      <a:pt x="1908" y="573"/>
                      <a:pt x="1908" y="573"/>
                      <a:pt x="1908" y="573"/>
                    </a:cubicBezTo>
                    <a:close/>
                    <a:moveTo>
                      <a:pt x="1905" y="574"/>
                    </a:moveTo>
                    <a:cubicBezTo>
                      <a:pt x="1903" y="577"/>
                      <a:pt x="1903" y="577"/>
                      <a:pt x="1903" y="577"/>
                    </a:cubicBezTo>
                    <a:cubicBezTo>
                      <a:pt x="1905" y="575"/>
                      <a:pt x="1905" y="575"/>
                      <a:pt x="1905" y="575"/>
                    </a:cubicBezTo>
                    <a:cubicBezTo>
                      <a:pt x="1906" y="574"/>
                      <a:pt x="1906" y="574"/>
                      <a:pt x="1906" y="574"/>
                    </a:cubicBezTo>
                    <a:cubicBezTo>
                      <a:pt x="1906" y="573"/>
                      <a:pt x="1906" y="573"/>
                      <a:pt x="1906" y="573"/>
                    </a:cubicBezTo>
                    <a:cubicBezTo>
                      <a:pt x="1905" y="574"/>
                      <a:pt x="1905" y="574"/>
                      <a:pt x="1905" y="574"/>
                    </a:cubicBezTo>
                    <a:close/>
                    <a:moveTo>
                      <a:pt x="1207" y="348"/>
                    </a:moveTo>
                    <a:cubicBezTo>
                      <a:pt x="1207" y="348"/>
                      <a:pt x="1207" y="348"/>
                      <a:pt x="1209" y="347"/>
                    </a:cubicBezTo>
                    <a:cubicBezTo>
                      <a:pt x="1209" y="347"/>
                      <a:pt x="1209" y="347"/>
                      <a:pt x="1208" y="347"/>
                    </a:cubicBezTo>
                    <a:cubicBezTo>
                      <a:pt x="1208" y="347"/>
                      <a:pt x="1208" y="347"/>
                      <a:pt x="1207" y="348"/>
                    </a:cubicBezTo>
                    <a:close/>
                    <a:moveTo>
                      <a:pt x="1305" y="470"/>
                    </a:moveTo>
                    <a:cubicBezTo>
                      <a:pt x="1305" y="470"/>
                      <a:pt x="1305" y="470"/>
                      <a:pt x="1305" y="469"/>
                    </a:cubicBezTo>
                    <a:cubicBezTo>
                      <a:pt x="1305" y="469"/>
                      <a:pt x="1305" y="469"/>
                      <a:pt x="1304" y="468"/>
                    </a:cubicBezTo>
                    <a:lnTo>
                      <a:pt x="1305" y="470"/>
                    </a:lnTo>
                    <a:close/>
                    <a:moveTo>
                      <a:pt x="1326" y="469"/>
                    </a:moveTo>
                    <a:cubicBezTo>
                      <a:pt x="1326" y="469"/>
                      <a:pt x="1326" y="469"/>
                      <a:pt x="1330" y="468"/>
                    </a:cubicBezTo>
                    <a:cubicBezTo>
                      <a:pt x="1330" y="468"/>
                      <a:pt x="1330" y="468"/>
                      <a:pt x="1327" y="468"/>
                    </a:cubicBezTo>
                    <a:lnTo>
                      <a:pt x="1326" y="469"/>
                    </a:lnTo>
                    <a:close/>
                    <a:moveTo>
                      <a:pt x="1228" y="474"/>
                    </a:moveTo>
                    <a:cubicBezTo>
                      <a:pt x="1228" y="474"/>
                      <a:pt x="1228" y="474"/>
                      <a:pt x="1229" y="475"/>
                    </a:cubicBezTo>
                    <a:cubicBezTo>
                      <a:pt x="1229" y="475"/>
                      <a:pt x="1229" y="475"/>
                      <a:pt x="1229" y="474"/>
                    </a:cubicBezTo>
                    <a:lnTo>
                      <a:pt x="1228" y="474"/>
                    </a:lnTo>
                    <a:close/>
                    <a:moveTo>
                      <a:pt x="1216" y="488"/>
                    </a:moveTo>
                    <a:cubicBezTo>
                      <a:pt x="1216" y="488"/>
                      <a:pt x="1216" y="488"/>
                      <a:pt x="1215" y="487"/>
                    </a:cubicBezTo>
                    <a:cubicBezTo>
                      <a:pt x="1215" y="487"/>
                      <a:pt x="1215" y="487"/>
                      <a:pt x="1214" y="487"/>
                    </a:cubicBezTo>
                    <a:lnTo>
                      <a:pt x="1216" y="488"/>
                    </a:lnTo>
                    <a:close/>
                    <a:moveTo>
                      <a:pt x="1358" y="815"/>
                    </a:moveTo>
                    <a:cubicBezTo>
                      <a:pt x="1358" y="815"/>
                      <a:pt x="1358" y="815"/>
                      <a:pt x="1357" y="816"/>
                    </a:cubicBezTo>
                    <a:cubicBezTo>
                      <a:pt x="1357" y="816"/>
                      <a:pt x="1357" y="816"/>
                      <a:pt x="1358" y="816"/>
                    </a:cubicBezTo>
                    <a:lnTo>
                      <a:pt x="1358" y="815"/>
                    </a:lnTo>
                    <a:close/>
                    <a:moveTo>
                      <a:pt x="1259" y="712"/>
                    </a:moveTo>
                    <a:cubicBezTo>
                      <a:pt x="1259" y="712"/>
                      <a:pt x="1259" y="712"/>
                      <a:pt x="1261" y="713"/>
                    </a:cubicBezTo>
                    <a:cubicBezTo>
                      <a:pt x="1261" y="713"/>
                      <a:pt x="1261" y="713"/>
                      <a:pt x="1260" y="712"/>
                    </a:cubicBezTo>
                    <a:lnTo>
                      <a:pt x="1259" y="712"/>
                    </a:lnTo>
                    <a:close/>
                    <a:moveTo>
                      <a:pt x="1310" y="915"/>
                    </a:moveTo>
                    <a:cubicBezTo>
                      <a:pt x="1310" y="915"/>
                      <a:pt x="1310" y="915"/>
                      <a:pt x="1326" y="911"/>
                    </a:cubicBezTo>
                    <a:cubicBezTo>
                      <a:pt x="1326" y="911"/>
                      <a:pt x="1326" y="911"/>
                      <a:pt x="1320" y="912"/>
                    </a:cubicBezTo>
                    <a:lnTo>
                      <a:pt x="1310" y="915"/>
                    </a:lnTo>
                    <a:close/>
                    <a:moveTo>
                      <a:pt x="1251" y="716"/>
                    </a:moveTo>
                    <a:cubicBezTo>
                      <a:pt x="1251" y="716"/>
                      <a:pt x="1251" y="716"/>
                      <a:pt x="1252" y="717"/>
                    </a:cubicBezTo>
                    <a:cubicBezTo>
                      <a:pt x="1252" y="717"/>
                      <a:pt x="1252" y="717"/>
                      <a:pt x="1252" y="716"/>
                    </a:cubicBezTo>
                    <a:lnTo>
                      <a:pt x="1251" y="716"/>
                    </a:lnTo>
                    <a:close/>
                    <a:moveTo>
                      <a:pt x="1386" y="805"/>
                    </a:moveTo>
                    <a:cubicBezTo>
                      <a:pt x="1388" y="805"/>
                      <a:pt x="1388" y="805"/>
                      <a:pt x="1388" y="805"/>
                    </a:cubicBezTo>
                    <a:cubicBezTo>
                      <a:pt x="1389" y="805"/>
                      <a:pt x="1389" y="805"/>
                      <a:pt x="1389" y="805"/>
                    </a:cubicBezTo>
                    <a:lnTo>
                      <a:pt x="1386" y="805"/>
                    </a:lnTo>
                    <a:close/>
                    <a:moveTo>
                      <a:pt x="1261" y="653"/>
                    </a:moveTo>
                    <a:cubicBezTo>
                      <a:pt x="1261" y="653"/>
                      <a:pt x="1261" y="653"/>
                      <a:pt x="1267" y="651"/>
                    </a:cubicBezTo>
                    <a:cubicBezTo>
                      <a:pt x="1267" y="651"/>
                      <a:pt x="1267" y="651"/>
                      <a:pt x="1274" y="648"/>
                    </a:cubicBezTo>
                    <a:lnTo>
                      <a:pt x="1261" y="653"/>
                    </a:lnTo>
                    <a:close/>
                    <a:moveTo>
                      <a:pt x="1373" y="971"/>
                    </a:moveTo>
                    <a:cubicBezTo>
                      <a:pt x="1373" y="971"/>
                      <a:pt x="1373" y="971"/>
                      <a:pt x="1372" y="971"/>
                    </a:cubicBezTo>
                    <a:cubicBezTo>
                      <a:pt x="1372" y="971"/>
                      <a:pt x="1372" y="971"/>
                      <a:pt x="1372" y="972"/>
                    </a:cubicBezTo>
                    <a:lnTo>
                      <a:pt x="1373" y="971"/>
                    </a:lnTo>
                    <a:close/>
                    <a:moveTo>
                      <a:pt x="1853" y="419"/>
                    </a:moveTo>
                    <a:cubicBezTo>
                      <a:pt x="1853" y="419"/>
                      <a:pt x="1853" y="419"/>
                      <a:pt x="1852" y="419"/>
                    </a:cubicBezTo>
                    <a:cubicBezTo>
                      <a:pt x="1852" y="419"/>
                      <a:pt x="1852" y="419"/>
                      <a:pt x="1852" y="419"/>
                    </a:cubicBezTo>
                    <a:cubicBezTo>
                      <a:pt x="1852" y="419"/>
                      <a:pt x="1852" y="419"/>
                      <a:pt x="1853" y="419"/>
                    </a:cubicBezTo>
                    <a:close/>
                    <a:moveTo>
                      <a:pt x="1595" y="224"/>
                    </a:moveTo>
                    <a:cubicBezTo>
                      <a:pt x="1593" y="223"/>
                      <a:pt x="1593" y="223"/>
                      <a:pt x="1593" y="223"/>
                    </a:cubicBezTo>
                    <a:cubicBezTo>
                      <a:pt x="1596" y="225"/>
                      <a:pt x="1596" y="225"/>
                      <a:pt x="1596" y="225"/>
                    </a:cubicBezTo>
                    <a:cubicBezTo>
                      <a:pt x="1597" y="225"/>
                      <a:pt x="1597" y="225"/>
                      <a:pt x="1597" y="225"/>
                    </a:cubicBezTo>
                    <a:cubicBezTo>
                      <a:pt x="1598" y="227"/>
                      <a:pt x="1598" y="227"/>
                      <a:pt x="1598" y="227"/>
                    </a:cubicBezTo>
                    <a:cubicBezTo>
                      <a:pt x="1599" y="229"/>
                      <a:pt x="1599" y="229"/>
                      <a:pt x="1599" y="229"/>
                    </a:cubicBezTo>
                    <a:cubicBezTo>
                      <a:pt x="1599" y="226"/>
                      <a:pt x="1599" y="226"/>
                      <a:pt x="1599" y="226"/>
                    </a:cubicBezTo>
                    <a:cubicBezTo>
                      <a:pt x="1598" y="225"/>
                      <a:pt x="1598" y="225"/>
                      <a:pt x="1598" y="225"/>
                    </a:cubicBezTo>
                    <a:cubicBezTo>
                      <a:pt x="1597" y="225"/>
                      <a:pt x="1597" y="225"/>
                      <a:pt x="1597" y="225"/>
                    </a:cubicBezTo>
                    <a:cubicBezTo>
                      <a:pt x="1595" y="224"/>
                      <a:pt x="1595" y="224"/>
                      <a:pt x="1595" y="224"/>
                    </a:cubicBezTo>
                    <a:close/>
                    <a:moveTo>
                      <a:pt x="1477" y="682"/>
                    </a:moveTo>
                    <a:cubicBezTo>
                      <a:pt x="1477" y="682"/>
                      <a:pt x="1477" y="682"/>
                      <a:pt x="1501" y="675"/>
                    </a:cubicBezTo>
                    <a:cubicBezTo>
                      <a:pt x="1501" y="675"/>
                      <a:pt x="1501" y="675"/>
                      <a:pt x="1518" y="670"/>
                    </a:cubicBezTo>
                    <a:lnTo>
                      <a:pt x="1477" y="682"/>
                    </a:lnTo>
                    <a:close/>
                    <a:moveTo>
                      <a:pt x="1502" y="552"/>
                    </a:moveTo>
                    <a:cubicBezTo>
                      <a:pt x="1502" y="552"/>
                      <a:pt x="1502" y="552"/>
                      <a:pt x="1501" y="551"/>
                    </a:cubicBezTo>
                    <a:cubicBezTo>
                      <a:pt x="1501" y="551"/>
                      <a:pt x="1501" y="551"/>
                      <a:pt x="1501" y="549"/>
                    </a:cubicBezTo>
                    <a:cubicBezTo>
                      <a:pt x="1501" y="549"/>
                      <a:pt x="1501" y="549"/>
                      <a:pt x="1499" y="546"/>
                    </a:cubicBezTo>
                    <a:cubicBezTo>
                      <a:pt x="1499" y="546"/>
                      <a:pt x="1499" y="546"/>
                      <a:pt x="1499" y="544"/>
                    </a:cubicBezTo>
                    <a:cubicBezTo>
                      <a:pt x="1499" y="544"/>
                      <a:pt x="1499" y="544"/>
                      <a:pt x="1499" y="541"/>
                    </a:cubicBezTo>
                    <a:cubicBezTo>
                      <a:pt x="1499" y="541"/>
                      <a:pt x="1499" y="541"/>
                      <a:pt x="1499" y="540"/>
                    </a:cubicBezTo>
                    <a:cubicBezTo>
                      <a:pt x="1499" y="540"/>
                      <a:pt x="1499" y="540"/>
                      <a:pt x="1499" y="538"/>
                    </a:cubicBezTo>
                    <a:cubicBezTo>
                      <a:pt x="1499" y="538"/>
                      <a:pt x="1499" y="538"/>
                      <a:pt x="1498" y="536"/>
                    </a:cubicBezTo>
                    <a:cubicBezTo>
                      <a:pt x="1498" y="536"/>
                      <a:pt x="1498" y="536"/>
                      <a:pt x="1497" y="536"/>
                    </a:cubicBezTo>
                    <a:cubicBezTo>
                      <a:pt x="1497" y="536"/>
                      <a:pt x="1497" y="536"/>
                      <a:pt x="1496" y="534"/>
                    </a:cubicBezTo>
                    <a:cubicBezTo>
                      <a:pt x="1496" y="534"/>
                      <a:pt x="1496" y="534"/>
                      <a:pt x="1495" y="534"/>
                    </a:cubicBezTo>
                    <a:cubicBezTo>
                      <a:pt x="1495" y="534"/>
                      <a:pt x="1495" y="534"/>
                      <a:pt x="1494" y="534"/>
                    </a:cubicBezTo>
                    <a:cubicBezTo>
                      <a:pt x="1494" y="534"/>
                      <a:pt x="1494" y="534"/>
                      <a:pt x="1494" y="536"/>
                    </a:cubicBezTo>
                    <a:cubicBezTo>
                      <a:pt x="1494" y="536"/>
                      <a:pt x="1494" y="536"/>
                      <a:pt x="1493" y="534"/>
                    </a:cubicBezTo>
                    <a:cubicBezTo>
                      <a:pt x="1493" y="534"/>
                      <a:pt x="1493" y="534"/>
                      <a:pt x="1493" y="533"/>
                    </a:cubicBezTo>
                    <a:cubicBezTo>
                      <a:pt x="1493" y="533"/>
                      <a:pt x="1493" y="533"/>
                      <a:pt x="1494" y="532"/>
                    </a:cubicBezTo>
                    <a:cubicBezTo>
                      <a:pt x="1494" y="532"/>
                      <a:pt x="1494" y="532"/>
                      <a:pt x="1495" y="533"/>
                    </a:cubicBezTo>
                    <a:cubicBezTo>
                      <a:pt x="1495" y="533"/>
                      <a:pt x="1495" y="533"/>
                      <a:pt x="1496" y="533"/>
                    </a:cubicBezTo>
                    <a:cubicBezTo>
                      <a:pt x="1496" y="533"/>
                      <a:pt x="1496" y="533"/>
                      <a:pt x="1497" y="533"/>
                    </a:cubicBezTo>
                    <a:cubicBezTo>
                      <a:pt x="1497" y="533"/>
                      <a:pt x="1497" y="533"/>
                      <a:pt x="1496" y="531"/>
                    </a:cubicBezTo>
                    <a:cubicBezTo>
                      <a:pt x="1496" y="531"/>
                      <a:pt x="1496" y="531"/>
                      <a:pt x="1495" y="532"/>
                    </a:cubicBezTo>
                    <a:cubicBezTo>
                      <a:pt x="1495" y="532"/>
                      <a:pt x="1495" y="532"/>
                      <a:pt x="1495" y="530"/>
                    </a:cubicBezTo>
                    <a:cubicBezTo>
                      <a:pt x="1495" y="530"/>
                      <a:pt x="1495" y="530"/>
                      <a:pt x="1495" y="529"/>
                    </a:cubicBezTo>
                    <a:cubicBezTo>
                      <a:pt x="1495" y="529"/>
                      <a:pt x="1495" y="529"/>
                      <a:pt x="1494" y="529"/>
                    </a:cubicBezTo>
                    <a:cubicBezTo>
                      <a:pt x="1494" y="529"/>
                      <a:pt x="1494" y="529"/>
                      <a:pt x="1492" y="529"/>
                    </a:cubicBezTo>
                    <a:cubicBezTo>
                      <a:pt x="1492" y="529"/>
                      <a:pt x="1492" y="529"/>
                      <a:pt x="1492" y="530"/>
                    </a:cubicBezTo>
                    <a:cubicBezTo>
                      <a:pt x="1492" y="530"/>
                      <a:pt x="1492" y="530"/>
                      <a:pt x="1493" y="531"/>
                    </a:cubicBezTo>
                    <a:cubicBezTo>
                      <a:pt x="1493" y="531"/>
                      <a:pt x="1493" y="531"/>
                      <a:pt x="1490" y="529"/>
                    </a:cubicBezTo>
                    <a:cubicBezTo>
                      <a:pt x="1490" y="529"/>
                      <a:pt x="1490" y="529"/>
                      <a:pt x="1490" y="528"/>
                    </a:cubicBezTo>
                    <a:cubicBezTo>
                      <a:pt x="1490" y="528"/>
                      <a:pt x="1490" y="528"/>
                      <a:pt x="1489" y="527"/>
                    </a:cubicBezTo>
                    <a:cubicBezTo>
                      <a:pt x="1489" y="527"/>
                      <a:pt x="1489" y="527"/>
                      <a:pt x="1489" y="524"/>
                    </a:cubicBezTo>
                    <a:cubicBezTo>
                      <a:pt x="1489" y="524"/>
                      <a:pt x="1489" y="524"/>
                      <a:pt x="1490" y="523"/>
                    </a:cubicBezTo>
                    <a:cubicBezTo>
                      <a:pt x="1490" y="523"/>
                      <a:pt x="1490" y="523"/>
                      <a:pt x="1490" y="521"/>
                    </a:cubicBezTo>
                    <a:cubicBezTo>
                      <a:pt x="1490" y="521"/>
                      <a:pt x="1490" y="521"/>
                      <a:pt x="1489" y="519"/>
                    </a:cubicBezTo>
                    <a:cubicBezTo>
                      <a:pt x="1489" y="519"/>
                      <a:pt x="1489" y="519"/>
                      <a:pt x="1488" y="518"/>
                    </a:cubicBezTo>
                    <a:cubicBezTo>
                      <a:pt x="1488" y="518"/>
                      <a:pt x="1488" y="518"/>
                      <a:pt x="1487" y="517"/>
                    </a:cubicBezTo>
                    <a:cubicBezTo>
                      <a:pt x="1487" y="517"/>
                      <a:pt x="1487" y="517"/>
                      <a:pt x="1487" y="516"/>
                    </a:cubicBezTo>
                    <a:cubicBezTo>
                      <a:pt x="1487" y="516"/>
                      <a:pt x="1487" y="516"/>
                      <a:pt x="1486" y="515"/>
                    </a:cubicBezTo>
                    <a:cubicBezTo>
                      <a:pt x="1486" y="515"/>
                      <a:pt x="1486" y="515"/>
                      <a:pt x="1486" y="514"/>
                    </a:cubicBezTo>
                    <a:cubicBezTo>
                      <a:pt x="1486" y="514"/>
                      <a:pt x="1486" y="514"/>
                      <a:pt x="1486" y="513"/>
                    </a:cubicBezTo>
                    <a:cubicBezTo>
                      <a:pt x="1486" y="513"/>
                      <a:pt x="1486" y="513"/>
                      <a:pt x="1485" y="511"/>
                    </a:cubicBezTo>
                    <a:cubicBezTo>
                      <a:pt x="1485" y="511"/>
                      <a:pt x="1485" y="511"/>
                      <a:pt x="1486" y="509"/>
                    </a:cubicBezTo>
                    <a:cubicBezTo>
                      <a:pt x="1486" y="509"/>
                      <a:pt x="1486" y="509"/>
                      <a:pt x="1486" y="508"/>
                    </a:cubicBezTo>
                    <a:cubicBezTo>
                      <a:pt x="1486" y="508"/>
                      <a:pt x="1486" y="508"/>
                      <a:pt x="1486" y="507"/>
                    </a:cubicBezTo>
                    <a:cubicBezTo>
                      <a:pt x="1486" y="507"/>
                      <a:pt x="1486" y="507"/>
                      <a:pt x="1487" y="507"/>
                    </a:cubicBezTo>
                    <a:cubicBezTo>
                      <a:pt x="1487" y="507"/>
                      <a:pt x="1487" y="507"/>
                      <a:pt x="1486" y="506"/>
                    </a:cubicBezTo>
                    <a:cubicBezTo>
                      <a:pt x="1486" y="506"/>
                      <a:pt x="1486" y="506"/>
                      <a:pt x="1485" y="506"/>
                    </a:cubicBezTo>
                    <a:cubicBezTo>
                      <a:pt x="1485" y="506"/>
                      <a:pt x="1485" y="506"/>
                      <a:pt x="1484" y="506"/>
                    </a:cubicBezTo>
                    <a:cubicBezTo>
                      <a:pt x="1484" y="506"/>
                      <a:pt x="1484" y="506"/>
                      <a:pt x="1483" y="506"/>
                    </a:cubicBezTo>
                    <a:cubicBezTo>
                      <a:pt x="1483" y="506"/>
                      <a:pt x="1483" y="506"/>
                      <a:pt x="1482" y="506"/>
                    </a:cubicBezTo>
                    <a:cubicBezTo>
                      <a:pt x="1482" y="506"/>
                      <a:pt x="1482" y="506"/>
                      <a:pt x="1481" y="506"/>
                    </a:cubicBezTo>
                    <a:cubicBezTo>
                      <a:pt x="1481" y="506"/>
                      <a:pt x="1481" y="506"/>
                      <a:pt x="1481" y="505"/>
                    </a:cubicBezTo>
                    <a:cubicBezTo>
                      <a:pt x="1481" y="505"/>
                      <a:pt x="1481" y="505"/>
                      <a:pt x="1480" y="504"/>
                    </a:cubicBezTo>
                    <a:cubicBezTo>
                      <a:pt x="1480" y="504"/>
                      <a:pt x="1480" y="504"/>
                      <a:pt x="1480" y="503"/>
                    </a:cubicBezTo>
                    <a:cubicBezTo>
                      <a:pt x="1480" y="503"/>
                      <a:pt x="1480" y="503"/>
                      <a:pt x="1479" y="503"/>
                    </a:cubicBezTo>
                    <a:cubicBezTo>
                      <a:pt x="1479" y="503"/>
                      <a:pt x="1479" y="503"/>
                      <a:pt x="1477" y="504"/>
                    </a:cubicBezTo>
                    <a:cubicBezTo>
                      <a:pt x="1477" y="504"/>
                      <a:pt x="1477" y="504"/>
                      <a:pt x="1477" y="502"/>
                    </a:cubicBezTo>
                    <a:cubicBezTo>
                      <a:pt x="1477" y="502"/>
                      <a:pt x="1477" y="502"/>
                      <a:pt x="1477" y="501"/>
                    </a:cubicBezTo>
                    <a:cubicBezTo>
                      <a:pt x="1477" y="501"/>
                      <a:pt x="1477" y="501"/>
                      <a:pt x="1475" y="499"/>
                    </a:cubicBezTo>
                    <a:cubicBezTo>
                      <a:pt x="1475" y="499"/>
                      <a:pt x="1475" y="499"/>
                      <a:pt x="1475" y="498"/>
                    </a:cubicBezTo>
                    <a:cubicBezTo>
                      <a:pt x="1475" y="498"/>
                      <a:pt x="1475" y="498"/>
                      <a:pt x="1474" y="498"/>
                    </a:cubicBezTo>
                    <a:cubicBezTo>
                      <a:pt x="1474" y="498"/>
                      <a:pt x="1474" y="498"/>
                      <a:pt x="1474" y="496"/>
                    </a:cubicBezTo>
                    <a:cubicBezTo>
                      <a:pt x="1474" y="496"/>
                      <a:pt x="1474" y="496"/>
                      <a:pt x="1473" y="496"/>
                    </a:cubicBezTo>
                    <a:cubicBezTo>
                      <a:pt x="1473" y="496"/>
                      <a:pt x="1473" y="496"/>
                      <a:pt x="1473" y="495"/>
                    </a:cubicBezTo>
                    <a:cubicBezTo>
                      <a:pt x="1473" y="495"/>
                      <a:pt x="1473" y="495"/>
                      <a:pt x="1472" y="495"/>
                    </a:cubicBezTo>
                    <a:cubicBezTo>
                      <a:pt x="1472" y="495"/>
                      <a:pt x="1472" y="495"/>
                      <a:pt x="1471" y="495"/>
                    </a:cubicBezTo>
                    <a:cubicBezTo>
                      <a:pt x="1471" y="495"/>
                      <a:pt x="1471" y="495"/>
                      <a:pt x="1470" y="494"/>
                    </a:cubicBezTo>
                    <a:cubicBezTo>
                      <a:pt x="1470" y="494"/>
                      <a:pt x="1470" y="494"/>
                      <a:pt x="1470" y="493"/>
                    </a:cubicBezTo>
                    <a:cubicBezTo>
                      <a:pt x="1470" y="493"/>
                      <a:pt x="1470" y="493"/>
                      <a:pt x="1470" y="492"/>
                    </a:cubicBezTo>
                    <a:cubicBezTo>
                      <a:pt x="1470" y="492"/>
                      <a:pt x="1470" y="492"/>
                      <a:pt x="1471" y="493"/>
                    </a:cubicBezTo>
                    <a:cubicBezTo>
                      <a:pt x="1471" y="493"/>
                      <a:pt x="1471" y="493"/>
                      <a:pt x="1473" y="492"/>
                    </a:cubicBezTo>
                    <a:cubicBezTo>
                      <a:pt x="1473" y="492"/>
                      <a:pt x="1473" y="492"/>
                      <a:pt x="1473" y="493"/>
                    </a:cubicBezTo>
                    <a:cubicBezTo>
                      <a:pt x="1473" y="493"/>
                      <a:pt x="1473" y="493"/>
                      <a:pt x="1474" y="493"/>
                    </a:cubicBezTo>
                    <a:cubicBezTo>
                      <a:pt x="1474" y="493"/>
                      <a:pt x="1474" y="493"/>
                      <a:pt x="1475" y="493"/>
                    </a:cubicBezTo>
                    <a:cubicBezTo>
                      <a:pt x="1475" y="493"/>
                      <a:pt x="1475" y="493"/>
                      <a:pt x="1475" y="492"/>
                    </a:cubicBezTo>
                    <a:cubicBezTo>
                      <a:pt x="1475" y="492"/>
                      <a:pt x="1475" y="492"/>
                      <a:pt x="1476" y="492"/>
                    </a:cubicBezTo>
                    <a:cubicBezTo>
                      <a:pt x="1476" y="492"/>
                      <a:pt x="1476" y="492"/>
                      <a:pt x="1477" y="493"/>
                    </a:cubicBezTo>
                    <a:cubicBezTo>
                      <a:pt x="1477" y="493"/>
                      <a:pt x="1477" y="493"/>
                      <a:pt x="1477" y="492"/>
                    </a:cubicBezTo>
                    <a:cubicBezTo>
                      <a:pt x="1477" y="492"/>
                      <a:pt x="1477" y="492"/>
                      <a:pt x="1476" y="492"/>
                    </a:cubicBezTo>
                    <a:cubicBezTo>
                      <a:pt x="1476" y="492"/>
                      <a:pt x="1476" y="492"/>
                      <a:pt x="1475" y="491"/>
                    </a:cubicBezTo>
                    <a:cubicBezTo>
                      <a:pt x="1475" y="491"/>
                      <a:pt x="1475" y="491"/>
                      <a:pt x="1474" y="489"/>
                    </a:cubicBezTo>
                    <a:cubicBezTo>
                      <a:pt x="1474" y="489"/>
                      <a:pt x="1474" y="489"/>
                      <a:pt x="1474" y="488"/>
                    </a:cubicBezTo>
                    <a:cubicBezTo>
                      <a:pt x="1474" y="488"/>
                      <a:pt x="1474" y="488"/>
                      <a:pt x="1475" y="488"/>
                    </a:cubicBezTo>
                    <a:cubicBezTo>
                      <a:pt x="1475" y="488"/>
                      <a:pt x="1475" y="488"/>
                      <a:pt x="1475" y="487"/>
                    </a:cubicBezTo>
                    <a:cubicBezTo>
                      <a:pt x="1475" y="487"/>
                      <a:pt x="1475" y="487"/>
                      <a:pt x="1475" y="486"/>
                    </a:cubicBezTo>
                    <a:cubicBezTo>
                      <a:pt x="1475" y="486"/>
                      <a:pt x="1475" y="486"/>
                      <a:pt x="1477" y="485"/>
                    </a:cubicBezTo>
                    <a:cubicBezTo>
                      <a:pt x="1477" y="485"/>
                      <a:pt x="1477" y="485"/>
                      <a:pt x="1478" y="485"/>
                    </a:cubicBezTo>
                    <a:cubicBezTo>
                      <a:pt x="1478" y="485"/>
                      <a:pt x="1478" y="485"/>
                      <a:pt x="1479" y="485"/>
                    </a:cubicBezTo>
                    <a:cubicBezTo>
                      <a:pt x="1479" y="485"/>
                      <a:pt x="1479" y="485"/>
                      <a:pt x="1480" y="485"/>
                    </a:cubicBezTo>
                    <a:cubicBezTo>
                      <a:pt x="1480" y="485"/>
                      <a:pt x="1480" y="485"/>
                      <a:pt x="1481" y="485"/>
                    </a:cubicBezTo>
                    <a:cubicBezTo>
                      <a:pt x="1481" y="485"/>
                      <a:pt x="1481" y="485"/>
                      <a:pt x="1482" y="485"/>
                    </a:cubicBezTo>
                    <a:cubicBezTo>
                      <a:pt x="1482" y="485"/>
                      <a:pt x="1482" y="485"/>
                      <a:pt x="1483" y="485"/>
                    </a:cubicBezTo>
                    <a:cubicBezTo>
                      <a:pt x="1483" y="485"/>
                      <a:pt x="1483" y="485"/>
                      <a:pt x="1484" y="486"/>
                    </a:cubicBezTo>
                    <a:cubicBezTo>
                      <a:pt x="1484" y="486"/>
                      <a:pt x="1484" y="486"/>
                      <a:pt x="1485" y="486"/>
                    </a:cubicBezTo>
                    <a:cubicBezTo>
                      <a:pt x="1485" y="486"/>
                      <a:pt x="1485" y="486"/>
                      <a:pt x="1486" y="486"/>
                    </a:cubicBezTo>
                    <a:cubicBezTo>
                      <a:pt x="1486" y="486"/>
                      <a:pt x="1486" y="486"/>
                      <a:pt x="1486" y="485"/>
                    </a:cubicBezTo>
                    <a:cubicBezTo>
                      <a:pt x="1486" y="485"/>
                      <a:pt x="1486" y="485"/>
                      <a:pt x="1484" y="484"/>
                    </a:cubicBezTo>
                    <a:cubicBezTo>
                      <a:pt x="1484" y="484"/>
                      <a:pt x="1484" y="484"/>
                      <a:pt x="1484" y="483"/>
                    </a:cubicBezTo>
                    <a:cubicBezTo>
                      <a:pt x="1484" y="483"/>
                      <a:pt x="1484" y="483"/>
                      <a:pt x="1484" y="481"/>
                    </a:cubicBezTo>
                    <a:cubicBezTo>
                      <a:pt x="1484" y="481"/>
                      <a:pt x="1484" y="481"/>
                      <a:pt x="1485" y="481"/>
                    </a:cubicBezTo>
                    <a:cubicBezTo>
                      <a:pt x="1485" y="481"/>
                      <a:pt x="1485" y="481"/>
                      <a:pt x="1485" y="480"/>
                    </a:cubicBezTo>
                    <a:cubicBezTo>
                      <a:pt x="1485" y="480"/>
                      <a:pt x="1485" y="480"/>
                      <a:pt x="1484" y="479"/>
                    </a:cubicBezTo>
                    <a:cubicBezTo>
                      <a:pt x="1484" y="479"/>
                      <a:pt x="1484" y="479"/>
                      <a:pt x="1485" y="478"/>
                    </a:cubicBezTo>
                    <a:cubicBezTo>
                      <a:pt x="1485" y="478"/>
                      <a:pt x="1485" y="478"/>
                      <a:pt x="1485" y="477"/>
                    </a:cubicBezTo>
                    <a:cubicBezTo>
                      <a:pt x="1485" y="477"/>
                      <a:pt x="1485" y="477"/>
                      <a:pt x="1484" y="476"/>
                    </a:cubicBezTo>
                    <a:cubicBezTo>
                      <a:pt x="1484" y="476"/>
                      <a:pt x="1484" y="476"/>
                      <a:pt x="1484" y="475"/>
                    </a:cubicBezTo>
                    <a:cubicBezTo>
                      <a:pt x="1484" y="475"/>
                      <a:pt x="1484" y="475"/>
                      <a:pt x="1484" y="474"/>
                    </a:cubicBezTo>
                    <a:cubicBezTo>
                      <a:pt x="1484" y="474"/>
                      <a:pt x="1484" y="474"/>
                      <a:pt x="1483" y="474"/>
                    </a:cubicBezTo>
                    <a:cubicBezTo>
                      <a:pt x="1483" y="474"/>
                      <a:pt x="1483" y="474"/>
                      <a:pt x="1483" y="473"/>
                    </a:cubicBezTo>
                    <a:cubicBezTo>
                      <a:pt x="1483" y="473"/>
                      <a:pt x="1483" y="473"/>
                      <a:pt x="1483" y="472"/>
                    </a:cubicBezTo>
                    <a:cubicBezTo>
                      <a:pt x="1483" y="472"/>
                      <a:pt x="1483" y="472"/>
                      <a:pt x="1480" y="472"/>
                    </a:cubicBezTo>
                    <a:cubicBezTo>
                      <a:pt x="1480" y="472"/>
                      <a:pt x="1480" y="472"/>
                      <a:pt x="1479" y="472"/>
                    </a:cubicBezTo>
                    <a:cubicBezTo>
                      <a:pt x="1479" y="472"/>
                      <a:pt x="1479" y="472"/>
                      <a:pt x="1479" y="473"/>
                    </a:cubicBezTo>
                    <a:cubicBezTo>
                      <a:pt x="1479" y="473"/>
                      <a:pt x="1479" y="473"/>
                      <a:pt x="1478" y="473"/>
                    </a:cubicBezTo>
                    <a:cubicBezTo>
                      <a:pt x="1478" y="473"/>
                      <a:pt x="1478" y="473"/>
                      <a:pt x="1478" y="474"/>
                    </a:cubicBezTo>
                    <a:cubicBezTo>
                      <a:pt x="1478" y="474"/>
                      <a:pt x="1478" y="474"/>
                      <a:pt x="1477" y="474"/>
                    </a:cubicBezTo>
                    <a:cubicBezTo>
                      <a:pt x="1477" y="474"/>
                      <a:pt x="1477" y="474"/>
                      <a:pt x="1476" y="474"/>
                    </a:cubicBezTo>
                    <a:cubicBezTo>
                      <a:pt x="1476" y="474"/>
                      <a:pt x="1476" y="474"/>
                      <a:pt x="1476" y="473"/>
                    </a:cubicBezTo>
                    <a:cubicBezTo>
                      <a:pt x="1476" y="473"/>
                      <a:pt x="1476" y="473"/>
                      <a:pt x="1475" y="474"/>
                    </a:cubicBezTo>
                    <a:cubicBezTo>
                      <a:pt x="1475" y="474"/>
                      <a:pt x="1475" y="474"/>
                      <a:pt x="1475" y="473"/>
                    </a:cubicBezTo>
                    <a:cubicBezTo>
                      <a:pt x="1475" y="473"/>
                      <a:pt x="1475" y="473"/>
                      <a:pt x="1475" y="472"/>
                    </a:cubicBezTo>
                    <a:cubicBezTo>
                      <a:pt x="1475" y="472"/>
                      <a:pt x="1475" y="472"/>
                      <a:pt x="1474" y="472"/>
                    </a:cubicBezTo>
                    <a:cubicBezTo>
                      <a:pt x="1474" y="472"/>
                      <a:pt x="1474" y="472"/>
                      <a:pt x="1473" y="472"/>
                    </a:cubicBezTo>
                    <a:cubicBezTo>
                      <a:pt x="1473" y="472"/>
                      <a:pt x="1473" y="472"/>
                      <a:pt x="1472" y="472"/>
                    </a:cubicBezTo>
                    <a:cubicBezTo>
                      <a:pt x="1472" y="472"/>
                      <a:pt x="1472" y="472"/>
                      <a:pt x="1471" y="472"/>
                    </a:cubicBezTo>
                    <a:cubicBezTo>
                      <a:pt x="1471" y="472"/>
                      <a:pt x="1471" y="472"/>
                      <a:pt x="1470" y="472"/>
                    </a:cubicBezTo>
                    <a:cubicBezTo>
                      <a:pt x="1470" y="472"/>
                      <a:pt x="1470" y="472"/>
                      <a:pt x="1470" y="473"/>
                    </a:cubicBezTo>
                    <a:cubicBezTo>
                      <a:pt x="1470" y="473"/>
                      <a:pt x="1470" y="473"/>
                      <a:pt x="1469" y="474"/>
                    </a:cubicBezTo>
                    <a:cubicBezTo>
                      <a:pt x="1469" y="474"/>
                      <a:pt x="1469" y="474"/>
                      <a:pt x="1469" y="473"/>
                    </a:cubicBezTo>
                    <a:cubicBezTo>
                      <a:pt x="1469" y="473"/>
                      <a:pt x="1469" y="473"/>
                      <a:pt x="1468" y="473"/>
                    </a:cubicBezTo>
                    <a:cubicBezTo>
                      <a:pt x="1468" y="473"/>
                      <a:pt x="1468" y="473"/>
                      <a:pt x="1468" y="474"/>
                    </a:cubicBezTo>
                    <a:cubicBezTo>
                      <a:pt x="1468" y="474"/>
                      <a:pt x="1468" y="474"/>
                      <a:pt x="1467" y="474"/>
                    </a:cubicBezTo>
                    <a:cubicBezTo>
                      <a:pt x="1467" y="474"/>
                      <a:pt x="1467" y="474"/>
                      <a:pt x="1466" y="475"/>
                    </a:cubicBezTo>
                    <a:cubicBezTo>
                      <a:pt x="1466" y="475"/>
                      <a:pt x="1466" y="475"/>
                      <a:pt x="1465" y="476"/>
                    </a:cubicBezTo>
                    <a:cubicBezTo>
                      <a:pt x="1465" y="476"/>
                      <a:pt x="1465" y="476"/>
                      <a:pt x="1464" y="477"/>
                    </a:cubicBezTo>
                    <a:cubicBezTo>
                      <a:pt x="1464" y="477"/>
                      <a:pt x="1464" y="477"/>
                      <a:pt x="1464" y="476"/>
                    </a:cubicBezTo>
                    <a:cubicBezTo>
                      <a:pt x="1464" y="476"/>
                      <a:pt x="1464" y="476"/>
                      <a:pt x="1463" y="476"/>
                    </a:cubicBezTo>
                    <a:cubicBezTo>
                      <a:pt x="1463" y="476"/>
                      <a:pt x="1463" y="476"/>
                      <a:pt x="1463" y="477"/>
                    </a:cubicBezTo>
                    <a:cubicBezTo>
                      <a:pt x="1463" y="477"/>
                      <a:pt x="1463" y="477"/>
                      <a:pt x="1462" y="477"/>
                    </a:cubicBezTo>
                    <a:cubicBezTo>
                      <a:pt x="1462" y="477"/>
                      <a:pt x="1462" y="477"/>
                      <a:pt x="1461" y="476"/>
                    </a:cubicBezTo>
                    <a:cubicBezTo>
                      <a:pt x="1461" y="477"/>
                      <a:pt x="1461" y="477"/>
                      <a:pt x="1461" y="477"/>
                    </a:cubicBezTo>
                    <a:cubicBezTo>
                      <a:pt x="1461" y="478"/>
                      <a:pt x="1461" y="478"/>
                      <a:pt x="1461" y="478"/>
                    </a:cubicBezTo>
                    <a:cubicBezTo>
                      <a:pt x="1460" y="478"/>
                      <a:pt x="1460" y="478"/>
                      <a:pt x="1460" y="478"/>
                    </a:cubicBezTo>
                    <a:cubicBezTo>
                      <a:pt x="1460" y="479"/>
                      <a:pt x="1460" y="479"/>
                      <a:pt x="1460" y="479"/>
                    </a:cubicBezTo>
                    <a:cubicBezTo>
                      <a:pt x="1460" y="480"/>
                      <a:pt x="1460" y="480"/>
                      <a:pt x="1460" y="480"/>
                    </a:cubicBezTo>
                    <a:cubicBezTo>
                      <a:pt x="1459" y="480"/>
                      <a:pt x="1459" y="480"/>
                      <a:pt x="1459" y="480"/>
                    </a:cubicBezTo>
                    <a:cubicBezTo>
                      <a:pt x="1458" y="480"/>
                      <a:pt x="1458" y="480"/>
                      <a:pt x="1458" y="480"/>
                    </a:cubicBezTo>
                    <a:cubicBezTo>
                      <a:pt x="1457" y="480"/>
                      <a:pt x="1457" y="480"/>
                      <a:pt x="1457" y="480"/>
                    </a:cubicBezTo>
                    <a:cubicBezTo>
                      <a:pt x="1459" y="481"/>
                      <a:pt x="1459" y="481"/>
                      <a:pt x="1459" y="481"/>
                    </a:cubicBezTo>
                    <a:cubicBezTo>
                      <a:pt x="1459" y="482"/>
                      <a:pt x="1459" y="482"/>
                      <a:pt x="1459" y="482"/>
                    </a:cubicBezTo>
                    <a:cubicBezTo>
                      <a:pt x="1458" y="481"/>
                      <a:pt x="1458" y="481"/>
                      <a:pt x="1458" y="481"/>
                    </a:cubicBezTo>
                    <a:cubicBezTo>
                      <a:pt x="1458" y="481"/>
                      <a:pt x="1458" y="481"/>
                      <a:pt x="1457" y="482"/>
                    </a:cubicBezTo>
                    <a:cubicBezTo>
                      <a:pt x="1456" y="483"/>
                      <a:pt x="1456" y="483"/>
                      <a:pt x="1456" y="483"/>
                    </a:cubicBezTo>
                    <a:cubicBezTo>
                      <a:pt x="1455" y="483"/>
                      <a:pt x="1455" y="483"/>
                      <a:pt x="1455" y="483"/>
                    </a:cubicBezTo>
                    <a:cubicBezTo>
                      <a:pt x="1454" y="483"/>
                      <a:pt x="1454" y="483"/>
                      <a:pt x="1454" y="483"/>
                    </a:cubicBezTo>
                    <a:cubicBezTo>
                      <a:pt x="1454" y="484"/>
                      <a:pt x="1454" y="484"/>
                      <a:pt x="1454" y="484"/>
                    </a:cubicBezTo>
                    <a:cubicBezTo>
                      <a:pt x="1453" y="484"/>
                      <a:pt x="1453" y="484"/>
                      <a:pt x="1453" y="484"/>
                    </a:cubicBezTo>
                    <a:cubicBezTo>
                      <a:pt x="1453" y="483"/>
                      <a:pt x="1453" y="483"/>
                      <a:pt x="1453" y="483"/>
                    </a:cubicBezTo>
                    <a:cubicBezTo>
                      <a:pt x="1452" y="483"/>
                      <a:pt x="1452" y="483"/>
                      <a:pt x="1452" y="483"/>
                    </a:cubicBezTo>
                    <a:cubicBezTo>
                      <a:pt x="1452" y="484"/>
                      <a:pt x="1452" y="484"/>
                      <a:pt x="1452" y="484"/>
                    </a:cubicBezTo>
                    <a:cubicBezTo>
                      <a:pt x="1451" y="485"/>
                      <a:pt x="1451" y="485"/>
                      <a:pt x="1451" y="485"/>
                    </a:cubicBezTo>
                    <a:cubicBezTo>
                      <a:pt x="1451" y="486"/>
                      <a:pt x="1451" y="486"/>
                      <a:pt x="1451" y="486"/>
                    </a:cubicBezTo>
                    <a:cubicBezTo>
                      <a:pt x="1451" y="487"/>
                      <a:pt x="1451" y="487"/>
                      <a:pt x="1451" y="487"/>
                    </a:cubicBezTo>
                    <a:cubicBezTo>
                      <a:pt x="1450" y="488"/>
                      <a:pt x="1450" y="488"/>
                      <a:pt x="1450" y="488"/>
                    </a:cubicBezTo>
                    <a:cubicBezTo>
                      <a:pt x="1450" y="489"/>
                      <a:pt x="1450" y="489"/>
                      <a:pt x="1450" y="489"/>
                    </a:cubicBezTo>
                    <a:cubicBezTo>
                      <a:pt x="1450" y="491"/>
                      <a:pt x="1450" y="491"/>
                      <a:pt x="1450" y="491"/>
                    </a:cubicBezTo>
                    <a:cubicBezTo>
                      <a:pt x="1449" y="492"/>
                      <a:pt x="1449" y="492"/>
                      <a:pt x="1449" y="492"/>
                    </a:cubicBezTo>
                    <a:cubicBezTo>
                      <a:pt x="1449" y="493"/>
                      <a:pt x="1449" y="493"/>
                      <a:pt x="1449" y="493"/>
                    </a:cubicBezTo>
                    <a:cubicBezTo>
                      <a:pt x="1449" y="495"/>
                      <a:pt x="1449" y="495"/>
                      <a:pt x="1449" y="495"/>
                    </a:cubicBezTo>
                    <a:cubicBezTo>
                      <a:pt x="1450" y="495"/>
                      <a:pt x="1450" y="495"/>
                      <a:pt x="1450" y="495"/>
                    </a:cubicBezTo>
                    <a:cubicBezTo>
                      <a:pt x="1451" y="495"/>
                      <a:pt x="1451" y="495"/>
                      <a:pt x="1451" y="495"/>
                    </a:cubicBezTo>
                    <a:cubicBezTo>
                      <a:pt x="1452" y="496"/>
                      <a:pt x="1452" y="496"/>
                      <a:pt x="1452" y="496"/>
                    </a:cubicBezTo>
                    <a:cubicBezTo>
                      <a:pt x="1453" y="497"/>
                      <a:pt x="1453" y="497"/>
                      <a:pt x="1453" y="497"/>
                    </a:cubicBezTo>
                    <a:cubicBezTo>
                      <a:pt x="1453" y="499"/>
                      <a:pt x="1453" y="499"/>
                      <a:pt x="1453" y="499"/>
                    </a:cubicBezTo>
                    <a:cubicBezTo>
                      <a:pt x="1454" y="499"/>
                      <a:pt x="1454" y="499"/>
                      <a:pt x="1454" y="499"/>
                    </a:cubicBezTo>
                    <a:cubicBezTo>
                      <a:pt x="1455" y="499"/>
                      <a:pt x="1455" y="499"/>
                      <a:pt x="1455" y="499"/>
                    </a:cubicBezTo>
                    <a:cubicBezTo>
                      <a:pt x="1456" y="499"/>
                      <a:pt x="1456" y="499"/>
                      <a:pt x="1456" y="499"/>
                    </a:cubicBezTo>
                    <a:cubicBezTo>
                      <a:pt x="1455" y="500"/>
                      <a:pt x="1455" y="500"/>
                      <a:pt x="1455" y="500"/>
                    </a:cubicBezTo>
                    <a:cubicBezTo>
                      <a:pt x="1455" y="501"/>
                      <a:pt x="1455" y="501"/>
                      <a:pt x="1455" y="501"/>
                    </a:cubicBezTo>
                    <a:cubicBezTo>
                      <a:pt x="1454" y="501"/>
                      <a:pt x="1454" y="501"/>
                      <a:pt x="1454" y="501"/>
                    </a:cubicBezTo>
                    <a:cubicBezTo>
                      <a:pt x="1454" y="502"/>
                      <a:pt x="1454" y="502"/>
                      <a:pt x="1454" y="502"/>
                    </a:cubicBezTo>
                    <a:cubicBezTo>
                      <a:pt x="1455" y="502"/>
                      <a:pt x="1455" y="502"/>
                      <a:pt x="1455" y="502"/>
                    </a:cubicBezTo>
                    <a:cubicBezTo>
                      <a:pt x="1455" y="503"/>
                      <a:pt x="1455" y="503"/>
                      <a:pt x="1455" y="503"/>
                    </a:cubicBezTo>
                    <a:cubicBezTo>
                      <a:pt x="1456" y="503"/>
                      <a:pt x="1456" y="503"/>
                      <a:pt x="1456" y="503"/>
                    </a:cubicBezTo>
                    <a:cubicBezTo>
                      <a:pt x="1456" y="505"/>
                      <a:pt x="1456" y="505"/>
                      <a:pt x="1456" y="505"/>
                    </a:cubicBezTo>
                    <a:cubicBezTo>
                      <a:pt x="1457" y="506"/>
                      <a:pt x="1457" y="506"/>
                      <a:pt x="1457" y="506"/>
                    </a:cubicBezTo>
                    <a:cubicBezTo>
                      <a:pt x="1457" y="508"/>
                      <a:pt x="1457" y="508"/>
                      <a:pt x="1457" y="508"/>
                    </a:cubicBezTo>
                    <a:cubicBezTo>
                      <a:pt x="1459" y="511"/>
                      <a:pt x="1459" y="511"/>
                      <a:pt x="1459" y="511"/>
                    </a:cubicBezTo>
                    <a:cubicBezTo>
                      <a:pt x="1463" y="514"/>
                      <a:pt x="1463" y="514"/>
                      <a:pt x="1463" y="514"/>
                    </a:cubicBezTo>
                    <a:cubicBezTo>
                      <a:pt x="1463" y="514"/>
                      <a:pt x="1463" y="514"/>
                      <a:pt x="1465" y="515"/>
                    </a:cubicBezTo>
                    <a:cubicBezTo>
                      <a:pt x="1465" y="515"/>
                      <a:pt x="1465" y="515"/>
                      <a:pt x="1467" y="518"/>
                    </a:cubicBezTo>
                    <a:cubicBezTo>
                      <a:pt x="1467" y="518"/>
                      <a:pt x="1467" y="518"/>
                      <a:pt x="1467" y="519"/>
                    </a:cubicBezTo>
                    <a:cubicBezTo>
                      <a:pt x="1467" y="519"/>
                      <a:pt x="1467" y="519"/>
                      <a:pt x="1467" y="521"/>
                    </a:cubicBezTo>
                    <a:cubicBezTo>
                      <a:pt x="1467" y="521"/>
                      <a:pt x="1467" y="521"/>
                      <a:pt x="1470" y="522"/>
                    </a:cubicBezTo>
                    <a:cubicBezTo>
                      <a:pt x="1470" y="522"/>
                      <a:pt x="1470" y="522"/>
                      <a:pt x="1470" y="523"/>
                    </a:cubicBezTo>
                    <a:cubicBezTo>
                      <a:pt x="1470" y="523"/>
                      <a:pt x="1470" y="523"/>
                      <a:pt x="1471" y="524"/>
                    </a:cubicBezTo>
                    <a:cubicBezTo>
                      <a:pt x="1471" y="524"/>
                      <a:pt x="1471" y="524"/>
                      <a:pt x="1473" y="524"/>
                    </a:cubicBezTo>
                    <a:cubicBezTo>
                      <a:pt x="1473" y="524"/>
                      <a:pt x="1473" y="524"/>
                      <a:pt x="1474" y="525"/>
                    </a:cubicBezTo>
                    <a:cubicBezTo>
                      <a:pt x="1474" y="525"/>
                      <a:pt x="1474" y="525"/>
                      <a:pt x="1475" y="526"/>
                    </a:cubicBezTo>
                    <a:cubicBezTo>
                      <a:pt x="1475" y="526"/>
                      <a:pt x="1475" y="526"/>
                      <a:pt x="1474" y="526"/>
                    </a:cubicBezTo>
                    <a:cubicBezTo>
                      <a:pt x="1474" y="526"/>
                      <a:pt x="1474" y="526"/>
                      <a:pt x="1474" y="527"/>
                    </a:cubicBezTo>
                    <a:cubicBezTo>
                      <a:pt x="1474" y="527"/>
                      <a:pt x="1474" y="527"/>
                      <a:pt x="1472" y="527"/>
                    </a:cubicBezTo>
                    <a:cubicBezTo>
                      <a:pt x="1472" y="527"/>
                      <a:pt x="1472" y="527"/>
                      <a:pt x="1470" y="528"/>
                    </a:cubicBezTo>
                    <a:cubicBezTo>
                      <a:pt x="1470" y="528"/>
                      <a:pt x="1470" y="528"/>
                      <a:pt x="1470" y="530"/>
                    </a:cubicBezTo>
                    <a:cubicBezTo>
                      <a:pt x="1470" y="530"/>
                      <a:pt x="1470" y="530"/>
                      <a:pt x="1470" y="531"/>
                    </a:cubicBezTo>
                    <a:cubicBezTo>
                      <a:pt x="1470" y="531"/>
                      <a:pt x="1470" y="531"/>
                      <a:pt x="1470" y="532"/>
                    </a:cubicBezTo>
                    <a:cubicBezTo>
                      <a:pt x="1470" y="532"/>
                      <a:pt x="1470" y="532"/>
                      <a:pt x="1470" y="533"/>
                    </a:cubicBezTo>
                    <a:cubicBezTo>
                      <a:pt x="1470" y="533"/>
                      <a:pt x="1470" y="533"/>
                      <a:pt x="1470" y="534"/>
                    </a:cubicBezTo>
                    <a:cubicBezTo>
                      <a:pt x="1470" y="534"/>
                      <a:pt x="1470" y="534"/>
                      <a:pt x="1470" y="535"/>
                    </a:cubicBezTo>
                    <a:cubicBezTo>
                      <a:pt x="1470" y="535"/>
                      <a:pt x="1470" y="535"/>
                      <a:pt x="1469" y="535"/>
                    </a:cubicBezTo>
                    <a:cubicBezTo>
                      <a:pt x="1469" y="535"/>
                      <a:pt x="1469" y="535"/>
                      <a:pt x="1469" y="536"/>
                    </a:cubicBezTo>
                    <a:cubicBezTo>
                      <a:pt x="1469" y="536"/>
                      <a:pt x="1469" y="536"/>
                      <a:pt x="1468" y="535"/>
                    </a:cubicBezTo>
                    <a:cubicBezTo>
                      <a:pt x="1468" y="535"/>
                      <a:pt x="1468" y="535"/>
                      <a:pt x="1468" y="536"/>
                    </a:cubicBezTo>
                    <a:cubicBezTo>
                      <a:pt x="1468" y="536"/>
                      <a:pt x="1468" y="536"/>
                      <a:pt x="1467" y="537"/>
                    </a:cubicBezTo>
                    <a:cubicBezTo>
                      <a:pt x="1467" y="537"/>
                      <a:pt x="1467" y="537"/>
                      <a:pt x="1468" y="538"/>
                    </a:cubicBezTo>
                    <a:cubicBezTo>
                      <a:pt x="1468" y="538"/>
                      <a:pt x="1468" y="538"/>
                      <a:pt x="1468" y="539"/>
                    </a:cubicBezTo>
                    <a:cubicBezTo>
                      <a:pt x="1468" y="539"/>
                      <a:pt x="1468" y="539"/>
                      <a:pt x="1468" y="540"/>
                    </a:cubicBezTo>
                    <a:cubicBezTo>
                      <a:pt x="1468" y="540"/>
                      <a:pt x="1468" y="540"/>
                      <a:pt x="1468" y="542"/>
                    </a:cubicBezTo>
                    <a:cubicBezTo>
                      <a:pt x="1468" y="542"/>
                      <a:pt x="1468" y="542"/>
                      <a:pt x="1468" y="543"/>
                    </a:cubicBezTo>
                    <a:cubicBezTo>
                      <a:pt x="1468" y="543"/>
                      <a:pt x="1468" y="543"/>
                      <a:pt x="1469" y="544"/>
                    </a:cubicBezTo>
                    <a:cubicBezTo>
                      <a:pt x="1469" y="544"/>
                      <a:pt x="1469" y="544"/>
                      <a:pt x="1469" y="545"/>
                    </a:cubicBezTo>
                    <a:cubicBezTo>
                      <a:pt x="1469" y="545"/>
                      <a:pt x="1469" y="545"/>
                      <a:pt x="1469" y="547"/>
                    </a:cubicBezTo>
                    <a:cubicBezTo>
                      <a:pt x="1469" y="547"/>
                      <a:pt x="1469" y="547"/>
                      <a:pt x="1470" y="548"/>
                    </a:cubicBezTo>
                    <a:cubicBezTo>
                      <a:pt x="1470" y="548"/>
                      <a:pt x="1470" y="548"/>
                      <a:pt x="1471" y="549"/>
                    </a:cubicBezTo>
                    <a:cubicBezTo>
                      <a:pt x="1471" y="549"/>
                      <a:pt x="1471" y="549"/>
                      <a:pt x="1473" y="549"/>
                    </a:cubicBezTo>
                    <a:cubicBezTo>
                      <a:pt x="1473" y="549"/>
                      <a:pt x="1473" y="549"/>
                      <a:pt x="1474" y="549"/>
                    </a:cubicBezTo>
                    <a:cubicBezTo>
                      <a:pt x="1474" y="549"/>
                      <a:pt x="1474" y="549"/>
                      <a:pt x="1475" y="549"/>
                    </a:cubicBezTo>
                    <a:cubicBezTo>
                      <a:pt x="1475" y="549"/>
                      <a:pt x="1475" y="549"/>
                      <a:pt x="1477" y="550"/>
                    </a:cubicBezTo>
                    <a:cubicBezTo>
                      <a:pt x="1477" y="550"/>
                      <a:pt x="1477" y="550"/>
                      <a:pt x="1478" y="550"/>
                    </a:cubicBezTo>
                    <a:cubicBezTo>
                      <a:pt x="1478" y="550"/>
                      <a:pt x="1478" y="550"/>
                      <a:pt x="1478" y="551"/>
                    </a:cubicBezTo>
                    <a:cubicBezTo>
                      <a:pt x="1478" y="551"/>
                      <a:pt x="1478" y="551"/>
                      <a:pt x="1479" y="552"/>
                    </a:cubicBezTo>
                    <a:cubicBezTo>
                      <a:pt x="1479" y="552"/>
                      <a:pt x="1479" y="552"/>
                      <a:pt x="1482" y="554"/>
                    </a:cubicBezTo>
                    <a:cubicBezTo>
                      <a:pt x="1482" y="554"/>
                      <a:pt x="1482" y="554"/>
                      <a:pt x="1484" y="554"/>
                    </a:cubicBezTo>
                    <a:cubicBezTo>
                      <a:pt x="1484" y="554"/>
                      <a:pt x="1484" y="554"/>
                      <a:pt x="1487" y="555"/>
                    </a:cubicBezTo>
                    <a:cubicBezTo>
                      <a:pt x="1487" y="555"/>
                      <a:pt x="1487" y="555"/>
                      <a:pt x="1489" y="555"/>
                    </a:cubicBezTo>
                    <a:cubicBezTo>
                      <a:pt x="1489" y="555"/>
                      <a:pt x="1489" y="555"/>
                      <a:pt x="1493" y="554"/>
                    </a:cubicBezTo>
                    <a:cubicBezTo>
                      <a:pt x="1493" y="554"/>
                      <a:pt x="1493" y="554"/>
                      <a:pt x="1497" y="553"/>
                    </a:cubicBezTo>
                    <a:cubicBezTo>
                      <a:pt x="1497" y="553"/>
                      <a:pt x="1497" y="553"/>
                      <a:pt x="1500" y="553"/>
                    </a:cubicBezTo>
                    <a:cubicBezTo>
                      <a:pt x="1500" y="553"/>
                      <a:pt x="1500" y="553"/>
                      <a:pt x="1502" y="554"/>
                    </a:cubicBezTo>
                    <a:lnTo>
                      <a:pt x="1502" y="552"/>
                    </a:lnTo>
                    <a:close/>
                    <a:moveTo>
                      <a:pt x="1691" y="751"/>
                    </a:moveTo>
                    <a:cubicBezTo>
                      <a:pt x="1690" y="748"/>
                      <a:pt x="1690" y="748"/>
                      <a:pt x="1690" y="748"/>
                    </a:cubicBezTo>
                    <a:cubicBezTo>
                      <a:pt x="1689" y="746"/>
                      <a:pt x="1689" y="746"/>
                      <a:pt x="1689" y="746"/>
                    </a:cubicBezTo>
                    <a:cubicBezTo>
                      <a:pt x="1688" y="746"/>
                      <a:pt x="1688" y="746"/>
                      <a:pt x="1688" y="746"/>
                    </a:cubicBezTo>
                    <a:cubicBezTo>
                      <a:pt x="1687" y="746"/>
                      <a:pt x="1687" y="746"/>
                      <a:pt x="1687" y="746"/>
                    </a:cubicBezTo>
                    <a:cubicBezTo>
                      <a:pt x="1688" y="745"/>
                      <a:pt x="1688" y="745"/>
                      <a:pt x="1688" y="745"/>
                    </a:cubicBezTo>
                    <a:cubicBezTo>
                      <a:pt x="1688" y="744"/>
                      <a:pt x="1688" y="744"/>
                      <a:pt x="1688" y="744"/>
                    </a:cubicBezTo>
                    <a:cubicBezTo>
                      <a:pt x="1687" y="744"/>
                      <a:pt x="1687" y="744"/>
                      <a:pt x="1687" y="744"/>
                    </a:cubicBezTo>
                    <a:cubicBezTo>
                      <a:pt x="1686" y="743"/>
                      <a:pt x="1686" y="743"/>
                      <a:pt x="1686" y="743"/>
                    </a:cubicBezTo>
                    <a:cubicBezTo>
                      <a:pt x="1685" y="742"/>
                      <a:pt x="1685" y="742"/>
                      <a:pt x="1685" y="742"/>
                    </a:cubicBezTo>
                    <a:cubicBezTo>
                      <a:pt x="1685" y="741"/>
                      <a:pt x="1685" y="741"/>
                      <a:pt x="1685" y="741"/>
                    </a:cubicBezTo>
                    <a:cubicBezTo>
                      <a:pt x="1685" y="740"/>
                      <a:pt x="1685" y="740"/>
                      <a:pt x="1685" y="740"/>
                    </a:cubicBezTo>
                    <a:cubicBezTo>
                      <a:pt x="1683" y="740"/>
                      <a:pt x="1683" y="740"/>
                      <a:pt x="1683" y="740"/>
                    </a:cubicBezTo>
                    <a:cubicBezTo>
                      <a:pt x="1682" y="740"/>
                      <a:pt x="1682" y="740"/>
                      <a:pt x="1682" y="740"/>
                    </a:cubicBezTo>
                    <a:cubicBezTo>
                      <a:pt x="1682" y="739"/>
                      <a:pt x="1682" y="739"/>
                      <a:pt x="1682" y="739"/>
                    </a:cubicBezTo>
                    <a:cubicBezTo>
                      <a:pt x="1681" y="739"/>
                      <a:pt x="1681" y="739"/>
                      <a:pt x="1681" y="739"/>
                    </a:cubicBezTo>
                    <a:cubicBezTo>
                      <a:pt x="1681" y="740"/>
                      <a:pt x="1681" y="740"/>
                      <a:pt x="1681" y="740"/>
                    </a:cubicBezTo>
                    <a:cubicBezTo>
                      <a:pt x="1681" y="741"/>
                      <a:pt x="1681" y="741"/>
                      <a:pt x="1681" y="741"/>
                    </a:cubicBezTo>
                    <a:cubicBezTo>
                      <a:pt x="1680" y="743"/>
                      <a:pt x="1680" y="743"/>
                      <a:pt x="1680" y="743"/>
                    </a:cubicBezTo>
                    <a:cubicBezTo>
                      <a:pt x="1680" y="742"/>
                      <a:pt x="1680" y="742"/>
                      <a:pt x="1680" y="742"/>
                    </a:cubicBezTo>
                    <a:cubicBezTo>
                      <a:pt x="1679" y="742"/>
                      <a:pt x="1679" y="742"/>
                      <a:pt x="1679" y="742"/>
                    </a:cubicBezTo>
                    <a:cubicBezTo>
                      <a:pt x="1679" y="743"/>
                      <a:pt x="1679" y="743"/>
                      <a:pt x="1679" y="743"/>
                    </a:cubicBezTo>
                    <a:cubicBezTo>
                      <a:pt x="1679" y="744"/>
                      <a:pt x="1679" y="744"/>
                      <a:pt x="1679" y="744"/>
                    </a:cubicBezTo>
                    <a:cubicBezTo>
                      <a:pt x="1679" y="746"/>
                      <a:pt x="1679" y="746"/>
                      <a:pt x="1679" y="746"/>
                    </a:cubicBezTo>
                    <a:cubicBezTo>
                      <a:pt x="1678" y="747"/>
                      <a:pt x="1678" y="747"/>
                      <a:pt x="1678" y="747"/>
                    </a:cubicBezTo>
                    <a:cubicBezTo>
                      <a:pt x="1679" y="747"/>
                      <a:pt x="1679" y="747"/>
                      <a:pt x="1679" y="747"/>
                    </a:cubicBezTo>
                    <a:cubicBezTo>
                      <a:pt x="1679" y="748"/>
                      <a:pt x="1679" y="748"/>
                      <a:pt x="1679" y="748"/>
                    </a:cubicBezTo>
                    <a:cubicBezTo>
                      <a:pt x="1679" y="750"/>
                      <a:pt x="1679" y="750"/>
                      <a:pt x="1679" y="750"/>
                    </a:cubicBezTo>
                    <a:cubicBezTo>
                      <a:pt x="1678" y="751"/>
                      <a:pt x="1678" y="751"/>
                      <a:pt x="1678" y="751"/>
                    </a:cubicBezTo>
                    <a:cubicBezTo>
                      <a:pt x="1679" y="753"/>
                      <a:pt x="1679" y="753"/>
                      <a:pt x="1679" y="753"/>
                    </a:cubicBezTo>
                    <a:cubicBezTo>
                      <a:pt x="1679" y="754"/>
                      <a:pt x="1679" y="754"/>
                      <a:pt x="1679" y="754"/>
                    </a:cubicBezTo>
                    <a:cubicBezTo>
                      <a:pt x="1680" y="757"/>
                      <a:pt x="1680" y="757"/>
                      <a:pt x="1680" y="757"/>
                    </a:cubicBezTo>
                    <a:cubicBezTo>
                      <a:pt x="1681" y="760"/>
                      <a:pt x="1681" y="760"/>
                      <a:pt x="1681" y="760"/>
                    </a:cubicBezTo>
                    <a:cubicBezTo>
                      <a:pt x="1682" y="762"/>
                      <a:pt x="1682" y="762"/>
                      <a:pt x="1682" y="762"/>
                    </a:cubicBezTo>
                    <a:cubicBezTo>
                      <a:pt x="1683" y="762"/>
                      <a:pt x="1683" y="762"/>
                      <a:pt x="1683" y="762"/>
                    </a:cubicBezTo>
                    <a:cubicBezTo>
                      <a:pt x="1684" y="762"/>
                      <a:pt x="1684" y="762"/>
                      <a:pt x="1684" y="762"/>
                    </a:cubicBezTo>
                    <a:cubicBezTo>
                      <a:pt x="1686" y="762"/>
                      <a:pt x="1686" y="762"/>
                      <a:pt x="1686" y="762"/>
                    </a:cubicBezTo>
                    <a:cubicBezTo>
                      <a:pt x="1688" y="761"/>
                      <a:pt x="1688" y="761"/>
                      <a:pt x="1688" y="761"/>
                    </a:cubicBezTo>
                    <a:cubicBezTo>
                      <a:pt x="1690" y="759"/>
                      <a:pt x="1690" y="759"/>
                      <a:pt x="1690" y="759"/>
                    </a:cubicBezTo>
                    <a:cubicBezTo>
                      <a:pt x="1691" y="757"/>
                      <a:pt x="1691" y="757"/>
                      <a:pt x="1691" y="757"/>
                    </a:cubicBezTo>
                    <a:cubicBezTo>
                      <a:pt x="1692" y="756"/>
                      <a:pt x="1692" y="756"/>
                      <a:pt x="1692" y="756"/>
                    </a:cubicBezTo>
                    <a:cubicBezTo>
                      <a:pt x="1692" y="755"/>
                      <a:pt x="1692" y="755"/>
                      <a:pt x="1692" y="755"/>
                    </a:cubicBezTo>
                    <a:cubicBezTo>
                      <a:pt x="1692" y="753"/>
                      <a:pt x="1692" y="753"/>
                      <a:pt x="1692" y="753"/>
                    </a:cubicBezTo>
                    <a:cubicBezTo>
                      <a:pt x="1691" y="752"/>
                      <a:pt x="1691" y="752"/>
                      <a:pt x="1691" y="752"/>
                    </a:cubicBezTo>
                    <a:cubicBezTo>
                      <a:pt x="1692" y="751"/>
                      <a:pt x="1692" y="751"/>
                      <a:pt x="1692" y="751"/>
                    </a:cubicBezTo>
                    <a:cubicBezTo>
                      <a:pt x="1691" y="751"/>
                      <a:pt x="1691" y="751"/>
                      <a:pt x="1691" y="751"/>
                    </a:cubicBezTo>
                    <a:close/>
                    <a:moveTo>
                      <a:pt x="1678" y="748"/>
                    </a:moveTo>
                    <a:cubicBezTo>
                      <a:pt x="1678" y="749"/>
                      <a:pt x="1678" y="749"/>
                      <a:pt x="1678" y="749"/>
                    </a:cubicBezTo>
                    <a:cubicBezTo>
                      <a:pt x="1679" y="748"/>
                      <a:pt x="1679" y="748"/>
                      <a:pt x="1679" y="748"/>
                    </a:cubicBezTo>
                    <a:cubicBezTo>
                      <a:pt x="1678" y="747"/>
                      <a:pt x="1678" y="747"/>
                      <a:pt x="1678" y="747"/>
                    </a:cubicBezTo>
                    <a:cubicBezTo>
                      <a:pt x="1678" y="748"/>
                      <a:pt x="1678" y="748"/>
                      <a:pt x="1678" y="748"/>
                    </a:cubicBezTo>
                    <a:close/>
                    <a:moveTo>
                      <a:pt x="1679" y="737"/>
                    </a:moveTo>
                    <a:cubicBezTo>
                      <a:pt x="1679" y="738"/>
                      <a:pt x="1679" y="738"/>
                      <a:pt x="1679" y="738"/>
                    </a:cubicBezTo>
                    <a:cubicBezTo>
                      <a:pt x="1680" y="739"/>
                      <a:pt x="1680" y="739"/>
                      <a:pt x="1680" y="739"/>
                    </a:cubicBezTo>
                    <a:cubicBezTo>
                      <a:pt x="1680" y="738"/>
                      <a:pt x="1680" y="738"/>
                      <a:pt x="1680" y="738"/>
                    </a:cubicBezTo>
                    <a:cubicBezTo>
                      <a:pt x="1681" y="738"/>
                      <a:pt x="1681" y="738"/>
                      <a:pt x="1681" y="738"/>
                    </a:cubicBezTo>
                    <a:cubicBezTo>
                      <a:pt x="1681" y="737"/>
                      <a:pt x="1681" y="737"/>
                      <a:pt x="1681" y="737"/>
                    </a:cubicBezTo>
                    <a:cubicBezTo>
                      <a:pt x="1679" y="737"/>
                      <a:pt x="1679" y="737"/>
                      <a:pt x="1679" y="737"/>
                    </a:cubicBezTo>
                    <a:close/>
                    <a:moveTo>
                      <a:pt x="1684" y="739"/>
                    </a:moveTo>
                    <a:cubicBezTo>
                      <a:pt x="1683" y="738"/>
                      <a:pt x="1683" y="738"/>
                      <a:pt x="1683" y="738"/>
                    </a:cubicBezTo>
                    <a:cubicBezTo>
                      <a:pt x="1683" y="737"/>
                      <a:pt x="1683" y="737"/>
                      <a:pt x="1683" y="737"/>
                    </a:cubicBezTo>
                    <a:cubicBezTo>
                      <a:pt x="1682" y="737"/>
                      <a:pt x="1682" y="737"/>
                      <a:pt x="1682" y="737"/>
                    </a:cubicBezTo>
                    <a:cubicBezTo>
                      <a:pt x="1682" y="738"/>
                      <a:pt x="1682" y="738"/>
                      <a:pt x="1682" y="738"/>
                    </a:cubicBezTo>
                    <a:cubicBezTo>
                      <a:pt x="1681" y="738"/>
                      <a:pt x="1681" y="738"/>
                      <a:pt x="1681" y="738"/>
                    </a:cubicBezTo>
                    <a:cubicBezTo>
                      <a:pt x="1683" y="739"/>
                      <a:pt x="1683" y="739"/>
                      <a:pt x="1683" y="739"/>
                    </a:cubicBezTo>
                    <a:cubicBezTo>
                      <a:pt x="1684" y="739"/>
                      <a:pt x="1684" y="739"/>
                      <a:pt x="1684" y="739"/>
                    </a:cubicBezTo>
                    <a:close/>
                    <a:moveTo>
                      <a:pt x="1724" y="658"/>
                    </a:moveTo>
                    <a:cubicBezTo>
                      <a:pt x="1725" y="656"/>
                      <a:pt x="1725" y="656"/>
                      <a:pt x="1725" y="656"/>
                    </a:cubicBezTo>
                    <a:cubicBezTo>
                      <a:pt x="1724" y="657"/>
                      <a:pt x="1724" y="657"/>
                      <a:pt x="1724" y="657"/>
                    </a:cubicBezTo>
                    <a:cubicBezTo>
                      <a:pt x="1724" y="658"/>
                      <a:pt x="1724" y="658"/>
                      <a:pt x="1724" y="658"/>
                    </a:cubicBezTo>
                    <a:close/>
                    <a:moveTo>
                      <a:pt x="1676" y="741"/>
                    </a:moveTo>
                    <a:cubicBezTo>
                      <a:pt x="1675" y="741"/>
                      <a:pt x="1675" y="741"/>
                      <a:pt x="1675" y="741"/>
                    </a:cubicBezTo>
                    <a:cubicBezTo>
                      <a:pt x="1676" y="742"/>
                      <a:pt x="1676" y="742"/>
                      <a:pt x="1676" y="742"/>
                    </a:cubicBezTo>
                    <a:cubicBezTo>
                      <a:pt x="1676" y="741"/>
                      <a:pt x="1676" y="741"/>
                      <a:pt x="1676" y="741"/>
                    </a:cubicBezTo>
                    <a:close/>
                    <a:moveTo>
                      <a:pt x="1745" y="651"/>
                    </a:moveTo>
                    <a:cubicBezTo>
                      <a:pt x="1744" y="651"/>
                      <a:pt x="1744" y="651"/>
                      <a:pt x="1744" y="651"/>
                    </a:cubicBezTo>
                    <a:cubicBezTo>
                      <a:pt x="1744" y="652"/>
                      <a:pt x="1744" y="652"/>
                      <a:pt x="1744" y="652"/>
                    </a:cubicBezTo>
                    <a:cubicBezTo>
                      <a:pt x="1745" y="652"/>
                      <a:pt x="1745" y="652"/>
                      <a:pt x="1745" y="652"/>
                    </a:cubicBezTo>
                    <a:cubicBezTo>
                      <a:pt x="1745" y="651"/>
                      <a:pt x="1745" y="651"/>
                      <a:pt x="1745" y="651"/>
                    </a:cubicBezTo>
                    <a:close/>
                    <a:moveTo>
                      <a:pt x="1740" y="652"/>
                    </a:moveTo>
                    <a:cubicBezTo>
                      <a:pt x="1740" y="653"/>
                      <a:pt x="1740" y="653"/>
                      <a:pt x="1740" y="653"/>
                    </a:cubicBezTo>
                    <a:cubicBezTo>
                      <a:pt x="1742" y="653"/>
                      <a:pt x="1742" y="653"/>
                      <a:pt x="1742" y="653"/>
                    </a:cubicBezTo>
                    <a:cubicBezTo>
                      <a:pt x="1741" y="651"/>
                      <a:pt x="1741" y="651"/>
                      <a:pt x="1741" y="651"/>
                    </a:cubicBezTo>
                    <a:cubicBezTo>
                      <a:pt x="1741" y="650"/>
                      <a:pt x="1741" y="650"/>
                      <a:pt x="1741" y="650"/>
                    </a:cubicBezTo>
                    <a:cubicBezTo>
                      <a:pt x="1739" y="650"/>
                      <a:pt x="1739" y="650"/>
                      <a:pt x="1739" y="650"/>
                    </a:cubicBezTo>
                    <a:cubicBezTo>
                      <a:pt x="1740" y="651"/>
                      <a:pt x="1740" y="651"/>
                      <a:pt x="1740" y="651"/>
                    </a:cubicBezTo>
                    <a:cubicBezTo>
                      <a:pt x="1740" y="652"/>
                      <a:pt x="1740" y="652"/>
                      <a:pt x="1740" y="652"/>
                    </a:cubicBezTo>
                    <a:close/>
                    <a:moveTo>
                      <a:pt x="1744" y="652"/>
                    </a:moveTo>
                    <a:cubicBezTo>
                      <a:pt x="1743" y="651"/>
                      <a:pt x="1743" y="651"/>
                      <a:pt x="1743" y="651"/>
                    </a:cubicBezTo>
                    <a:cubicBezTo>
                      <a:pt x="1742" y="650"/>
                      <a:pt x="1742" y="650"/>
                      <a:pt x="1742" y="650"/>
                    </a:cubicBezTo>
                    <a:cubicBezTo>
                      <a:pt x="1742" y="651"/>
                      <a:pt x="1742" y="651"/>
                      <a:pt x="1742" y="651"/>
                    </a:cubicBezTo>
                    <a:cubicBezTo>
                      <a:pt x="1743" y="652"/>
                      <a:pt x="1743" y="652"/>
                      <a:pt x="1743" y="652"/>
                    </a:cubicBezTo>
                    <a:cubicBezTo>
                      <a:pt x="1742" y="653"/>
                      <a:pt x="1742" y="653"/>
                      <a:pt x="1742" y="653"/>
                    </a:cubicBezTo>
                    <a:cubicBezTo>
                      <a:pt x="1743" y="654"/>
                      <a:pt x="1743" y="654"/>
                      <a:pt x="1743" y="654"/>
                    </a:cubicBezTo>
                    <a:cubicBezTo>
                      <a:pt x="1744" y="652"/>
                      <a:pt x="1744" y="652"/>
                      <a:pt x="1744" y="652"/>
                    </a:cubicBezTo>
                    <a:close/>
                    <a:moveTo>
                      <a:pt x="1241" y="412"/>
                    </a:moveTo>
                    <a:cubicBezTo>
                      <a:pt x="1240" y="412"/>
                      <a:pt x="1240" y="412"/>
                      <a:pt x="1240" y="412"/>
                    </a:cubicBezTo>
                    <a:cubicBezTo>
                      <a:pt x="1241" y="413"/>
                      <a:pt x="1241" y="413"/>
                      <a:pt x="1241" y="413"/>
                    </a:cubicBezTo>
                    <a:cubicBezTo>
                      <a:pt x="1241" y="412"/>
                      <a:pt x="1241" y="412"/>
                      <a:pt x="1241" y="412"/>
                    </a:cubicBezTo>
                    <a:close/>
                    <a:moveTo>
                      <a:pt x="1240" y="415"/>
                    </a:moveTo>
                    <a:cubicBezTo>
                      <a:pt x="1240" y="415"/>
                      <a:pt x="1240" y="415"/>
                      <a:pt x="1240" y="414"/>
                    </a:cubicBezTo>
                    <a:cubicBezTo>
                      <a:pt x="1240" y="414"/>
                      <a:pt x="1240" y="414"/>
                      <a:pt x="1240" y="413"/>
                    </a:cubicBezTo>
                    <a:cubicBezTo>
                      <a:pt x="1240" y="413"/>
                      <a:pt x="1240" y="413"/>
                      <a:pt x="1239" y="413"/>
                    </a:cubicBezTo>
                    <a:cubicBezTo>
                      <a:pt x="1239" y="413"/>
                      <a:pt x="1239" y="413"/>
                      <a:pt x="1238" y="414"/>
                    </a:cubicBezTo>
                    <a:cubicBezTo>
                      <a:pt x="1238" y="414"/>
                      <a:pt x="1238" y="414"/>
                      <a:pt x="1237" y="414"/>
                    </a:cubicBezTo>
                    <a:cubicBezTo>
                      <a:pt x="1237" y="414"/>
                      <a:pt x="1237" y="414"/>
                      <a:pt x="1236" y="412"/>
                    </a:cubicBezTo>
                    <a:cubicBezTo>
                      <a:pt x="1236" y="412"/>
                      <a:pt x="1236" y="412"/>
                      <a:pt x="1235" y="412"/>
                    </a:cubicBezTo>
                    <a:cubicBezTo>
                      <a:pt x="1235" y="412"/>
                      <a:pt x="1235" y="412"/>
                      <a:pt x="1235" y="413"/>
                    </a:cubicBezTo>
                    <a:cubicBezTo>
                      <a:pt x="1235" y="413"/>
                      <a:pt x="1235" y="413"/>
                      <a:pt x="1235" y="414"/>
                    </a:cubicBezTo>
                    <a:cubicBezTo>
                      <a:pt x="1235" y="414"/>
                      <a:pt x="1235" y="414"/>
                      <a:pt x="1234" y="414"/>
                    </a:cubicBezTo>
                    <a:cubicBezTo>
                      <a:pt x="1234" y="414"/>
                      <a:pt x="1234" y="414"/>
                      <a:pt x="1235" y="415"/>
                    </a:cubicBezTo>
                    <a:cubicBezTo>
                      <a:pt x="1235" y="415"/>
                      <a:pt x="1235" y="415"/>
                      <a:pt x="1237" y="415"/>
                    </a:cubicBezTo>
                    <a:cubicBezTo>
                      <a:pt x="1237" y="415"/>
                      <a:pt x="1237" y="415"/>
                      <a:pt x="1238" y="415"/>
                    </a:cubicBezTo>
                    <a:cubicBezTo>
                      <a:pt x="1238" y="415"/>
                      <a:pt x="1238" y="415"/>
                      <a:pt x="1239" y="414"/>
                    </a:cubicBezTo>
                    <a:cubicBezTo>
                      <a:pt x="1239" y="414"/>
                      <a:pt x="1239" y="414"/>
                      <a:pt x="1239" y="415"/>
                    </a:cubicBezTo>
                    <a:cubicBezTo>
                      <a:pt x="1239" y="415"/>
                      <a:pt x="1239" y="415"/>
                      <a:pt x="1240" y="415"/>
                    </a:cubicBezTo>
                    <a:close/>
                    <a:moveTo>
                      <a:pt x="1228" y="410"/>
                    </a:moveTo>
                    <a:cubicBezTo>
                      <a:pt x="1228" y="410"/>
                      <a:pt x="1228" y="410"/>
                      <a:pt x="1229" y="412"/>
                    </a:cubicBezTo>
                    <a:cubicBezTo>
                      <a:pt x="1229" y="412"/>
                      <a:pt x="1229" y="412"/>
                      <a:pt x="1230" y="412"/>
                    </a:cubicBezTo>
                    <a:cubicBezTo>
                      <a:pt x="1230" y="412"/>
                      <a:pt x="1230" y="412"/>
                      <a:pt x="1231" y="412"/>
                    </a:cubicBezTo>
                    <a:cubicBezTo>
                      <a:pt x="1231" y="412"/>
                      <a:pt x="1231" y="412"/>
                      <a:pt x="1232" y="412"/>
                    </a:cubicBezTo>
                    <a:cubicBezTo>
                      <a:pt x="1232" y="412"/>
                      <a:pt x="1232" y="412"/>
                      <a:pt x="1233" y="410"/>
                    </a:cubicBezTo>
                    <a:cubicBezTo>
                      <a:pt x="1233" y="410"/>
                      <a:pt x="1233" y="410"/>
                      <a:pt x="1233" y="409"/>
                    </a:cubicBezTo>
                    <a:cubicBezTo>
                      <a:pt x="1233" y="409"/>
                      <a:pt x="1233" y="409"/>
                      <a:pt x="1232" y="408"/>
                    </a:cubicBezTo>
                    <a:cubicBezTo>
                      <a:pt x="1232" y="408"/>
                      <a:pt x="1232" y="408"/>
                      <a:pt x="1231" y="408"/>
                    </a:cubicBezTo>
                    <a:cubicBezTo>
                      <a:pt x="1231" y="408"/>
                      <a:pt x="1231" y="408"/>
                      <a:pt x="1230" y="407"/>
                    </a:cubicBezTo>
                    <a:cubicBezTo>
                      <a:pt x="1230" y="407"/>
                      <a:pt x="1230" y="407"/>
                      <a:pt x="1228" y="407"/>
                    </a:cubicBezTo>
                    <a:cubicBezTo>
                      <a:pt x="1228" y="407"/>
                      <a:pt x="1228" y="407"/>
                      <a:pt x="1227" y="409"/>
                    </a:cubicBezTo>
                    <a:cubicBezTo>
                      <a:pt x="1227" y="409"/>
                      <a:pt x="1227" y="409"/>
                      <a:pt x="1228" y="410"/>
                    </a:cubicBezTo>
                    <a:close/>
                    <a:moveTo>
                      <a:pt x="1233" y="411"/>
                    </a:moveTo>
                    <a:cubicBezTo>
                      <a:pt x="1233" y="412"/>
                      <a:pt x="1233" y="412"/>
                      <a:pt x="1233" y="412"/>
                    </a:cubicBezTo>
                    <a:cubicBezTo>
                      <a:pt x="1233" y="413"/>
                      <a:pt x="1233" y="413"/>
                      <a:pt x="1233" y="413"/>
                    </a:cubicBezTo>
                    <a:cubicBezTo>
                      <a:pt x="1233" y="414"/>
                      <a:pt x="1233" y="414"/>
                      <a:pt x="1233" y="414"/>
                    </a:cubicBezTo>
                    <a:cubicBezTo>
                      <a:pt x="1234" y="413"/>
                      <a:pt x="1234" y="413"/>
                      <a:pt x="1234" y="413"/>
                    </a:cubicBezTo>
                    <a:cubicBezTo>
                      <a:pt x="1234" y="412"/>
                      <a:pt x="1234" y="412"/>
                      <a:pt x="1234" y="412"/>
                    </a:cubicBezTo>
                    <a:lnTo>
                      <a:pt x="1233" y="411"/>
                    </a:lnTo>
                    <a:close/>
                    <a:moveTo>
                      <a:pt x="1223" y="396"/>
                    </a:moveTo>
                    <a:cubicBezTo>
                      <a:pt x="1223" y="396"/>
                      <a:pt x="1223" y="396"/>
                      <a:pt x="1223" y="395"/>
                    </a:cubicBezTo>
                    <a:cubicBezTo>
                      <a:pt x="1223" y="395"/>
                      <a:pt x="1223" y="395"/>
                      <a:pt x="1222" y="395"/>
                    </a:cubicBezTo>
                    <a:cubicBezTo>
                      <a:pt x="1223" y="394"/>
                      <a:pt x="1223" y="394"/>
                      <a:pt x="1223" y="394"/>
                    </a:cubicBezTo>
                    <a:cubicBezTo>
                      <a:pt x="1223" y="395"/>
                      <a:pt x="1223" y="395"/>
                      <a:pt x="1223" y="395"/>
                    </a:cubicBezTo>
                    <a:cubicBezTo>
                      <a:pt x="1225" y="394"/>
                      <a:pt x="1225" y="394"/>
                      <a:pt x="1225" y="394"/>
                    </a:cubicBezTo>
                    <a:cubicBezTo>
                      <a:pt x="1226" y="395"/>
                      <a:pt x="1226" y="395"/>
                      <a:pt x="1226" y="395"/>
                    </a:cubicBezTo>
                    <a:cubicBezTo>
                      <a:pt x="1227" y="394"/>
                      <a:pt x="1227" y="394"/>
                      <a:pt x="1227" y="394"/>
                    </a:cubicBezTo>
                    <a:cubicBezTo>
                      <a:pt x="1228" y="394"/>
                      <a:pt x="1228" y="394"/>
                      <a:pt x="1228" y="394"/>
                    </a:cubicBezTo>
                    <a:cubicBezTo>
                      <a:pt x="1229" y="395"/>
                      <a:pt x="1229" y="395"/>
                      <a:pt x="1229" y="395"/>
                    </a:cubicBezTo>
                    <a:cubicBezTo>
                      <a:pt x="1230" y="395"/>
                      <a:pt x="1230" y="395"/>
                      <a:pt x="1230" y="395"/>
                    </a:cubicBezTo>
                    <a:cubicBezTo>
                      <a:pt x="1231" y="392"/>
                      <a:pt x="1231" y="392"/>
                      <a:pt x="1231" y="392"/>
                    </a:cubicBezTo>
                    <a:cubicBezTo>
                      <a:pt x="1231" y="391"/>
                      <a:pt x="1231" y="391"/>
                      <a:pt x="1231" y="391"/>
                    </a:cubicBezTo>
                    <a:cubicBezTo>
                      <a:pt x="1231" y="389"/>
                      <a:pt x="1231" y="389"/>
                      <a:pt x="1231" y="389"/>
                    </a:cubicBezTo>
                    <a:cubicBezTo>
                      <a:pt x="1232" y="388"/>
                      <a:pt x="1232" y="388"/>
                      <a:pt x="1232" y="388"/>
                    </a:cubicBezTo>
                    <a:cubicBezTo>
                      <a:pt x="1231" y="387"/>
                      <a:pt x="1231" y="387"/>
                      <a:pt x="1231" y="387"/>
                    </a:cubicBezTo>
                    <a:cubicBezTo>
                      <a:pt x="1230" y="389"/>
                      <a:pt x="1230" y="389"/>
                      <a:pt x="1230" y="389"/>
                    </a:cubicBezTo>
                    <a:cubicBezTo>
                      <a:pt x="1228" y="390"/>
                      <a:pt x="1228" y="390"/>
                      <a:pt x="1228" y="390"/>
                    </a:cubicBezTo>
                    <a:cubicBezTo>
                      <a:pt x="1227" y="390"/>
                      <a:pt x="1227" y="390"/>
                      <a:pt x="1227" y="390"/>
                    </a:cubicBezTo>
                    <a:cubicBezTo>
                      <a:pt x="1226" y="391"/>
                      <a:pt x="1226" y="391"/>
                      <a:pt x="1226" y="391"/>
                    </a:cubicBezTo>
                    <a:cubicBezTo>
                      <a:pt x="1226" y="392"/>
                      <a:pt x="1226" y="392"/>
                      <a:pt x="1226" y="392"/>
                    </a:cubicBezTo>
                    <a:cubicBezTo>
                      <a:pt x="1224" y="393"/>
                      <a:pt x="1224" y="393"/>
                      <a:pt x="1224" y="393"/>
                    </a:cubicBezTo>
                    <a:cubicBezTo>
                      <a:pt x="1223" y="393"/>
                      <a:pt x="1223" y="393"/>
                      <a:pt x="1223" y="393"/>
                    </a:cubicBezTo>
                    <a:cubicBezTo>
                      <a:pt x="1221" y="394"/>
                      <a:pt x="1221" y="394"/>
                      <a:pt x="1221" y="394"/>
                    </a:cubicBezTo>
                    <a:cubicBezTo>
                      <a:pt x="1220" y="394"/>
                      <a:pt x="1220" y="394"/>
                      <a:pt x="1220" y="394"/>
                    </a:cubicBezTo>
                    <a:cubicBezTo>
                      <a:pt x="1220" y="396"/>
                      <a:pt x="1220" y="396"/>
                      <a:pt x="1220" y="396"/>
                    </a:cubicBezTo>
                    <a:cubicBezTo>
                      <a:pt x="1219" y="397"/>
                      <a:pt x="1219" y="397"/>
                      <a:pt x="1219" y="397"/>
                    </a:cubicBezTo>
                    <a:cubicBezTo>
                      <a:pt x="1220" y="397"/>
                      <a:pt x="1220" y="397"/>
                      <a:pt x="1220" y="397"/>
                    </a:cubicBezTo>
                    <a:cubicBezTo>
                      <a:pt x="1221" y="398"/>
                      <a:pt x="1221" y="398"/>
                      <a:pt x="1221" y="398"/>
                    </a:cubicBezTo>
                    <a:cubicBezTo>
                      <a:pt x="1221" y="397"/>
                      <a:pt x="1221" y="397"/>
                      <a:pt x="1221" y="397"/>
                    </a:cubicBezTo>
                    <a:cubicBezTo>
                      <a:pt x="1221" y="396"/>
                      <a:pt x="1221" y="396"/>
                      <a:pt x="1221" y="396"/>
                    </a:cubicBezTo>
                    <a:cubicBezTo>
                      <a:pt x="1221" y="396"/>
                      <a:pt x="1221" y="396"/>
                      <a:pt x="1222" y="398"/>
                    </a:cubicBezTo>
                    <a:cubicBezTo>
                      <a:pt x="1222" y="398"/>
                      <a:pt x="1222" y="398"/>
                      <a:pt x="1222" y="397"/>
                    </a:cubicBezTo>
                    <a:cubicBezTo>
                      <a:pt x="1222" y="397"/>
                      <a:pt x="1222" y="397"/>
                      <a:pt x="1223" y="396"/>
                    </a:cubicBezTo>
                    <a:close/>
                    <a:moveTo>
                      <a:pt x="1242" y="411"/>
                    </a:moveTo>
                    <a:cubicBezTo>
                      <a:pt x="1241" y="412"/>
                      <a:pt x="1241" y="412"/>
                      <a:pt x="1241" y="412"/>
                    </a:cubicBezTo>
                    <a:cubicBezTo>
                      <a:pt x="1242" y="412"/>
                      <a:pt x="1242" y="412"/>
                      <a:pt x="1242" y="412"/>
                    </a:cubicBezTo>
                    <a:cubicBezTo>
                      <a:pt x="1242" y="411"/>
                      <a:pt x="1242" y="411"/>
                      <a:pt x="1242" y="411"/>
                    </a:cubicBezTo>
                    <a:close/>
                    <a:moveTo>
                      <a:pt x="1223" y="397"/>
                    </a:moveTo>
                    <a:cubicBezTo>
                      <a:pt x="1222" y="398"/>
                      <a:pt x="1222" y="398"/>
                      <a:pt x="1222" y="398"/>
                    </a:cubicBezTo>
                    <a:cubicBezTo>
                      <a:pt x="1223" y="399"/>
                      <a:pt x="1223" y="399"/>
                      <a:pt x="1223" y="399"/>
                    </a:cubicBezTo>
                    <a:cubicBezTo>
                      <a:pt x="1224" y="398"/>
                      <a:pt x="1224" y="398"/>
                      <a:pt x="1224" y="398"/>
                    </a:cubicBezTo>
                    <a:cubicBezTo>
                      <a:pt x="1223" y="397"/>
                      <a:pt x="1223" y="397"/>
                      <a:pt x="1223" y="397"/>
                    </a:cubicBezTo>
                    <a:close/>
                    <a:moveTo>
                      <a:pt x="1243" y="406"/>
                    </a:moveTo>
                    <a:cubicBezTo>
                      <a:pt x="1242" y="407"/>
                      <a:pt x="1242" y="407"/>
                      <a:pt x="1242" y="407"/>
                    </a:cubicBezTo>
                    <a:cubicBezTo>
                      <a:pt x="1243" y="407"/>
                      <a:pt x="1243" y="407"/>
                      <a:pt x="1243" y="407"/>
                    </a:cubicBezTo>
                    <a:cubicBezTo>
                      <a:pt x="1243" y="406"/>
                      <a:pt x="1243" y="406"/>
                      <a:pt x="1243" y="406"/>
                    </a:cubicBezTo>
                    <a:close/>
                    <a:moveTo>
                      <a:pt x="1235" y="407"/>
                    </a:moveTo>
                    <a:cubicBezTo>
                      <a:pt x="1235" y="407"/>
                      <a:pt x="1235" y="407"/>
                      <a:pt x="1236" y="408"/>
                    </a:cubicBezTo>
                    <a:cubicBezTo>
                      <a:pt x="1236" y="408"/>
                      <a:pt x="1236" y="408"/>
                      <a:pt x="1236" y="409"/>
                    </a:cubicBezTo>
                    <a:cubicBezTo>
                      <a:pt x="1236" y="409"/>
                      <a:pt x="1236" y="409"/>
                      <a:pt x="1236" y="410"/>
                    </a:cubicBezTo>
                    <a:cubicBezTo>
                      <a:pt x="1236" y="410"/>
                      <a:pt x="1236" y="410"/>
                      <a:pt x="1237" y="410"/>
                    </a:cubicBezTo>
                    <a:cubicBezTo>
                      <a:pt x="1237" y="410"/>
                      <a:pt x="1237" y="410"/>
                      <a:pt x="1239" y="410"/>
                    </a:cubicBezTo>
                    <a:cubicBezTo>
                      <a:pt x="1239" y="410"/>
                      <a:pt x="1239" y="410"/>
                      <a:pt x="1239" y="411"/>
                    </a:cubicBezTo>
                    <a:cubicBezTo>
                      <a:pt x="1239" y="411"/>
                      <a:pt x="1239" y="411"/>
                      <a:pt x="1238" y="411"/>
                    </a:cubicBezTo>
                    <a:cubicBezTo>
                      <a:pt x="1238" y="411"/>
                      <a:pt x="1238" y="411"/>
                      <a:pt x="1239" y="412"/>
                    </a:cubicBezTo>
                    <a:cubicBezTo>
                      <a:pt x="1239" y="412"/>
                      <a:pt x="1239" y="412"/>
                      <a:pt x="1240" y="412"/>
                    </a:cubicBezTo>
                    <a:cubicBezTo>
                      <a:pt x="1240" y="412"/>
                      <a:pt x="1240" y="412"/>
                      <a:pt x="1240" y="411"/>
                    </a:cubicBezTo>
                    <a:cubicBezTo>
                      <a:pt x="1240" y="411"/>
                      <a:pt x="1240" y="411"/>
                      <a:pt x="1240" y="410"/>
                    </a:cubicBezTo>
                    <a:cubicBezTo>
                      <a:pt x="1240" y="410"/>
                      <a:pt x="1240" y="410"/>
                      <a:pt x="1241" y="410"/>
                    </a:cubicBezTo>
                    <a:cubicBezTo>
                      <a:pt x="1241" y="410"/>
                      <a:pt x="1241" y="410"/>
                      <a:pt x="1242" y="409"/>
                    </a:cubicBezTo>
                    <a:cubicBezTo>
                      <a:pt x="1242" y="409"/>
                      <a:pt x="1242" y="409"/>
                      <a:pt x="1241" y="408"/>
                    </a:cubicBezTo>
                    <a:cubicBezTo>
                      <a:pt x="1241" y="408"/>
                      <a:pt x="1241" y="408"/>
                      <a:pt x="1241" y="407"/>
                    </a:cubicBezTo>
                    <a:cubicBezTo>
                      <a:pt x="1241" y="407"/>
                      <a:pt x="1241" y="407"/>
                      <a:pt x="1242" y="407"/>
                    </a:cubicBezTo>
                    <a:cubicBezTo>
                      <a:pt x="1242" y="407"/>
                      <a:pt x="1242" y="407"/>
                      <a:pt x="1242" y="405"/>
                    </a:cubicBezTo>
                    <a:cubicBezTo>
                      <a:pt x="1242" y="405"/>
                      <a:pt x="1242" y="405"/>
                      <a:pt x="1242" y="404"/>
                    </a:cubicBezTo>
                    <a:cubicBezTo>
                      <a:pt x="1242" y="404"/>
                      <a:pt x="1242" y="404"/>
                      <a:pt x="1242" y="403"/>
                    </a:cubicBezTo>
                    <a:cubicBezTo>
                      <a:pt x="1242" y="403"/>
                      <a:pt x="1242" y="403"/>
                      <a:pt x="1240" y="403"/>
                    </a:cubicBezTo>
                    <a:cubicBezTo>
                      <a:pt x="1240" y="403"/>
                      <a:pt x="1240" y="403"/>
                      <a:pt x="1239" y="403"/>
                    </a:cubicBezTo>
                    <a:cubicBezTo>
                      <a:pt x="1239" y="403"/>
                      <a:pt x="1239" y="403"/>
                      <a:pt x="1238" y="404"/>
                    </a:cubicBezTo>
                    <a:cubicBezTo>
                      <a:pt x="1238" y="404"/>
                      <a:pt x="1238" y="404"/>
                      <a:pt x="1239" y="405"/>
                    </a:cubicBezTo>
                    <a:cubicBezTo>
                      <a:pt x="1239" y="405"/>
                      <a:pt x="1239" y="405"/>
                      <a:pt x="1240" y="406"/>
                    </a:cubicBezTo>
                    <a:cubicBezTo>
                      <a:pt x="1240" y="406"/>
                      <a:pt x="1240" y="406"/>
                      <a:pt x="1239" y="406"/>
                    </a:cubicBezTo>
                    <a:cubicBezTo>
                      <a:pt x="1239" y="406"/>
                      <a:pt x="1239" y="406"/>
                      <a:pt x="1237" y="406"/>
                    </a:cubicBezTo>
                    <a:cubicBezTo>
                      <a:pt x="1237" y="406"/>
                      <a:pt x="1237" y="406"/>
                      <a:pt x="1237" y="405"/>
                    </a:cubicBezTo>
                    <a:cubicBezTo>
                      <a:pt x="1237" y="405"/>
                      <a:pt x="1237" y="405"/>
                      <a:pt x="1237" y="404"/>
                    </a:cubicBezTo>
                    <a:cubicBezTo>
                      <a:pt x="1237" y="404"/>
                      <a:pt x="1237" y="404"/>
                      <a:pt x="1236" y="405"/>
                    </a:cubicBezTo>
                    <a:cubicBezTo>
                      <a:pt x="1236" y="405"/>
                      <a:pt x="1236" y="405"/>
                      <a:pt x="1236" y="406"/>
                    </a:cubicBezTo>
                    <a:cubicBezTo>
                      <a:pt x="1236" y="406"/>
                      <a:pt x="1236" y="406"/>
                      <a:pt x="1235" y="406"/>
                    </a:cubicBezTo>
                    <a:cubicBezTo>
                      <a:pt x="1235" y="406"/>
                      <a:pt x="1235" y="406"/>
                      <a:pt x="1235" y="407"/>
                    </a:cubicBezTo>
                    <a:close/>
                    <a:moveTo>
                      <a:pt x="1233" y="392"/>
                    </a:moveTo>
                    <a:cubicBezTo>
                      <a:pt x="1233" y="392"/>
                      <a:pt x="1233" y="392"/>
                      <a:pt x="1234" y="392"/>
                    </a:cubicBezTo>
                    <a:cubicBezTo>
                      <a:pt x="1234" y="392"/>
                      <a:pt x="1234" y="392"/>
                      <a:pt x="1235" y="391"/>
                    </a:cubicBezTo>
                    <a:cubicBezTo>
                      <a:pt x="1235" y="391"/>
                      <a:pt x="1235" y="391"/>
                      <a:pt x="1233" y="391"/>
                    </a:cubicBezTo>
                    <a:cubicBezTo>
                      <a:pt x="1233" y="391"/>
                      <a:pt x="1233" y="391"/>
                      <a:pt x="1233" y="392"/>
                    </a:cubicBezTo>
                    <a:close/>
                    <a:moveTo>
                      <a:pt x="1257" y="411"/>
                    </a:moveTo>
                    <a:cubicBezTo>
                      <a:pt x="1256" y="409"/>
                      <a:pt x="1256" y="409"/>
                      <a:pt x="1256" y="409"/>
                    </a:cubicBezTo>
                    <a:cubicBezTo>
                      <a:pt x="1255" y="409"/>
                      <a:pt x="1255" y="409"/>
                      <a:pt x="1255" y="409"/>
                    </a:cubicBezTo>
                    <a:cubicBezTo>
                      <a:pt x="1255" y="410"/>
                      <a:pt x="1255" y="410"/>
                      <a:pt x="1255" y="410"/>
                    </a:cubicBezTo>
                    <a:cubicBezTo>
                      <a:pt x="1255" y="411"/>
                      <a:pt x="1255" y="411"/>
                      <a:pt x="1255" y="411"/>
                    </a:cubicBezTo>
                    <a:cubicBezTo>
                      <a:pt x="1257" y="412"/>
                      <a:pt x="1257" y="412"/>
                      <a:pt x="1257" y="412"/>
                    </a:cubicBezTo>
                    <a:cubicBezTo>
                      <a:pt x="1257" y="411"/>
                      <a:pt x="1257" y="411"/>
                      <a:pt x="1257" y="411"/>
                    </a:cubicBezTo>
                    <a:close/>
                    <a:moveTo>
                      <a:pt x="1232" y="414"/>
                    </a:moveTo>
                    <a:cubicBezTo>
                      <a:pt x="1232" y="413"/>
                      <a:pt x="1232" y="413"/>
                      <a:pt x="1232" y="413"/>
                    </a:cubicBezTo>
                    <a:cubicBezTo>
                      <a:pt x="1231" y="413"/>
                      <a:pt x="1231" y="413"/>
                      <a:pt x="1231" y="413"/>
                    </a:cubicBezTo>
                    <a:cubicBezTo>
                      <a:pt x="1232" y="414"/>
                      <a:pt x="1232" y="414"/>
                      <a:pt x="1232" y="414"/>
                    </a:cubicBezTo>
                    <a:close/>
                    <a:moveTo>
                      <a:pt x="1232" y="406"/>
                    </a:moveTo>
                    <a:cubicBezTo>
                      <a:pt x="1232" y="406"/>
                      <a:pt x="1232" y="406"/>
                      <a:pt x="1232" y="405"/>
                    </a:cubicBezTo>
                    <a:cubicBezTo>
                      <a:pt x="1232" y="405"/>
                      <a:pt x="1232" y="405"/>
                      <a:pt x="1231" y="406"/>
                    </a:cubicBezTo>
                    <a:cubicBezTo>
                      <a:pt x="1231" y="406"/>
                      <a:pt x="1231" y="406"/>
                      <a:pt x="1232" y="406"/>
                    </a:cubicBezTo>
                    <a:close/>
                    <a:moveTo>
                      <a:pt x="1280" y="250"/>
                    </a:moveTo>
                    <a:cubicBezTo>
                      <a:pt x="1280" y="250"/>
                      <a:pt x="1280" y="250"/>
                      <a:pt x="1282" y="251"/>
                    </a:cubicBezTo>
                    <a:cubicBezTo>
                      <a:pt x="1282" y="251"/>
                      <a:pt x="1282" y="251"/>
                      <a:pt x="1283" y="251"/>
                    </a:cubicBezTo>
                    <a:cubicBezTo>
                      <a:pt x="1283" y="251"/>
                      <a:pt x="1283" y="251"/>
                      <a:pt x="1283" y="250"/>
                    </a:cubicBezTo>
                    <a:cubicBezTo>
                      <a:pt x="1283" y="250"/>
                      <a:pt x="1283" y="250"/>
                      <a:pt x="1281" y="250"/>
                    </a:cubicBezTo>
                    <a:cubicBezTo>
                      <a:pt x="1281" y="250"/>
                      <a:pt x="1281" y="250"/>
                      <a:pt x="1280" y="250"/>
                    </a:cubicBezTo>
                    <a:close/>
                    <a:moveTo>
                      <a:pt x="1265" y="253"/>
                    </a:moveTo>
                    <a:cubicBezTo>
                      <a:pt x="1265" y="253"/>
                      <a:pt x="1265" y="253"/>
                      <a:pt x="1263" y="254"/>
                    </a:cubicBezTo>
                    <a:cubicBezTo>
                      <a:pt x="1263" y="254"/>
                      <a:pt x="1263" y="254"/>
                      <a:pt x="1263" y="255"/>
                    </a:cubicBezTo>
                    <a:cubicBezTo>
                      <a:pt x="1265" y="254"/>
                      <a:pt x="1265" y="254"/>
                      <a:pt x="1265" y="254"/>
                    </a:cubicBezTo>
                    <a:cubicBezTo>
                      <a:pt x="1265" y="254"/>
                      <a:pt x="1265" y="254"/>
                      <a:pt x="1265" y="253"/>
                    </a:cubicBezTo>
                    <a:close/>
                    <a:moveTo>
                      <a:pt x="1320" y="255"/>
                    </a:moveTo>
                    <a:cubicBezTo>
                      <a:pt x="1321" y="256"/>
                      <a:pt x="1321" y="256"/>
                      <a:pt x="1321" y="256"/>
                    </a:cubicBezTo>
                    <a:cubicBezTo>
                      <a:pt x="1321" y="255"/>
                      <a:pt x="1321" y="255"/>
                      <a:pt x="1321" y="255"/>
                    </a:cubicBezTo>
                    <a:cubicBezTo>
                      <a:pt x="1320" y="255"/>
                      <a:pt x="1320" y="255"/>
                      <a:pt x="1320" y="255"/>
                    </a:cubicBezTo>
                    <a:close/>
                    <a:moveTo>
                      <a:pt x="1289" y="246"/>
                    </a:moveTo>
                    <a:cubicBezTo>
                      <a:pt x="1289" y="246"/>
                      <a:pt x="1289" y="246"/>
                      <a:pt x="1287" y="245"/>
                    </a:cubicBezTo>
                    <a:cubicBezTo>
                      <a:pt x="1286" y="245"/>
                      <a:pt x="1286" y="245"/>
                      <a:pt x="1286" y="245"/>
                    </a:cubicBezTo>
                    <a:cubicBezTo>
                      <a:pt x="1286" y="245"/>
                      <a:pt x="1286" y="245"/>
                      <a:pt x="1287" y="246"/>
                    </a:cubicBezTo>
                    <a:cubicBezTo>
                      <a:pt x="1287" y="246"/>
                      <a:pt x="1287" y="246"/>
                      <a:pt x="1287" y="248"/>
                    </a:cubicBezTo>
                    <a:cubicBezTo>
                      <a:pt x="1287" y="248"/>
                      <a:pt x="1287" y="248"/>
                      <a:pt x="1288" y="247"/>
                    </a:cubicBezTo>
                    <a:cubicBezTo>
                      <a:pt x="1288" y="247"/>
                      <a:pt x="1288" y="247"/>
                      <a:pt x="1289" y="246"/>
                    </a:cubicBezTo>
                    <a:close/>
                    <a:moveTo>
                      <a:pt x="1282" y="245"/>
                    </a:moveTo>
                    <a:cubicBezTo>
                      <a:pt x="1282" y="245"/>
                      <a:pt x="1282" y="245"/>
                      <a:pt x="1281" y="247"/>
                    </a:cubicBezTo>
                    <a:cubicBezTo>
                      <a:pt x="1281" y="247"/>
                      <a:pt x="1281" y="247"/>
                      <a:pt x="1281" y="246"/>
                    </a:cubicBezTo>
                    <a:cubicBezTo>
                      <a:pt x="1281" y="246"/>
                      <a:pt x="1281" y="246"/>
                      <a:pt x="1280" y="247"/>
                    </a:cubicBezTo>
                    <a:cubicBezTo>
                      <a:pt x="1280" y="247"/>
                      <a:pt x="1280" y="247"/>
                      <a:pt x="1278" y="246"/>
                    </a:cubicBezTo>
                    <a:cubicBezTo>
                      <a:pt x="1278" y="246"/>
                      <a:pt x="1278" y="246"/>
                      <a:pt x="1279" y="248"/>
                    </a:cubicBezTo>
                    <a:cubicBezTo>
                      <a:pt x="1279" y="248"/>
                      <a:pt x="1279" y="248"/>
                      <a:pt x="1281" y="248"/>
                    </a:cubicBezTo>
                    <a:cubicBezTo>
                      <a:pt x="1281" y="248"/>
                      <a:pt x="1281" y="248"/>
                      <a:pt x="1282" y="248"/>
                    </a:cubicBezTo>
                    <a:cubicBezTo>
                      <a:pt x="1282" y="248"/>
                      <a:pt x="1282" y="248"/>
                      <a:pt x="1285" y="245"/>
                    </a:cubicBezTo>
                    <a:cubicBezTo>
                      <a:pt x="1285" y="245"/>
                      <a:pt x="1285" y="245"/>
                      <a:pt x="1285" y="244"/>
                    </a:cubicBezTo>
                    <a:cubicBezTo>
                      <a:pt x="1285" y="244"/>
                      <a:pt x="1285" y="244"/>
                      <a:pt x="1283" y="246"/>
                    </a:cubicBezTo>
                    <a:cubicBezTo>
                      <a:pt x="1283" y="246"/>
                      <a:pt x="1283" y="246"/>
                      <a:pt x="1282" y="245"/>
                    </a:cubicBezTo>
                    <a:close/>
                    <a:moveTo>
                      <a:pt x="1203" y="374"/>
                    </a:moveTo>
                    <a:cubicBezTo>
                      <a:pt x="1203" y="374"/>
                      <a:pt x="1203" y="374"/>
                      <a:pt x="1203" y="375"/>
                    </a:cubicBezTo>
                    <a:cubicBezTo>
                      <a:pt x="1203" y="375"/>
                      <a:pt x="1203" y="375"/>
                      <a:pt x="1204" y="375"/>
                    </a:cubicBezTo>
                    <a:cubicBezTo>
                      <a:pt x="1204" y="375"/>
                      <a:pt x="1204" y="375"/>
                      <a:pt x="1203" y="374"/>
                    </a:cubicBezTo>
                    <a:close/>
                    <a:moveTo>
                      <a:pt x="1256" y="269"/>
                    </a:moveTo>
                    <a:cubicBezTo>
                      <a:pt x="1256" y="269"/>
                      <a:pt x="1256" y="269"/>
                      <a:pt x="1256" y="270"/>
                    </a:cubicBezTo>
                    <a:cubicBezTo>
                      <a:pt x="1256" y="270"/>
                      <a:pt x="1256" y="270"/>
                      <a:pt x="1257" y="270"/>
                    </a:cubicBezTo>
                    <a:cubicBezTo>
                      <a:pt x="1257" y="270"/>
                      <a:pt x="1257" y="270"/>
                      <a:pt x="1256" y="269"/>
                    </a:cubicBezTo>
                    <a:close/>
                    <a:moveTo>
                      <a:pt x="1272" y="252"/>
                    </a:moveTo>
                    <a:cubicBezTo>
                      <a:pt x="1272" y="252"/>
                      <a:pt x="1272" y="252"/>
                      <a:pt x="1272" y="253"/>
                    </a:cubicBezTo>
                    <a:cubicBezTo>
                      <a:pt x="1272" y="253"/>
                      <a:pt x="1272" y="253"/>
                      <a:pt x="1272" y="255"/>
                    </a:cubicBezTo>
                    <a:cubicBezTo>
                      <a:pt x="1272" y="255"/>
                      <a:pt x="1272" y="255"/>
                      <a:pt x="1273" y="255"/>
                    </a:cubicBezTo>
                    <a:cubicBezTo>
                      <a:pt x="1273" y="255"/>
                      <a:pt x="1273" y="255"/>
                      <a:pt x="1273" y="256"/>
                    </a:cubicBezTo>
                    <a:cubicBezTo>
                      <a:pt x="1273" y="256"/>
                      <a:pt x="1273" y="256"/>
                      <a:pt x="1274" y="255"/>
                    </a:cubicBezTo>
                    <a:cubicBezTo>
                      <a:pt x="1274" y="255"/>
                      <a:pt x="1274" y="255"/>
                      <a:pt x="1273" y="254"/>
                    </a:cubicBezTo>
                    <a:cubicBezTo>
                      <a:pt x="1273" y="254"/>
                      <a:pt x="1273" y="254"/>
                      <a:pt x="1274" y="253"/>
                    </a:cubicBezTo>
                    <a:cubicBezTo>
                      <a:pt x="1274" y="253"/>
                      <a:pt x="1274" y="253"/>
                      <a:pt x="1272" y="252"/>
                    </a:cubicBezTo>
                    <a:close/>
                    <a:moveTo>
                      <a:pt x="1265" y="252"/>
                    </a:moveTo>
                    <a:cubicBezTo>
                      <a:pt x="1265" y="252"/>
                      <a:pt x="1265" y="252"/>
                      <a:pt x="1265" y="253"/>
                    </a:cubicBezTo>
                    <a:cubicBezTo>
                      <a:pt x="1265" y="253"/>
                      <a:pt x="1265" y="253"/>
                      <a:pt x="1266" y="252"/>
                    </a:cubicBezTo>
                    <a:cubicBezTo>
                      <a:pt x="1266" y="252"/>
                      <a:pt x="1266" y="252"/>
                      <a:pt x="1265" y="252"/>
                    </a:cubicBezTo>
                    <a:close/>
                    <a:moveTo>
                      <a:pt x="1268" y="257"/>
                    </a:moveTo>
                    <a:cubicBezTo>
                      <a:pt x="1268" y="257"/>
                      <a:pt x="1268" y="257"/>
                      <a:pt x="1268" y="256"/>
                    </a:cubicBezTo>
                    <a:cubicBezTo>
                      <a:pt x="1268" y="256"/>
                      <a:pt x="1268" y="256"/>
                      <a:pt x="1267" y="258"/>
                    </a:cubicBezTo>
                    <a:cubicBezTo>
                      <a:pt x="1267" y="258"/>
                      <a:pt x="1267" y="258"/>
                      <a:pt x="1268" y="257"/>
                    </a:cubicBezTo>
                    <a:close/>
                    <a:moveTo>
                      <a:pt x="1263" y="261"/>
                    </a:moveTo>
                    <a:cubicBezTo>
                      <a:pt x="1263" y="261"/>
                      <a:pt x="1263" y="261"/>
                      <a:pt x="1264" y="261"/>
                    </a:cubicBezTo>
                    <a:cubicBezTo>
                      <a:pt x="1264" y="261"/>
                      <a:pt x="1264" y="261"/>
                      <a:pt x="1264" y="260"/>
                    </a:cubicBezTo>
                    <a:cubicBezTo>
                      <a:pt x="1264" y="260"/>
                      <a:pt x="1264" y="260"/>
                      <a:pt x="1265" y="259"/>
                    </a:cubicBezTo>
                    <a:cubicBezTo>
                      <a:pt x="1265" y="259"/>
                      <a:pt x="1265" y="259"/>
                      <a:pt x="1264" y="258"/>
                    </a:cubicBezTo>
                    <a:cubicBezTo>
                      <a:pt x="1264" y="258"/>
                      <a:pt x="1264" y="258"/>
                      <a:pt x="1264" y="259"/>
                    </a:cubicBezTo>
                    <a:cubicBezTo>
                      <a:pt x="1264" y="259"/>
                      <a:pt x="1264" y="259"/>
                      <a:pt x="1262" y="259"/>
                    </a:cubicBezTo>
                    <a:cubicBezTo>
                      <a:pt x="1262" y="259"/>
                      <a:pt x="1262" y="259"/>
                      <a:pt x="1262" y="260"/>
                    </a:cubicBezTo>
                    <a:cubicBezTo>
                      <a:pt x="1262" y="260"/>
                      <a:pt x="1262" y="260"/>
                      <a:pt x="1260" y="260"/>
                    </a:cubicBezTo>
                    <a:cubicBezTo>
                      <a:pt x="1260" y="260"/>
                      <a:pt x="1260" y="260"/>
                      <a:pt x="1262" y="262"/>
                    </a:cubicBezTo>
                    <a:cubicBezTo>
                      <a:pt x="1262" y="262"/>
                      <a:pt x="1262" y="262"/>
                      <a:pt x="1263" y="261"/>
                    </a:cubicBezTo>
                    <a:close/>
                    <a:moveTo>
                      <a:pt x="1267" y="251"/>
                    </a:moveTo>
                    <a:cubicBezTo>
                      <a:pt x="1267" y="251"/>
                      <a:pt x="1267" y="251"/>
                      <a:pt x="1268" y="253"/>
                    </a:cubicBezTo>
                    <a:cubicBezTo>
                      <a:pt x="1268" y="253"/>
                      <a:pt x="1268" y="253"/>
                      <a:pt x="1268" y="251"/>
                    </a:cubicBezTo>
                    <a:cubicBezTo>
                      <a:pt x="1268" y="251"/>
                      <a:pt x="1268" y="251"/>
                      <a:pt x="1267" y="251"/>
                    </a:cubicBezTo>
                    <a:close/>
                    <a:moveTo>
                      <a:pt x="1269" y="255"/>
                    </a:moveTo>
                    <a:cubicBezTo>
                      <a:pt x="1269" y="255"/>
                      <a:pt x="1269" y="255"/>
                      <a:pt x="1270" y="254"/>
                    </a:cubicBezTo>
                    <a:cubicBezTo>
                      <a:pt x="1270" y="254"/>
                      <a:pt x="1270" y="254"/>
                      <a:pt x="1268" y="253"/>
                    </a:cubicBezTo>
                    <a:cubicBezTo>
                      <a:pt x="1268" y="253"/>
                      <a:pt x="1268" y="253"/>
                      <a:pt x="1268" y="254"/>
                    </a:cubicBezTo>
                    <a:cubicBezTo>
                      <a:pt x="1268" y="254"/>
                      <a:pt x="1268" y="254"/>
                      <a:pt x="1269" y="255"/>
                    </a:cubicBezTo>
                    <a:close/>
                    <a:moveTo>
                      <a:pt x="1267" y="255"/>
                    </a:moveTo>
                    <a:cubicBezTo>
                      <a:pt x="1267" y="255"/>
                      <a:pt x="1267" y="255"/>
                      <a:pt x="1266" y="255"/>
                    </a:cubicBezTo>
                    <a:cubicBezTo>
                      <a:pt x="1266" y="255"/>
                      <a:pt x="1266" y="255"/>
                      <a:pt x="1264" y="256"/>
                    </a:cubicBezTo>
                    <a:cubicBezTo>
                      <a:pt x="1264" y="256"/>
                      <a:pt x="1264" y="256"/>
                      <a:pt x="1265" y="258"/>
                    </a:cubicBezTo>
                    <a:cubicBezTo>
                      <a:pt x="1265" y="258"/>
                      <a:pt x="1265" y="258"/>
                      <a:pt x="1266" y="258"/>
                    </a:cubicBezTo>
                    <a:cubicBezTo>
                      <a:pt x="1266" y="258"/>
                      <a:pt x="1266" y="258"/>
                      <a:pt x="1267" y="257"/>
                    </a:cubicBezTo>
                    <a:cubicBezTo>
                      <a:pt x="1267" y="257"/>
                      <a:pt x="1267" y="257"/>
                      <a:pt x="1267" y="256"/>
                    </a:cubicBezTo>
                    <a:cubicBezTo>
                      <a:pt x="1267" y="256"/>
                      <a:pt x="1267" y="256"/>
                      <a:pt x="1268" y="255"/>
                    </a:cubicBezTo>
                    <a:cubicBezTo>
                      <a:pt x="1268" y="255"/>
                      <a:pt x="1268" y="255"/>
                      <a:pt x="1267" y="255"/>
                    </a:cubicBezTo>
                    <a:close/>
                    <a:moveTo>
                      <a:pt x="1292" y="241"/>
                    </a:moveTo>
                    <a:cubicBezTo>
                      <a:pt x="1292" y="241"/>
                      <a:pt x="1292" y="241"/>
                      <a:pt x="1292" y="240"/>
                    </a:cubicBezTo>
                    <a:cubicBezTo>
                      <a:pt x="1292" y="240"/>
                      <a:pt x="1292" y="240"/>
                      <a:pt x="1291" y="240"/>
                    </a:cubicBezTo>
                    <a:cubicBezTo>
                      <a:pt x="1291" y="240"/>
                      <a:pt x="1291" y="240"/>
                      <a:pt x="1292" y="241"/>
                    </a:cubicBezTo>
                    <a:close/>
                    <a:moveTo>
                      <a:pt x="1294" y="241"/>
                    </a:moveTo>
                    <a:cubicBezTo>
                      <a:pt x="1295" y="241"/>
                      <a:pt x="1295" y="241"/>
                      <a:pt x="1295" y="241"/>
                    </a:cubicBezTo>
                    <a:cubicBezTo>
                      <a:pt x="1295" y="241"/>
                      <a:pt x="1295" y="241"/>
                      <a:pt x="1296" y="242"/>
                    </a:cubicBezTo>
                    <a:cubicBezTo>
                      <a:pt x="1296" y="242"/>
                      <a:pt x="1296" y="242"/>
                      <a:pt x="1297" y="242"/>
                    </a:cubicBezTo>
                    <a:cubicBezTo>
                      <a:pt x="1297" y="242"/>
                      <a:pt x="1297" y="242"/>
                      <a:pt x="1298" y="241"/>
                    </a:cubicBezTo>
                    <a:cubicBezTo>
                      <a:pt x="1298" y="241"/>
                      <a:pt x="1298" y="241"/>
                      <a:pt x="1297" y="241"/>
                    </a:cubicBezTo>
                    <a:cubicBezTo>
                      <a:pt x="1297" y="241"/>
                      <a:pt x="1297" y="241"/>
                      <a:pt x="1297" y="240"/>
                    </a:cubicBezTo>
                    <a:cubicBezTo>
                      <a:pt x="1297" y="240"/>
                      <a:pt x="1297" y="240"/>
                      <a:pt x="1296" y="239"/>
                    </a:cubicBezTo>
                    <a:cubicBezTo>
                      <a:pt x="1296" y="239"/>
                      <a:pt x="1296" y="239"/>
                      <a:pt x="1295" y="240"/>
                    </a:cubicBezTo>
                    <a:cubicBezTo>
                      <a:pt x="1295" y="240"/>
                      <a:pt x="1295" y="240"/>
                      <a:pt x="1294" y="240"/>
                    </a:cubicBezTo>
                    <a:cubicBezTo>
                      <a:pt x="1294" y="240"/>
                      <a:pt x="1294" y="240"/>
                      <a:pt x="1294" y="241"/>
                    </a:cubicBezTo>
                    <a:close/>
                    <a:moveTo>
                      <a:pt x="1203" y="342"/>
                    </a:moveTo>
                    <a:cubicBezTo>
                      <a:pt x="1203" y="342"/>
                      <a:pt x="1203" y="342"/>
                      <a:pt x="1203" y="343"/>
                    </a:cubicBezTo>
                    <a:cubicBezTo>
                      <a:pt x="1203" y="343"/>
                      <a:pt x="1203" y="343"/>
                      <a:pt x="1205" y="343"/>
                    </a:cubicBezTo>
                    <a:cubicBezTo>
                      <a:pt x="1205" y="343"/>
                      <a:pt x="1205" y="343"/>
                      <a:pt x="1204" y="342"/>
                    </a:cubicBezTo>
                    <a:cubicBezTo>
                      <a:pt x="1204" y="342"/>
                      <a:pt x="1204" y="342"/>
                      <a:pt x="1203" y="342"/>
                    </a:cubicBezTo>
                    <a:close/>
                    <a:moveTo>
                      <a:pt x="1201" y="343"/>
                    </a:moveTo>
                    <a:cubicBezTo>
                      <a:pt x="1201" y="343"/>
                      <a:pt x="1201" y="343"/>
                      <a:pt x="1203" y="343"/>
                    </a:cubicBezTo>
                    <a:cubicBezTo>
                      <a:pt x="1203" y="343"/>
                      <a:pt x="1203" y="343"/>
                      <a:pt x="1202" y="342"/>
                    </a:cubicBezTo>
                    <a:cubicBezTo>
                      <a:pt x="1202" y="342"/>
                      <a:pt x="1202" y="342"/>
                      <a:pt x="1201" y="343"/>
                    </a:cubicBezTo>
                    <a:close/>
                    <a:moveTo>
                      <a:pt x="1215" y="336"/>
                    </a:moveTo>
                    <a:cubicBezTo>
                      <a:pt x="1215" y="335"/>
                      <a:pt x="1215" y="335"/>
                      <a:pt x="1215" y="335"/>
                    </a:cubicBezTo>
                    <a:cubicBezTo>
                      <a:pt x="1214" y="336"/>
                      <a:pt x="1214" y="336"/>
                      <a:pt x="1214" y="336"/>
                    </a:cubicBezTo>
                    <a:cubicBezTo>
                      <a:pt x="1216" y="337"/>
                      <a:pt x="1216" y="337"/>
                      <a:pt x="1216" y="337"/>
                    </a:cubicBezTo>
                    <a:cubicBezTo>
                      <a:pt x="1215" y="336"/>
                      <a:pt x="1215" y="336"/>
                      <a:pt x="1215" y="336"/>
                    </a:cubicBezTo>
                    <a:close/>
                    <a:moveTo>
                      <a:pt x="1260" y="264"/>
                    </a:moveTo>
                    <a:cubicBezTo>
                      <a:pt x="1260" y="264"/>
                      <a:pt x="1260" y="264"/>
                      <a:pt x="1260" y="262"/>
                    </a:cubicBezTo>
                    <a:cubicBezTo>
                      <a:pt x="1260" y="262"/>
                      <a:pt x="1260" y="262"/>
                      <a:pt x="1259" y="262"/>
                    </a:cubicBezTo>
                    <a:cubicBezTo>
                      <a:pt x="1259" y="262"/>
                      <a:pt x="1259" y="262"/>
                      <a:pt x="1259" y="261"/>
                    </a:cubicBezTo>
                    <a:cubicBezTo>
                      <a:pt x="1259" y="261"/>
                      <a:pt x="1259" y="261"/>
                      <a:pt x="1257" y="261"/>
                    </a:cubicBezTo>
                    <a:cubicBezTo>
                      <a:pt x="1257" y="261"/>
                      <a:pt x="1257" y="261"/>
                      <a:pt x="1257" y="262"/>
                    </a:cubicBezTo>
                    <a:cubicBezTo>
                      <a:pt x="1257" y="262"/>
                      <a:pt x="1257" y="262"/>
                      <a:pt x="1256" y="261"/>
                    </a:cubicBezTo>
                    <a:cubicBezTo>
                      <a:pt x="1256" y="261"/>
                      <a:pt x="1256" y="261"/>
                      <a:pt x="1256" y="263"/>
                    </a:cubicBezTo>
                    <a:cubicBezTo>
                      <a:pt x="1256" y="263"/>
                      <a:pt x="1256" y="263"/>
                      <a:pt x="1257" y="263"/>
                    </a:cubicBezTo>
                    <a:cubicBezTo>
                      <a:pt x="1257" y="263"/>
                      <a:pt x="1257" y="263"/>
                      <a:pt x="1255" y="264"/>
                    </a:cubicBezTo>
                    <a:cubicBezTo>
                      <a:pt x="1255" y="264"/>
                      <a:pt x="1255" y="264"/>
                      <a:pt x="1255" y="265"/>
                    </a:cubicBezTo>
                    <a:cubicBezTo>
                      <a:pt x="1255" y="265"/>
                      <a:pt x="1255" y="265"/>
                      <a:pt x="1256" y="265"/>
                    </a:cubicBezTo>
                    <a:cubicBezTo>
                      <a:pt x="1256" y="265"/>
                      <a:pt x="1256" y="265"/>
                      <a:pt x="1255" y="266"/>
                    </a:cubicBezTo>
                    <a:cubicBezTo>
                      <a:pt x="1255" y="266"/>
                      <a:pt x="1255" y="266"/>
                      <a:pt x="1256" y="267"/>
                    </a:cubicBezTo>
                    <a:cubicBezTo>
                      <a:pt x="1256" y="267"/>
                      <a:pt x="1256" y="267"/>
                      <a:pt x="1256" y="268"/>
                    </a:cubicBezTo>
                    <a:cubicBezTo>
                      <a:pt x="1256" y="268"/>
                      <a:pt x="1256" y="268"/>
                      <a:pt x="1257" y="268"/>
                    </a:cubicBezTo>
                    <a:cubicBezTo>
                      <a:pt x="1257" y="268"/>
                      <a:pt x="1257" y="268"/>
                      <a:pt x="1257" y="266"/>
                    </a:cubicBezTo>
                    <a:cubicBezTo>
                      <a:pt x="1257" y="266"/>
                      <a:pt x="1257" y="266"/>
                      <a:pt x="1259" y="266"/>
                    </a:cubicBezTo>
                    <a:cubicBezTo>
                      <a:pt x="1259" y="266"/>
                      <a:pt x="1259" y="266"/>
                      <a:pt x="1260" y="265"/>
                    </a:cubicBezTo>
                    <a:cubicBezTo>
                      <a:pt x="1260" y="265"/>
                      <a:pt x="1260" y="265"/>
                      <a:pt x="1260" y="264"/>
                    </a:cubicBezTo>
                    <a:close/>
                    <a:moveTo>
                      <a:pt x="1199" y="346"/>
                    </a:moveTo>
                    <a:cubicBezTo>
                      <a:pt x="1199" y="346"/>
                      <a:pt x="1199" y="346"/>
                      <a:pt x="1200" y="346"/>
                    </a:cubicBezTo>
                    <a:cubicBezTo>
                      <a:pt x="1200" y="346"/>
                      <a:pt x="1200" y="346"/>
                      <a:pt x="1199" y="345"/>
                    </a:cubicBezTo>
                    <a:cubicBezTo>
                      <a:pt x="1199" y="345"/>
                      <a:pt x="1199" y="345"/>
                      <a:pt x="1199" y="346"/>
                    </a:cubicBezTo>
                    <a:close/>
                    <a:moveTo>
                      <a:pt x="1201" y="345"/>
                    </a:moveTo>
                    <a:cubicBezTo>
                      <a:pt x="1200" y="344"/>
                      <a:pt x="1200" y="344"/>
                      <a:pt x="1200" y="344"/>
                    </a:cubicBezTo>
                    <a:cubicBezTo>
                      <a:pt x="1200" y="345"/>
                      <a:pt x="1200" y="345"/>
                      <a:pt x="1200" y="345"/>
                    </a:cubicBezTo>
                    <a:cubicBezTo>
                      <a:pt x="1201" y="346"/>
                      <a:pt x="1201" y="346"/>
                      <a:pt x="1201" y="346"/>
                    </a:cubicBezTo>
                    <a:cubicBezTo>
                      <a:pt x="1200" y="346"/>
                      <a:pt x="1200" y="346"/>
                      <a:pt x="1200" y="346"/>
                    </a:cubicBezTo>
                    <a:cubicBezTo>
                      <a:pt x="1201" y="347"/>
                      <a:pt x="1201" y="347"/>
                      <a:pt x="1201" y="347"/>
                    </a:cubicBezTo>
                    <a:cubicBezTo>
                      <a:pt x="1202" y="346"/>
                      <a:pt x="1202" y="346"/>
                      <a:pt x="1202" y="346"/>
                    </a:cubicBezTo>
                    <a:cubicBezTo>
                      <a:pt x="1201" y="345"/>
                      <a:pt x="1201" y="345"/>
                      <a:pt x="1201" y="345"/>
                    </a:cubicBezTo>
                    <a:close/>
                    <a:moveTo>
                      <a:pt x="1203" y="366"/>
                    </a:moveTo>
                    <a:cubicBezTo>
                      <a:pt x="1203" y="366"/>
                      <a:pt x="1203" y="366"/>
                      <a:pt x="1203" y="365"/>
                    </a:cubicBezTo>
                    <a:cubicBezTo>
                      <a:pt x="1203" y="365"/>
                      <a:pt x="1203" y="365"/>
                      <a:pt x="1202" y="366"/>
                    </a:cubicBezTo>
                    <a:cubicBezTo>
                      <a:pt x="1202" y="366"/>
                      <a:pt x="1202" y="366"/>
                      <a:pt x="1203" y="366"/>
                    </a:cubicBezTo>
                    <a:close/>
                    <a:moveTo>
                      <a:pt x="1283" y="249"/>
                    </a:moveTo>
                    <a:cubicBezTo>
                      <a:pt x="1283" y="249"/>
                      <a:pt x="1283" y="249"/>
                      <a:pt x="1284" y="250"/>
                    </a:cubicBezTo>
                    <a:cubicBezTo>
                      <a:pt x="1284" y="250"/>
                      <a:pt x="1284" y="250"/>
                      <a:pt x="1285" y="249"/>
                    </a:cubicBezTo>
                    <a:cubicBezTo>
                      <a:pt x="1285" y="249"/>
                      <a:pt x="1285" y="249"/>
                      <a:pt x="1286" y="248"/>
                    </a:cubicBezTo>
                    <a:cubicBezTo>
                      <a:pt x="1286" y="248"/>
                      <a:pt x="1286" y="248"/>
                      <a:pt x="1285" y="247"/>
                    </a:cubicBezTo>
                    <a:cubicBezTo>
                      <a:pt x="1285" y="247"/>
                      <a:pt x="1285" y="247"/>
                      <a:pt x="1283" y="249"/>
                    </a:cubicBezTo>
                    <a:close/>
                    <a:moveTo>
                      <a:pt x="1250" y="277"/>
                    </a:moveTo>
                    <a:cubicBezTo>
                      <a:pt x="1249" y="277"/>
                      <a:pt x="1249" y="277"/>
                      <a:pt x="1249" y="277"/>
                    </a:cubicBezTo>
                    <a:cubicBezTo>
                      <a:pt x="1248" y="278"/>
                      <a:pt x="1248" y="278"/>
                      <a:pt x="1248" y="278"/>
                    </a:cubicBezTo>
                    <a:cubicBezTo>
                      <a:pt x="1249" y="279"/>
                      <a:pt x="1249" y="279"/>
                      <a:pt x="1249" y="279"/>
                    </a:cubicBezTo>
                    <a:cubicBezTo>
                      <a:pt x="1250" y="279"/>
                      <a:pt x="1250" y="279"/>
                      <a:pt x="1250" y="279"/>
                    </a:cubicBezTo>
                    <a:cubicBezTo>
                      <a:pt x="1250" y="278"/>
                      <a:pt x="1250" y="278"/>
                      <a:pt x="1250" y="278"/>
                    </a:cubicBezTo>
                    <a:cubicBezTo>
                      <a:pt x="1250" y="277"/>
                      <a:pt x="1250" y="277"/>
                      <a:pt x="1250" y="277"/>
                    </a:cubicBezTo>
                    <a:close/>
                    <a:moveTo>
                      <a:pt x="1289" y="243"/>
                    </a:moveTo>
                    <a:cubicBezTo>
                      <a:pt x="1289" y="243"/>
                      <a:pt x="1289" y="243"/>
                      <a:pt x="1289" y="242"/>
                    </a:cubicBezTo>
                    <a:cubicBezTo>
                      <a:pt x="1289" y="242"/>
                      <a:pt x="1289" y="242"/>
                      <a:pt x="1288" y="242"/>
                    </a:cubicBezTo>
                    <a:cubicBezTo>
                      <a:pt x="1288" y="242"/>
                      <a:pt x="1288" y="242"/>
                      <a:pt x="1287" y="242"/>
                    </a:cubicBezTo>
                    <a:cubicBezTo>
                      <a:pt x="1287" y="242"/>
                      <a:pt x="1287" y="242"/>
                      <a:pt x="1288" y="243"/>
                    </a:cubicBezTo>
                    <a:cubicBezTo>
                      <a:pt x="1288" y="243"/>
                      <a:pt x="1288" y="243"/>
                      <a:pt x="1289" y="243"/>
                    </a:cubicBezTo>
                    <a:close/>
                    <a:moveTo>
                      <a:pt x="1250" y="276"/>
                    </a:moveTo>
                    <a:cubicBezTo>
                      <a:pt x="1250" y="276"/>
                      <a:pt x="1250" y="276"/>
                      <a:pt x="1251" y="275"/>
                    </a:cubicBezTo>
                    <a:cubicBezTo>
                      <a:pt x="1251" y="275"/>
                      <a:pt x="1251" y="275"/>
                      <a:pt x="1252" y="274"/>
                    </a:cubicBezTo>
                    <a:cubicBezTo>
                      <a:pt x="1252" y="274"/>
                      <a:pt x="1252" y="274"/>
                      <a:pt x="1254" y="271"/>
                    </a:cubicBezTo>
                    <a:cubicBezTo>
                      <a:pt x="1254" y="271"/>
                      <a:pt x="1254" y="271"/>
                      <a:pt x="1253" y="270"/>
                    </a:cubicBezTo>
                    <a:cubicBezTo>
                      <a:pt x="1253" y="270"/>
                      <a:pt x="1253" y="270"/>
                      <a:pt x="1252" y="269"/>
                    </a:cubicBezTo>
                    <a:cubicBezTo>
                      <a:pt x="1252" y="269"/>
                      <a:pt x="1252" y="269"/>
                      <a:pt x="1252" y="270"/>
                    </a:cubicBezTo>
                    <a:cubicBezTo>
                      <a:pt x="1252" y="270"/>
                      <a:pt x="1252" y="270"/>
                      <a:pt x="1253" y="271"/>
                    </a:cubicBezTo>
                    <a:cubicBezTo>
                      <a:pt x="1253" y="271"/>
                      <a:pt x="1253" y="271"/>
                      <a:pt x="1251" y="271"/>
                    </a:cubicBezTo>
                    <a:cubicBezTo>
                      <a:pt x="1251" y="271"/>
                      <a:pt x="1251" y="271"/>
                      <a:pt x="1250" y="273"/>
                    </a:cubicBezTo>
                    <a:cubicBezTo>
                      <a:pt x="1250" y="273"/>
                      <a:pt x="1250" y="273"/>
                      <a:pt x="1250" y="272"/>
                    </a:cubicBezTo>
                    <a:cubicBezTo>
                      <a:pt x="1250" y="272"/>
                      <a:pt x="1250" y="272"/>
                      <a:pt x="1250" y="268"/>
                    </a:cubicBezTo>
                    <a:cubicBezTo>
                      <a:pt x="1250" y="268"/>
                      <a:pt x="1250" y="268"/>
                      <a:pt x="1249" y="271"/>
                    </a:cubicBezTo>
                    <a:cubicBezTo>
                      <a:pt x="1249" y="271"/>
                      <a:pt x="1249" y="271"/>
                      <a:pt x="1249" y="272"/>
                    </a:cubicBezTo>
                    <a:cubicBezTo>
                      <a:pt x="1249" y="272"/>
                      <a:pt x="1249" y="272"/>
                      <a:pt x="1248" y="273"/>
                    </a:cubicBezTo>
                    <a:cubicBezTo>
                      <a:pt x="1248" y="273"/>
                      <a:pt x="1248" y="273"/>
                      <a:pt x="1248" y="274"/>
                    </a:cubicBezTo>
                    <a:cubicBezTo>
                      <a:pt x="1248" y="274"/>
                      <a:pt x="1248" y="274"/>
                      <a:pt x="1247" y="276"/>
                    </a:cubicBezTo>
                    <a:cubicBezTo>
                      <a:pt x="1247" y="276"/>
                      <a:pt x="1247" y="276"/>
                      <a:pt x="1248" y="276"/>
                    </a:cubicBezTo>
                    <a:cubicBezTo>
                      <a:pt x="1248" y="276"/>
                      <a:pt x="1248" y="276"/>
                      <a:pt x="1249" y="274"/>
                    </a:cubicBezTo>
                    <a:cubicBezTo>
                      <a:pt x="1249" y="274"/>
                      <a:pt x="1249" y="274"/>
                      <a:pt x="1249" y="275"/>
                    </a:cubicBezTo>
                    <a:cubicBezTo>
                      <a:pt x="1249" y="275"/>
                      <a:pt x="1249" y="275"/>
                      <a:pt x="1250" y="276"/>
                    </a:cubicBezTo>
                    <a:close/>
                    <a:moveTo>
                      <a:pt x="1244" y="290"/>
                    </a:moveTo>
                    <a:cubicBezTo>
                      <a:pt x="1244" y="290"/>
                      <a:pt x="1244" y="290"/>
                      <a:pt x="1244" y="291"/>
                    </a:cubicBezTo>
                    <a:cubicBezTo>
                      <a:pt x="1244" y="291"/>
                      <a:pt x="1244" y="291"/>
                      <a:pt x="1245" y="290"/>
                    </a:cubicBezTo>
                    <a:cubicBezTo>
                      <a:pt x="1245" y="290"/>
                      <a:pt x="1245" y="290"/>
                      <a:pt x="1244" y="290"/>
                    </a:cubicBezTo>
                    <a:close/>
                    <a:moveTo>
                      <a:pt x="1237" y="304"/>
                    </a:moveTo>
                    <a:cubicBezTo>
                      <a:pt x="1237" y="304"/>
                      <a:pt x="1237" y="304"/>
                      <a:pt x="1238" y="303"/>
                    </a:cubicBezTo>
                    <a:cubicBezTo>
                      <a:pt x="1238" y="303"/>
                      <a:pt x="1238" y="303"/>
                      <a:pt x="1237" y="303"/>
                    </a:cubicBezTo>
                    <a:cubicBezTo>
                      <a:pt x="1237" y="303"/>
                      <a:pt x="1237" y="303"/>
                      <a:pt x="1237" y="304"/>
                    </a:cubicBezTo>
                    <a:close/>
                    <a:moveTo>
                      <a:pt x="1235" y="306"/>
                    </a:moveTo>
                    <a:cubicBezTo>
                      <a:pt x="1235" y="306"/>
                      <a:pt x="1235" y="306"/>
                      <a:pt x="1234" y="306"/>
                    </a:cubicBezTo>
                    <a:cubicBezTo>
                      <a:pt x="1234" y="306"/>
                      <a:pt x="1234" y="306"/>
                      <a:pt x="1234" y="307"/>
                    </a:cubicBezTo>
                    <a:cubicBezTo>
                      <a:pt x="1234" y="307"/>
                      <a:pt x="1234" y="307"/>
                      <a:pt x="1234" y="308"/>
                    </a:cubicBezTo>
                    <a:cubicBezTo>
                      <a:pt x="1234" y="308"/>
                      <a:pt x="1234" y="308"/>
                      <a:pt x="1235" y="307"/>
                    </a:cubicBezTo>
                    <a:cubicBezTo>
                      <a:pt x="1235" y="307"/>
                      <a:pt x="1235" y="307"/>
                      <a:pt x="1235" y="306"/>
                    </a:cubicBezTo>
                    <a:close/>
                    <a:moveTo>
                      <a:pt x="1233" y="313"/>
                    </a:moveTo>
                    <a:cubicBezTo>
                      <a:pt x="1233" y="313"/>
                      <a:pt x="1233" y="313"/>
                      <a:pt x="1233" y="314"/>
                    </a:cubicBezTo>
                    <a:cubicBezTo>
                      <a:pt x="1233" y="314"/>
                      <a:pt x="1233" y="314"/>
                      <a:pt x="1235" y="312"/>
                    </a:cubicBezTo>
                    <a:cubicBezTo>
                      <a:pt x="1235" y="312"/>
                      <a:pt x="1235" y="312"/>
                      <a:pt x="1233" y="313"/>
                    </a:cubicBezTo>
                    <a:close/>
                    <a:moveTo>
                      <a:pt x="1236" y="303"/>
                    </a:moveTo>
                    <a:cubicBezTo>
                      <a:pt x="1236" y="303"/>
                      <a:pt x="1236" y="303"/>
                      <a:pt x="1237" y="301"/>
                    </a:cubicBezTo>
                    <a:cubicBezTo>
                      <a:pt x="1237" y="301"/>
                      <a:pt x="1237" y="301"/>
                      <a:pt x="1237" y="300"/>
                    </a:cubicBezTo>
                    <a:cubicBezTo>
                      <a:pt x="1237" y="300"/>
                      <a:pt x="1237" y="300"/>
                      <a:pt x="1236" y="301"/>
                    </a:cubicBezTo>
                    <a:cubicBezTo>
                      <a:pt x="1236" y="301"/>
                      <a:pt x="1236" y="301"/>
                      <a:pt x="1236" y="303"/>
                    </a:cubicBezTo>
                    <a:close/>
                    <a:moveTo>
                      <a:pt x="1232" y="316"/>
                    </a:moveTo>
                    <a:cubicBezTo>
                      <a:pt x="1232" y="316"/>
                      <a:pt x="1232" y="316"/>
                      <a:pt x="1233" y="314"/>
                    </a:cubicBezTo>
                    <a:cubicBezTo>
                      <a:pt x="1233" y="314"/>
                      <a:pt x="1233" y="314"/>
                      <a:pt x="1232" y="315"/>
                    </a:cubicBezTo>
                    <a:cubicBezTo>
                      <a:pt x="1232" y="315"/>
                      <a:pt x="1232" y="315"/>
                      <a:pt x="1231" y="315"/>
                    </a:cubicBezTo>
                    <a:cubicBezTo>
                      <a:pt x="1231" y="315"/>
                      <a:pt x="1231" y="315"/>
                      <a:pt x="1230" y="316"/>
                    </a:cubicBezTo>
                    <a:cubicBezTo>
                      <a:pt x="1230" y="316"/>
                      <a:pt x="1230" y="316"/>
                      <a:pt x="1231" y="316"/>
                    </a:cubicBezTo>
                    <a:cubicBezTo>
                      <a:pt x="1231" y="316"/>
                      <a:pt x="1231" y="316"/>
                      <a:pt x="1231" y="317"/>
                    </a:cubicBezTo>
                    <a:cubicBezTo>
                      <a:pt x="1231" y="317"/>
                      <a:pt x="1231" y="317"/>
                      <a:pt x="1232" y="316"/>
                    </a:cubicBezTo>
                    <a:close/>
                    <a:moveTo>
                      <a:pt x="1219" y="328"/>
                    </a:moveTo>
                    <a:cubicBezTo>
                      <a:pt x="1219" y="328"/>
                      <a:pt x="1219" y="328"/>
                      <a:pt x="1218" y="327"/>
                    </a:cubicBezTo>
                    <a:cubicBezTo>
                      <a:pt x="1218" y="327"/>
                      <a:pt x="1218" y="327"/>
                      <a:pt x="1216" y="329"/>
                    </a:cubicBezTo>
                    <a:cubicBezTo>
                      <a:pt x="1216" y="329"/>
                      <a:pt x="1216" y="329"/>
                      <a:pt x="1218" y="329"/>
                    </a:cubicBezTo>
                    <a:cubicBezTo>
                      <a:pt x="1218" y="329"/>
                      <a:pt x="1218" y="329"/>
                      <a:pt x="1219" y="328"/>
                    </a:cubicBezTo>
                    <a:close/>
                    <a:moveTo>
                      <a:pt x="1254" y="268"/>
                    </a:moveTo>
                    <a:cubicBezTo>
                      <a:pt x="1254" y="268"/>
                      <a:pt x="1254" y="268"/>
                      <a:pt x="1253" y="268"/>
                    </a:cubicBezTo>
                    <a:cubicBezTo>
                      <a:pt x="1253" y="268"/>
                      <a:pt x="1253" y="268"/>
                      <a:pt x="1254" y="269"/>
                    </a:cubicBezTo>
                    <a:cubicBezTo>
                      <a:pt x="1254" y="269"/>
                      <a:pt x="1254" y="269"/>
                      <a:pt x="1254" y="268"/>
                    </a:cubicBezTo>
                    <a:close/>
                    <a:moveTo>
                      <a:pt x="1236" y="284"/>
                    </a:moveTo>
                    <a:cubicBezTo>
                      <a:pt x="1236" y="284"/>
                      <a:pt x="1236" y="284"/>
                      <a:pt x="1236" y="285"/>
                    </a:cubicBezTo>
                    <a:cubicBezTo>
                      <a:pt x="1236" y="285"/>
                      <a:pt x="1236" y="285"/>
                      <a:pt x="1237" y="284"/>
                    </a:cubicBezTo>
                    <a:cubicBezTo>
                      <a:pt x="1237" y="284"/>
                      <a:pt x="1237" y="284"/>
                      <a:pt x="1236" y="284"/>
                    </a:cubicBezTo>
                    <a:close/>
                    <a:moveTo>
                      <a:pt x="1218" y="331"/>
                    </a:moveTo>
                    <a:cubicBezTo>
                      <a:pt x="1218" y="331"/>
                      <a:pt x="1218" y="331"/>
                      <a:pt x="1219" y="331"/>
                    </a:cubicBezTo>
                    <a:cubicBezTo>
                      <a:pt x="1219" y="331"/>
                      <a:pt x="1219" y="331"/>
                      <a:pt x="1220" y="330"/>
                    </a:cubicBezTo>
                    <a:cubicBezTo>
                      <a:pt x="1220" y="330"/>
                      <a:pt x="1220" y="330"/>
                      <a:pt x="1220" y="329"/>
                    </a:cubicBezTo>
                    <a:cubicBezTo>
                      <a:pt x="1220" y="329"/>
                      <a:pt x="1220" y="329"/>
                      <a:pt x="1219" y="329"/>
                    </a:cubicBezTo>
                    <a:cubicBezTo>
                      <a:pt x="1219" y="329"/>
                      <a:pt x="1219" y="329"/>
                      <a:pt x="1218" y="330"/>
                    </a:cubicBezTo>
                    <a:cubicBezTo>
                      <a:pt x="1218" y="330"/>
                      <a:pt x="1218" y="330"/>
                      <a:pt x="1217" y="330"/>
                    </a:cubicBezTo>
                    <a:cubicBezTo>
                      <a:pt x="1217" y="330"/>
                      <a:pt x="1217" y="330"/>
                      <a:pt x="1216" y="331"/>
                    </a:cubicBezTo>
                    <a:cubicBezTo>
                      <a:pt x="1216" y="331"/>
                      <a:pt x="1216" y="331"/>
                      <a:pt x="1217" y="331"/>
                    </a:cubicBezTo>
                    <a:cubicBezTo>
                      <a:pt x="1217" y="331"/>
                      <a:pt x="1217" y="331"/>
                      <a:pt x="1218" y="331"/>
                    </a:cubicBezTo>
                    <a:close/>
                    <a:moveTo>
                      <a:pt x="1250" y="267"/>
                    </a:moveTo>
                    <a:cubicBezTo>
                      <a:pt x="1250" y="267"/>
                      <a:pt x="1250" y="267"/>
                      <a:pt x="1250" y="266"/>
                    </a:cubicBezTo>
                    <a:cubicBezTo>
                      <a:pt x="1250" y="266"/>
                      <a:pt x="1250" y="266"/>
                      <a:pt x="1248" y="267"/>
                    </a:cubicBezTo>
                    <a:cubicBezTo>
                      <a:pt x="1248" y="267"/>
                      <a:pt x="1248" y="267"/>
                      <a:pt x="1248" y="269"/>
                    </a:cubicBezTo>
                    <a:cubicBezTo>
                      <a:pt x="1248" y="269"/>
                      <a:pt x="1248" y="269"/>
                      <a:pt x="1249" y="269"/>
                    </a:cubicBezTo>
                    <a:cubicBezTo>
                      <a:pt x="1249" y="269"/>
                      <a:pt x="1249" y="269"/>
                      <a:pt x="1250" y="267"/>
                    </a:cubicBezTo>
                    <a:close/>
                    <a:moveTo>
                      <a:pt x="1237" y="282"/>
                    </a:moveTo>
                    <a:cubicBezTo>
                      <a:pt x="1237" y="282"/>
                      <a:pt x="1237" y="282"/>
                      <a:pt x="1238" y="281"/>
                    </a:cubicBezTo>
                    <a:cubicBezTo>
                      <a:pt x="1238" y="281"/>
                      <a:pt x="1238" y="281"/>
                      <a:pt x="1238" y="279"/>
                    </a:cubicBezTo>
                    <a:cubicBezTo>
                      <a:pt x="1238" y="279"/>
                      <a:pt x="1238" y="279"/>
                      <a:pt x="1237" y="281"/>
                    </a:cubicBezTo>
                    <a:cubicBezTo>
                      <a:pt x="1237" y="281"/>
                      <a:pt x="1237" y="281"/>
                      <a:pt x="1237" y="282"/>
                    </a:cubicBezTo>
                    <a:close/>
                    <a:moveTo>
                      <a:pt x="1200" y="363"/>
                    </a:moveTo>
                    <a:cubicBezTo>
                      <a:pt x="1200" y="363"/>
                      <a:pt x="1200" y="363"/>
                      <a:pt x="1200" y="362"/>
                    </a:cubicBezTo>
                    <a:cubicBezTo>
                      <a:pt x="1200" y="362"/>
                      <a:pt x="1200" y="362"/>
                      <a:pt x="1199" y="362"/>
                    </a:cubicBezTo>
                    <a:cubicBezTo>
                      <a:pt x="1199" y="362"/>
                      <a:pt x="1199" y="362"/>
                      <a:pt x="1200" y="363"/>
                    </a:cubicBezTo>
                    <a:close/>
                    <a:moveTo>
                      <a:pt x="1201" y="365"/>
                    </a:moveTo>
                    <a:cubicBezTo>
                      <a:pt x="1201" y="365"/>
                      <a:pt x="1201" y="365"/>
                      <a:pt x="1202" y="364"/>
                    </a:cubicBezTo>
                    <a:cubicBezTo>
                      <a:pt x="1202" y="364"/>
                      <a:pt x="1202" y="364"/>
                      <a:pt x="1200" y="365"/>
                    </a:cubicBezTo>
                    <a:cubicBezTo>
                      <a:pt x="1200" y="365"/>
                      <a:pt x="1200" y="365"/>
                      <a:pt x="1201" y="365"/>
                    </a:cubicBezTo>
                    <a:close/>
                    <a:moveTo>
                      <a:pt x="1200" y="367"/>
                    </a:moveTo>
                    <a:cubicBezTo>
                      <a:pt x="1200" y="367"/>
                      <a:pt x="1200" y="367"/>
                      <a:pt x="1201" y="369"/>
                    </a:cubicBezTo>
                    <a:cubicBezTo>
                      <a:pt x="1201" y="369"/>
                      <a:pt x="1201" y="369"/>
                      <a:pt x="1202" y="368"/>
                    </a:cubicBezTo>
                    <a:cubicBezTo>
                      <a:pt x="1202" y="368"/>
                      <a:pt x="1202" y="368"/>
                      <a:pt x="1201" y="367"/>
                    </a:cubicBezTo>
                    <a:lnTo>
                      <a:pt x="1200" y="367"/>
                    </a:lnTo>
                    <a:close/>
                    <a:moveTo>
                      <a:pt x="1199" y="361"/>
                    </a:moveTo>
                    <a:cubicBezTo>
                      <a:pt x="1199" y="361"/>
                      <a:pt x="1199" y="361"/>
                      <a:pt x="1200" y="360"/>
                    </a:cubicBezTo>
                    <a:cubicBezTo>
                      <a:pt x="1200" y="360"/>
                      <a:pt x="1200" y="360"/>
                      <a:pt x="1199" y="360"/>
                    </a:cubicBezTo>
                    <a:cubicBezTo>
                      <a:pt x="1199" y="360"/>
                      <a:pt x="1199" y="360"/>
                      <a:pt x="1199" y="361"/>
                    </a:cubicBezTo>
                    <a:close/>
                    <a:moveTo>
                      <a:pt x="1215" y="332"/>
                    </a:moveTo>
                    <a:cubicBezTo>
                      <a:pt x="1215" y="332"/>
                      <a:pt x="1215" y="332"/>
                      <a:pt x="1214" y="331"/>
                    </a:cubicBezTo>
                    <a:cubicBezTo>
                      <a:pt x="1214" y="331"/>
                      <a:pt x="1214" y="331"/>
                      <a:pt x="1213" y="331"/>
                    </a:cubicBezTo>
                    <a:cubicBezTo>
                      <a:pt x="1213" y="331"/>
                      <a:pt x="1213" y="331"/>
                      <a:pt x="1214" y="332"/>
                    </a:cubicBezTo>
                    <a:lnTo>
                      <a:pt x="1215" y="332"/>
                    </a:lnTo>
                    <a:close/>
                    <a:moveTo>
                      <a:pt x="1215" y="334"/>
                    </a:moveTo>
                    <a:cubicBezTo>
                      <a:pt x="1215" y="334"/>
                      <a:pt x="1215" y="334"/>
                      <a:pt x="1216" y="334"/>
                    </a:cubicBezTo>
                    <a:cubicBezTo>
                      <a:pt x="1216" y="334"/>
                      <a:pt x="1216" y="334"/>
                      <a:pt x="1216" y="333"/>
                    </a:cubicBezTo>
                    <a:cubicBezTo>
                      <a:pt x="1214" y="334"/>
                      <a:pt x="1214" y="334"/>
                      <a:pt x="1214" y="334"/>
                    </a:cubicBezTo>
                    <a:cubicBezTo>
                      <a:pt x="1214" y="334"/>
                      <a:pt x="1214" y="334"/>
                      <a:pt x="1215" y="334"/>
                    </a:cubicBezTo>
                    <a:close/>
                    <a:moveTo>
                      <a:pt x="1201" y="362"/>
                    </a:moveTo>
                    <a:cubicBezTo>
                      <a:pt x="1201" y="362"/>
                      <a:pt x="1201" y="362"/>
                      <a:pt x="1202" y="364"/>
                    </a:cubicBezTo>
                    <a:cubicBezTo>
                      <a:pt x="1202" y="364"/>
                      <a:pt x="1202" y="364"/>
                      <a:pt x="1202" y="363"/>
                    </a:cubicBezTo>
                    <a:lnTo>
                      <a:pt x="1201" y="362"/>
                    </a:lnTo>
                    <a:close/>
                    <a:moveTo>
                      <a:pt x="1199" y="358"/>
                    </a:moveTo>
                    <a:cubicBezTo>
                      <a:pt x="1199" y="358"/>
                      <a:pt x="1199" y="358"/>
                      <a:pt x="1198" y="359"/>
                    </a:cubicBezTo>
                    <a:cubicBezTo>
                      <a:pt x="1198" y="359"/>
                      <a:pt x="1198" y="359"/>
                      <a:pt x="1199" y="359"/>
                    </a:cubicBezTo>
                    <a:lnTo>
                      <a:pt x="1199" y="358"/>
                    </a:lnTo>
                    <a:close/>
                    <a:moveTo>
                      <a:pt x="1251" y="264"/>
                    </a:moveTo>
                    <a:cubicBezTo>
                      <a:pt x="1251" y="264"/>
                      <a:pt x="1251" y="264"/>
                      <a:pt x="1250" y="264"/>
                    </a:cubicBezTo>
                    <a:cubicBezTo>
                      <a:pt x="1250" y="264"/>
                      <a:pt x="1250" y="264"/>
                      <a:pt x="1250" y="266"/>
                    </a:cubicBezTo>
                    <a:cubicBezTo>
                      <a:pt x="1250" y="266"/>
                      <a:pt x="1250" y="266"/>
                      <a:pt x="1252" y="265"/>
                    </a:cubicBezTo>
                    <a:cubicBezTo>
                      <a:pt x="1252" y="265"/>
                      <a:pt x="1252" y="265"/>
                      <a:pt x="1251" y="264"/>
                    </a:cubicBezTo>
                    <a:close/>
                    <a:moveTo>
                      <a:pt x="1246" y="273"/>
                    </a:moveTo>
                    <a:cubicBezTo>
                      <a:pt x="1246" y="273"/>
                      <a:pt x="1246" y="273"/>
                      <a:pt x="1245" y="274"/>
                    </a:cubicBezTo>
                    <a:cubicBezTo>
                      <a:pt x="1245" y="274"/>
                      <a:pt x="1245" y="274"/>
                      <a:pt x="1247" y="274"/>
                    </a:cubicBezTo>
                    <a:cubicBezTo>
                      <a:pt x="1247" y="274"/>
                      <a:pt x="1247" y="274"/>
                      <a:pt x="1246" y="273"/>
                    </a:cubicBezTo>
                    <a:close/>
                    <a:moveTo>
                      <a:pt x="1243" y="277"/>
                    </a:moveTo>
                    <a:cubicBezTo>
                      <a:pt x="1243" y="277"/>
                      <a:pt x="1243" y="277"/>
                      <a:pt x="1241" y="277"/>
                    </a:cubicBezTo>
                    <a:cubicBezTo>
                      <a:pt x="1241" y="277"/>
                      <a:pt x="1241" y="277"/>
                      <a:pt x="1240" y="280"/>
                    </a:cubicBezTo>
                    <a:cubicBezTo>
                      <a:pt x="1240" y="280"/>
                      <a:pt x="1240" y="280"/>
                      <a:pt x="1243" y="278"/>
                    </a:cubicBezTo>
                    <a:cubicBezTo>
                      <a:pt x="1243" y="278"/>
                      <a:pt x="1243" y="278"/>
                      <a:pt x="1243" y="277"/>
                    </a:cubicBezTo>
                    <a:close/>
                    <a:moveTo>
                      <a:pt x="1248" y="270"/>
                    </a:moveTo>
                    <a:cubicBezTo>
                      <a:pt x="1248" y="270"/>
                      <a:pt x="1248" y="270"/>
                      <a:pt x="1247" y="268"/>
                    </a:cubicBezTo>
                    <a:cubicBezTo>
                      <a:pt x="1247" y="268"/>
                      <a:pt x="1247" y="268"/>
                      <a:pt x="1246" y="269"/>
                    </a:cubicBezTo>
                    <a:cubicBezTo>
                      <a:pt x="1246" y="269"/>
                      <a:pt x="1246" y="269"/>
                      <a:pt x="1247" y="269"/>
                    </a:cubicBezTo>
                    <a:cubicBezTo>
                      <a:pt x="1247" y="269"/>
                      <a:pt x="1247" y="269"/>
                      <a:pt x="1246" y="270"/>
                    </a:cubicBezTo>
                    <a:cubicBezTo>
                      <a:pt x="1246" y="270"/>
                      <a:pt x="1246" y="270"/>
                      <a:pt x="1244" y="270"/>
                    </a:cubicBezTo>
                    <a:cubicBezTo>
                      <a:pt x="1244" y="270"/>
                      <a:pt x="1244" y="270"/>
                      <a:pt x="1244" y="271"/>
                    </a:cubicBezTo>
                    <a:cubicBezTo>
                      <a:pt x="1244" y="271"/>
                      <a:pt x="1244" y="271"/>
                      <a:pt x="1244" y="272"/>
                    </a:cubicBezTo>
                    <a:cubicBezTo>
                      <a:pt x="1244" y="272"/>
                      <a:pt x="1244" y="272"/>
                      <a:pt x="1246" y="271"/>
                    </a:cubicBezTo>
                    <a:cubicBezTo>
                      <a:pt x="1246" y="271"/>
                      <a:pt x="1246" y="271"/>
                      <a:pt x="1247" y="271"/>
                    </a:cubicBezTo>
                    <a:cubicBezTo>
                      <a:pt x="1247" y="271"/>
                      <a:pt x="1247" y="271"/>
                      <a:pt x="1245" y="272"/>
                    </a:cubicBezTo>
                    <a:cubicBezTo>
                      <a:pt x="1245" y="272"/>
                      <a:pt x="1245" y="272"/>
                      <a:pt x="1246" y="273"/>
                    </a:cubicBezTo>
                    <a:cubicBezTo>
                      <a:pt x="1246" y="273"/>
                      <a:pt x="1246" y="273"/>
                      <a:pt x="1248" y="272"/>
                    </a:cubicBezTo>
                    <a:cubicBezTo>
                      <a:pt x="1248" y="272"/>
                      <a:pt x="1248" y="272"/>
                      <a:pt x="1248" y="270"/>
                    </a:cubicBezTo>
                    <a:close/>
                    <a:moveTo>
                      <a:pt x="1246" y="277"/>
                    </a:moveTo>
                    <a:cubicBezTo>
                      <a:pt x="1246" y="277"/>
                      <a:pt x="1246" y="277"/>
                      <a:pt x="1246" y="275"/>
                    </a:cubicBezTo>
                    <a:cubicBezTo>
                      <a:pt x="1246" y="275"/>
                      <a:pt x="1246" y="275"/>
                      <a:pt x="1244" y="276"/>
                    </a:cubicBezTo>
                    <a:cubicBezTo>
                      <a:pt x="1244" y="276"/>
                      <a:pt x="1244" y="276"/>
                      <a:pt x="1243" y="277"/>
                    </a:cubicBezTo>
                    <a:cubicBezTo>
                      <a:pt x="1243" y="277"/>
                      <a:pt x="1243" y="277"/>
                      <a:pt x="1245" y="276"/>
                    </a:cubicBezTo>
                    <a:cubicBezTo>
                      <a:pt x="1245" y="276"/>
                      <a:pt x="1245" y="276"/>
                      <a:pt x="1246" y="277"/>
                    </a:cubicBezTo>
                    <a:close/>
                    <a:moveTo>
                      <a:pt x="1239" y="279"/>
                    </a:moveTo>
                    <a:cubicBezTo>
                      <a:pt x="1239" y="279"/>
                      <a:pt x="1239" y="279"/>
                      <a:pt x="1239" y="280"/>
                    </a:cubicBezTo>
                    <a:cubicBezTo>
                      <a:pt x="1239" y="280"/>
                      <a:pt x="1239" y="280"/>
                      <a:pt x="1240" y="279"/>
                    </a:cubicBezTo>
                    <a:cubicBezTo>
                      <a:pt x="1240" y="279"/>
                      <a:pt x="1240" y="279"/>
                      <a:pt x="1239" y="278"/>
                    </a:cubicBezTo>
                    <a:cubicBezTo>
                      <a:pt x="1239" y="278"/>
                      <a:pt x="1239" y="278"/>
                      <a:pt x="1239" y="279"/>
                    </a:cubicBezTo>
                    <a:close/>
                    <a:moveTo>
                      <a:pt x="1236" y="384"/>
                    </a:moveTo>
                    <a:cubicBezTo>
                      <a:pt x="1235" y="385"/>
                      <a:pt x="1235" y="385"/>
                      <a:pt x="1235" y="385"/>
                    </a:cubicBezTo>
                    <a:cubicBezTo>
                      <a:pt x="1236" y="385"/>
                      <a:pt x="1236" y="385"/>
                      <a:pt x="1236" y="385"/>
                    </a:cubicBezTo>
                    <a:cubicBezTo>
                      <a:pt x="1236" y="384"/>
                      <a:pt x="1236" y="384"/>
                      <a:pt x="1236" y="384"/>
                    </a:cubicBezTo>
                    <a:close/>
                    <a:moveTo>
                      <a:pt x="1278" y="386"/>
                    </a:moveTo>
                    <a:cubicBezTo>
                      <a:pt x="1279" y="386"/>
                      <a:pt x="1279" y="386"/>
                      <a:pt x="1279" y="386"/>
                    </a:cubicBezTo>
                    <a:cubicBezTo>
                      <a:pt x="1280" y="385"/>
                      <a:pt x="1280" y="385"/>
                      <a:pt x="1280" y="385"/>
                    </a:cubicBezTo>
                    <a:cubicBezTo>
                      <a:pt x="1278" y="385"/>
                      <a:pt x="1278" y="385"/>
                      <a:pt x="1278" y="385"/>
                    </a:cubicBezTo>
                    <a:cubicBezTo>
                      <a:pt x="1278" y="386"/>
                      <a:pt x="1278" y="386"/>
                      <a:pt x="1278" y="386"/>
                    </a:cubicBezTo>
                    <a:close/>
                    <a:moveTo>
                      <a:pt x="1276" y="387"/>
                    </a:moveTo>
                    <a:cubicBezTo>
                      <a:pt x="1275" y="387"/>
                      <a:pt x="1275" y="387"/>
                      <a:pt x="1275" y="387"/>
                    </a:cubicBezTo>
                    <a:cubicBezTo>
                      <a:pt x="1274" y="388"/>
                      <a:pt x="1274" y="388"/>
                      <a:pt x="1274" y="388"/>
                    </a:cubicBezTo>
                    <a:cubicBezTo>
                      <a:pt x="1273" y="389"/>
                      <a:pt x="1273" y="389"/>
                      <a:pt x="1273" y="389"/>
                    </a:cubicBezTo>
                    <a:cubicBezTo>
                      <a:pt x="1273" y="390"/>
                      <a:pt x="1273" y="390"/>
                      <a:pt x="1273" y="390"/>
                    </a:cubicBezTo>
                    <a:cubicBezTo>
                      <a:pt x="1273" y="391"/>
                      <a:pt x="1273" y="391"/>
                      <a:pt x="1273" y="391"/>
                    </a:cubicBezTo>
                    <a:cubicBezTo>
                      <a:pt x="1272" y="391"/>
                      <a:pt x="1272" y="391"/>
                      <a:pt x="1272" y="391"/>
                    </a:cubicBezTo>
                    <a:cubicBezTo>
                      <a:pt x="1274" y="393"/>
                      <a:pt x="1274" y="393"/>
                      <a:pt x="1274" y="393"/>
                    </a:cubicBezTo>
                    <a:cubicBezTo>
                      <a:pt x="1274" y="394"/>
                      <a:pt x="1274" y="394"/>
                      <a:pt x="1274" y="394"/>
                    </a:cubicBezTo>
                    <a:cubicBezTo>
                      <a:pt x="1273" y="395"/>
                      <a:pt x="1273" y="395"/>
                      <a:pt x="1273" y="395"/>
                    </a:cubicBezTo>
                    <a:cubicBezTo>
                      <a:pt x="1275" y="395"/>
                      <a:pt x="1275" y="395"/>
                      <a:pt x="1275" y="395"/>
                    </a:cubicBezTo>
                    <a:cubicBezTo>
                      <a:pt x="1275" y="394"/>
                      <a:pt x="1275" y="394"/>
                      <a:pt x="1275" y="394"/>
                    </a:cubicBezTo>
                    <a:cubicBezTo>
                      <a:pt x="1275" y="393"/>
                      <a:pt x="1275" y="393"/>
                      <a:pt x="1275" y="393"/>
                    </a:cubicBezTo>
                    <a:cubicBezTo>
                      <a:pt x="1276" y="392"/>
                      <a:pt x="1276" y="392"/>
                      <a:pt x="1276" y="392"/>
                    </a:cubicBezTo>
                    <a:cubicBezTo>
                      <a:pt x="1277" y="391"/>
                      <a:pt x="1277" y="391"/>
                      <a:pt x="1277" y="391"/>
                    </a:cubicBezTo>
                    <a:cubicBezTo>
                      <a:pt x="1277" y="390"/>
                      <a:pt x="1277" y="390"/>
                      <a:pt x="1277" y="390"/>
                    </a:cubicBezTo>
                    <a:cubicBezTo>
                      <a:pt x="1276" y="389"/>
                      <a:pt x="1276" y="389"/>
                      <a:pt x="1276" y="389"/>
                    </a:cubicBezTo>
                    <a:cubicBezTo>
                      <a:pt x="1277" y="388"/>
                      <a:pt x="1277" y="388"/>
                      <a:pt x="1277" y="388"/>
                    </a:cubicBezTo>
                    <a:cubicBezTo>
                      <a:pt x="1277" y="387"/>
                      <a:pt x="1277" y="387"/>
                      <a:pt x="1277" y="387"/>
                    </a:cubicBezTo>
                    <a:cubicBezTo>
                      <a:pt x="1278" y="387"/>
                      <a:pt x="1278" y="387"/>
                      <a:pt x="1278" y="387"/>
                    </a:cubicBezTo>
                    <a:cubicBezTo>
                      <a:pt x="1277" y="386"/>
                      <a:pt x="1277" y="386"/>
                      <a:pt x="1277" y="386"/>
                    </a:cubicBezTo>
                    <a:cubicBezTo>
                      <a:pt x="1276" y="387"/>
                      <a:pt x="1276" y="387"/>
                      <a:pt x="1276" y="387"/>
                    </a:cubicBezTo>
                    <a:close/>
                    <a:moveTo>
                      <a:pt x="1278" y="381"/>
                    </a:moveTo>
                    <a:cubicBezTo>
                      <a:pt x="1278" y="380"/>
                      <a:pt x="1278" y="380"/>
                      <a:pt x="1278" y="380"/>
                    </a:cubicBezTo>
                    <a:cubicBezTo>
                      <a:pt x="1277" y="380"/>
                      <a:pt x="1277" y="380"/>
                      <a:pt x="1277" y="380"/>
                    </a:cubicBezTo>
                    <a:cubicBezTo>
                      <a:pt x="1278" y="381"/>
                      <a:pt x="1278" y="381"/>
                      <a:pt x="1278" y="381"/>
                    </a:cubicBezTo>
                    <a:close/>
                    <a:moveTo>
                      <a:pt x="1237" y="383"/>
                    </a:moveTo>
                    <a:cubicBezTo>
                      <a:pt x="1236" y="382"/>
                      <a:pt x="1236" y="382"/>
                      <a:pt x="1236" y="382"/>
                    </a:cubicBezTo>
                    <a:cubicBezTo>
                      <a:pt x="1236" y="383"/>
                      <a:pt x="1236" y="383"/>
                      <a:pt x="1236" y="383"/>
                    </a:cubicBezTo>
                    <a:cubicBezTo>
                      <a:pt x="1237" y="383"/>
                      <a:pt x="1237" y="383"/>
                      <a:pt x="1237" y="383"/>
                    </a:cubicBezTo>
                    <a:close/>
                    <a:moveTo>
                      <a:pt x="1264" y="396"/>
                    </a:moveTo>
                    <a:cubicBezTo>
                      <a:pt x="1264" y="399"/>
                      <a:pt x="1264" y="399"/>
                      <a:pt x="1264" y="399"/>
                    </a:cubicBezTo>
                    <a:cubicBezTo>
                      <a:pt x="1264" y="400"/>
                      <a:pt x="1264" y="400"/>
                      <a:pt x="1264" y="400"/>
                    </a:cubicBezTo>
                    <a:cubicBezTo>
                      <a:pt x="1264" y="401"/>
                      <a:pt x="1264" y="401"/>
                      <a:pt x="1264" y="401"/>
                    </a:cubicBezTo>
                    <a:cubicBezTo>
                      <a:pt x="1265" y="402"/>
                      <a:pt x="1265" y="402"/>
                      <a:pt x="1265" y="402"/>
                    </a:cubicBezTo>
                    <a:cubicBezTo>
                      <a:pt x="1265" y="401"/>
                      <a:pt x="1265" y="401"/>
                      <a:pt x="1265" y="401"/>
                    </a:cubicBezTo>
                    <a:cubicBezTo>
                      <a:pt x="1266" y="399"/>
                      <a:pt x="1266" y="399"/>
                      <a:pt x="1266" y="399"/>
                    </a:cubicBezTo>
                    <a:cubicBezTo>
                      <a:pt x="1266" y="396"/>
                      <a:pt x="1266" y="396"/>
                      <a:pt x="1266" y="396"/>
                    </a:cubicBezTo>
                    <a:cubicBezTo>
                      <a:pt x="1267" y="394"/>
                      <a:pt x="1267" y="394"/>
                      <a:pt x="1267" y="394"/>
                    </a:cubicBezTo>
                    <a:cubicBezTo>
                      <a:pt x="1267" y="393"/>
                      <a:pt x="1267" y="393"/>
                      <a:pt x="1267" y="393"/>
                    </a:cubicBezTo>
                    <a:cubicBezTo>
                      <a:pt x="1266" y="392"/>
                      <a:pt x="1266" y="392"/>
                      <a:pt x="1266" y="392"/>
                    </a:cubicBezTo>
                    <a:cubicBezTo>
                      <a:pt x="1265" y="393"/>
                      <a:pt x="1265" y="393"/>
                      <a:pt x="1265" y="393"/>
                    </a:cubicBezTo>
                    <a:cubicBezTo>
                      <a:pt x="1266" y="394"/>
                      <a:pt x="1266" y="394"/>
                      <a:pt x="1266" y="394"/>
                    </a:cubicBezTo>
                    <a:cubicBezTo>
                      <a:pt x="1265" y="395"/>
                      <a:pt x="1265" y="395"/>
                      <a:pt x="1265" y="395"/>
                    </a:cubicBezTo>
                    <a:cubicBezTo>
                      <a:pt x="1264" y="396"/>
                      <a:pt x="1264" y="396"/>
                      <a:pt x="1264" y="396"/>
                    </a:cubicBezTo>
                    <a:close/>
                    <a:moveTo>
                      <a:pt x="1273" y="372"/>
                    </a:moveTo>
                    <a:cubicBezTo>
                      <a:pt x="1274" y="371"/>
                      <a:pt x="1274" y="371"/>
                      <a:pt x="1274" y="371"/>
                    </a:cubicBezTo>
                    <a:cubicBezTo>
                      <a:pt x="1274" y="369"/>
                      <a:pt x="1274" y="369"/>
                      <a:pt x="1274" y="369"/>
                    </a:cubicBezTo>
                    <a:cubicBezTo>
                      <a:pt x="1273" y="369"/>
                      <a:pt x="1273" y="369"/>
                      <a:pt x="1273" y="369"/>
                    </a:cubicBezTo>
                    <a:cubicBezTo>
                      <a:pt x="1272" y="371"/>
                      <a:pt x="1272" y="371"/>
                      <a:pt x="1272" y="371"/>
                    </a:cubicBezTo>
                    <a:cubicBezTo>
                      <a:pt x="1273" y="373"/>
                      <a:pt x="1273" y="373"/>
                      <a:pt x="1273" y="373"/>
                    </a:cubicBezTo>
                    <a:cubicBezTo>
                      <a:pt x="1273" y="372"/>
                      <a:pt x="1273" y="372"/>
                      <a:pt x="1273" y="372"/>
                    </a:cubicBezTo>
                    <a:close/>
                    <a:moveTo>
                      <a:pt x="1287" y="360"/>
                    </a:moveTo>
                    <a:cubicBezTo>
                      <a:pt x="1287" y="360"/>
                      <a:pt x="1287" y="360"/>
                      <a:pt x="1288" y="359"/>
                    </a:cubicBezTo>
                    <a:cubicBezTo>
                      <a:pt x="1288" y="359"/>
                      <a:pt x="1288" y="359"/>
                      <a:pt x="1287" y="359"/>
                    </a:cubicBezTo>
                    <a:lnTo>
                      <a:pt x="1287" y="360"/>
                    </a:lnTo>
                    <a:close/>
                    <a:moveTo>
                      <a:pt x="1291" y="360"/>
                    </a:moveTo>
                    <a:cubicBezTo>
                      <a:pt x="1291" y="360"/>
                      <a:pt x="1291" y="360"/>
                      <a:pt x="1289" y="359"/>
                    </a:cubicBezTo>
                    <a:cubicBezTo>
                      <a:pt x="1289" y="359"/>
                      <a:pt x="1289" y="359"/>
                      <a:pt x="1289" y="360"/>
                    </a:cubicBezTo>
                    <a:cubicBezTo>
                      <a:pt x="1289" y="360"/>
                      <a:pt x="1289" y="360"/>
                      <a:pt x="1290" y="360"/>
                    </a:cubicBezTo>
                    <a:cubicBezTo>
                      <a:pt x="1290" y="360"/>
                      <a:pt x="1290" y="360"/>
                      <a:pt x="1291" y="360"/>
                    </a:cubicBezTo>
                    <a:close/>
                    <a:moveTo>
                      <a:pt x="1293" y="362"/>
                    </a:moveTo>
                    <a:cubicBezTo>
                      <a:pt x="1293" y="362"/>
                      <a:pt x="1293" y="362"/>
                      <a:pt x="1294" y="361"/>
                    </a:cubicBezTo>
                    <a:cubicBezTo>
                      <a:pt x="1294" y="361"/>
                      <a:pt x="1294" y="361"/>
                      <a:pt x="1294" y="360"/>
                    </a:cubicBezTo>
                    <a:cubicBezTo>
                      <a:pt x="1294" y="360"/>
                      <a:pt x="1294" y="360"/>
                      <a:pt x="1292" y="361"/>
                    </a:cubicBezTo>
                    <a:cubicBezTo>
                      <a:pt x="1292" y="361"/>
                      <a:pt x="1292" y="361"/>
                      <a:pt x="1293" y="362"/>
                    </a:cubicBezTo>
                    <a:close/>
                    <a:moveTo>
                      <a:pt x="1284" y="329"/>
                    </a:moveTo>
                    <a:cubicBezTo>
                      <a:pt x="1284" y="329"/>
                      <a:pt x="1284" y="329"/>
                      <a:pt x="1284" y="330"/>
                    </a:cubicBezTo>
                    <a:cubicBezTo>
                      <a:pt x="1284" y="330"/>
                      <a:pt x="1284" y="330"/>
                      <a:pt x="1285" y="329"/>
                    </a:cubicBezTo>
                    <a:cubicBezTo>
                      <a:pt x="1285" y="329"/>
                      <a:pt x="1285" y="329"/>
                      <a:pt x="1284" y="329"/>
                    </a:cubicBezTo>
                    <a:close/>
                    <a:moveTo>
                      <a:pt x="1295" y="363"/>
                    </a:moveTo>
                    <a:cubicBezTo>
                      <a:pt x="1295" y="362"/>
                      <a:pt x="1295" y="362"/>
                      <a:pt x="1295" y="362"/>
                    </a:cubicBezTo>
                    <a:cubicBezTo>
                      <a:pt x="1295" y="362"/>
                      <a:pt x="1295" y="362"/>
                      <a:pt x="1294" y="363"/>
                    </a:cubicBezTo>
                    <a:cubicBezTo>
                      <a:pt x="1294" y="363"/>
                      <a:pt x="1294" y="363"/>
                      <a:pt x="1295" y="363"/>
                    </a:cubicBezTo>
                    <a:close/>
                    <a:moveTo>
                      <a:pt x="1278" y="362"/>
                    </a:moveTo>
                    <a:cubicBezTo>
                      <a:pt x="1278" y="362"/>
                      <a:pt x="1278" y="362"/>
                      <a:pt x="1279" y="362"/>
                    </a:cubicBezTo>
                    <a:cubicBezTo>
                      <a:pt x="1279" y="362"/>
                      <a:pt x="1279" y="362"/>
                      <a:pt x="1279" y="363"/>
                    </a:cubicBezTo>
                    <a:cubicBezTo>
                      <a:pt x="1279" y="363"/>
                      <a:pt x="1279" y="363"/>
                      <a:pt x="1280" y="363"/>
                    </a:cubicBezTo>
                    <a:cubicBezTo>
                      <a:pt x="1280" y="363"/>
                      <a:pt x="1280" y="363"/>
                      <a:pt x="1282" y="364"/>
                    </a:cubicBezTo>
                    <a:cubicBezTo>
                      <a:pt x="1282" y="364"/>
                      <a:pt x="1282" y="364"/>
                      <a:pt x="1282" y="363"/>
                    </a:cubicBezTo>
                    <a:cubicBezTo>
                      <a:pt x="1282" y="363"/>
                      <a:pt x="1282" y="363"/>
                      <a:pt x="1281" y="363"/>
                    </a:cubicBezTo>
                    <a:cubicBezTo>
                      <a:pt x="1281" y="363"/>
                      <a:pt x="1281" y="363"/>
                      <a:pt x="1281" y="362"/>
                    </a:cubicBezTo>
                    <a:cubicBezTo>
                      <a:pt x="1281" y="362"/>
                      <a:pt x="1281" y="362"/>
                      <a:pt x="1281" y="361"/>
                    </a:cubicBezTo>
                    <a:cubicBezTo>
                      <a:pt x="1281" y="361"/>
                      <a:pt x="1281" y="361"/>
                      <a:pt x="1282" y="361"/>
                    </a:cubicBezTo>
                    <a:cubicBezTo>
                      <a:pt x="1282" y="361"/>
                      <a:pt x="1282" y="361"/>
                      <a:pt x="1282" y="360"/>
                    </a:cubicBezTo>
                    <a:cubicBezTo>
                      <a:pt x="1282" y="360"/>
                      <a:pt x="1282" y="360"/>
                      <a:pt x="1280" y="359"/>
                    </a:cubicBezTo>
                    <a:cubicBezTo>
                      <a:pt x="1280" y="359"/>
                      <a:pt x="1280" y="359"/>
                      <a:pt x="1279" y="359"/>
                    </a:cubicBezTo>
                    <a:cubicBezTo>
                      <a:pt x="1279" y="359"/>
                      <a:pt x="1279" y="359"/>
                      <a:pt x="1279" y="360"/>
                    </a:cubicBezTo>
                    <a:cubicBezTo>
                      <a:pt x="1279" y="360"/>
                      <a:pt x="1279" y="360"/>
                      <a:pt x="1280" y="361"/>
                    </a:cubicBezTo>
                    <a:cubicBezTo>
                      <a:pt x="1280" y="361"/>
                      <a:pt x="1280" y="361"/>
                      <a:pt x="1278" y="361"/>
                    </a:cubicBezTo>
                    <a:lnTo>
                      <a:pt x="1278" y="362"/>
                    </a:lnTo>
                    <a:close/>
                    <a:moveTo>
                      <a:pt x="1301" y="311"/>
                    </a:moveTo>
                    <a:cubicBezTo>
                      <a:pt x="1301" y="311"/>
                      <a:pt x="1301" y="311"/>
                      <a:pt x="1302" y="311"/>
                    </a:cubicBezTo>
                    <a:cubicBezTo>
                      <a:pt x="1302" y="311"/>
                      <a:pt x="1302" y="311"/>
                      <a:pt x="1302" y="310"/>
                    </a:cubicBezTo>
                    <a:cubicBezTo>
                      <a:pt x="1302" y="310"/>
                      <a:pt x="1302" y="310"/>
                      <a:pt x="1300" y="310"/>
                    </a:cubicBezTo>
                    <a:cubicBezTo>
                      <a:pt x="1300" y="310"/>
                      <a:pt x="1300" y="310"/>
                      <a:pt x="1299" y="311"/>
                    </a:cubicBezTo>
                    <a:cubicBezTo>
                      <a:pt x="1299" y="311"/>
                      <a:pt x="1299" y="311"/>
                      <a:pt x="1300" y="312"/>
                    </a:cubicBezTo>
                    <a:cubicBezTo>
                      <a:pt x="1300" y="312"/>
                      <a:pt x="1300" y="312"/>
                      <a:pt x="1301" y="312"/>
                    </a:cubicBezTo>
                    <a:cubicBezTo>
                      <a:pt x="1301" y="312"/>
                      <a:pt x="1301" y="312"/>
                      <a:pt x="1301" y="311"/>
                    </a:cubicBezTo>
                    <a:close/>
                    <a:moveTo>
                      <a:pt x="1296" y="365"/>
                    </a:moveTo>
                    <a:cubicBezTo>
                      <a:pt x="1296" y="365"/>
                      <a:pt x="1296" y="365"/>
                      <a:pt x="1296" y="364"/>
                    </a:cubicBezTo>
                    <a:cubicBezTo>
                      <a:pt x="1296" y="364"/>
                      <a:pt x="1296" y="364"/>
                      <a:pt x="1295" y="364"/>
                    </a:cubicBezTo>
                    <a:cubicBezTo>
                      <a:pt x="1295" y="364"/>
                      <a:pt x="1295" y="364"/>
                      <a:pt x="1296" y="365"/>
                    </a:cubicBezTo>
                    <a:close/>
                    <a:moveTo>
                      <a:pt x="1300" y="374"/>
                    </a:moveTo>
                    <a:cubicBezTo>
                      <a:pt x="1299" y="374"/>
                      <a:pt x="1299" y="374"/>
                      <a:pt x="1299" y="374"/>
                    </a:cubicBezTo>
                    <a:cubicBezTo>
                      <a:pt x="1299" y="375"/>
                      <a:pt x="1299" y="375"/>
                      <a:pt x="1299" y="375"/>
                    </a:cubicBezTo>
                    <a:cubicBezTo>
                      <a:pt x="1300" y="375"/>
                      <a:pt x="1300" y="375"/>
                      <a:pt x="1300" y="375"/>
                    </a:cubicBezTo>
                    <a:cubicBezTo>
                      <a:pt x="1300" y="374"/>
                      <a:pt x="1300" y="374"/>
                      <a:pt x="1300" y="374"/>
                    </a:cubicBezTo>
                    <a:close/>
                    <a:moveTo>
                      <a:pt x="1299" y="378"/>
                    </a:moveTo>
                    <a:cubicBezTo>
                      <a:pt x="1300" y="379"/>
                      <a:pt x="1300" y="379"/>
                      <a:pt x="1300" y="379"/>
                    </a:cubicBezTo>
                    <a:cubicBezTo>
                      <a:pt x="1301" y="379"/>
                      <a:pt x="1301" y="379"/>
                      <a:pt x="1301" y="379"/>
                    </a:cubicBezTo>
                    <a:cubicBezTo>
                      <a:pt x="1300" y="377"/>
                      <a:pt x="1300" y="377"/>
                      <a:pt x="1300" y="377"/>
                    </a:cubicBezTo>
                    <a:cubicBezTo>
                      <a:pt x="1299" y="377"/>
                      <a:pt x="1299" y="377"/>
                      <a:pt x="1299" y="377"/>
                    </a:cubicBezTo>
                    <a:cubicBezTo>
                      <a:pt x="1299" y="378"/>
                      <a:pt x="1299" y="378"/>
                      <a:pt x="1299" y="378"/>
                    </a:cubicBezTo>
                    <a:close/>
                    <a:moveTo>
                      <a:pt x="1293" y="382"/>
                    </a:moveTo>
                    <a:cubicBezTo>
                      <a:pt x="1294" y="383"/>
                      <a:pt x="1294" y="383"/>
                      <a:pt x="1294" y="383"/>
                    </a:cubicBezTo>
                    <a:cubicBezTo>
                      <a:pt x="1294" y="384"/>
                      <a:pt x="1294" y="384"/>
                      <a:pt x="1294" y="384"/>
                    </a:cubicBezTo>
                    <a:cubicBezTo>
                      <a:pt x="1293" y="385"/>
                      <a:pt x="1293" y="385"/>
                      <a:pt x="1293" y="385"/>
                    </a:cubicBezTo>
                    <a:cubicBezTo>
                      <a:pt x="1294" y="385"/>
                      <a:pt x="1294" y="385"/>
                      <a:pt x="1294" y="385"/>
                    </a:cubicBezTo>
                    <a:cubicBezTo>
                      <a:pt x="1295" y="384"/>
                      <a:pt x="1295" y="384"/>
                      <a:pt x="1295" y="384"/>
                    </a:cubicBezTo>
                    <a:cubicBezTo>
                      <a:pt x="1295" y="382"/>
                      <a:pt x="1295" y="382"/>
                      <a:pt x="1295" y="382"/>
                    </a:cubicBezTo>
                    <a:cubicBezTo>
                      <a:pt x="1297" y="382"/>
                      <a:pt x="1297" y="382"/>
                      <a:pt x="1297" y="382"/>
                    </a:cubicBezTo>
                    <a:cubicBezTo>
                      <a:pt x="1298" y="381"/>
                      <a:pt x="1298" y="381"/>
                      <a:pt x="1298" y="381"/>
                    </a:cubicBezTo>
                    <a:cubicBezTo>
                      <a:pt x="1299" y="380"/>
                      <a:pt x="1299" y="380"/>
                      <a:pt x="1299" y="380"/>
                    </a:cubicBezTo>
                    <a:cubicBezTo>
                      <a:pt x="1300" y="380"/>
                      <a:pt x="1300" y="380"/>
                      <a:pt x="1300" y="380"/>
                    </a:cubicBezTo>
                    <a:cubicBezTo>
                      <a:pt x="1299" y="379"/>
                      <a:pt x="1299" y="379"/>
                      <a:pt x="1299" y="379"/>
                    </a:cubicBezTo>
                    <a:cubicBezTo>
                      <a:pt x="1298" y="378"/>
                      <a:pt x="1298" y="378"/>
                      <a:pt x="1298" y="378"/>
                    </a:cubicBezTo>
                    <a:cubicBezTo>
                      <a:pt x="1296" y="378"/>
                      <a:pt x="1296" y="378"/>
                      <a:pt x="1296" y="378"/>
                    </a:cubicBezTo>
                    <a:cubicBezTo>
                      <a:pt x="1295" y="378"/>
                      <a:pt x="1295" y="378"/>
                      <a:pt x="1295" y="378"/>
                    </a:cubicBezTo>
                    <a:cubicBezTo>
                      <a:pt x="1295" y="379"/>
                      <a:pt x="1295" y="379"/>
                      <a:pt x="1295" y="379"/>
                    </a:cubicBezTo>
                    <a:cubicBezTo>
                      <a:pt x="1294" y="379"/>
                      <a:pt x="1294" y="379"/>
                      <a:pt x="1294" y="379"/>
                    </a:cubicBezTo>
                    <a:cubicBezTo>
                      <a:pt x="1293" y="379"/>
                      <a:pt x="1293" y="379"/>
                      <a:pt x="1293" y="379"/>
                    </a:cubicBezTo>
                    <a:cubicBezTo>
                      <a:pt x="1292" y="379"/>
                      <a:pt x="1292" y="379"/>
                      <a:pt x="1292" y="379"/>
                    </a:cubicBezTo>
                    <a:cubicBezTo>
                      <a:pt x="1293" y="380"/>
                      <a:pt x="1293" y="380"/>
                      <a:pt x="1293" y="380"/>
                    </a:cubicBezTo>
                    <a:cubicBezTo>
                      <a:pt x="1292" y="381"/>
                      <a:pt x="1292" y="381"/>
                      <a:pt x="1292" y="381"/>
                    </a:cubicBezTo>
                    <a:cubicBezTo>
                      <a:pt x="1293" y="382"/>
                      <a:pt x="1293" y="382"/>
                      <a:pt x="1293" y="382"/>
                    </a:cubicBezTo>
                    <a:close/>
                    <a:moveTo>
                      <a:pt x="1297" y="374"/>
                    </a:moveTo>
                    <a:cubicBezTo>
                      <a:pt x="1296" y="374"/>
                      <a:pt x="1296" y="374"/>
                      <a:pt x="1296" y="374"/>
                    </a:cubicBezTo>
                    <a:cubicBezTo>
                      <a:pt x="1295" y="375"/>
                      <a:pt x="1295" y="375"/>
                      <a:pt x="1295" y="375"/>
                    </a:cubicBezTo>
                    <a:cubicBezTo>
                      <a:pt x="1293" y="376"/>
                      <a:pt x="1293" y="376"/>
                      <a:pt x="1293" y="376"/>
                    </a:cubicBezTo>
                    <a:cubicBezTo>
                      <a:pt x="1295" y="376"/>
                      <a:pt x="1295" y="376"/>
                      <a:pt x="1295" y="376"/>
                    </a:cubicBezTo>
                    <a:cubicBezTo>
                      <a:pt x="1296" y="376"/>
                      <a:pt x="1296" y="376"/>
                      <a:pt x="1296" y="376"/>
                    </a:cubicBezTo>
                    <a:cubicBezTo>
                      <a:pt x="1296" y="377"/>
                      <a:pt x="1296" y="377"/>
                      <a:pt x="1296" y="377"/>
                    </a:cubicBezTo>
                    <a:cubicBezTo>
                      <a:pt x="1297" y="376"/>
                      <a:pt x="1297" y="376"/>
                      <a:pt x="1297" y="376"/>
                    </a:cubicBezTo>
                    <a:cubicBezTo>
                      <a:pt x="1298" y="376"/>
                      <a:pt x="1298" y="376"/>
                      <a:pt x="1298" y="376"/>
                    </a:cubicBezTo>
                    <a:cubicBezTo>
                      <a:pt x="1299" y="376"/>
                      <a:pt x="1299" y="376"/>
                      <a:pt x="1299" y="376"/>
                    </a:cubicBezTo>
                    <a:cubicBezTo>
                      <a:pt x="1298" y="375"/>
                      <a:pt x="1298" y="375"/>
                      <a:pt x="1298" y="375"/>
                    </a:cubicBezTo>
                    <a:cubicBezTo>
                      <a:pt x="1297" y="374"/>
                      <a:pt x="1297" y="374"/>
                      <a:pt x="1297" y="374"/>
                    </a:cubicBezTo>
                    <a:close/>
                    <a:moveTo>
                      <a:pt x="1371" y="486"/>
                    </a:moveTo>
                    <a:cubicBezTo>
                      <a:pt x="1370" y="486"/>
                      <a:pt x="1370" y="486"/>
                      <a:pt x="1370" y="486"/>
                    </a:cubicBezTo>
                    <a:cubicBezTo>
                      <a:pt x="1368" y="487"/>
                      <a:pt x="1368" y="487"/>
                      <a:pt x="1368" y="487"/>
                    </a:cubicBezTo>
                    <a:cubicBezTo>
                      <a:pt x="1366" y="488"/>
                      <a:pt x="1366" y="488"/>
                      <a:pt x="1366" y="488"/>
                    </a:cubicBezTo>
                    <a:cubicBezTo>
                      <a:pt x="1365" y="490"/>
                      <a:pt x="1365" y="490"/>
                      <a:pt x="1365" y="490"/>
                    </a:cubicBezTo>
                    <a:cubicBezTo>
                      <a:pt x="1366" y="490"/>
                      <a:pt x="1366" y="490"/>
                      <a:pt x="1366" y="490"/>
                    </a:cubicBezTo>
                    <a:cubicBezTo>
                      <a:pt x="1367" y="490"/>
                      <a:pt x="1367" y="490"/>
                      <a:pt x="1367" y="490"/>
                    </a:cubicBezTo>
                    <a:cubicBezTo>
                      <a:pt x="1368" y="490"/>
                      <a:pt x="1368" y="490"/>
                      <a:pt x="1368" y="490"/>
                    </a:cubicBezTo>
                    <a:cubicBezTo>
                      <a:pt x="1369" y="490"/>
                      <a:pt x="1369" y="490"/>
                      <a:pt x="1369" y="490"/>
                    </a:cubicBezTo>
                    <a:cubicBezTo>
                      <a:pt x="1371" y="492"/>
                      <a:pt x="1371" y="492"/>
                      <a:pt x="1371" y="492"/>
                    </a:cubicBezTo>
                    <a:cubicBezTo>
                      <a:pt x="1371" y="493"/>
                      <a:pt x="1371" y="493"/>
                      <a:pt x="1371" y="493"/>
                    </a:cubicBezTo>
                    <a:cubicBezTo>
                      <a:pt x="1370" y="495"/>
                      <a:pt x="1370" y="495"/>
                      <a:pt x="1370" y="495"/>
                    </a:cubicBezTo>
                    <a:cubicBezTo>
                      <a:pt x="1371" y="496"/>
                      <a:pt x="1371" y="496"/>
                      <a:pt x="1371" y="496"/>
                    </a:cubicBezTo>
                    <a:cubicBezTo>
                      <a:pt x="1373" y="496"/>
                      <a:pt x="1373" y="496"/>
                      <a:pt x="1373" y="496"/>
                    </a:cubicBezTo>
                    <a:cubicBezTo>
                      <a:pt x="1375" y="495"/>
                      <a:pt x="1375" y="495"/>
                      <a:pt x="1375" y="495"/>
                    </a:cubicBezTo>
                    <a:cubicBezTo>
                      <a:pt x="1378" y="493"/>
                      <a:pt x="1378" y="493"/>
                      <a:pt x="1378" y="493"/>
                    </a:cubicBezTo>
                    <a:cubicBezTo>
                      <a:pt x="1380" y="493"/>
                      <a:pt x="1380" y="493"/>
                      <a:pt x="1380" y="493"/>
                    </a:cubicBezTo>
                    <a:cubicBezTo>
                      <a:pt x="1381" y="492"/>
                      <a:pt x="1381" y="492"/>
                      <a:pt x="1381" y="492"/>
                    </a:cubicBezTo>
                    <a:cubicBezTo>
                      <a:pt x="1383" y="491"/>
                      <a:pt x="1383" y="491"/>
                      <a:pt x="1383" y="491"/>
                    </a:cubicBezTo>
                    <a:cubicBezTo>
                      <a:pt x="1385" y="491"/>
                      <a:pt x="1385" y="491"/>
                      <a:pt x="1385" y="491"/>
                    </a:cubicBezTo>
                    <a:cubicBezTo>
                      <a:pt x="1387" y="491"/>
                      <a:pt x="1387" y="491"/>
                      <a:pt x="1387" y="491"/>
                    </a:cubicBezTo>
                    <a:cubicBezTo>
                      <a:pt x="1388" y="490"/>
                      <a:pt x="1388" y="490"/>
                      <a:pt x="1388" y="490"/>
                    </a:cubicBezTo>
                    <a:cubicBezTo>
                      <a:pt x="1388" y="489"/>
                      <a:pt x="1388" y="489"/>
                      <a:pt x="1388" y="489"/>
                    </a:cubicBezTo>
                    <a:cubicBezTo>
                      <a:pt x="1389" y="488"/>
                      <a:pt x="1389" y="488"/>
                      <a:pt x="1389" y="488"/>
                    </a:cubicBezTo>
                    <a:cubicBezTo>
                      <a:pt x="1387" y="488"/>
                      <a:pt x="1387" y="488"/>
                      <a:pt x="1387" y="488"/>
                    </a:cubicBezTo>
                    <a:cubicBezTo>
                      <a:pt x="1385" y="488"/>
                      <a:pt x="1385" y="488"/>
                      <a:pt x="1385" y="488"/>
                    </a:cubicBezTo>
                    <a:cubicBezTo>
                      <a:pt x="1384" y="489"/>
                      <a:pt x="1384" y="489"/>
                      <a:pt x="1384" y="489"/>
                    </a:cubicBezTo>
                    <a:cubicBezTo>
                      <a:pt x="1383" y="488"/>
                      <a:pt x="1383" y="488"/>
                      <a:pt x="1383" y="488"/>
                    </a:cubicBezTo>
                    <a:cubicBezTo>
                      <a:pt x="1382" y="490"/>
                      <a:pt x="1382" y="490"/>
                      <a:pt x="1382" y="490"/>
                    </a:cubicBezTo>
                    <a:cubicBezTo>
                      <a:pt x="1381" y="489"/>
                      <a:pt x="1381" y="489"/>
                      <a:pt x="1381" y="489"/>
                    </a:cubicBezTo>
                    <a:cubicBezTo>
                      <a:pt x="1378" y="486"/>
                      <a:pt x="1378" y="486"/>
                      <a:pt x="1378" y="486"/>
                    </a:cubicBezTo>
                    <a:cubicBezTo>
                      <a:pt x="1377" y="484"/>
                      <a:pt x="1377" y="484"/>
                      <a:pt x="1377" y="484"/>
                    </a:cubicBezTo>
                    <a:cubicBezTo>
                      <a:pt x="1376" y="483"/>
                      <a:pt x="1376" y="483"/>
                      <a:pt x="1376" y="483"/>
                    </a:cubicBezTo>
                    <a:cubicBezTo>
                      <a:pt x="1376" y="485"/>
                      <a:pt x="1376" y="485"/>
                      <a:pt x="1376" y="485"/>
                    </a:cubicBezTo>
                    <a:cubicBezTo>
                      <a:pt x="1378" y="487"/>
                      <a:pt x="1378" y="487"/>
                      <a:pt x="1378" y="487"/>
                    </a:cubicBezTo>
                    <a:cubicBezTo>
                      <a:pt x="1379" y="488"/>
                      <a:pt x="1379" y="488"/>
                      <a:pt x="1379" y="488"/>
                    </a:cubicBezTo>
                    <a:cubicBezTo>
                      <a:pt x="1381" y="490"/>
                      <a:pt x="1381" y="490"/>
                      <a:pt x="1381" y="490"/>
                    </a:cubicBezTo>
                    <a:cubicBezTo>
                      <a:pt x="1380" y="490"/>
                      <a:pt x="1380" y="490"/>
                      <a:pt x="1380" y="490"/>
                    </a:cubicBezTo>
                    <a:cubicBezTo>
                      <a:pt x="1379" y="489"/>
                      <a:pt x="1379" y="489"/>
                      <a:pt x="1379" y="489"/>
                    </a:cubicBezTo>
                    <a:cubicBezTo>
                      <a:pt x="1378" y="489"/>
                      <a:pt x="1378" y="489"/>
                      <a:pt x="1378" y="489"/>
                    </a:cubicBezTo>
                    <a:cubicBezTo>
                      <a:pt x="1378" y="487"/>
                      <a:pt x="1378" y="487"/>
                      <a:pt x="1378" y="487"/>
                    </a:cubicBezTo>
                    <a:cubicBezTo>
                      <a:pt x="1377" y="487"/>
                      <a:pt x="1377" y="487"/>
                      <a:pt x="1377" y="487"/>
                    </a:cubicBezTo>
                    <a:cubicBezTo>
                      <a:pt x="1376" y="488"/>
                      <a:pt x="1376" y="488"/>
                      <a:pt x="1376" y="488"/>
                    </a:cubicBezTo>
                    <a:cubicBezTo>
                      <a:pt x="1376" y="487"/>
                      <a:pt x="1376" y="487"/>
                      <a:pt x="1376" y="487"/>
                    </a:cubicBezTo>
                    <a:cubicBezTo>
                      <a:pt x="1375" y="487"/>
                      <a:pt x="1375" y="487"/>
                      <a:pt x="1375" y="487"/>
                    </a:cubicBezTo>
                    <a:cubicBezTo>
                      <a:pt x="1375" y="486"/>
                      <a:pt x="1375" y="486"/>
                      <a:pt x="1375" y="486"/>
                    </a:cubicBezTo>
                    <a:cubicBezTo>
                      <a:pt x="1376" y="486"/>
                      <a:pt x="1376" y="486"/>
                      <a:pt x="1376" y="486"/>
                    </a:cubicBezTo>
                    <a:cubicBezTo>
                      <a:pt x="1375" y="485"/>
                      <a:pt x="1375" y="485"/>
                      <a:pt x="1375" y="485"/>
                    </a:cubicBezTo>
                    <a:cubicBezTo>
                      <a:pt x="1374" y="485"/>
                      <a:pt x="1374" y="485"/>
                      <a:pt x="1374" y="485"/>
                    </a:cubicBezTo>
                    <a:cubicBezTo>
                      <a:pt x="1373" y="484"/>
                      <a:pt x="1373" y="484"/>
                      <a:pt x="1373" y="484"/>
                    </a:cubicBezTo>
                    <a:cubicBezTo>
                      <a:pt x="1371" y="484"/>
                      <a:pt x="1371" y="484"/>
                      <a:pt x="1371" y="484"/>
                    </a:cubicBezTo>
                    <a:cubicBezTo>
                      <a:pt x="1370" y="483"/>
                      <a:pt x="1370" y="483"/>
                      <a:pt x="1370" y="483"/>
                    </a:cubicBezTo>
                    <a:cubicBezTo>
                      <a:pt x="1370" y="485"/>
                      <a:pt x="1370" y="485"/>
                      <a:pt x="1370" y="485"/>
                    </a:cubicBezTo>
                    <a:cubicBezTo>
                      <a:pt x="1371" y="486"/>
                      <a:pt x="1371" y="486"/>
                      <a:pt x="1371" y="486"/>
                    </a:cubicBezTo>
                    <a:close/>
                    <a:moveTo>
                      <a:pt x="1261" y="497"/>
                    </a:moveTo>
                    <a:cubicBezTo>
                      <a:pt x="1261" y="497"/>
                      <a:pt x="1261" y="497"/>
                      <a:pt x="1261" y="498"/>
                    </a:cubicBezTo>
                    <a:cubicBezTo>
                      <a:pt x="1261" y="498"/>
                      <a:pt x="1261" y="498"/>
                      <a:pt x="1262" y="498"/>
                    </a:cubicBezTo>
                    <a:cubicBezTo>
                      <a:pt x="1262" y="498"/>
                      <a:pt x="1262" y="498"/>
                      <a:pt x="1261" y="497"/>
                    </a:cubicBezTo>
                    <a:close/>
                    <a:moveTo>
                      <a:pt x="1261" y="499"/>
                    </a:moveTo>
                    <a:cubicBezTo>
                      <a:pt x="1261" y="499"/>
                      <a:pt x="1261" y="499"/>
                      <a:pt x="1260" y="499"/>
                    </a:cubicBezTo>
                    <a:cubicBezTo>
                      <a:pt x="1260" y="499"/>
                      <a:pt x="1260" y="499"/>
                      <a:pt x="1261" y="500"/>
                    </a:cubicBezTo>
                    <a:cubicBezTo>
                      <a:pt x="1261" y="500"/>
                      <a:pt x="1261" y="500"/>
                      <a:pt x="1261" y="499"/>
                    </a:cubicBezTo>
                    <a:close/>
                    <a:moveTo>
                      <a:pt x="1263" y="502"/>
                    </a:moveTo>
                    <a:cubicBezTo>
                      <a:pt x="1263" y="502"/>
                      <a:pt x="1263" y="502"/>
                      <a:pt x="1261" y="501"/>
                    </a:cubicBezTo>
                    <a:cubicBezTo>
                      <a:pt x="1261" y="501"/>
                      <a:pt x="1261" y="501"/>
                      <a:pt x="1263" y="503"/>
                    </a:cubicBezTo>
                    <a:cubicBezTo>
                      <a:pt x="1263" y="503"/>
                      <a:pt x="1263" y="503"/>
                      <a:pt x="1263" y="502"/>
                    </a:cubicBezTo>
                    <a:close/>
                    <a:moveTo>
                      <a:pt x="1262" y="499"/>
                    </a:moveTo>
                    <a:cubicBezTo>
                      <a:pt x="1262" y="499"/>
                      <a:pt x="1262" y="499"/>
                      <a:pt x="1263" y="500"/>
                    </a:cubicBezTo>
                    <a:cubicBezTo>
                      <a:pt x="1263" y="500"/>
                      <a:pt x="1263" y="500"/>
                      <a:pt x="1264" y="500"/>
                    </a:cubicBezTo>
                    <a:cubicBezTo>
                      <a:pt x="1264" y="500"/>
                      <a:pt x="1264" y="500"/>
                      <a:pt x="1263" y="499"/>
                    </a:cubicBezTo>
                    <a:cubicBezTo>
                      <a:pt x="1263" y="499"/>
                      <a:pt x="1263" y="499"/>
                      <a:pt x="1262" y="499"/>
                    </a:cubicBezTo>
                    <a:close/>
                    <a:moveTo>
                      <a:pt x="1259" y="493"/>
                    </a:moveTo>
                    <a:cubicBezTo>
                      <a:pt x="1258" y="493"/>
                      <a:pt x="1258" y="493"/>
                      <a:pt x="1258" y="493"/>
                    </a:cubicBezTo>
                    <a:cubicBezTo>
                      <a:pt x="1258" y="493"/>
                      <a:pt x="1258" y="493"/>
                      <a:pt x="1258" y="495"/>
                    </a:cubicBezTo>
                    <a:cubicBezTo>
                      <a:pt x="1258" y="495"/>
                      <a:pt x="1258" y="495"/>
                      <a:pt x="1259" y="495"/>
                    </a:cubicBezTo>
                    <a:cubicBezTo>
                      <a:pt x="1259" y="495"/>
                      <a:pt x="1259" y="495"/>
                      <a:pt x="1259" y="496"/>
                    </a:cubicBezTo>
                    <a:cubicBezTo>
                      <a:pt x="1259" y="496"/>
                      <a:pt x="1259" y="496"/>
                      <a:pt x="1260" y="495"/>
                    </a:cubicBezTo>
                    <a:cubicBezTo>
                      <a:pt x="1260" y="495"/>
                      <a:pt x="1260" y="495"/>
                      <a:pt x="1259" y="493"/>
                    </a:cubicBezTo>
                    <a:close/>
                    <a:moveTo>
                      <a:pt x="1258" y="497"/>
                    </a:moveTo>
                    <a:cubicBezTo>
                      <a:pt x="1258" y="497"/>
                      <a:pt x="1258" y="497"/>
                      <a:pt x="1259" y="498"/>
                    </a:cubicBezTo>
                    <a:cubicBezTo>
                      <a:pt x="1259" y="498"/>
                      <a:pt x="1259" y="498"/>
                      <a:pt x="1260" y="498"/>
                    </a:cubicBezTo>
                    <a:cubicBezTo>
                      <a:pt x="1260" y="498"/>
                      <a:pt x="1260" y="498"/>
                      <a:pt x="1259" y="496"/>
                    </a:cubicBezTo>
                    <a:cubicBezTo>
                      <a:pt x="1259" y="496"/>
                      <a:pt x="1259" y="496"/>
                      <a:pt x="1258" y="495"/>
                    </a:cubicBezTo>
                    <a:cubicBezTo>
                      <a:pt x="1258" y="495"/>
                      <a:pt x="1258" y="495"/>
                      <a:pt x="1258" y="497"/>
                    </a:cubicBezTo>
                    <a:close/>
                    <a:moveTo>
                      <a:pt x="1277" y="510"/>
                    </a:moveTo>
                    <a:cubicBezTo>
                      <a:pt x="1275" y="509"/>
                      <a:pt x="1275" y="509"/>
                      <a:pt x="1275" y="509"/>
                    </a:cubicBezTo>
                    <a:cubicBezTo>
                      <a:pt x="1276" y="510"/>
                      <a:pt x="1276" y="510"/>
                      <a:pt x="1276" y="510"/>
                    </a:cubicBezTo>
                    <a:cubicBezTo>
                      <a:pt x="1277" y="510"/>
                      <a:pt x="1277" y="510"/>
                      <a:pt x="1277" y="510"/>
                    </a:cubicBezTo>
                    <a:close/>
                    <a:moveTo>
                      <a:pt x="1273" y="510"/>
                    </a:moveTo>
                    <a:cubicBezTo>
                      <a:pt x="1273" y="510"/>
                      <a:pt x="1273" y="510"/>
                      <a:pt x="1275" y="510"/>
                    </a:cubicBezTo>
                    <a:cubicBezTo>
                      <a:pt x="1275" y="510"/>
                      <a:pt x="1275" y="510"/>
                      <a:pt x="1275" y="509"/>
                    </a:cubicBezTo>
                    <a:cubicBezTo>
                      <a:pt x="1273" y="509"/>
                      <a:pt x="1273" y="509"/>
                      <a:pt x="1273" y="509"/>
                    </a:cubicBezTo>
                    <a:cubicBezTo>
                      <a:pt x="1272" y="509"/>
                      <a:pt x="1272" y="509"/>
                      <a:pt x="1272" y="509"/>
                    </a:cubicBezTo>
                    <a:cubicBezTo>
                      <a:pt x="1272" y="509"/>
                      <a:pt x="1272" y="509"/>
                      <a:pt x="1273" y="510"/>
                    </a:cubicBezTo>
                    <a:close/>
                    <a:moveTo>
                      <a:pt x="1273" y="507"/>
                    </a:moveTo>
                    <a:cubicBezTo>
                      <a:pt x="1273" y="507"/>
                      <a:pt x="1273" y="507"/>
                      <a:pt x="1272" y="507"/>
                    </a:cubicBezTo>
                    <a:cubicBezTo>
                      <a:pt x="1272" y="507"/>
                      <a:pt x="1272" y="507"/>
                      <a:pt x="1273" y="508"/>
                    </a:cubicBezTo>
                    <a:cubicBezTo>
                      <a:pt x="1273" y="508"/>
                      <a:pt x="1273" y="508"/>
                      <a:pt x="1274" y="507"/>
                    </a:cubicBezTo>
                    <a:cubicBezTo>
                      <a:pt x="1274" y="507"/>
                      <a:pt x="1274" y="507"/>
                      <a:pt x="1273" y="507"/>
                    </a:cubicBezTo>
                    <a:close/>
                    <a:moveTo>
                      <a:pt x="1273" y="508"/>
                    </a:moveTo>
                    <a:cubicBezTo>
                      <a:pt x="1273" y="508"/>
                      <a:pt x="1272" y="508"/>
                      <a:pt x="1271" y="508"/>
                    </a:cubicBezTo>
                    <a:cubicBezTo>
                      <a:pt x="1271" y="508"/>
                      <a:pt x="1271" y="508"/>
                      <a:pt x="1273" y="509"/>
                    </a:cubicBezTo>
                    <a:cubicBezTo>
                      <a:pt x="1273" y="509"/>
                      <a:pt x="1273" y="509"/>
                      <a:pt x="1274" y="508"/>
                    </a:cubicBezTo>
                    <a:cubicBezTo>
                      <a:pt x="1274" y="508"/>
                      <a:pt x="1274" y="508"/>
                      <a:pt x="1273" y="508"/>
                    </a:cubicBezTo>
                    <a:close/>
                    <a:moveTo>
                      <a:pt x="1283" y="414"/>
                    </a:moveTo>
                    <a:cubicBezTo>
                      <a:pt x="1282" y="416"/>
                      <a:pt x="1282" y="416"/>
                      <a:pt x="1282" y="416"/>
                    </a:cubicBezTo>
                    <a:cubicBezTo>
                      <a:pt x="1284" y="414"/>
                      <a:pt x="1284" y="414"/>
                      <a:pt x="1284" y="414"/>
                    </a:cubicBezTo>
                    <a:cubicBezTo>
                      <a:pt x="1283" y="414"/>
                      <a:pt x="1283" y="414"/>
                      <a:pt x="1283" y="414"/>
                    </a:cubicBezTo>
                    <a:close/>
                    <a:moveTo>
                      <a:pt x="1279" y="414"/>
                    </a:moveTo>
                    <a:cubicBezTo>
                      <a:pt x="1277" y="413"/>
                      <a:pt x="1277" y="413"/>
                      <a:pt x="1277" y="413"/>
                    </a:cubicBezTo>
                    <a:cubicBezTo>
                      <a:pt x="1278" y="414"/>
                      <a:pt x="1278" y="414"/>
                      <a:pt x="1278" y="414"/>
                    </a:cubicBezTo>
                    <a:cubicBezTo>
                      <a:pt x="1279" y="414"/>
                      <a:pt x="1279" y="414"/>
                      <a:pt x="1279" y="414"/>
                    </a:cubicBezTo>
                    <a:close/>
                    <a:moveTo>
                      <a:pt x="1220" y="424"/>
                    </a:moveTo>
                    <a:cubicBezTo>
                      <a:pt x="1219" y="424"/>
                      <a:pt x="1219" y="424"/>
                      <a:pt x="1219" y="424"/>
                    </a:cubicBezTo>
                    <a:cubicBezTo>
                      <a:pt x="1219" y="425"/>
                      <a:pt x="1219" y="425"/>
                      <a:pt x="1219" y="425"/>
                    </a:cubicBezTo>
                    <a:cubicBezTo>
                      <a:pt x="1220" y="426"/>
                      <a:pt x="1220" y="426"/>
                      <a:pt x="1220" y="426"/>
                    </a:cubicBezTo>
                    <a:cubicBezTo>
                      <a:pt x="1220" y="425"/>
                      <a:pt x="1220" y="425"/>
                      <a:pt x="1220" y="425"/>
                    </a:cubicBezTo>
                    <a:cubicBezTo>
                      <a:pt x="1220" y="424"/>
                      <a:pt x="1220" y="424"/>
                      <a:pt x="1220" y="424"/>
                    </a:cubicBezTo>
                    <a:close/>
                    <a:moveTo>
                      <a:pt x="1243" y="417"/>
                    </a:moveTo>
                    <a:cubicBezTo>
                      <a:pt x="1242" y="417"/>
                      <a:pt x="1242" y="417"/>
                      <a:pt x="1242" y="417"/>
                    </a:cubicBezTo>
                    <a:cubicBezTo>
                      <a:pt x="1242" y="418"/>
                      <a:pt x="1242" y="418"/>
                      <a:pt x="1242" y="418"/>
                    </a:cubicBezTo>
                    <a:cubicBezTo>
                      <a:pt x="1243" y="418"/>
                      <a:pt x="1243" y="418"/>
                      <a:pt x="1243" y="418"/>
                    </a:cubicBezTo>
                    <a:cubicBezTo>
                      <a:pt x="1243" y="417"/>
                      <a:pt x="1243" y="417"/>
                      <a:pt x="1243" y="417"/>
                    </a:cubicBezTo>
                    <a:close/>
                    <a:moveTo>
                      <a:pt x="1196" y="444"/>
                    </a:moveTo>
                    <a:cubicBezTo>
                      <a:pt x="1196" y="443"/>
                      <a:pt x="1196" y="443"/>
                      <a:pt x="1196" y="443"/>
                    </a:cubicBezTo>
                    <a:cubicBezTo>
                      <a:pt x="1195" y="442"/>
                      <a:pt x="1195" y="442"/>
                      <a:pt x="1195" y="442"/>
                    </a:cubicBezTo>
                    <a:cubicBezTo>
                      <a:pt x="1194" y="442"/>
                      <a:pt x="1194" y="442"/>
                      <a:pt x="1194" y="442"/>
                    </a:cubicBezTo>
                    <a:cubicBezTo>
                      <a:pt x="1193" y="442"/>
                      <a:pt x="1193" y="442"/>
                      <a:pt x="1193" y="442"/>
                    </a:cubicBezTo>
                    <a:cubicBezTo>
                      <a:pt x="1194" y="443"/>
                      <a:pt x="1194" y="443"/>
                      <a:pt x="1194" y="443"/>
                    </a:cubicBezTo>
                    <a:cubicBezTo>
                      <a:pt x="1195" y="443"/>
                      <a:pt x="1195" y="443"/>
                      <a:pt x="1195" y="443"/>
                    </a:cubicBezTo>
                    <a:cubicBezTo>
                      <a:pt x="1196" y="444"/>
                      <a:pt x="1196" y="444"/>
                      <a:pt x="1196" y="444"/>
                    </a:cubicBezTo>
                    <a:close/>
                    <a:moveTo>
                      <a:pt x="1197" y="440"/>
                    </a:moveTo>
                    <a:cubicBezTo>
                      <a:pt x="1196" y="440"/>
                      <a:pt x="1196" y="440"/>
                      <a:pt x="1196" y="440"/>
                    </a:cubicBezTo>
                    <a:cubicBezTo>
                      <a:pt x="1196" y="441"/>
                      <a:pt x="1196" y="441"/>
                      <a:pt x="1196" y="441"/>
                    </a:cubicBezTo>
                    <a:cubicBezTo>
                      <a:pt x="1197" y="441"/>
                      <a:pt x="1197" y="441"/>
                      <a:pt x="1197" y="441"/>
                    </a:cubicBezTo>
                    <a:cubicBezTo>
                      <a:pt x="1197" y="440"/>
                      <a:pt x="1197" y="440"/>
                      <a:pt x="1197" y="440"/>
                    </a:cubicBezTo>
                    <a:close/>
                    <a:moveTo>
                      <a:pt x="1195" y="441"/>
                    </a:moveTo>
                    <a:cubicBezTo>
                      <a:pt x="1195" y="442"/>
                      <a:pt x="1195" y="442"/>
                      <a:pt x="1195" y="442"/>
                    </a:cubicBezTo>
                    <a:cubicBezTo>
                      <a:pt x="1196" y="441"/>
                      <a:pt x="1196" y="441"/>
                      <a:pt x="1196" y="441"/>
                    </a:cubicBezTo>
                    <a:cubicBezTo>
                      <a:pt x="1195" y="441"/>
                      <a:pt x="1195" y="441"/>
                      <a:pt x="1195" y="441"/>
                    </a:cubicBezTo>
                    <a:close/>
                    <a:moveTo>
                      <a:pt x="1139" y="347"/>
                    </a:moveTo>
                    <a:cubicBezTo>
                      <a:pt x="1138" y="347"/>
                      <a:pt x="1138" y="347"/>
                      <a:pt x="1138" y="347"/>
                    </a:cubicBezTo>
                    <a:cubicBezTo>
                      <a:pt x="1139" y="348"/>
                      <a:pt x="1139" y="348"/>
                      <a:pt x="1139" y="348"/>
                    </a:cubicBezTo>
                    <a:cubicBezTo>
                      <a:pt x="1139" y="347"/>
                      <a:pt x="1139" y="347"/>
                      <a:pt x="1139" y="347"/>
                    </a:cubicBezTo>
                    <a:close/>
                    <a:moveTo>
                      <a:pt x="1139" y="352"/>
                    </a:moveTo>
                    <a:cubicBezTo>
                      <a:pt x="1139" y="351"/>
                      <a:pt x="1139" y="351"/>
                      <a:pt x="1139" y="351"/>
                    </a:cubicBezTo>
                    <a:cubicBezTo>
                      <a:pt x="1139" y="350"/>
                      <a:pt x="1139" y="350"/>
                      <a:pt x="1139" y="350"/>
                    </a:cubicBezTo>
                    <a:cubicBezTo>
                      <a:pt x="1138" y="350"/>
                      <a:pt x="1138" y="350"/>
                      <a:pt x="1138" y="350"/>
                    </a:cubicBezTo>
                    <a:cubicBezTo>
                      <a:pt x="1139" y="352"/>
                      <a:pt x="1139" y="352"/>
                      <a:pt x="1139" y="352"/>
                    </a:cubicBezTo>
                    <a:close/>
                    <a:moveTo>
                      <a:pt x="1136" y="343"/>
                    </a:moveTo>
                    <a:cubicBezTo>
                      <a:pt x="1136" y="344"/>
                      <a:pt x="1136" y="344"/>
                      <a:pt x="1136" y="344"/>
                    </a:cubicBezTo>
                    <a:cubicBezTo>
                      <a:pt x="1137" y="345"/>
                      <a:pt x="1137" y="345"/>
                      <a:pt x="1137" y="345"/>
                    </a:cubicBezTo>
                    <a:cubicBezTo>
                      <a:pt x="1136" y="343"/>
                      <a:pt x="1136" y="343"/>
                      <a:pt x="1136" y="343"/>
                    </a:cubicBezTo>
                    <a:close/>
                    <a:moveTo>
                      <a:pt x="1140" y="342"/>
                    </a:moveTo>
                    <a:cubicBezTo>
                      <a:pt x="1139" y="342"/>
                      <a:pt x="1139" y="342"/>
                      <a:pt x="1139" y="342"/>
                    </a:cubicBezTo>
                    <a:cubicBezTo>
                      <a:pt x="1140" y="343"/>
                      <a:pt x="1140" y="343"/>
                      <a:pt x="1140" y="343"/>
                    </a:cubicBezTo>
                    <a:cubicBezTo>
                      <a:pt x="1140" y="342"/>
                      <a:pt x="1140" y="342"/>
                      <a:pt x="1140" y="342"/>
                    </a:cubicBezTo>
                    <a:close/>
                    <a:moveTo>
                      <a:pt x="1140" y="346"/>
                    </a:moveTo>
                    <a:cubicBezTo>
                      <a:pt x="1140" y="346"/>
                      <a:pt x="1140" y="346"/>
                      <a:pt x="1139" y="345"/>
                    </a:cubicBezTo>
                    <a:cubicBezTo>
                      <a:pt x="1139" y="345"/>
                      <a:pt x="1139" y="345"/>
                      <a:pt x="1137" y="342"/>
                    </a:cubicBezTo>
                    <a:cubicBezTo>
                      <a:pt x="1137" y="343"/>
                      <a:pt x="1137" y="343"/>
                      <a:pt x="1137" y="343"/>
                    </a:cubicBezTo>
                    <a:cubicBezTo>
                      <a:pt x="1137" y="343"/>
                      <a:pt x="1137" y="343"/>
                      <a:pt x="1137" y="344"/>
                    </a:cubicBezTo>
                    <a:cubicBezTo>
                      <a:pt x="1137" y="344"/>
                      <a:pt x="1137" y="344"/>
                      <a:pt x="1139" y="346"/>
                    </a:cubicBezTo>
                    <a:cubicBezTo>
                      <a:pt x="1139" y="346"/>
                      <a:pt x="1139" y="346"/>
                      <a:pt x="1140" y="346"/>
                    </a:cubicBezTo>
                    <a:close/>
                    <a:moveTo>
                      <a:pt x="1139" y="344"/>
                    </a:moveTo>
                    <a:cubicBezTo>
                      <a:pt x="1139" y="344"/>
                      <a:pt x="1139" y="344"/>
                      <a:pt x="1139" y="343"/>
                    </a:cubicBezTo>
                    <a:cubicBezTo>
                      <a:pt x="1139" y="343"/>
                      <a:pt x="1139" y="343"/>
                      <a:pt x="1138" y="342"/>
                    </a:cubicBezTo>
                    <a:cubicBezTo>
                      <a:pt x="1137" y="342"/>
                      <a:pt x="1137" y="342"/>
                      <a:pt x="1137" y="342"/>
                    </a:cubicBezTo>
                    <a:cubicBezTo>
                      <a:pt x="1137" y="342"/>
                      <a:pt x="1137" y="342"/>
                      <a:pt x="1138" y="343"/>
                    </a:cubicBezTo>
                    <a:cubicBezTo>
                      <a:pt x="1138" y="343"/>
                      <a:pt x="1138" y="343"/>
                      <a:pt x="1139" y="344"/>
                    </a:cubicBezTo>
                    <a:close/>
                    <a:moveTo>
                      <a:pt x="1129" y="411"/>
                    </a:moveTo>
                    <a:cubicBezTo>
                      <a:pt x="1129" y="411"/>
                      <a:pt x="1129" y="411"/>
                      <a:pt x="1130" y="411"/>
                    </a:cubicBezTo>
                    <a:cubicBezTo>
                      <a:pt x="1130" y="411"/>
                      <a:pt x="1130" y="411"/>
                      <a:pt x="1130" y="410"/>
                    </a:cubicBezTo>
                    <a:cubicBezTo>
                      <a:pt x="1130" y="410"/>
                      <a:pt x="1130" y="410"/>
                      <a:pt x="1131" y="410"/>
                    </a:cubicBezTo>
                    <a:cubicBezTo>
                      <a:pt x="1131" y="410"/>
                      <a:pt x="1131" y="410"/>
                      <a:pt x="1132" y="410"/>
                    </a:cubicBezTo>
                    <a:cubicBezTo>
                      <a:pt x="1132" y="410"/>
                      <a:pt x="1132" y="410"/>
                      <a:pt x="1133" y="410"/>
                    </a:cubicBezTo>
                    <a:cubicBezTo>
                      <a:pt x="1133" y="410"/>
                      <a:pt x="1133" y="410"/>
                      <a:pt x="1132" y="409"/>
                    </a:cubicBezTo>
                    <a:cubicBezTo>
                      <a:pt x="1132" y="409"/>
                      <a:pt x="1132" y="409"/>
                      <a:pt x="1133" y="409"/>
                    </a:cubicBezTo>
                    <a:cubicBezTo>
                      <a:pt x="1133" y="409"/>
                      <a:pt x="1133" y="409"/>
                      <a:pt x="1134" y="410"/>
                    </a:cubicBezTo>
                    <a:cubicBezTo>
                      <a:pt x="1134" y="410"/>
                      <a:pt x="1134" y="410"/>
                      <a:pt x="1133" y="411"/>
                    </a:cubicBezTo>
                    <a:cubicBezTo>
                      <a:pt x="1133" y="411"/>
                      <a:pt x="1133" y="411"/>
                      <a:pt x="1133" y="412"/>
                    </a:cubicBezTo>
                    <a:cubicBezTo>
                      <a:pt x="1133" y="412"/>
                      <a:pt x="1133" y="412"/>
                      <a:pt x="1134" y="410"/>
                    </a:cubicBezTo>
                    <a:cubicBezTo>
                      <a:pt x="1134" y="410"/>
                      <a:pt x="1134" y="410"/>
                      <a:pt x="1134" y="409"/>
                    </a:cubicBezTo>
                    <a:cubicBezTo>
                      <a:pt x="1134" y="409"/>
                      <a:pt x="1134" y="409"/>
                      <a:pt x="1135" y="409"/>
                    </a:cubicBezTo>
                    <a:cubicBezTo>
                      <a:pt x="1135" y="409"/>
                      <a:pt x="1135" y="409"/>
                      <a:pt x="1135" y="408"/>
                    </a:cubicBezTo>
                    <a:cubicBezTo>
                      <a:pt x="1135" y="408"/>
                      <a:pt x="1135" y="408"/>
                      <a:pt x="1136" y="409"/>
                    </a:cubicBezTo>
                    <a:cubicBezTo>
                      <a:pt x="1136" y="409"/>
                      <a:pt x="1136" y="409"/>
                      <a:pt x="1137" y="410"/>
                    </a:cubicBezTo>
                    <a:cubicBezTo>
                      <a:pt x="1137" y="410"/>
                      <a:pt x="1137" y="410"/>
                      <a:pt x="1136" y="410"/>
                    </a:cubicBezTo>
                    <a:cubicBezTo>
                      <a:pt x="1136" y="410"/>
                      <a:pt x="1136" y="410"/>
                      <a:pt x="1135" y="411"/>
                    </a:cubicBezTo>
                    <a:cubicBezTo>
                      <a:pt x="1136" y="411"/>
                      <a:pt x="1136" y="411"/>
                      <a:pt x="1136" y="411"/>
                    </a:cubicBezTo>
                    <a:cubicBezTo>
                      <a:pt x="1137" y="411"/>
                      <a:pt x="1137" y="411"/>
                      <a:pt x="1137" y="411"/>
                    </a:cubicBezTo>
                    <a:cubicBezTo>
                      <a:pt x="1138" y="411"/>
                      <a:pt x="1138" y="411"/>
                      <a:pt x="1138" y="411"/>
                    </a:cubicBezTo>
                    <a:cubicBezTo>
                      <a:pt x="1139" y="410"/>
                      <a:pt x="1139" y="410"/>
                      <a:pt x="1139" y="410"/>
                    </a:cubicBezTo>
                    <a:cubicBezTo>
                      <a:pt x="1141" y="410"/>
                      <a:pt x="1141" y="410"/>
                      <a:pt x="1141" y="410"/>
                    </a:cubicBezTo>
                    <a:cubicBezTo>
                      <a:pt x="1142" y="410"/>
                      <a:pt x="1142" y="410"/>
                      <a:pt x="1142" y="410"/>
                    </a:cubicBezTo>
                    <a:cubicBezTo>
                      <a:pt x="1142" y="412"/>
                      <a:pt x="1142" y="412"/>
                      <a:pt x="1142" y="412"/>
                    </a:cubicBezTo>
                    <a:cubicBezTo>
                      <a:pt x="1143" y="414"/>
                      <a:pt x="1143" y="414"/>
                      <a:pt x="1143" y="414"/>
                    </a:cubicBezTo>
                    <a:cubicBezTo>
                      <a:pt x="1143" y="415"/>
                      <a:pt x="1143" y="415"/>
                      <a:pt x="1143" y="415"/>
                    </a:cubicBezTo>
                    <a:cubicBezTo>
                      <a:pt x="1144" y="415"/>
                      <a:pt x="1144" y="415"/>
                      <a:pt x="1144" y="415"/>
                    </a:cubicBezTo>
                    <a:cubicBezTo>
                      <a:pt x="1145" y="418"/>
                      <a:pt x="1145" y="418"/>
                      <a:pt x="1145" y="418"/>
                    </a:cubicBezTo>
                    <a:cubicBezTo>
                      <a:pt x="1144" y="416"/>
                      <a:pt x="1144" y="416"/>
                      <a:pt x="1144" y="416"/>
                    </a:cubicBezTo>
                    <a:cubicBezTo>
                      <a:pt x="1143" y="417"/>
                      <a:pt x="1143" y="417"/>
                      <a:pt x="1143" y="417"/>
                    </a:cubicBezTo>
                    <a:cubicBezTo>
                      <a:pt x="1144" y="418"/>
                      <a:pt x="1144" y="418"/>
                      <a:pt x="1144" y="418"/>
                    </a:cubicBezTo>
                    <a:cubicBezTo>
                      <a:pt x="1144" y="419"/>
                      <a:pt x="1144" y="419"/>
                      <a:pt x="1144" y="419"/>
                    </a:cubicBezTo>
                    <a:cubicBezTo>
                      <a:pt x="1142" y="418"/>
                      <a:pt x="1142" y="418"/>
                      <a:pt x="1142" y="418"/>
                    </a:cubicBezTo>
                    <a:cubicBezTo>
                      <a:pt x="1142" y="419"/>
                      <a:pt x="1142" y="419"/>
                      <a:pt x="1142" y="419"/>
                    </a:cubicBezTo>
                    <a:cubicBezTo>
                      <a:pt x="1141" y="420"/>
                      <a:pt x="1141" y="420"/>
                      <a:pt x="1141" y="420"/>
                    </a:cubicBezTo>
                    <a:cubicBezTo>
                      <a:pt x="1141" y="421"/>
                      <a:pt x="1141" y="421"/>
                      <a:pt x="1141" y="421"/>
                    </a:cubicBezTo>
                    <a:cubicBezTo>
                      <a:pt x="1141" y="421"/>
                      <a:pt x="1141" y="421"/>
                      <a:pt x="1140" y="421"/>
                    </a:cubicBezTo>
                    <a:cubicBezTo>
                      <a:pt x="1140" y="421"/>
                      <a:pt x="1140" y="421"/>
                      <a:pt x="1139" y="421"/>
                    </a:cubicBezTo>
                    <a:cubicBezTo>
                      <a:pt x="1139" y="421"/>
                      <a:pt x="1139" y="421"/>
                      <a:pt x="1140" y="422"/>
                    </a:cubicBezTo>
                    <a:cubicBezTo>
                      <a:pt x="1140" y="422"/>
                      <a:pt x="1140" y="422"/>
                      <a:pt x="1140" y="423"/>
                    </a:cubicBezTo>
                    <a:cubicBezTo>
                      <a:pt x="1140" y="423"/>
                      <a:pt x="1140" y="423"/>
                      <a:pt x="1141" y="425"/>
                    </a:cubicBezTo>
                    <a:cubicBezTo>
                      <a:pt x="1141" y="425"/>
                      <a:pt x="1141" y="425"/>
                      <a:pt x="1141" y="426"/>
                    </a:cubicBezTo>
                    <a:cubicBezTo>
                      <a:pt x="1141" y="426"/>
                      <a:pt x="1141" y="426"/>
                      <a:pt x="1140" y="426"/>
                    </a:cubicBezTo>
                    <a:cubicBezTo>
                      <a:pt x="1140" y="426"/>
                      <a:pt x="1140" y="426"/>
                      <a:pt x="1141" y="427"/>
                    </a:cubicBezTo>
                    <a:cubicBezTo>
                      <a:pt x="1141" y="427"/>
                      <a:pt x="1141" y="427"/>
                      <a:pt x="1141" y="430"/>
                    </a:cubicBezTo>
                    <a:cubicBezTo>
                      <a:pt x="1141" y="430"/>
                      <a:pt x="1141" y="430"/>
                      <a:pt x="1141" y="431"/>
                    </a:cubicBezTo>
                    <a:cubicBezTo>
                      <a:pt x="1141" y="431"/>
                      <a:pt x="1141" y="431"/>
                      <a:pt x="1140" y="432"/>
                    </a:cubicBezTo>
                    <a:cubicBezTo>
                      <a:pt x="1140" y="432"/>
                      <a:pt x="1140" y="432"/>
                      <a:pt x="1140" y="433"/>
                    </a:cubicBezTo>
                    <a:cubicBezTo>
                      <a:pt x="1140" y="433"/>
                      <a:pt x="1140" y="433"/>
                      <a:pt x="1139" y="434"/>
                    </a:cubicBezTo>
                    <a:cubicBezTo>
                      <a:pt x="1139" y="434"/>
                      <a:pt x="1139" y="434"/>
                      <a:pt x="1138" y="435"/>
                    </a:cubicBezTo>
                    <a:cubicBezTo>
                      <a:pt x="1138" y="435"/>
                      <a:pt x="1138" y="435"/>
                      <a:pt x="1140" y="436"/>
                    </a:cubicBezTo>
                    <a:cubicBezTo>
                      <a:pt x="1140" y="436"/>
                      <a:pt x="1140" y="436"/>
                      <a:pt x="1138" y="436"/>
                    </a:cubicBezTo>
                    <a:cubicBezTo>
                      <a:pt x="1138" y="436"/>
                      <a:pt x="1138" y="436"/>
                      <a:pt x="1137" y="436"/>
                    </a:cubicBezTo>
                    <a:cubicBezTo>
                      <a:pt x="1137" y="436"/>
                      <a:pt x="1137" y="436"/>
                      <a:pt x="1136" y="437"/>
                    </a:cubicBezTo>
                    <a:cubicBezTo>
                      <a:pt x="1136" y="437"/>
                      <a:pt x="1136" y="437"/>
                      <a:pt x="1136" y="436"/>
                    </a:cubicBezTo>
                    <a:cubicBezTo>
                      <a:pt x="1136" y="436"/>
                      <a:pt x="1136" y="436"/>
                      <a:pt x="1135" y="437"/>
                    </a:cubicBezTo>
                    <a:cubicBezTo>
                      <a:pt x="1135" y="437"/>
                      <a:pt x="1135" y="437"/>
                      <a:pt x="1132" y="437"/>
                    </a:cubicBezTo>
                    <a:cubicBezTo>
                      <a:pt x="1132" y="437"/>
                      <a:pt x="1132" y="437"/>
                      <a:pt x="1132" y="438"/>
                    </a:cubicBezTo>
                    <a:cubicBezTo>
                      <a:pt x="1132" y="438"/>
                      <a:pt x="1132" y="438"/>
                      <a:pt x="1131" y="438"/>
                    </a:cubicBezTo>
                    <a:cubicBezTo>
                      <a:pt x="1131" y="438"/>
                      <a:pt x="1131" y="438"/>
                      <a:pt x="1130" y="439"/>
                    </a:cubicBezTo>
                    <a:cubicBezTo>
                      <a:pt x="1130" y="439"/>
                      <a:pt x="1130" y="439"/>
                      <a:pt x="1129" y="439"/>
                    </a:cubicBezTo>
                    <a:cubicBezTo>
                      <a:pt x="1129" y="439"/>
                      <a:pt x="1129" y="439"/>
                      <a:pt x="1128" y="438"/>
                    </a:cubicBezTo>
                    <a:cubicBezTo>
                      <a:pt x="1128" y="438"/>
                      <a:pt x="1128" y="438"/>
                      <a:pt x="1128" y="440"/>
                    </a:cubicBezTo>
                    <a:cubicBezTo>
                      <a:pt x="1128" y="440"/>
                      <a:pt x="1128" y="440"/>
                      <a:pt x="1127" y="441"/>
                    </a:cubicBezTo>
                    <a:cubicBezTo>
                      <a:pt x="1127" y="441"/>
                      <a:pt x="1127" y="441"/>
                      <a:pt x="1125" y="441"/>
                    </a:cubicBezTo>
                    <a:cubicBezTo>
                      <a:pt x="1125" y="441"/>
                      <a:pt x="1125" y="441"/>
                      <a:pt x="1122" y="442"/>
                    </a:cubicBezTo>
                    <a:cubicBezTo>
                      <a:pt x="1122" y="442"/>
                      <a:pt x="1122" y="442"/>
                      <a:pt x="1122" y="441"/>
                    </a:cubicBezTo>
                    <a:cubicBezTo>
                      <a:pt x="1122" y="441"/>
                      <a:pt x="1122" y="441"/>
                      <a:pt x="1120" y="441"/>
                    </a:cubicBezTo>
                    <a:cubicBezTo>
                      <a:pt x="1120" y="441"/>
                      <a:pt x="1120" y="441"/>
                      <a:pt x="1119" y="441"/>
                    </a:cubicBezTo>
                    <a:cubicBezTo>
                      <a:pt x="1119" y="441"/>
                      <a:pt x="1119" y="441"/>
                      <a:pt x="1121" y="440"/>
                    </a:cubicBezTo>
                    <a:cubicBezTo>
                      <a:pt x="1121" y="440"/>
                      <a:pt x="1121" y="440"/>
                      <a:pt x="1121" y="439"/>
                    </a:cubicBezTo>
                    <a:cubicBezTo>
                      <a:pt x="1121" y="439"/>
                      <a:pt x="1121" y="439"/>
                      <a:pt x="1119" y="440"/>
                    </a:cubicBezTo>
                    <a:cubicBezTo>
                      <a:pt x="1119" y="440"/>
                      <a:pt x="1119" y="440"/>
                      <a:pt x="1121" y="438"/>
                    </a:cubicBezTo>
                    <a:cubicBezTo>
                      <a:pt x="1121" y="438"/>
                      <a:pt x="1121" y="438"/>
                      <a:pt x="1118" y="439"/>
                    </a:cubicBezTo>
                    <a:cubicBezTo>
                      <a:pt x="1118" y="439"/>
                      <a:pt x="1118" y="439"/>
                      <a:pt x="1118" y="438"/>
                    </a:cubicBezTo>
                    <a:cubicBezTo>
                      <a:pt x="1118" y="438"/>
                      <a:pt x="1118" y="438"/>
                      <a:pt x="1117" y="438"/>
                    </a:cubicBezTo>
                    <a:cubicBezTo>
                      <a:pt x="1117" y="438"/>
                      <a:pt x="1117" y="438"/>
                      <a:pt x="1117" y="437"/>
                    </a:cubicBezTo>
                    <a:cubicBezTo>
                      <a:pt x="1117" y="437"/>
                      <a:pt x="1117" y="437"/>
                      <a:pt x="1119" y="437"/>
                    </a:cubicBezTo>
                    <a:cubicBezTo>
                      <a:pt x="1119" y="437"/>
                      <a:pt x="1119" y="437"/>
                      <a:pt x="1120" y="436"/>
                    </a:cubicBezTo>
                    <a:cubicBezTo>
                      <a:pt x="1120" y="436"/>
                      <a:pt x="1120" y="436"/>
                      <a:pt x="1116" y="436"/>
                    </a:cubicBezTo>
                    <a:cubicBezTo>
                      <a:pt x="1116" y="436"/>
                      <a:pt x="1116" y="436"/>
                      <a:pt x="1116" y="435"/>
                    </a:cubicBezTo>
                    <a:cubicBezTo>
                      <a:pt x="1116" y="435"/>
                      <a:pt x="1116" y="435"/>
                      <a:pt x="1118" y="434"/>
                    </a:cubicBezTo>
                    <a:cubicBezTo>
                      <a:pt x="1118" y="434"/>
                      <a:pt x="1118" y="434"/>
                      <a:pt x="1119" y="435"/>
                    </a:cubicBezTo>
                    <a:cubicBezTo>
                      <a:pt x="1119" y="435"/>
                      <a:pt x="1119" y="435"/>
                      <a:pt x="1120" y="435"/>
                    </a:cubicBezTo>
                    <a:cubicBezTo>
                      <a:pt x="1120" y="435"/>
                      <a:pt x="1120" y="435"/>
                      <a:pt x="1120" y="434"/>
                    </a:cubicBezTo>
                    <a:cubicBezTo>
                      <a:pt x="1120" y="434"/>
                      <a:pt x="1120" y="434"/>
                      <a:pt x="1119" y="433"/>
                    </a:cubicBezTo>
                    <a:cubicBezTo>
                      <a:pt x="1119" y="433"/>
                      <a:pt x="1119" y="433"/>
                      <a:pt x="1121" y="433"/>
                    </a:cubicBezTo>
                    <a:cubicBezTo>
                      <a:pt x="1121" y="433"/>
                      <a:pt x="1121" y="433"/>
                      <a:pt x="1121" y="432"/>
                    </a:cubicBezTo>
                    <a:cubicBezTo>
                      <a:pt x="1121" y="432"/>
                      <a:pt x="1121" y="432"/>
                      <a:pt x="1122" y="432"/>
                    </a:cubicBezTo>
                    <a:cubicBezTo>
                      <a:pt x="1122" y="432"/>
                      <a:pt x="1122" y="432"/>
                      <a:pt x="1122" y="431"/>
                    </a:cubicBezTo>
                    <a:cubicBezTo>
                      <a:pt x="1122" y="431"/>
                      <a:pt x="1122" y="431"/>
                      <a:pt x="1123" y="429"/>
                    </a:cubicBezTo>
                    <a:cubicBezTo>
                      <a:pt x="1123" y="429"/>
                      <a:pt x="1123" y="429"/>
                      <a:pt x="1122" y="429"/>
                    </a:cubicBezTo>
                    <a:cubicBezTo>
                      <a:pt x="1122" y="429"/>
                      <a:pt x="1122" y="429"/>
                      <a:pt x="1123" y="427"/>
                    </a:cubicBezTo>
                    <a:cubicBezTo>
                      <a:pt x="1123" y="427"/>
                      <a:pt x="1123" y="427"/>
                      <a:pt x="1124" y="428"/>
                    </a:cubicBezTo>
                    <a:cubicBezTo>
                      <a:pt x="1124" y="428"/>
                      <a:pt x="1124" y="428"/>
                      <a:pt x="1125" y="426"/>
                    </a:cubicBezTo>
                    <a:cubicBezTo>
                      <a:pt x="1125" y="426"/>
                      <a:pt x="1125" y="426"/>
                      <a:pt x="1122" y="426"/>
                    </a:cubicBezTo>
                    <a:cubicBezTo>
                      <a:pt x="1122" y="426"/>
                      <a:pt x="1122" y="426"/>
                      <a:pt x="1122" y="425"/>
                    </a:cubicBezTo>
                    <a:cubicBezTo>
                      <a:pt x="1122" y="425"/>
                      <a:pt x="1122" y="425"/>
                      <a:pt x="1121" y="425"/>
                    </a:cubicBezTo>
                    <a:cubicBezTo>
                      <a:pt x="1121" y="425"/>
                      <a:pt x="1121" y="425"/>
                      <a:pt x="1120" y="425"/>
                    </a:cubicBezTo>
                    <a:cubicBezTo>
                      <a:pt x="1120" y="425"/>
                      <a:pt x="1120" y="425"/>
                      <a:pt x="1119" y="424"/>
                    </a:cubicBezTo>
                    <a:cubicBezTo>
                      <a:pt x="1119" y="424"/>
                      <a:pt x="1119" y="424"/>
                      <a:pt x="1119" y="423"/>
                    </a:cubicBezTo>
                    <a:cubicBezTo>
                      <a:pt x="1119" y="423"/>
                      <a:pt x="1119" y="423"/>
                      <a:pt x="1121" y="423"/>
                    </a:cubicBezTo>
                    <a:cubicBezTo>
                      <a:pt x="1121" y="423"/>
                      <a:pt x="1121" y="423"/>
                      <a:pt x="1120" y="422"/>
                    </a:cubicBezTo>
                    <a:cubicBezTo>
                      <a:pt x="1120" y="422"/>
                      <a:pt x="1120" y="422"/>
                      <a:pt x="1121" y="422"/>
                    </a:cubicBezTo>
                    <a:cubicBezTo>
                      <a:pt x="1121" y="422"/>
                      <a:pt x="1121" y="422"/>
                      <a:pt x="1122" y="421"/>
                    </a:cubicBezTo>
                    <a:cubicBezTo>
                      <a:pt x="1122" y="421"/>
                      <a:pt x="1122" y="421"/>
                      <a:pt x="1122" y="420"/>
                    </a:cubicBezTo>
                    <a:cubicBezTo>
                      <a:pt x="1122" y="420"/>
                      <a:pt x="1122" y="420"/>
                      <a:pt x="1121" y="421"/>
                    </a:cubicBezTo>
                    <a:cubicBezTo>
                      <a:pt x="1121" y="421"/>
                      <a:pt x="1121" y="421"/>
                      <a:pt x="1120" y="420"/>
                    </a:cubicBezTo>
                    <a:cubicBezTo>
                      <a:pt x="1120" y="420"/>
                      <a:pt x="1120" y="420"/>
                      <a:pt x="1121" y="420"/>
                    </a:cubicBezTo>
                    <a:cubicBezTo>
                      <a:pt x="1121" y="420"/>
                      <a:pt x="1121" y="420"/>
                      <a:pt x="1121" y="419"/>
                    </a:cubicBezTo>
                    <a:cubicBezTo>
                      <a:pt x="1121" y="419"/>
                      <a:pt x="1121" y="419"/>
                      <a:pt x="1120" y="419"/>
                    </a:cubicBezTo>
                    <a:cubicBezTo>
                      <a:pt x="1120" y="419"/>
                      <a:pt x="1120" y="419"/>
                      <a:pt x="1120" y="418"/>
                    </a:cubicBezTo>
                    <a:cubicBezTo>
                      <a:pt x="1120" y="418"/>
                      <a:pt x="1120" y="418"/>
                      <a:pt x="1119" y="418"/>
                    </a:cubicBezTo>
                    <a:cubicBezTo>
                      <a:pt x="1119" y="418"/>
                      <a:pt x="1119" y="418"/>
                      <a:pt x="1120" y="417"/>
                    </a:cubicBezTo>
                    <a:cubicBezTo>
                      <a:pt x="1120" y="417"/>
                      <a:pt x="1120" y="417"/>
                      <a:pt x="1121" y="417"/>
                    </a:cubicBezTo>
                    <a:cubicBezTo>
                      <a:pt x="1121" y="417"/>
                      <a:pt x="1121" y="417"/>
                      <a:pt x="1124" y="417"/>
                    </a:cubicBezTo>
                    <a:cubicBezTo>
                      <a:pt x="1124" y="417"/>
                      <a:pt x="1124" y="417"/>
                      <a:pt x="1125" y="418"/>
                    </a:cubicBezTo>
                    <a:cubicBezTo>
                      <a:pt x="1125" y="418"/>
                      <a:pt x="1125" y="418"/>
                      <a:pt x="1125" y="417"/>
                    </a:cubicBezTo>
                    <a:cubicBezTo>
                      <a:pt x="1125" y="417"/>
                      <a:pt x="1125" y="417"/>
                      <a:pt x="1126" y="418"/>
                    </a:cubicBezTo>
                    <a:cubicBezTo>
                      <a:pt x="1126" y="418"/>
                      <a:pt x="1126" y="418"/>
                      <a:pt x="1128" y="417"/>
                    </a:cubicBezTo>
                    <a:cubicBezTo>
                      <a:pt x="1128" y="417"/>
                      <a:pt x="1128" y="417"/>
                      <a:pt x="1127" y="417"/>
                    </a:cubicBezTo>
                    <a:cubicBezTo>
                      <a:pt x="1127" y="417"/>
                      <a:pt x="1127" y="417"/>
                      <a:pt x="1129" y="416"/>
                    </a:cubicBezTo>
                    <a:cubicBezTo>
                      <a:pt x="1129" y="416"/>
                      <a:pt x="1129" y="416"/>
                      <a:pt x="1131" y="415"/>
                    </a:cubicBezTo>
                    <a:cubicBezTo>
                      <a:pt x="1131" y="415"/>
                      <a:pt x="1131" y="415"/>
                      <a:pt x="1130" y="415"/>
                    </a:cubicBezTo>
                    <a:cubicBezTo>
                      <a:pt x="1130" y="415"/>
                      <a:pt x="1130" y="415"/>
                      <a:pt x="1129" y="415"/>
                    </a:cubicBezTo>
                    <a:cubicBezTo>
                      <a:pt x="1129" y="415"/>
                      <a:pt x="1129" y="415"/>
                      <a:pt x="1128" y="415"/>
                    </a:cubicBezTo>
                    <a:cubicBezTo>
                      <a:pt x="1128" y="415"/>
                      <a:pt x="1128" y="415"/>
                      <a:pt x="1127" y="414"/>
                    </a:cubicBezTo>
                    <a:cubicBezTo>
                      <a:pt x="1127" y="414"/>
                      <a:pt x="1127" y="414"/>
                      <a:pt x="1129" y="413"/>
                    </a:cubicBezTo>
                    <a:cubicBezTo>
                      <a:pt x="1129" y="413"/>
                      <a:pt x="1129" y="413"/>
                      <a:pt x="1130" y="412"/>
                    </a:cubicBezTo>
                    <a:cubicBezTo>
                      <a:pt x="1130" y="412"/>
                      <a:pt x="1130" y="412"/>
                      <a:pt x="1129" y="412"/>
                    </a:cubicBezTo>
                    <a:lnTo>
                      <a:pt x="1129" y="411"/>
                    </a:lnTo>
                    <a:close/>
                    <a:moveTo>
                      <a:pt x="1126" y="431"/>
                    </a:moveTo>
                    <a:cubicBezTo>
                      <a:pt x="1126" y="431"/>
                      <a:pt x="1126" y="431"/>
                      <a:pt x="1125" y="431"/>
                    </a:cubicBezTo>
                    <a:cubicBezTo>
                      <a:pt x="1125" y="431"/>
                      <a:pt x="1125" y="431"/>
                      <a:pt x="1125" y="431"/>
                    </a:cubicBezTo>
                    <a:cubicBezTo>
                      <a:pt x="1125" y="431"/>
                      <a:pt x="1125" y="431"/>
                      <a:pt x="1123" y="432"/>
                    </a:cubicBezTo>
                    <a:cubicBezTo>
                      <a:pt x="1123" y="432"/>
                      <a:pt x="1123" y="432"/>
                      <a:pt x="1124" y="432"/>
                    </a:cubicBezTo>
                    <a:cubicBezTo>
                      <a:pt x="1124" y="432"/>
                      <a:pt x="1124" y="432"/>
                      <a:pt x="1125" y="431"/>
                    </a:cubicBezTo>
                    <a:lnTo>
                      <a:pt x="1126" y="431"/>
                    </a:lnTo>
                    <a:close/>
                    <a:moveTo>
                      <a:pt x="1119" y="419"/>
                    </a:moveTo>
                    <a:cubicBezTo>
                      <a:pt x="1120" y="420"/>
                      <a:pt x="1120" y="420"/>
                      <a:pt x="1120" y="420"/>
                    </a:cubicBezTo>
                    <a:cubicBezTo>
                      <a:pt x="1120" y="419"/>
                      <a:pt x="1120" y="419"/>
                      <a:pt x="1120" y="419"/>
                    </a:cubicBezTo>
                    <a:cubicBezTo>
                      <a:pt x="1119" y="419"/>
                      <a:pt x="1119" y="419"/>
                      <a:pt x="1119" y="419"/>
                    </a:cubicBezTo>
                    <a:close/>
                    <a:moveTo>
                      <a:pt x="1120" y="432"/>
                    </a:moveTo>
                    <a:cubicBezTo>
                      <a:pt x="1122" y="431"/>
                      <a:pt x="1122" y="431"/>
                      <a:pt x="1122" y="431"/>
                    </a:cubicBezTo>
                    <a:cubicBezTo>
                      <a:pt x="1119" y="432"/>
                      <a:pt x="1119" y="432"/>
                      <a:pt x="1119" y="432"/>
                    </a:cubicBezTo>
                    <a:cubicBezTo>
                      <a:pt x="1120" y="432"/>
                      <a:pt x="1120" y="432"/>
                      <a:pt x="1120" y="432"/>
                    </a:cubicBezTo>
                    <a:close/>
                    <a:moveTo>
                      <a:pt x="1134" y="394"/>
                    </a:moveTo>
                    <a:cubicBezTo>
                      <a:pt x="1134" y="394"/>
                      <a:pt x="1134" y="394"/>
                      <a:pt x="1134" y="395"/>
                    </a:cubicBezTo>
                    <a:cubicBezTo>
                      <a:pt x="1134" y="395"/>
                      <a:pt x="1134" y="395"/>
                      <a:pt x="1135" y="394"/>
                    </a:cubicBezTo>
                    <a:cubicBezTo>
                      <a:pt x="1135" y="394"/>
                      <a:pt x="1135" y="394"/>
                      <a:pt x="1134" y="394"/>
                    </a:cubicBezTo>
                    <a:close/>
                    <a:moveTo>
                      <a:pt x="1136" y="392"/>
                    </a:moveTo>
                    <a:cubicBezTo>
                      <a:pt x="1136" y="391"/>
                      <a:pt x="1136" y="391"/>
                      <a:pt x="1136" y="391"/>
                    </a:cubicBezTo>
                    <a:cubicBezTo>
                      <a:pt x="1135" y="391"/>
                      <a:pt x="1135" y="391"/>
                      <a:pt x="1135" y="391"/>
                    </a:cubicBezTo>
                    <a:cubicBezTo>
                      <a:pt x="1135" y="392"/>
                      <a:pt x="1135" y="392"/>
                      <a:pt x="1135" y="392"/>
                    </a:cubicBezTo>
                    <a:cubicBezTo>
                      <a:pt x="1135" y="393"/>
                      <a:pt x="1135" y="393"/>
                      <a:pt x="1135" y="393"/>
                    </a:cubicBezTo>
                    <a:cubicBezTo>
                      <a:pt x="1136" y="393"/>
                      <a:pt x="1136" y="393"/>
                      <a:pt x="1136" y="393"/>
                    </a:cubicBezTo>
                    <a:cubicBezTo>
                      <a:pt x="1136" y="392"/>
                      <a:pt x="1136" y="392"/>
                      <a:pt x="1136" y="392"/>
                    </a:cubicBezTo>
                    <a:close/>
                    <a:moveTo>
                      <a:pt x="1142" y="399"/>
                    </a:moveTo>
                    <a:cubicBezTo>
                      <a:pt x="1141" y="400"/>
                      <a:pt x="1141" y="400"/>
                      <a:pt x="1141" y="400"/>
                    </a:cubicBezTo>
                    <a:cubicBezTo>
                      <a:pt x="1140" y="401"/>
                      <a:pt x="1140" y="401"/>
                      <a:pt x="1140" y="401"/>
                    </a:cubicBezTo>
                    <a:cubicBezTo>
                      <a:pt x="1143" y="400"/>
                      <a:pt x="1143" y="400"/>
                      <a:pt x="1143" y="400"/>
                    </a:cubicBezTo>
                    <a:cubicBezTo>
                      <a:pt x="1143" y="401"/>
                      <a:pt x="1143" y="401"/>
                      <a:pt x="1143" y="401"/>
                    </a:cubicBezTo>
                    <a:cubicBezTo>
                      <a:pt x="1144" y="400"/>
                      <a:pt x="1144" y="400"/>
                      <a:pt x="1144" y="400"/>
                    </a:cubicBezTo>
                    <a:cubicBezTo>
                      <a:pt x="1143" y="399"/>
                      <a:pt x="1143" y="399"/>
                      <a:pt x="1143" y="399"/>
                    </a:cubicBezTo>
                    <a:cubicBezTo>
                      <a:pt x="1142" y="397"/>
                      <a:pt x="1142" y="397"/>
                      <a:pt x="1142" y="397"/>
                    </a:cubicBezTo>
                    <a:cubicBezTo>
                      <a:pt x="1140" y="398"/>
                      <a:pt x="1140" y="398"/>
                      <a:pt x="1140" y="398"/>
                    </a:cubicBezTo>
                    <a:cubicBezTo>
                      <a:pt x="1142" y="399"/>
                      <a:pt x="1142" y="399"/>
                      <a:pt x="1142" y="399"/>
                    </a:cubicBezTo>
                    <a:close/>
                    <a:moveTo>
                      <a:pt x="1144" y="409"/>
                    </a:moveTo>
                    <a:cubicBezTo>
                      <a:pt x="1144" y="408"/>
                      <a:pt x="1144" y="408"/>
                      <a:pt x="1144" y="408"/>
                    </a:cubicBezTo>
                    <a:cubicBezTo>
                      <a:pt x="1143" y="409"/>
                      <a:pt x="1143" y="409"/>
                      <a:pt x="1143" y="409"/>
                    </a:cubicBezTo>
                    <a:cubicBezTo>
                      <a:pt x="1144" y="409"/>
                      <a:pt x="1144" y="409"/>
                      <a:pt x="1144" y="409"/>
                    </a:cubicBezTo>
                    <a:close/>
                    <a:moveTo>
                      <a:pt x="1147" y="406"/>
                    </a:moveTo>
                    <a:cubicBezTo>
                      <a:pt x="1147" y="405"/>
                      <a:pt x="1147" y="405"/>
                      <a:pt x="1147" y="405"/>
                    </a:cubicBezTo>
                    <a:cubicBezTo>
                      <a:pt x="1147" y="404"/>
                      <a:pt x="1147" y="404"/>
                      <a:pt x="1147" y="404"/>
                    </a:cubicBezTo>
                    <a:cubicBezTo>
                      <a:pt x="1146" y="405"/>
                      <a:pt x="1146" y="405"/>
                      <a:pt x="1146" y="405"/>
                    </a:cubicBezTo>
                    <a:cubicBezTo>
                      <a:pt x="1147" y="406"/>
                      <a:pt x="1147" y="406"/>
                      <a:pt x="1147" y="406"/>
                    </a:cubicBezTo>
                    <a:close/>
                    <a:moveTo>
                      <a:pt x="1157" y="426"/>
                    </a:moveTo>
                    <a:cubicBezTo>
                      <a:pt x="1158" y="427"/>
                      <a:pt x="1158" y="427"/>
                      <a:pt x="1158" y="427"/>
                    </a:cubicBezTo>
                    <a:cubicBezTo>
                      <a:pt x="1158" y="426"/>
                      <a:pt x="1158" y="426"/>
                      <a:pt x="1158" y="426"/>
                    </a:cubicBezTo>
                    <a:cubicBezTo>
                      <a:pt x="1157" y="426"/>
                      <a:pt x="1157" y="426"/>
                      <a:pt x="1157" y="426"/>
                    </a:cubicBezTo>
                    <a:close/>
                    <a:moveTo>
                      <a:pt x="1139" y="398"/>
                    </a:moveTo>
                    <a:cubicBezTo>
                      <a:pt x="1139" y="398"/>
                      <a:pt x="1139" y="398"/>
                      <a:pt x="1140" y="398"/>
                    </a:cubicBezTo>
                    <a:cubicBezTo>
                      <a:pt x="1140" y="398"/>
                      <a:pt x="1140" y="398"/>
                      <a:pt x="1140" y="397"/>
                    </a:cubicBezTo>
                    <a:cubicBezTo>
                      <a:pt x="1140" y="397"/>
                      <a:pt x="1140" y="397"/>
                      <a:pt x="1139" y="398"/>
                    </a:cubicBezTo>
                    <a:close/>
                    <a:moveTo>
                      <a:pt x="1140" y="394"/>
                    </a:moveTo>
                    <a:cubicBezTo>
                      <a:pt x="1141" y="395"/>
                      <a:pt x="1141" y="395"/>
                      <a:pt x="1141" y="395"/>
                    </a:cubicBezTo>
                    <a:cubicBezTo>
                      <a:pt x="1141" y="394"/>
                      <a:pt x="1141" y="394"/>
                      <a:pt x="1141" y="394"/>
                    </a:cubicBezTo>
                    <a:cubicBezTo>
                      <a:pt x="1140" y="394"/>
                      <a:pt x="1140" y="394"/>
                      <a:pt x="1140" y="394"/>
                    </a:cubicBezTo>
                    <a:close/>
                    <a:moveTo>
                      <a:pt x="1141" y="395"/>
                    </a:moveTo>
                    <a:cubicBezTo>
                      <a:pt x="1141" y="396"/>
                      <a:pt x="1141" y="396"/>
                      <a:pt x="1141" y="396"/>
                    </a:cubicBezTo>
                    <a:cubicBezTo>
                      <a:pt x="1142" y="395"/>
                      <a:pt x="1142" y="395"/>
                      <a:pt x="1142" y="395"/>
                    </a:cubicBezTo>
                    <a:cubicBezTo>
                      <a:pt x="1141" y="395"/>
                      <a:pt x="1141" y="395"/>
                      <a:pt x="1141" y="395"/>
                    </a:cubicBezTo>
                    <a:close/>
                    <a:moveTo>
                      <a:pt x="1156" y="378"/>
                    </a:moveTo>
                    <a:cubicBezTo>
                      <a:pt x="1155" y="378"/>
                      <a:pt x="1155" y="378"/>
                      <a:pt x="1155" y="378"/>
                    </a:cubicBezTo>
                    <a:cubicBezTo>
                      <a:pt x="1156" y="379"/>
                      <a:pt x="1156" y="379"/>
                      <a:pt x="1156" y="379"/>
                    </a:cubicBezTo>
                    <a:cubicBezTo>
                      <a:pt x="1156" y="378"/>
                      <a:pt x="1156" y="378"/>
                      <a:pt x="1156" y="378"/>
                    </a:cubicBezTo>
                    <a:close/>
                    <a:moveTo>
                      <a:pt x="1169" y="360"/>
                    </a:moveTo>
                    <a:cubicBezTo>
                      <a:pt x="1169" y="360"/>
                      <a:pt x="1169" y="360"/>
                      <a:pt x="1169" y="358"/>
                    </a:cubicBezTo>
                    <a:cubicBezTo>
                      <a:pt x="1169" y="358"/>
                      <a:pt x="1169" y="358"/>
                      <a:pt x="1168" y="358"/>
                    </a:cubicBezTo>
                    <a:cubicBezTo>
                      <a:pt x="1168" y="358"/>
                      <a:pt x="1168" y="358"/>
                      <a:pt x="1168" y="359"/>
                    </a:cubicBezTo>
                    <a:cubicBezTo>
                      <a:pt x="1168" y="359"/>
                      <a:pt x="1168" y="359"/>
                      <a:pt x="1167" y="360"/>
                    </a:cubicBezTo>
                    <a:cubicBezTo>
                      <a:pt x="1167" y="360"/>
                      <a:pt x="1167" y="360"/>
                      <a:pt x="1168" y="360"/>
                    </a:cubicBezTo>
                    <a:cubicBezTo>
                      <a:pt x="1168" y="360"/>
                      <a:pt x="1168" y="360"/>
                      <a:pt x="1169" y="360"/>
                    </a:cubicBezTo>
                    <a:close/>
                    <a:moveTo>
                      <a:pt x="1167" y="363"/>
                    </a:moveTo>
                    <a:cubicBezTo>
                      <a:pt x="1167" y="363"/>
                      <a:pt x="1167" y="363"/>
                      <a:pt x="1168" y="364"/>
                    </a:cubicBezTo>
                    <a:cubicBezTo>
                      <a:pt x="1168" y="364"/>
                      <a:pt x="1168" y="364"/>
                      <a:pt x="1168" y="363"/>
                    </a:cubicBezTo>
                    <a:cubicBezTo>
                      <a:pt x="1168" y="363"/>
                      <a:pt x="1168" y="363"/>
                      <a:pt x="1169" y="363"/>
                    </a:cubicBezTo>
                    <a:cubicBezTo>
                      <a:pt x="1169" y="363"/>
                      <a:pt x="1169" y="363"/>
                      <a:pt x="1168" y="362"/>
                    </a:cubicBezTo>
                    <a:cubicBezTo>
                      <a:pt x="1168" y="362"/>
                      <a:pt x="1168" y="362"/>
                      <a:pt x="1169" y="361"/>
                    </a:cubicBezTo>
                    <a:cubicBezTo>
                      <a:pt x="1169" y="361"/>
                      <a:pt x="1169" y="361"/>
                      <a:pt x="1168" y="361"/>
                    </a:cubicBezTo>
                    <a:cubicBezTo>
                      <a:pt x="1168" y="361"/>
                      <a:pt x="1168" y="361"/>
                      <a:pt x="1167" y="361"/>
                    </a:cubicBezTo>
                    <a:cubicBezTo>
                      <a:pt x="1167" y="361"/>
                      <a:pt x="1167" y="361"/>
                      <a:pt x="1167" y="362"/>
                    </a:cubicBezTo>
                    <a:cubicBezTo>
                      <a:pt x="1167" y="362"/>
                      <a:pt x="1167" y="362"/>
                      <a:pt x="1166" y="362"/>
                    </a:cubicBezTo>
                    <a:cubicBezTo>
                      <a:pt x="1166" y="362"/>
                      <a:pt x="1166" y="362"/>
                      <a:pt x="1165" y="362"/>
                    </a:cubicBezTo>
                    <a:cubicBezTo>
                      <a:pt x="1165" y="362"/>
                      <a:pt x="1165" y="362"/>
                      <a:pt x="1166" y="363"/>
                    </a:cubicBezTo>
                    <a:cubicBezTo>
                      <a:pt x="1166" y="363"/>
                      <a:pt x="1166" y="363"/>
                      <a:pt x="1167" y="363"/>
                    </a:cubicBezTo>
                    <a:close/>
                    <a:moveTo>
                      <a:pt x="1166" y="360"/>
                    </a:moveTo>
                    <a:cubicBezTo>
                      <a:pt x="1166" y="361"/>
                      <a:pt x="1166" y="361"/>
                      <a:pt x="1166" y="361"/>
                    </a:cubicBezTo>
                    <a:cubicBezTo>
                      <a:pt x="1167" y="361"/>
                      <a:pt x="1167" y="361"/>
                      <a:pt x="1167" y="361"/>
                    </a:cubicBezTo>
                    <a:cubicBezTo>
                      <a:pt x="1167" y="360"/>
                      <a:pt x="1167" y="360"/>
                      <a:pt x="1167" y="360"/>
                    </a:cubicBezTo>
                    <a:cubicBezTo>
                      <a:pt x="1166" y="360"/>
                      <a:pt x="1166" y="360"/>
                      <a:pt x="1166" y="360"/>
                    </a:cubicBezTo>
                    <a:close/>
                    <a:moveTo>
                      <a:pt x="1144" y="392"/>
                    </a:moveTo>
                    <a:cubicBezTo>
                      <a:pt x="1144" y="392"/>
                      <a:pt x="1144" y="392"/>
                      <a:pt x="1143" y="392"/>
                    </a:cubicBezTo>
                    <a:cubicBezTo>
                      <a:pt x="1143" y="392"/>
                      <a:pt x="1143" y="392"/>
                      <a:pt x="1142" y="391"/>
                    </a:cubicBezTo>
                    <a:cubicBezTo>
                      <a:pt x="1142" y="391"/>
                      <a:pt x="1142" y="391"/>
                      <a:pt x="1142" y="389"/>
                    </a:cubicBezTo>
                    <a:cubicBezTo>
                      <a:pt x="1142" y="389"/>
                      <a:pt x="1142" y="389"/>
                      <a:pt x="1141" y="388"/>
                    </a:cubicBezTo>
                    <a:cubicBezTo>
                      <a:pt x="1141" y="388"/>
                      <a:pt x="1141" y="388"/>
                      <a:pt x="1140" y="389"/>
                    </a:cubicBezTo>
                    <a:cubicBezTo>
                      <a:pt x="1140" y="389"/>
                      <a:pt x="1140" y="389"/>
                      <a:pt x="1141" y="390"/>
                    </a:cubicBezTo>
                    <a:cubicBezTo>
                      <a:pt x="1141" y="390"/>
                      <a:pt x="1141" y="390"/>
                      <a:pt x="1139" y="389"/>
                    </a:cubicBezTo>
                    <a:cubicBezTo>
                      <a:pt x="1139" y="389"/>
                      <a:pt x="1139" y="389"/>
                      <a:pt x="1139" y="390"/>
                    </a:cubicBezTo>
                    <a:cubicBezTo>
                      <a:pt x="1139" y="390"/>
                      <a:pt x="1139" y="390"/>
                      <a:pt x="1138" y="390"/>
                    </a:cubicBezTo>
                    <a:cubicBezTo>
                      <a:pt x="1138" y="390"/>
                      <a:pt x="1138" y="390"/>
                      <a:pt x="1140" y="391"/>
                    </a:cubicBezTo>
                    <a:cubicBezTo>
                      <a:pt x="1140" y="391"/>
                      <a:pt x="1140" y="391"/>
                      <a:pt x="1141" y="393"/>
                    </a:cubicBezTo>
                    <a:cubicBezTo>
                      <a:pt x="1141" y="393"/>
                      <a:pt x="1141" y="393"/>
                      <a:pt x="1142" y="393"/>
                    </a:cubicBezTo>
                    <a:cubicBezTo>
                      <a:pt x="1142" y="393"/>
                      <a:pt x="1142" y="393"/>
                      <a:pt x="1142" y="394"/>
                    </a:cubicBezTo>
                    <a:cubicBezTo>
                      <a:pt x="1142" y="394"/>
                      <a:pt x="1142" y="394"/>
                      <a:pt x="1143" y="394"/>
                    </a:cubicBezTo>
                    <a:cubicBezTo>
                      <a:pt x="1143" y="394"/>
                      <a:pt x="1143" y="394"/>
                      <a:pt x="1143" y="393"/>
                    </a:cubicBezTo>
                    <a:cubicBezTo>
                      <a:pt x="1143" y="393"/>
                      <a:pt x="1143" y="393"/>
                      <a:pt x="1144" y="392"/>
                    </a:cubicBezTo>
                    <a:close/>
                    <a:moveTo>
                      <a:pt x="1156" y="375"/>
                    </a:moveTo>
                    <a:cubicBezTo>
                      <a:pt x="1157" y="376"/>
                      <a:pt x="1157" y="376"/>
                      <a:pt x="1157" y="376"/>
                    </a:cubicBezTo>
                    <a:cubicBezTo>
                      <a:pt x="1157" y="375"/>
                      <a:pt x="1157" y="375"/>
                      <a:pt x="1157" y="375"/>
                    </a:cubicBezTo>
                    <a:cubicBezTo>
                      <a:pt x="1156" y="375"/>
                      <a:pt x="1156" y="375"/>
                      <a:pt x="1156" y="375"/>
                    </a:cubicBezTo>
                    <a:close/>
                    <a:moveTo>
                      <a:pt x="1157" y="376"/>
                    </a:moveTo>
                    <a:cubicBezTo>
                      <a:pt x="1157" y="376"/>
                      <a:pt x="1157" y="376"/>
                      <a:pt x="1156" y="376"/>
                    </a:cubicBezTo>
                    <a:cubicBezTo>
                      <a:pt x="1156" y="376"/>
                      <a:pt x="1156" y="376"/>
                      <a:pt x="1155" y="376"/>
                    </a:cubicBezTo>
                    <a:cubicBezTo>
                      <a:pt x="1155" y="376"/>
                      <a:pt x="1155" y="376"/>
                      <a:pt x="1155" y="377"/>
                    </a:cubicBezTo>
                    <a:cubicBezTo>
                      <a:pt x="1155" y="377"/>
                      <a:pt x="1155" y="377"/>
                      <a:pt x="1156" y="377"/>
                    </a:cubicBezTo>
                    <a:cubicBezTo>
                      <a:pt x="1156" y="377"/>
                      <a:pt x="1156" y="377"/>
                      <a:pt x="1157" y="376"/>
                    </a:cubicBezTo>
                    <a:close/>
                    <a:moveTo>
                      <a:pt x="1158" y="378"/>
                    </a:moveTo>
                    <a:cubicBezTo>
                      <a:pt x="1158" y="378"/>
                      <a:pt x="1158" y="378"/>
                      <a:pt x="1158" y="377"/>
                    </a:cubicBezTo>
                    <a:cubicBezTo>
                      <a:pt x="1158" y="377"/>
                      <a:pt x="1158" y="377"/>
                      <a:pt x="1157" y="377"/>
                    </a:cubicBezTo>
                    <a:cubicBezTo>
                      <a:pt x="1157" y="377"/>
                      <a:pt x="1157" y="377"/>
                      <a:pt x="1158" y="378"/>
                    </a:cubicBezTo>
                    <a:close/>
                    <a:moveTo>
                      <a:pt x="1142" y="404"/>
                    </a:moveTo>
                    <a:cubicBezTo>
                      <a:pt x="1142" y="404"/>
                      <a:pt x="1142" y="404"/>
                      <a:pt x="1142" y="405"/>
                    </a:cubicBezTo>
                    <a:cubicBezTo>
                      <a:pt x="1142" y="405"/>
                      <a:pt x="1142" y="405"/>
                      <a:pt x="1143" y="404"/>
                    </a:cubicBezTo>
                    <a:cubicBezTo>
                      <a:pt x="1143" y="404"/>
                      <a:pt x="1143" y="404"/>
                      <a:pt x="1144" y="402"/>
                    </a:cubicBezTo>
                    <a:cubicBezTo>
                      <a:pt x="1144" y="402"/>
                      <a:pt x="1144" y="402"/>
                      <a:pt x="1142" y="404"/>
                    </a:cubicBezTo>
                    <a:close/>
                    <a:moveTo>
                      <a:pt x="1138" y="388"/>
                    </a:moveTo>
                    <a:cubicBezTo>
                      <a:pt x="1139" y="387"/>
                      <a:pt x="1139" y="387"/>
                      <a:pt x="1139" y="387"/>
                    </a:cubicBezTo>
                    <a:cubicBezTo>
                      <a:pt x="1138" y="386"/>
                      <a:pt x="1138" y="386"/>
                      <a:pt x="1138" y="386"/>
                    </a:cubicBezTo>
                    <a:cubicBezTo>
                      <a:pt x="1137" y="387"/>
                      <a:pt x="1137" y="387"/>
                      <a:pt x="1137" y="387"/>
                    </a:cubicBezTo>
                    <a:cubicBezTo>
                      <a:pt x="1138" y="388"/>
                      <a:pt x="1138" y="388"/>
                      <a:pt x="1138" y="388"/>
                    </a:cubicBezTo>
                    <a:close/>
                    <a:moveTo>
                      <a:pt x="1148" y="419"/>
                    </a:moveTo>
                    <a:cubicBezTo>
                      <a:pt x="1148" y="419"/>
                      <a:pt x="1148" y="419"/>
                      <a:pt x="1148" y="420"/>
                    </a:cubicBezTo>
                    <a:cubicBezTo>
                      <a:pt x="1148" y="420"/>
                      <a:pt x="1148" y="420"/>
                      <a:pt x="1149" y="420"/>
                    </a:cubicBezTo>
                    <a:cubicBezTo>
                      <a:pt x="1149" y="420"/>
                      <a:pt x="1149" y="420"/>
                      <a:pt x="1151" y="419"/>
                    </a:cubicBezTo>
                    <a:cubicBezTo>
                      <a:pt x="1151" y="419"/>
                      <a:pt x="1151" y="419"/>
                      <a:pt x="1150" y="418"/>
                    </a:cubicBezTo>
                    <a:cubicBezTo>
                      <a:pt x="1150" y="418"/>
                      <a:pt x="1150" y="418"/>
                      <a:pt x="1151" y="417"/>
                    </a:cubicBezTo>
                    <a:cubicBezTo>
                      <a:pt x="1151" y="417"/>
                      <a:pt x="1151" y="417"/>
                      <a:pt x="1148" y="419"/>
                    </a:cubicBezTo>
                    <a:close/>
                    <a:moveTo>
                      <a:pt x="1150" y="426"/>
                    </a:moveTo>
                    <a:cubicBezTo>
                      <a:pt x="1149" y="427"/>
                      <a:pt x="1149" y="427"/>
                      <a:pt x="1149" y="427"/>
                    </a:cubicBezTo>
                    <a:cubicBezTo>
                      <a:pt x="1151" y="428"/>
                      <a:pt x="1151" y="428"/>
                      <a:pt x="1151" y="428"/>
                    </a:cubicBezTo>
                    <a:cubicBezTo>
                      <a:pt x="1152" y="427"/>
                      <a:pt x="1152" y="427"/>
                      <a:pt x="1152" y="427"/>
                    </a:cubicBezTo>
                    <a:cubicBezTo>
                      <a:pt x="1151" y="427"/>
                      <a:pt x="1151" y="427"/>
                      <a:pt x="1151" y="427"/>
                    </a:cubicBezTo>
                    <a:cubicBezTo>
                      <a:pt x="1151" y="426"/>
                      <a:pt x="1151" y="426"/>
                      <a:pt x="1151" y="426"/>
                    </a:cubicBezTo>
                    <a:cubicBezTo>
                      <a:pt x="1150" y="426"/>
                      <a:pt x="1150" y="426"/>
                      <a:pt x="1150" y="426"/>
                    </a:cubicBezTo>
                    <a:close/>
                    <a:moveTo>
                      <a:pt x="1144" y="393"/>
                    </a:moveTo>
                    <a:cubicBezTo>
                      <a:pt x="1143" y="394"/>
                      <a:pt x="1143" y="394"/>
                      <a:pt x="1143" y="394"/>
                    </a:cubicBezTo>
                    <a:cubicBezTo>
                      <a:pt x="1144" y="394"/>
                      <a:pt x="1144" y="394"/>
                      <a:pt x="1144" y="394"/>
                    </a:cubicBezTo>
                    <a:cubicBezTo>
                      <a:pt x="1144" y="395"/>
                      <a:pt x="1144" y="395"/>
                      <a:pt x="1144" y="395"/>
                    </a:cubicBezTo>
                    <a:cubicBezTo>
                      <a:pt x="1143" y="394"/>
                      <a:pt x="1143" y="394"/>
                      <a:pt x="1143" y="394"/>
                    </a:cubicBezTo>
                    <a:cubicBezTo>
                      <a:pt x="1143" y="395"/>
                      <a:pt x="1143" y="395"/>
                      <a:pt x="1143" y="395"/>
                    </a:cubicBezTo>
                    <a:cubicBezTo>
                      <a:pt x="1143" y="396"/>
                      <a:pt x="1143" y="396"/>
                      <a:pt x="1143" y="396"/>
                    </a:cubicBezTo>
                    <a:cubicBezTo>
                      <a:pt x="1141" y="396"/>
                      <a:pt x="1141" y="396"/>
                      <a:pt x="1141" y="396"/>
                    </a:cubicBezTo>
                    <a:cubicBezTo>
                      <a:pt x="1141" y="397"/>
                      <a:pt x="1141" y="397"/>
                      <a:pt x="1141" y="397"/>
                    </a:cubicBezTo>
                    <a:cubicBezTo>
                      <a:pt x="1142" y="397"/>
                      <a:pt x="1142" y="397"/>
                      <a:pt x="1142" y="397"/>
                    </a:cubicBezTo>
                    <a:cubicBezTo>
                      <a:pt x="1143" y="398"/>
                      <a:pt x="1143" y="398"/>
                      <a:pt x="1143" y="398"/>
                    </a:cubicBezTo>
                    <a:cubicBezTo>
                      <a:pt x="1144" y="399"/>
                      <a:pt x="1144" y="399"/>
                      <a:pt x="1144" y="399"/>
                    </a:cubicBezTo>
                    <a:cubicBezTo>
                      <a:pt x="1146" y="396"/>
                      <a:pt x="1146" y="396"/>
                      <a:pt x="1146" y="396"/>
                    </a:cubicBezTo>
                    <a:cubicBezTo>
                      <a:pt x="1146" y="397"/>
                      <a:pt x="1146" y="397"/>
                      <a:pt x="1146" y="397"/>
                    </a:cubicBezTo>
                    <a:cubicBezTo>
                      <a:pt x="1145" y="399"/>
                      <a:pt x="1145" y="399"/>
                      <a:pt x="1145" y="399"/>
                    </a:cubicBezTo>
                    <a:cubicBezTo>
                      <a:pt x="1144" y="401"/>
                      <a:pt x="1144" y="401"/>
                      <a:pt x="1144" y="401"/>
                    </a:cubicBezTo>
                    <a:cubicBezTo>
                      <a:pt x="1145" y="401"/>
                      <a:pt x="1145" y="401"/>
                      <a:pt x="1145" y="401"/>
                    </a:cubicBezTo>
                    <a:cubicBezTo>
                      <a:pt x="1144" y="403"/>
                      <a:pt x="1144" y="403"/>
                      <a:pt x="1144" y="403"/>
                    </a:cubicBezTo>
                    <a:cubicBezTo>
                      <a:pt x="1144" y="404"/>
                      <a:pt x="1144" y="404"/>
                      <a:pt x="1144" y="404"/>
                    </a:cubicBezTo>
                    <a:cubicBezTo>
                      <a:pt x="1144" y="405"/>
                      <a:pt x="1144" y="405"/>
                      <a:pt x="1144" y="405"/>
                    </a:cubicBezTo>
                    <a:cubicBezTo>
                      <a:pt x="1144" y="406"/>
                      <a:pt x="1144" y="406"/>
                      <a:pt x="1144" y="406"/>
                    </a:cubicBezTo>
                    <a:cubicBezTo>
                      <a:pt x="1144" y="408"/>
                      <a:pt x="1144" y="408"/>
                      <a:pt x="1144" y="408"/>
                    </a:cubicBezTo>
                    <a:cubicBezTo>
                      <a:pt x="1145" y="407"/>
                      <a:pt x="1145" y="407"/>
                      <a:pt x="1145" y="407"/>
                    </a:cubicBezTo>
                    <a:cubicBezTo>
                      <a:pt x="1145" y="408"/>
                      <a:pt x="1145" y="408"/>
                      <a:pt x="1145" y="408"/>
                    </a:cubicBezTo>
                    <a:cubicBezTo>
                      <a:pt x="1147" y="409"/>
                      <a:pt x="1147" y="409"/>
                      <a:pt x="1147" y="409"/>
                    </a:cubicBezTo>
                    <a:cubicBezTo>
                      <a:pt x="1147" y="407"/>
                      <a:pt x="1147" y="407"/>
                      <a:pt x="1147" y="407"/>
                    </a:cubicBezTo>
                    <a:cubicBezTo>
                      <a:pt x="1146" y="406"/>
                      <a:pt x="1146" y="406"/>
                      <a:pt x="1146" y="406"/>
                    </a:cubicBezTo>
                    <a:cubicBezTo>
                      <a:pt x="1145" y="406"/>
                      <a:pt x="1145" y="406"/>
                      <a:pt x="1145" y="406"/>
                    </a:cubicBezTo>
                    <a:cubicBezTo>
                      <a:pt x="1145" y="405"/>
                      <a:pt x="1145" y="405"/>
                      <a:pt x="1145" y="405"/>
                    </a:cubicBezTo>
                    <a:cubicBezTo>
                      <a:pt x="1145" y="403"/>
                      <a:pt x="1145" y="403"/>
                      <a:pt x="1145" y="403"/>
                    </a:cubicBezTo>
                    <a:cubicBezTo>
                      <a:pt x="1147" y="401"/>
                      <a:pt x="1147" y="401"/>
                      <a:pt x="1147" y="401"/>
                    </a:cubicBezTo>
                    <a:cubicBezTo>
                      <a:pt x="1146" y="403"/>
                      <a:pt x="1146" y="403"/>
                      <a:pt x="1146" y="403"/>
                    </a:cubicBezTo>
                    <a:cubicBezTo>
                      <a:pt x="1146" y="404"/>
                      <a:pt x="1146" y="404"/>
                      <a:pt x="1146" y="404"/>
                    </a:cubicBezTo>
                    <a:cubicBezTo>
                      <a:pt x="1147" y="403"/>
                      <a:pt x="1147" y="403"/>
                      <a:pt x="1147" y="403"/>
                    </a:cubicBezTo>
                    <a:cubicBezTo>
                      <a:pt x="1147" y="404"/>
                      <a:pt x="1147" y="404"/>
                      <a:pt x="1147" y="404"/>
                    </a:cubicBezTo>
                    <a:cubicBezTo>
                      <a:pt x="1148" y="403"/>
                      <a:pt x="1148" y="403"/>
                      <a:pt x="1148" y="403"/>
                    </a:cubicBezTo>
                    <a:cubicBezTo>
                      <a:pt x="1148" y="405"/>
                      <a:pt x="1148" y="405"/>
                      <a:pt x="1148" y="405"/>
                    </a:cubicBezTo>
                    <a:cubicBezTo>
                      <a:pt x="1148" y="406"/>
                      <a:pt x="1148" y="406"/>
                      <a:pt x="1148" y="406"/>
                    </a:cubicBezTo>
                    <a:cubicBezTo>
                      <a:pt x="1149" y="407"/>
                      <a:pt x="1149" y="407"/>
                      <a:pt x="1149" y="407"/>
                    </a:cubicBezTo>
                    <a:cubicBezTo>
                      <a:pt x="1149" y="408"/>
                      <a:pt x="1149" y="408"/>
                      <a:pt x="1149" y="408"/>
                    </a:cubicBezTo>
                    <a:cubicBezTo>
                      <a:pt x="1148" y="409"/>
                      <a:pt x="1148" y="409"/>
                      <a:pt x="1148" y="409"/>
                    </a:cubicBezTo>
                    <a:cubicBezTo>
                      <a:pt x="1147" y="411"/>
                      <a:pt x="1147" y="411"/>
                      <a:pt x="1147" y="411"/>
                    </a:cubicBezTo>
                    <a:cubicBezTo>
                      <a:pt x="1147" y="413"/>
                      <a:pt x="1147" y="413"/>
                      <a:pt x="1147" y="413"/>
                    </a:cubicBezTo>
                    <a:cubicBezTo>
                      <a:pt x="1148" y="413"/>
                      <a:pt x="1148" y="413"/>
                      <a:pt x="1148" y="413"/>
                    </a:cubicBezTo>
                    <a:cubicBezTo>
                      <a:pt x="1150" y="415"/>
                      <a:pt x="1150" y="415"/>
                      <a:pt x="1150" y="415"/>
                    </a:cubicBezTo>
                    <a:cubicBezTo>
                      <a:pt x="1150" y="414"/>
                      <a:pt x="1150" y="414"/>
                      <a:pt x="1150" y="414"/>
                    </a:cubicBezTo>
                    <a:cubicBezTo>
                      <a:pt x="1150" y="413"/>
                      <a:pt x="1150" y="413"/>
                      <a:pt x="1150" y="413"/>
                    </a:cubicBezTo>
                    <a:cubicBezTo>
                      <a:pt x="1152" y="414"/>
                      <a:pt x="1152" y="414"/>
                      <a:pt x="1152" y="414"/>
                    </a:cubicBezTo>
                    <a:cubicBezTo>
                      <a:pt x="1153" y="414"/>
                      <a:pt x="1153" y="414"/>
                      <a:pt x="1153" y="414"/>
                    </a:cubicBezTo>
                    <a:cubicBezTo>
                      <a:pt x="1153" y="413"/>
                      <a:pt x="1153" y="413"/>
                      <a:pt x="1153" y="413"/>
                    </a:cubicBezTo>
                    <a:cubicBezTo>
                      <a:pt x="1154" y="413"/>
                      <a:pt x="1154" y="413"/>
                      <a:pt x="1154" y="413"/>
                    </a:cubicBezTo>
                    <a:cubicBezTo>
                      <a:pt x="1155" y="412"/>
                      <a:pt x="1155" y="412"/>
                      <a:pt x="1155" y="412"/>
                    </a:cubicBezTo>
                    <a:cubicBezTo>
                      <a:pt x="1158" y="412"/>
                      <a:pt x="1158" y="412"/>
                      <a:pt x="1158" y="412"/>
                    </a:cubicBezTo>
                    <a:cubicBezTo>
                      <a:pt x="1156" y="413"/>
                      <a:pt x="1156" y="413"/>
                      <a:pt x="1156" y="413"/>
                    </a:cubicBezTo>
                    <a:cubicBezTo>
                      <a:pt x="1154" y="416"/>
                      <a:pt x="1154" y="416"/>
                      <a:pt x="1154" y="416"/>
                    </a:cubicBezTo>
                    <a:cubicBezTo>
                      <a:pt x="1156" y="419"/>
                      <a:pt x="1156" y="419"/>
                      <a:pt x="1156" y="419"/>
                    </a:cubicBezTo>
                    <a:cubicBezTo>
                      <a:pt x="1157" y="419"/>
                      <a:pt x="1157" y="419"/>
                      <a:pt x="1157" y="419"/>
                    </a:cubicBezTo>
                    <a:cubicBezTo>
                      <a:pt x="1157" y="420"/>
                      <a:pt x="1157" y="420"/>
                      <a:pt x="1157" y="420"/>
                    </a:cubicBezTo>
                    <a:cubicBezTo>
                      <a:pt x="1158" y="419"/>
                      <a:pt x="1158" y="419"/>
                      <a:pt x="1158" y="419"/>
                    </a:cubicBezTo>
                    <a:cubicBezTo>
                      <a:pt x="1159" y="419"/>
                      <a:pt x="1159" y="419"/>
                      <a:pt x="1159" y="419"/>
                    </a:cubicBezTo>
                    <a:cubicBezTo>
                      <a:pt x="1159" y="420"/>
                      <a:pt x="1159" y="420"/>
                      <a:pt x="1159" y="420"/>
                    </a:cubicBezTo>
                    <a:cubicBezTo>
                      <a:pt x="1159" y="421"/>
                      <a:pt x="1159" y="421"/>
                      <a:pt x="1159" y="421"/>
                    </a:cubicBezTo>
                    <a:cubicBezTo>
                      <a:pt x="1158" y="422"/>
                      <a:pt x="1158" y="422"/>
                      <a:pt x="1158" y="422"/>
                    </a:cubicBezTo>
                    <a:cubicBezTo>
                      <a:pt x="1158" y="423"/>
                      <a:pt x="1158" y="423"/>
                      <a:pt x="1158" y="423"/>
                    </a:cubicBezTo>
                    <a:cubicBezTo>
                      <a:pt x="1157" y="425"/>
                      <a:pt x="1157" y="425"/>
                      <a:pt x="1157" y="425"/>
                    </a:cubicBezTo>
                    <a:cubicBezTo>
                      <a:pt x="1158" y="426"/>
                      <a:pt x="1158" y="426"/>
                      <a:pt x="1158" y="426"/>
                    </a:cubicBezTo>
                    <a:cubicBezTo>
                      <a:pt x="1159" y="426"/>
                      <a:pt x="1159" y="426"/>
                      <a:pt x="1159" y="426"/>
                    </a:cubicBezTo>
                    <a:cubicBezTo>
                      <a:pt x="1160" y="427"/>
                      <a:pt x="1160" y="427"/>
                      <a:pt x="1160" y="427"/>
                    </a:cubicBezTo>
                    <a:cubicBezTo>
                      <a:pt x="1159" y="427"/>
                      <a:pt x="1159" y="427"/>
                      <a:pt x="1159" y="427"/>
                    </a:cubicBezTo>
                    <a:cubicBezTo>
                      <a:pt x="1158" y="427"/>
                      <a:pt x="1158" y="427"/>
                      <a:pt x="1158" y="427"/>
                    </a:cubicBezTo>
                    <a:cubicBezTo>
                      <a:pt x="1158" y="428"/>
                      <a:pt x="1158" y="428"/>
                      <a:pt x="1158" y="428"/>
                    </a:cubicBezTo>
                    <a:cubicBezTo>
                      <a:pt x="1157" y="427"/>
                      <a:pt x="1157" y="427"/>
                      <a:pt x="1157" y="427"/>
                    </a:cubicBezTo>
                    <a:cubicBezTo>
                      <a:pt x="1156" y="427"/>
                      <a:pt x="1156" y="427"/>
                      <a:pt x="1156" y="427"/>
                    </a:cubicBezTo>
                    <a:cubicBezTo>
                      <a:pt x="1154" y="427"/>
                      <a:pt x="1154" y="427"/>
                      <a:pt x="1154" y="427"/>
                    </a:cubicBezTo>
                    <a:cubicBezTo>
                      <a:pt x="1152" y="428"/>
                      <a:pt x="1152" y="428"/>
                      <a:pt x="1152" y="428"/>
                    </a:cubicBezTo>
                    <a:cubicBezTo>
                      <a:pt x="1150" y="430"/>
                      <a:pt x="1150" y="430"/>
                      <a:pt x="1150" y="430"/>
                    </a:cubicBezTo>
                    <a:cubicBezTo>
                      <a:pt x="1149" y="431"/>
                      <a:pt x="1149" y="431"/>
                      <a:pt x="1149" y="431"/>
                    </a:cubicBezTo>
                    <a:cubicBezTo>
                      <a:pt x="1150" y="431"/>
                      <a:pt x="1150" y="431"/>
                      <a:pt x="1150" y="431"/>
                    </a:cubicBezTo>
                    <a:cubicBezTo>
                      <a:pt x="1152" y="430"/>
                      <a:pt x="1152" y="430"/>
                      <a:pt x="1152" y="430"/>
                    </a:cubicBezTo>
                    <a:cubicBezTo>
                      <a:pt x="1152" y="431"/>
                      <a:pt x="1152" y="431"/>
                      <a:pt x="1152" y="431"/>
                    </a:cubicBezTo>
                    <a:cubicBezTo>
                      <a:pt x="1153" y="432"/>
                      <a:pt x="1153" y="432"/>
                      <a:pt x="1153" y="432"/>
                    </a:cubicBezTo>
                    <a:cubicBezTo>
                      <a:pt x="1152" y="433"/>
                      <a:pt x="1152" y="433"/>
                      <a:pt x="1152" y="433"/>
                    </a:cubicBezTo>
                    <a:cubicBezTo>
                      <a:pt x="1152" y="434"/>
                      <a:pt x="1152" y="434"/>
                      <a:pt x="1152" y="434"/>
                    </a:cubicBezTo>
                    <a:cubicBezTo>
                      <a:pt x="1153" y="434"/>
                      <a:pt x="1153" y="434"/>
                      <a:pt x="1153" y="434"/>
                    </a:cubicBezTo>
                    <a:cubicBezTo>
                      <a:pt x="1151" y="436"/>
                      <a:pt x="1151" y="436"/>
                      <a:pt x="1151" y="436"/>
                    </a:cubicBezTo>
                    <a:cubicBezTo>
                      <a:pt x="1150" y="437"/>
                      <a:pt x="1150" y="437"/>
                      <a:pt x="1150" y="437"/>
                    </a:cubicBezTo>
                    <a:cubicBezTo>
                      <a:pt x="1149" y="437"/>
                      <a:pt x="1149" y="437"/>
                      <a:pt x="1149" y="437"/>
                    </a:cubicBezTo>
                    <a:cubicBezTo>
                      <a:pt x="1148" y="438"/>
                      <a:pt x="1148" y="438"/>
                      <a:pt x="1148" y="438"/>
                    </a:cubicBezTo>
                    <a:cubicBezTo>
                      <a:pt x="1147" y="438"/>
                      <a:pt x="1147" y="438"/>
                      <a:pt x="1147" y="438"/>
                    </a:cubicBezTo>
                    <a:cubicBezTo>
                      <a:pt x="1145" y="439"/>
                      <a:pt x="1145" y="439"/>
                      <a:pt x="1145" y="439"/>
                    </a:cubicBezTo>
                    <a:cubicBezTo>
                      <a:pt x="1146" y="439"/>
                      <a:pt x="1146" y="439"/>
                      <a:pt x="1146" y="439"/>
                    </a:cubicBezTo>
                    <a:cubicBezTo>
                      <a:pt x="1146" y="440"/>
                      <a:pt x="1146" y="440"/>
                      <a:pt x="1146" y="440"/>
                    </a:cubicBezTo>
                    <a:cubicBezTo>
                      <a:pt x="1146" y="441"/>
                      <a:pt x="1146" y="441"/>
                      <a:pt x="1146" y="441"/>
                    </a:cubicBezTo>
                    <a:cubicBezTo>
                      <a:pt x="1147" y="441"/>
                      <a:pt x="1147" y="441"/>
                      <a:pt x="1147" y="441"/>
                    </a:cubicBezTo>
                    <a:cubicBezTo>
                      <a:pt x="1147" y="442"/>
                      <a:pt x="1147" y="442"/>
                      <a:pt x="1147" y="442"/>
                    </a:cubicBezTo>
                    <a:cubicBezTo>
                      <a:pt x="1148" y="441"/>
                      <a:pt x="1148" y="441"/>
                      <a:pt x="1148" y="441"/>
                    </a:cubicBezTo>
                    <a:cubicBezTo>
                      <a:pt x="1149" y="441"/>
                      <a:pt x="1149" y="441"/>
                      <a:pt x="1149" y="441"/>
                    </a:cubicBezTo>
                    <a:cubicBezTo>
                      <a:pt x="1151" y="440"/>
                      <a:pt x="1151" y="440"/>
                      <a:pt x="1151" y="440"/>
                    </a:cubicBezTo>
                    <a:cubicBezTo>
                      <a:pt x="1151" y="441"/>
                      <a:pt x="1151" y="441"/>
                      <a:pt x="1151" y="441"/>
                    </a:cubicBezTo>
                    <a:cubicBezTo>
                      <a:pt x="1152" y="441"/>
                      <a:pt x="1152" y="441"/>
                      <a:pt x="1152" y="441"/>
                    </a:cubicBezTo>
                    <a:cubicBezTo>
                      <a:pt x="1151" y="442"/>
                      <a:pt x="1151" y="442"/>
                      <a:pt x="1151" y="442"/>
                    </a:cubicBezTo>
                    <a:cubicBezTo>
                      <a:pt x="1153" y="442"/>
                      <a:pt x="1153" y="442"/>
                      <a:pt x="1153" y="442"/>
                    </a:cubicBezTo>
                    <a:cubicBezTo>
                      <a:pt x="1154" y="442"/>
                      <a:pt x="1154" y="442"/>
                      <a:pt x="1154" y="442"/>
                    </a:cubicBezTo>
                    <a:cubicBezTo>
                      <a:pt x="1155" y="443"/>
                      <a:pt x="1155" y="443"/>
                      <a:pt x="1155" y="443"/>
                    </a:cubicBezTo>
                    <a:cubicBezTo>
                      <a:pt x="1155" y="444"/>
                      <a:pt x="1155" y="444"/>
                      <a:pt x="1155" y="444"/>
                    </a:cubicBezTo>
                    <a:cubicBezTo>
                      <a:pt x="1157" y="444"/>
                      <a:pt x="1157" y="444"/>
                      <a:pt x="1157" y="444"/>
                    </a:cubicBezTo>
                    <a:cubicBezTo>
                      <a:pt x="1158" y="443"/>
                      <a:pt x="1158" y="443"/>
                      <a:pt x="1158" y="443"/>
                    </a:cubicBezTo>
                    <a:cubicBezTo>
                      <a:pt x="1159" y="442"/>
                      <a:pt x="1159" y="442"/>
                      <a:pt x="1159" y="442"/>
                    </a:cubicBezTo>
                    <a:cubicBezTo>
                      <a:pt x="1160" y="442"/>
                      <a:pt x="1160" y="442"/>
                      <a:pt x="1160" y="442"/>
                    </a:cubicBezTo>
                    <a:cubicBezTo>
                      <a:pt x="1161" y="441"/>
                      <a:pt x="1161" y="441"/>
                      <a:pt x="1161" y="441"/>
                    </a:cubicBezTo>
                    <a:cubicBezTo>
                      <a:pt x="1162" y="441"/>
                      <a:pt x="1162" y="441"/>
                      <a:pt x="1162" y="441"/>
                    </a:cubicBezTo>
                    <a:cubicBezTo>
                      <a:pt x="1160" y="442"/>
                      <a:pt x="1160" y="442"/>
                      <a:pt x="1160" y="442"/>
                    </a:cubicBezTo>
                    <a:cubicBezTo>
                      <a:pt x="1159" y="444"/>
                      <a:pt x="1159" y="444"/>
                      <a:pt x="1159" y="444"/>
                    </a:cubicBezTo>
                    <a:cubicBezTo>
                      <a:pt x="1159" y="446"/>
                      <a:pt x="1159" y="446"/>
                      <a:pt x="1159" y="446"/>
                    </a:cubicBezTo>
                    <a:cubicBezTo>
                      <a:pt x="1158" y="446"/>
                      <a:pt x="1158" y="446"/>
                      <a:pt x="1158" y="446"/>
                    </a:cubicBezTo>
                    <a:cubicBezTo>
                      <a:pt x="1157" y="446"/>
                      <a:pt x="1157" y="446"/>
                      <a:pt x="1157" y="446"/>
                    </a:cubicBezTo>
                    <a:cubicBezTo>
                      <a:pt x="1156" y="445"/>
                      <a:pt x="1156" y="445"/>
                      <a:pt x="1156" y="445"/>
                    </a:cubicBezTo>
                    <a:cubicBezTo>
                      <a:pt x="1153" y="445"/>
                      <a:pt x="1153" y="445"/>
                      <a:pt x="1153" y="445"/>
                    </a:cubicBezTo>
                    <a:cubicBezTo>
                      <a:pt x="1151" y="446"/>
                      <a:pt x="1151" y="446"/>
                      <a:pt x="1151" y="446"/>
                    </a:cubicBezTo>
                    <a:cubicBezTo>
                      <a:pt x="1151" y="447"/>
                      <a:pt x="1151" y="447"/>
                      <a:pt x="1151" y="447"/>
                    </a:cubicBezTo>
                    <a:cubicBezTo>
                      <a:pt x="1150" y="447"/>
                      <a:pt x="1150" y="447"/>
                      <a:pt x="1150" y="447"/>
                    </a:cubicBezTo>
                    <a:cubicBezTo>
                      <a:pt x="1149" y="449"/>
                      <a:pt x="1149" y="449"/>
                      <a:pt x="1149" y="449"/>
                    </a:cubicBezTo>
                    <a:cubicBezTo>
                      <a:pt x="1148" y="450"/>
                      <a:pt x="1148" y="450"/>
                      <a:pt x="1148" y="450"/>
                    </a:cubicBezTo>
                    <a:cubicBezTo>
                      <a:pt x="1148" y="451"/>
                      <a:pt x="1148" y="451"/>
                      <a:pt x="1148" y="451"/>
                    </a:cubicBezTo>
                    <a:cubicBezTo>
                      <a:pt x="1147" y="451"/>
                      <a:pt x="1147" y="451"/>
                      <a:pt x="1147" y="451"/>
                    </a:cubicBezTo>
                    <a:cubicBezTo>
                      <a:pt x="1147" y="452"/>
                      <a:pt x="1147" y="452"/>
                      <a:pt x="1147" y="452"/>
                    </a:cubicBezTo>
                    <a:cubicBezTo>
                      <a:pt x="1146" y="452"/>
                      <a:pt x="1146" y="452"/>
                      <a:pt x="1146" y="452"/>
                    </a:cubicBezTo>
                    <a:cubicBezTo>
                      <a:pt x="1146" y="453"/>
                      <a:pt x="1146" y="453"/>
                      <a:pt x="1146" y="453"/>
                    </a:cubicBezTo>
                    <a:cubicBezTo>
                      <a:pt x="1144" y="454"/>
                      <a:pt x="1144" y="454"/>
                      <a:pt x="1144" y="454"/>
                    </a:cubicBezTo>
                    <a:cubicBezTo>
                      <a:pt x="1143" y="455"/>
                      <a:pt x="1143" y="455"/>
                      <a:pt x="1143" y="455"/>
                    </a:cubicBezTo>
                    <a:cubicBezTo>
                      <a:pt x="1143" y="456"/>
                      <a:pt x="1143" y="456"/>
                      <a:pt x="1143" y="456"/>
                    </a:cubicBezTo>
                    <a:cubicBezTo>
                      <a:pt x="1144" y="456"/>
                      <a:pt x="1144" y="456"/>
                      <a:pt x="1144" y="456"/>
                    </a:cubicBezTo>
                    <a:cubicBezTo>
                      <a:pt x="1144" y="455"/>
                      <a:pt x="1144" y="455"/>
                      <a:pt x="1144" y="455"/>
                    </a:cubicBezTo>
                    <a:cubicBezTo>
                      <a:pt x="1145" y="455"/>
                      <a:pt x="1145" y="455"/>
                      <a:pt x="1145" y="455"/>
                    </a:cubicBezTo>
                    <a:cubicBezTo>
                      <a:pt x="1146" y="456"/>
                      <a:pt x="1146" y="456"/>
                      <a:pt x="1146" y="456"/>
                    </a:cubicBezTo>
                    <a:cubicBezTo>
                      <a:pt x="1146" y="455"/>
                      <a:pt x="1146" y="455"/>
                      <a:pt x="1146" y="455"/>
                    </a:cubicBezTo>
                    <a:cubicBezTo>
                      <a:pt x="1147" y="454"/>
                      <a:pt x="1147" y="454"/>
                      <a:pt x="1147" y="454"/>
                    </a:cubicBezTo>
                    <a:cubicBezTo>
                      <a:pt x="1147" y="455"/>
                      <a:pt x="1147" y="455"/>
                      <a:pt x="1147" y="455"/>
                    </a:cubicBezTo>
                    <a:cubicBezTo>
                      <a:pt x="1148" y="454"/>
                      <a:pt x="1148" y="454"/>
                      <a:pt x="1148" y="454"/>
                    </a:cubicBezTo>
                    <a:cubicBezTo>
                      <a:pt x="1149" y="453"/>
                      <a:pt x="1149" y="453"/>
                      <a:pt x="1149" y="453"/>
                    </a:cubicBezTo>
                    <a:cubicBezTo>
                      <a:pt x="1150" y="453"/>
                      <a:pt x="1150" y="453"/>
                      <a:pt x="1150" y="453"/>
                    </a:cubicBezTo>
                    <a:cubicBezTo>
                      <a:pt x="1151" y="453"/>
                      <a:pt x="1151" y="453"/>
                      <a:pt x="1151" y="453"/>
                    </a:cubicBezTo>
                    <a:cubicBezTo>
                      <a:pt x="1152" y="453"/>
                      <a:pt x="1152" y="453"/>
                      <a:pt x="1152" y="453"/>
                    </a:cubicBezTo>
                    <a:cubicBezTo>
                      <a:pt x="1153" y="453"/>
                      <a:pt x="1153" y="453"/>
                      <a:pt x="1153" y="453"/>
                    </a:cubicBezTo>
                    <a:cubicBezTo>
                      <a:pt x="1154" y="454"/>
                      <a:pt x="1154" y="454"/>
                      <a:pt x="1154" y="454"/>
                    </a:cubicBezTo>
                    <a:cubicBezTo>
                      <a:pt x="1155" y="454"/>
                      <a:pt x="1155" y="454"/>
                      <a:pt x="1155" y="454"/>
                    </a:cubicBezTo>
                    <a:cubicBezTo>
                      <a:pt x="1155" y="453"/>
                      <a:pt x="1155" y="453"/>
                      <a:pt x="1155" y="453"/>
                    </a:cubicBezTo>
                    <a:cubicBezTo>
                      <a:pt x="1156" y="453"/>
                      <a:pt x="1156" y="453"/>
                      <a:pt x="1156" y="453"/>
                    </a:cubicBezTo>
                    <a:cubicBezTo>
                      <a:pt x="1156" y="452"/>
                      <a:pt x="1156" y="452"/>
                      <a:pt x="1156" y="452"/>
                    </a:cubicBezTo>
                    <a:cubicBezTo>
                      <a:pt x="1156" y="451"/>
                      <a:pt x="1156" y="451"/>
                      <a:pt x="1156" y="451"/>
                    </a:cubicBezTo>
                    <a:cubicBezTo>
                      <a:pt x="1157" y="450"/>
                      <a:pt x="1157" y="450"/>
                      <a:pt x="1157" y="450"/>
                    </a:cubicBezTo>
                    <a:cubicBezTo>
                      <a:pt x="1159" y="450"/>
                      <a:pt x="1159" y="450"/>
                      <a:pt x="1159" y="450"/>
                    </a:cubicBezTo>
                    <a:cubicBezTo>
                      <a:pt x="1160" y="450"/>
                      <a:pt x="1160" y="450"/>
                      <a:pt x="1160" y="450"/>
                    </a:cubicBezTo>
                    <a:cubicBezTo>
                      <a:pt x="1162" y="451"/>
                      <a:pt x="1162" y="451"/>
                      <a:pt x="1162" y="451"/>
                    </a:cubicBezTo>
                    <a:cubicBezTo>
                      <a:pt x="1162" y="450"/>
                      <a:pt x="1162" y="450"/>
                      <a:pt x="1162" y="450"/>
                    </a:cubicBezTo>
                    <a:cubicBezTo>
                      <a:pt x="1164" y="450"/>
                      <a:pt x="1164" y="450"/>
                      <a:pt x="1164" y="450"/>
                    </a:cubicBezTo>
                    <a:cubicBezTo>
                      <a:pt x="1165" y="451"/>
                      <a:pt x="1165" y="451"/>
                      <a:pt x="1165" y="451"/>
                    </a:cubicBezTo>
                    <a:cubicBezTo>
                      <a:pt x="1165" y="450"/>
                      <a:pt x="1165" y="450"/>
                      <a:pt x="1165" y="450"/>
                    </a:cubicBezTo>
                    <a:cubicBezTo>
                      <a:pt x="1166" y="449"/>
                      <a:pt x="1166" y="449"/>
                      <a:pt x="1166" y="449"/>
                    </a:cubicBezTo>
                    <a:cubicBezTo>
                      <a:pt x="1167" y="449"/>
                      <a:pt x="1167" y="449"/>
                      <a:pt x="1167" y="449"/>
                    </a:cubicBezTo>
                    <a:cubicBezTo>
                      <a:pt x="1168" y="448"/>
                      <a:pt x="1168" y="448"/>
                      <a:pt x="1168" y="448"/>
                    </a:cubicBezTo>
                    <a:cubicBezTo>
                      <a:pt x="1169" y="449"/>
                      <a:pt x="1169" y="449"/>
                      <a:pt x="1169" y="449"/>
                    </a:cubicBezTo>
                    <a:cubicBezTo>
                      <a:pt x="1169" y="449"/>
                      <a:pt x="1169" y="449"/>
                      <a:pt x="1168" y="449"/>
                    </a:cubicBezTo>
                    <a:cubicBezTo>
                      <a:pt x="1168" y="449"/>
                      <a:pt x="1168" y="449"/>
                      <a:pt x="1167" y="450"/>
                    </a:cubicBezTo>
                    <a:cubicBezTo>
                      <a:pt x="1167" y="450"/>
                      <a:pt x="1167" y="450"/>
                      <a:pt x="1168" y="450"/>
                    </a:cubicBezTo>
                    <a:cubicBezTo>
                      <a:pt x="1168" y="450"/>
                      <a:pt x="1168" y="450"/>
                      <a:pt x="1168" y="451"/>
                    </a:cubicBezTo>
                    <a:cubicBezTo>
                      <a:pt x="1168" y="451"/>
                      <a:pt x="1168" y="451"/>
                      <a:pt x="1169" y="451"/>
                    </a:cubicBezTo>
                    <a:cubicBezTo>
                      <a:pt x="1169" y="451"/>
                      <a:pt x="1169" y="451"/>
                      <a:pt x="1169" y="450"/>
                    </a:cubicBezTo>
                    <a:cubicBezTo>
                      <a:pt x="1169" y="450"/>
                      <a:pt x="1169" y="450"/>
                      <a:pt x="1170" y="449"/>
                    </a:cubicBezTo>
                    <a:cubicBezTo>
                      <a:pt x="1171" y="448"/>
                      <a:pt x="1171" y="448"/>
                      <a:pt x="1171" y="448"/>
                    </a:cubicBezTo>
                    <a:cubicBezTo>
                      <a:pt x="1171" y="449"/>
                      <a:pt x="1171" y="449"/>
                      <a:pt x="1171" y="449"/>
                    </a:cubicBezTo>
                    <a:cubicBezTo>
                      <a:pt x="1172" y="448"/>
                      <a:pt x="1172" y="448"/>
                      <a:pt x="1172" y="448"/>
                    </a:cubicBezTo>
                    <a:cubicBezTo>
                      <a:pt x="1174" y="448"/>
                      <a:pt x="1174" y="448"/>
                      <a:pt x="1174" y="448"/>
                    </a:cubicBezTo>
                    <a:cubicBezTo>
                      <a:pt x="1176" y="448"/>
                      <a:pt x="1176" y="448"/>
                      <a:pt x="1176" y="448"/>
                    </a:cubicBezTo>
                    <a:cubicBezTo>
                      <a:pt x="1177" y="449"/>
                      <a:pt x="1177" y="449"/>
                      <a:pt x="1177" y="449"/>
                    </a:cubicBezTo>
                    <a:cubicBezTo>
                      <a:pt x="1178" y="449"/>
                      <a:pt x="1178" y="449"/>
                      <a:pt x="1178" y="449"/>
                    </a:cubicBezTo>
                    <a:cubicBezTo>
                      <a:pt x="1178" y="448"/>
                      <a:pt x="1178" y="448"/>
                      <a:pt x="1178" y="448"/>
                    </a:cubicBezTo>
                    <a:cubicBezTo>
                      <a:pt x="1180" y="448"/>
                      <a:pt x="1180" y="448"/>
                      <a:pt x="1180" y="448"/>
                    </a:cubicBezTo>
                    <a:cubicBezTo>
                      <a:pt x="1180" y="447"/>
                      <a:pt x="1180" y="447"/>
                      <a:pt x="1180" y="447"/>
                    </a:cubicBezTo>
                    <a:cubicBezTo>
                      <a:pt x="1181" y="447"/>
                      <a:pt x="1181" y="447"/>
                      <a:pt x="1181" y="447"/>
                    </a:cubicBezTo>
                    <a:cubicBezTo>
                      <a:pt x="1182" y="447"/>
                      <a:pt x="1182" y="447"/>
                      <a:pt x="1182" y="447"/>
                    </a:cubicBezTo>
                    <a:cubicBezTo>
                      <a:pt x="1182" y="446"/>
                      <a:pt x="1182" y="446"/>
                      <a:pt x="1182" y="446"/>
                    </a:cubicBezTo>
                    <a:cubicBezTo>
                      <a:pt x="1183" y="445"/>
                      <a:pt x="1183" y="445"/>
                      <a:pt x="1183" y="445"/>
                    </a:cubicBezTo>
                    <a:cubicBezTo>
                      <a:pt x="1184" y="445"/>
                      <a:pt x="1184" y="445"/>
                      <a:pt x="1184" y="445"/>
                    </a:cubicBezTo>
                    <a:cubicBezTo>
                      <a:pt x="1184" y="444"/>
                      <a:pt x="1184" y="444"/>
                      <a:pt x="1184" y="444"/>
                    </a:cubicBezTo>
                    <a:cubicBezTo>
                      <a:pt x="1184" y="443"/>
                      <a:pt x="1184" y="443"/>
                      <a:pt x="1184" y="443"/>
                    </a:cubicBezTo>
                    <a:cubicBezTo>
                      <a:pt x="1182" y="443"/>
                      <a:pt x="1182" y="443"/>
                      <a:pt x="1182" y="443"/>
                    </a:cubicBezTo>
                    <a:cubicBezTo>
                      <a:pt x="1181" y="443"/>
                      <a:pt x="1181" y="443"/>
                      <a:pt x="1181" y="443"/>
                    </a:cubicBezTo>
                    <a:cubicBezTo>
                      <a:pt x="1180" y="442"/>
                      <a:pt x="1180" y="442"/>
                      <a:pt x="1180" y="442"/>
                    </a:cubicBezTo>
                    <a:cubicBezTo>
                      <a:pt x="1180" y="443"/>
                      <a:pt x="1180" y="443"/>
                      <a:pt x="1180" y="443"/>
                    </a:cubicBezTo>
                    <a:cubicBezTo>
                      <a:pt x="1179" y="443"/>
                      <a:pt x="1179" y="443"/>
                      <a:pt x="1179" y="443"/>
                    </a:cubicBezTo>
                    <a:cubicBezTo>
                      <a:pt x="1180" y="442"/>
                      <a:pt x="1180" y="442"/>
                      <a:pt x="1180" y="442"/>
                    </a:cubicBezTo>
                    <a:cubicBezTo>
                      <a:pt x="1179" y="442"/>
                      <a:pt x="1179" y="442"/>
                      <a:pt x="1179" y="442"/>
                    </a:cubicBezTo>
                    <a:cubicBezTo>
                      <a:pt x="1178" y="442"/>
                      <a:pt x="1178" y="442"/>
                      <a:pt x="1178" y="442"/>
                    </a:cubicBezTo>
                    <a:cubicBezTo>
                      <a:pt x="1179" y="441"/>
                      <a:pt x="1179" y="441"/>
                      <a:pt x="1179" y="441"/>
                    </a:cubicBezTo>
                    <a:cubicBezTo>
                      <a:pt x="1180" y="442"/>
                      <a:pt x="1180" y="442"/>
                      <a:pt x="1180" y="442"/>
                    </a:cubicBezTo>
                    <a:cubicBezTo>
                      <a:pt x="1181" y="441"/>
                      <a:pt x="1181" y="441"/>
                      <a:pt x="1181" y="441"/>
                    </a:cubicBezTo>
                    <a:cubicBezTo>
                      <a:pt x="1181" y="440"/>
                      <a:pt x="1181" y="440"/>
                      <a:pt x="1181" y="440"/>
                    </a:cubicBezTo>
                    <a:cubicBezTo>
                      <a:pt x="1180" y="440"/>
                      <a:pt x="1180" y="440"/>
                      <a:pt x="1180" y="440"/>
                    </a:cubicBezTo>
                    <a:cubicBezTo>
                      <a:pt x="1181" y="439"/>
                      <a:pt x="1181" y="439"/>
                      <a:pt x="1181" y="439"/>
                    </a:cubicBezTo>
                    <a:cubicBezTo>
                      <a:pt x="1182" y="440"/>
                      <a:pt x="1182" y="440"/>
                      <a:pt x="1182" y="440"/>
                    </a:cubicBezTo>
                    <a:cubicBezTo>
                      <a:pt x="1182" y="439"/>
                      <a:pt x="1182" y="439"/>
                      <a:pt x="1182" y="439"/>
                    </a:cubicBezTo>
                    <a:cubicBezTo>
                      <a:pt x="1183" y="438"/>
                      <a:pt x="1183" y="438"/>
                      <a:pt x="1183" y="438"/>
                    </a:cubicBezTo>
                    <a:cubicBezTo>
                      <a:pt x="1182" y="438"/>
                      <a:pt x="1182" y="438"/>
                      <a:pt x="1182" y="438"/>
                    </a:cubicBezTo>
                    <a:cubicBezTo>
                      <a:pt x="1182" y="437"/>
                      <a:pt x="1182" y="437"/>
                      <a:pt x="1182" y="437"/>
                    </a:cubicBezTo>
                    <a:cubicBezTo>
                      <a:pt x="1183" y="437"/>
                      <a:pt x="1183" y="437"/>
                      <a:pt x="1183" y="437"/>
                    </a:cubicBezTo>
                    <a:cubicBezTo>
                      <a:pt x="1183" y="438"/>
                      <a:pt x="1183" y="438"/>
                      <a:pt x="1183" y="438"/>
                    </a:cubicBezTo>
                    <a:cubicBezTo>
                      <a:pt x="1184" y="437"/>
                      <a:pt x="1184" y="437"/>
                      <a:pt x="1184" y="437"/>
                    </a:cubicBezTo>
                    <a:cubicBezTo>
                      <a:pt x="1184" y="435"/>
                      <a:pt x="1184" y="435"/>
                      <a:pt x="1184" y="435"/>
                    </a:cubicBezTo>
                    <a:cubicBezTo>
                      <a:pt x="1185" y="433"/>
                      <a:pt x="1185" y="433"/>
                      <a:pt x="1185" y="433"/>
                    </a:cubicBezTo>
                    <a:cubicBezTo>
                      <a:pt x="1185" y="432"/>
                      <a:pt x="1185" y="432"/>
                      <a:pt x="1185" y="432"/>
                    </a:cubicBezTo>
                    <a:cubicBezTo>
                      <a:pt x="1184" y="431"/>
                      <a:pt x="1184" y="431"/>
                      <a:pt x="1184" y="431"/>
                    </a:cubicBezTo>
                    <a:cubicBezTo>
                      <a:pt x="1182" y="429"/>
                      <a:pt x="1182" y="429"/>
                      <a:pt x="1182" y="429"/>
                    </a:cubicBezTo>
                    <a:cubicBezTo>
                      <a:pt x="1179" y="429"/>
                      <a:pt x="1179" y="429"/>
                      <a:pt x="1179" y="429"/>
                    </a:cubicBezTo>
                    <a:cubicBezTo>
                      <a:pt x="1177" y="429"/>
                      <a:pt x="1177" y="429"/>
                      <a:pt x="1177" y="429"/>
                    </a:cubicBezTo>
                    <a:cubicBezTo>
                      <a:pt x="1177" y="430"/>
                      <a:pt x="1177" y="430"/>
                      <a:pt x="1177" y="430"/>
                    </a:cubicBezTo>
                    <a:cubicBezTo>
                      <a:pt x="1177" y="431"/>
                      <a:pt x="1177" y="431"/>
                      <a:pt x="1177" y="431"/>
                    </a:cubicBezTo>
                    <a:cubicBezTo>
                      <a:pt x="1176" y="430"/>
                      <a:pt x="1176" y="430"/>
                      <a:pt x="1176" y="430"/>
                    </a:cubicBezTo>
                    <a:cubicBezTo>
                      <a:pt x="1175" y="430"/>
                      <a:pt x="1175" y="430"/>
                      <a:pt x="1175" y="430"/>
                    </a:cubicBezTo>
                    <a:cubicBezTo>
                      <a:pt x="1177" y="428"/>
                      <a:pt x="1177" y="428"/>
                      <a:pt x="1177" y="428"/>
                    </a:cubicBezTo>
                    <a:cubicBezTo>
                      <a:pt x="1177" y="427"/>
                      <a:pt x="1177" y="427"/>
                      <a:pt x="1177" y="427"/>
                    </a:cubicBezTo>
                    <a:cubicBezTo>
                      <a:pt x="1175" y="425"/>
                      <a:pt x="1175" y="425"/>
                      <a:pt x="1175" y="425"/>
                    </a:cubicBezTo>
                    <a:cubicBezTo>
                      <a:pt x="1173" y="424"/>
                      <a:pt x="1173" y="424"/>
                      <a:pt x="1173" y="424"/>
                    </a:cubicBezTo>
                    <a:cubicBezTo>
                      <a:pt x="1173" y="423"/>
                      <a:pt x="1173" y="423"/>
                      <a:pt x="1173" y="423"/>
                    </a:cubicBezTo>
                    <a:cubicBezTo>
                      <a:pt x="1174" y="423"/>
                      <a:pt x="1174" y="423"/>
                      <a:pt x="1174" y="423"/>
                    </a:cubicBezTo>
                    <a:cubicBezTo>
                      <a:pt x="1175" y="423"/>
                      <a:pt x="1175" y="423"/>
                      <a:pt x="1175" y="423"/>
                    </a:cubicBezTo>
                    <a:cubicBezTo>
                      <a:pt x="1173" y="421"/>
                      <a:pt x="1173" y="421"/>
                      <a:pt x="1173" y="421"/>
                    </a:cubicBezTo>
                    <a:cubicBezTo>
                      <a:pt x="1173" y="420"/>
                      <a:pt x="1173" y="420"/>
                      <a:pt x="1173" y="420"/>
                    </a:cubicBezTo>
                    <a:cubicBezTo>
                      <a:pt x="1174" y="419"/>
                      <a:pt x="1174" y="419"/>
                      <a:pt x="1174" y="419"/>
                    </a:cubicBezTo>
                    <a:cubicBezTo>
                      <a:pt x="1173" y="419"/>
                      <a:pt x="1173" y="419"/>
                      <a:pt x="1173" y="419"/>
                    </a:cubicBezTo>
                    <a:cubicBezTo>
                      <a:pt x="1172" y="418"/>
                      <a:pt x="1172" y="418"/>
                      <a:pt x="1172" y="418"/>
                    </a:cubicBezTo>
                    <a:cubicBezTo>
                      <a:pt x="1171" y="416"/>
                      <a:pt x="1171" y="416"/>
                      <a:pt x="1171" y="416"/>
                    </a:cubicBezTo>
                    <a:cubicBezTo>
                      <a:pt x="1170" y="416"/>
                      <a:pt x="1170" y="416"/>
                      <a:pt x="1170" y="416"/>
                    </a:cubicBezTo>
                    <a:cubicBezTo>
                      <a:pt x="1167" y="415"/>
                      <a:pt x="1167" y="415"/>
                      <a:pt x="1167" y="415"/>
                    </a:cubicBezTo>
                    <a:cubicBezTo>
                      <a:pt x="1167" y="414"/>
                      <a:pt x="1167" y="414"/>
                      <a:pt x="1167" y="414"/>
                    </a:cubicBezTo>
                    <a:cubicBezTo>
                      <a:pt x="1166" y="412"/>
                      <a:pt x="1166" y="412"/>
                      <a:pt x="1166" y="412"/>
                    </a:cubicBezTo>
                    <a:cubicBezTo>
                      <a:pt x="1165" y="411"/>
                      <a:pt x="1165" y="411"/>
                      <a:pt x="1165" y="411"/>
                    </a:cubicBezTo>
                    <a:cubicBezTo>
                      <a:pt x="1165" y="408"/>
                      <a:pt x="1165" y="408"/>
                      <a:pt x="1165" y="408"/>
                    </a:cubicBezTo>
                    <a:cubicBezTo>
                      <a:pt x="1164" y="407"/>
                      <a:pt x="1164" y="407"/>
                      <a:pt x="1164" y="407"/>
                    </a:cubicBezTo>
                    <a:cubicBezTo>
                      <a:pt x="1162" y="404"/>
                      <a:pt x="1162" y="404"/>
                      <a:pt x="1162" y="404"/>
                    </a:cubicBezTo>
                    <a:cubicBezTo>
                      <a:pt x="1161" y="404"/>
                      <a:pt x="1161" y="404"/>
                      <a:pt x="1161" y="404"/>
                    </a:cubicBezTo>
                    <a:cubicBezTo>
                      <a:pt x="1160" y="403"/>
                      <a:pt x="1160" y="403"/>
                      <a:pt x="1160" y="403"/>
                    </a:cubicBezTo>
                    <a:cubicBezTo>
                      <a:pt x="1159" y="403"/>
                      <a:pt x="1159" y="403"/>
                      <a:pt x="1159" y="403"/>
                    </a:cubicBezTo>
                    <a:cubicBezTo>
                      <a:pt x="1158" y="403"/>
                      <a:pt x="1158" y="403"/>
                      <a:pt x="1158" y="403"/>
                    </a:cubicBezTo>
                    <a:cubicBezTo>
                      <a:pt x="1157" y="404"/>
                      <a:pt x="1157" y="404"/>
                      <a:pt x="1157" y="404"/>
                    </a:cubicBezTo>
                    <a:cubicBezTo>
                      <a:pt x="1156" y="403"/>
                      <a:pt x="1156" y="403"/>
                      <a:pt x="1156" y="403"/>
                    </a:cubicBezTo>
                    <a:cubicBezTo>
                      <a:pt x="1157" y="402"/>
                      <a:pt x="1157" y="402"/>
                      <a:pt x="1157" y="402"/>
                    </a:cubicBezTo>
                    <a:cubicBezTo>
                      <a:pt x="1158" y="402"/>
                      <a:pt x="1158" y="402"/>
                      <a:pt x="1158" y="402"/>
                    </a:cubicBezTo>
                    <a:cubicBezTo>
                      <a:pt x="1159" y="401"/>
                      <a:pt x="1159" y="401"/>
                      <a:pt x="1159" y="401"/>
                    </a:cubicBezTo>
                    <a:cubicBezTo>
                      <a:pt x="1158" y="400"/>
                      <a:pt x="1158" y="400"/>
                      <a:pt x="1158" y="400"/>
                    </a:cubicBezTo>
                    <a:cubicBezTo>
                      <a:pt x="1158" y="399"/>
                      <a:pt x="1158" y="399"/>
                      <a:pt x="1158" y="399"/>
                    </a:cubicBezTo>
                    <a:cubicBezTo>
                      <a:pt x="1156" y="400"/>
                      <a:pt x="1156" y="400"/>
                      <a:pt x="1156" y="400"/>
                    </a:cubicBezTo>
                    <a:cubicBezTo>
                      <a:pt x="1157" y="399"/>
                      <a:pt x="1157" y="399"/>
                      <a:pt x="1157" y="399"/>
                    </a:cubicBezTo>
                    <a:cubicBezTo>
                      <a:pt x="1158" y="399"/>
                      <a:pt x="1158" y="399"/>
                      <a:pt x="1158" y="399"/>
                    </a:cubicBezTo>
                    <a:cubicBezTo>
                      <a:pt x="1159" y="399"/>
                      <a:pt x="1159" y="399"/>
                      <a:pt x="1159" y="399"/>
                    </a:cubicBezTo>
                    <a:cubicBezTo>
                      <a:pt x="1159" y="398"/>
                      <a:pt x="1159" y="398"/>
                      <a:pt x="1159" y="398"/>
                    </a:cubicBezTo>
                    <a:cubicBezTo>
                      <a:pt x="1160" y="398"/>
                      <a:pt x="1160" y="398"/>
                      <a:pt x="1160" y="398"/>
                    </a:cubicBezTo>
                    <a:cubicBezTo>
                      <a:pt x="1160" y="397"/>
                      <a:pt x="1160" y="397"/>
                      <a:pt x="1160" y="397"/>
                    </a:cubicBezTo>
                    <a:cubicBezTo>
                      <a:pt x="1161" y="396"/>
                      <a:pt x="1161" y="396"/>
                      <a:pt x="1161" y="396"/>
                    </a:cubicBezTo>
                    <a:cubicBezTo>
                      <a:pt x="1162" y="395"/>
                      <a:pt x="1162" y="395"/>
                      <a:pt x="1162" y="395"/>
                    </a:cubicBezTo>
                    <a:cubicBezTo>
                      <a:pt x="1161" y="394"/>
                      <a:pt x="1161" y="394"/>
                      <a:pt x="1161" y="394"/>
                    </a:cubicBezTo>
                    <a:cubicBezTo>
                      <a:pt x="1162" y="393"/>
                      <a:pt x="1162" y="393"/>
                      <a:pt x="1162" y="393"/>
                    </a:cubicBezTo>
                    <a:cubicBezTo>
                      <a:pt x="1162" y="391"/>
                      <a:pt x="1162" y="391"/>
                      <a:pt x="1162" y="391"/>
                    </a:cubicBezTo>
                    <a:cubicBezTo>
                      <a:pt x="1163" y="390"/>
                      <a:pt x="1163" y="390"/>
                      <a:pt x="1163" y="390"/>
                    </a:cubicBezTo>
                    <a:cubicBezTo>
                      <a:pt x="1162" y="388"/>
                      <a:pt x="1162" y="388"/>
                      <a:pt x="1162" y="388"/>
                    </a:cubicBezTo>
                    <a:cubicBezTo>
                      <a:pt x="1159" y="388"/>
                      <a:pt x="1159" y="388"/>
                      <a:pt x="1159" y="388"/>
                    </a:cubicBezTo>
                    <a:cubicBezTo>
                      <a:pt x="1158" y="388"/>
                      <a:pt x="1158" y="388"/>
                      <a:pt x="1158" y="388"/>
                    </a:cubicBezTo>
                    <a:cubicBezTo>
                      <a:pt x="1157" y="389"/>
                      <a:pt x="1157" y="389"/>
                      <a:pt x="1157" y="389"/>
                    </a:cubicBezTo>
                    <a:cubicBezTo>
                      <a:pt x="1156" y="389"/>
                      <a:pt x="1156" y="389"/>
                      <a:pt x="1156" y="389"/>
                    </a:cubicBezTo>
                    <a:cubicBezTo>
                      <a:pt x="1155" y="388"/>
                      <a:pt x="1155" y="388"/>
                      <a:pt x="1155" y="388"/>
                    </a:cubicBezTo>
                    <a:cubicBezTo>
                      <a:pt x="1155" y="389"/>
                      <a:pt x="1155" y="389"/>
                      <a:pt x="1155" y="389"/>
                    </a:cubicBezTo>
                    <a:cubicBezTo>
                      <a:pt x="1154" y="389"/>
                      <a:pt x="1154" y="389"/>
                      <a:pt x="1154" y="389"/>
                    </a:cubicBezTo>
                    <a:cubicBezTo>
                      <a:pt x="1153" y="389"/>
                      <a:pt x="1153" y="389"/>
                      <a:pt x="1153" y="389"/>
                    </a:cubicBezTo>
                    <a:cubicBezTo>
                      <a:pt x="1152" y="389"/>
                      <a:pt x="1152" y="389"/>
                      <a:pt x="1152" y="389"/>
                    </a:cubicBezTo>
                    <a:cubicBezTo>
                      <a:pt x="1152" y="390"/>
                      <a:pt x="1152" y="390"/>
                      <a:pt x="1152" y="390"/>
                    </a:cubicBezTo>
                    <a:cubicBezTo>
                      <a:pt x="1151" y="390"/>
                      <a:pt x="1151" y="390"/>
                      <a:pt x="1151" y="390"/>
                    </a:cubicBezTo>
                    <a:cubicBezTo>
                      <a:pt x="1152" y="389"/>
                      <a:pt x="1152" y="389"/>
                      <a:pt x="1152" y="389"/>
                    </a:cubicBezTo>
                    <a:cubicBezTo>
                      <a:pt x="1153" y="387"/>
                      <a:pt x="1153" y="387"/>
                      <a:pt x="1153" y="387"/>
                    </a:cubicBezTo>
                    <a:cubicBezTo>
                      <a:pt x="1152" y="387"/>
                      <a:pt x="1152" y="387"/>
                      <a:pt x="1152" y="387"/>
                    </a:cubicBezTo>
                    <a:cubicBezTo>
                      <a:pt x="1152" y="386"/>
                      <a:pt x="1152" y="386"/>
                      <a:pt x="1152" y="386"/>
                    </a:cubicBezTo>
                    <a:cubicBezTo>
                      <a:pt x="1155" y="384"/>
                      <a:pt x="1155" y="384"/>
                      <a:pt x="1155" y="384"/>
                    </a:cubicBezTo>
                    <a:cubicBezTo>
                      <a:pt x="1156" y="383"/>
                      <a:pt x="1156" y="383"/>
                      <a:pt x="1156" y="383"/>
                    </a:cubicBezTo>
                    <a:cubicBezTo>
                      <a:pt x="1157" y="382"/>
                      <a:pt x="1157" y="382"/>
                      <a:pt x="1157" y="382"/>
                    </a:cubicBezTo>
                    <a:cubicBezTo>
                      <a:pt x="1156" y="381"/>
                      <a:pt x="1156" y="381"/>
                      <a:pt x="1156" y="381"/>
                    </a:cubicBezTo>
                    <a:cubicBezTo>
                      <a:pt x="1157" y="380"/>
                      <a:pt x="1157" y="380"/>
                      <a:pt x="1157" y="380"/>
                    </a:cubicBezTo>
                    <a:cubicBezTo>
                      <a:pt x="1156" y="380"/>
                      <a:pt x="1156" y="380"/>
                      <a:pt x="1156" y="380"/>
                    </a:cubicBezTo>
                    <a:cubicBezTo>
                      <a:pt x="1155" y="380"/>
                      <a:pt x="1155" y="380"/>
                      <a:pt x="1155" y="380"/>
                    </a:cubicBezTo>
                    <a:cubicBezTo>
                      <a:pt x="1154" y="380"/>
                      <a:pt x="1154" y="380"/>
                      <a:pt x="1154" y="380"/>
                    </a:cubicBezTo>
                    <a:cubicBezTo>
                      <a:pt x="1153" y="381"/>
                      <a:pt x="1153" y="381"/>
                      <a:pt x="1153" y="381"/>
                    </a:cubicBezTo>
                    <a:cubicBezTo>
                      <a:pt x="1152" y="381"/>
                      <a:pt x="1152" y="381"/>
                      <a:pt x="1152" y="381"/>
                    </a:cubicBezTo>
                    <a:cubicBezTo>
                      <a:pt x="1151" y="381"/>
                      <a:pt x="1151" y="381"/>
                      <a:pt x="1151" y="381"/>
                    </a:cubicBezTo>
                    <a:cubicBezTo>
                      <a:pt x="1150" y="382"/>
                      <a:pt x="1150" y="382"/>
                      <a:pt x="1150" y="382"/>
                    </a:cubicBezTo>
                    <a:cubicBezTo>
                      <a:pt x="1150" y="381"/>
                      <a:pt x="1150" y="381"/>
                      <a:pt x="1150" y="381"/>
                    </a:cubicBezTo>
                    <a:cubicBezTo>
                      <a:pt x="1149" y="382"/>
                      <a:pt x="1149" y="382"/>
                      <a:pt x="1149" y="382"/>
                    </a:cubicBezTo>
                    <a:cubicBezTo>
                      <a:pt x="1149" y="381"/>
                      <a:pt x="1149" y="381"/>
                      <a:pt x="1149" y="381"/>
                    </a:cubicBezTo>
                    <a:cubicBezTo>
                      <a:pt x="1147" y="380"/>
                      <a:pt x="1147" y="380"/>
                      <a:pt x="1147" y="380"/>
                    </a:cubicBezTo>
                    <a:cubicBezTo>
                      <a:pt x="1147" y="381"/>
                      <a:pt x="1147" y="381"/>
                      <a:pt x="1147" y="381"/>
                    </a:cubicBezTo>
                    <a:cubicBezTo>
                      <a:pt x="1147" y="382"/>
                      <a:pt x="1147" y="382"/>
                      <a:pt x="1147" y="382"/>
                    </a:cubicBezTo>
                    <a:cubicBezTo>
                      <a:pt x="1147" y="383"/>
                      <a:pt x="1147" y="383"/>
                      <a:pt x="1147" y="383"/>
                    </a:cubicBezTo>
                    <a:cubicBezTo>
                      <a:pt x="1146" y="383"/>
                      <a:pt x="1146" y="383"/>
                      <a:pt x="1146" y="383"/>
                    </a:cubicBezTo>
                    <a:cubicBezTo>
                      <a:pt x="1146" y="384"/>
                      <a:pt x="1146" y="384"/>
                      <a:pt x="1146" y="384"/>
                    </a:cubicBezTo>
                    <a:cubicBezTo>
                      <a:pt x="1146" y="385"/>
                      <a:pt x="1146" y="385"/>
                      <a:pt x="1146" y="385"/>
                    </a:cubicBezTo>
                    <a:cubicBezTo>
                      <a:pt x="1145" y="385"/>
                      <a:pt x="1145" y="385"/>
                      <a:pt x="1145" y="385"/>
                    </a:cubicBezTo>
                    <a:cubicBezTo>
                      <a:pt x="1146" y="386"/>
                      <a:pt x="1146" y="386"/>
                      <a:pt x="1146" y="386"/>
                    </a:cubicBezTo>
                    <a:cubicBezTo>
                      <a:pt x="1145" y="387"/>
                      <a:pt x="1145" y="387"/>
                      <a:pt x="1145" y="387"/>
                    </a:cubicBezTo>
                    <a:cubicBezTo>
                      <a:pt x="1144" y="386"/>
                      <a:pt x="1144" y="386"/>
                      <a:pt x="1144" y="386"/>
                    </a:cubicBezTo>
                    <a:cubicBezTo>
                      <a:pt x="1144" y="387"/>
                      <a:pt x="1144" y="387"/>
                      <a:pt x="1144" y="387"/>
                    </a:cubicBezTo>
                    <a:cubicBezTo>
                      <a:pt x="1143" y="388"/>
                      <a:pt x="1143" y="388"/>
                      <a:pt x="1143" y="388"/>
                    </a:cubicBezTo>
                    <a:cubicBezTo>
                      <a:pt x="1144" y="388"/>
                      <a:pt x="1144" y="388"/>
                      <a:pt x="1144" y="388"/>
                    </a:cubicBezTo>
                    <a:cubicBezTo>
                      <a:pt x="1143" y="389"/>
                      <a:pt x="1143" y="389"/>
                      <a:pt x="1143" y="389"/>
                    </a:cubicBezTo>
                    <a:cubicBezTo>
                      <a:pt x="1143" y="391"/>
                      <a:pt x="1143" y="391"/>
                      <a:pt x="1143" y="391"/>
                    </a:cubicBezTo>
                    <a:cubicBezTo>
                      <a:pt x="1145" y="391"/>
                      <a:pt x="1145" y="391"/>
                      <a:pt x="1145" y="391"/>
                    </a:cubicBezTo>
                    <a:cubicBezTo>
                      <a:pt x="1144" y="392"/>
                      <a:pt x="1144" y="392"/>
                      <a:pt x="1144" y="392"/>
                    </a:cubicBezTo>
                    <a:cubicBezTo>
                      <a:pt x="1144" y="393"/>
                      <a:pt x="1144" y="393"/>
                      <a:pt x="1144" y="393"/>
                    </a:cubicBezTo>
                    <a:close/>
                    <a:moveTo>
                      <a:pt x="1139" y="384"/>
                    </a:moveTo>
                    <a:cubicBezTo>
                      <a:pt x="1139" y="384"/>
                      <a:pt x="1139" y="384"/>
                      <a:pt x="1138" y="383"/>
                    </a:cubicBezTo>
                    <a:cubicBezTo>
                      <a:pt x="1138" y="383"/>
                      <a:pt x="1138" y="383"/>
                      <a:pt x="1137" y="384"/>
                    </a:cubicBezTo>
                    <a:cubicBezTo>
                      <a:pt x="1137" y="384"/>
                      <a:pt x="1137" y="384"/>
                      <a:pt x="1138" y="385"/>
                    </a:cubicBezTo>
                    <a:cubicBezTo>
                      <a:pt x="1138" y="385"/>
                      <a:pt x="1138" y="385"/>
                      <a:pt x="1137" y="385"/>
                    </a:cubicBezTo>
                    <a:cubicBezTo>
                      <a:pt x="1137" y="385"/>
                      <a:pt x="1137" y="385"/>
                      <a:pt x="1138" y="386"/>
                    </a:cubicBezTo>
                    <a:cubicBezTo>
                      <a:pt x="1138" y="386"/>
                      <a:pt x="1138" y="386"/>
                      <a:pt x="1139" y="386"/>
                    </a:cubicBezTo>
                    <a:cubicBezTo>
                      <a:pt x="1139" y="386"/>
                      <a:pt x="1139" y="386"/>
                      <a:pt x="1140" y="386"/>
                    </a:cubicBezTo>
                    <a:cubicBezTo>
                      <a:pt x="1140" y="386"/>
                      <a:pt x="1140" y="386"/>
                      <a:pt x="1141" y="385"/>
                    </a:cubicBezTo>
                    <a:cubicBezTo>
                      <a:pt x="1141" y="385"/>
                      <a:pt x="1141" y="385"/>
                      <a:pt x="1140" y="385"/>
                    </a:cubicBezTo>
                    <a:cubicBezTo>
                      <a:pt x="1140" y="385"/>
                      <a:pt x="1140" y="385"/>
                      <a:pt x="1141" y="384"/>
                    </a:cubicBezTo>
                    <a:cubicBezTo>
                      <a:pt x="1141" y="384"/>
                      <a:pt x="1141" y="384"/>
                      <a:pt x="1142" y="383"/>
                    </a:cubicBezTo>
                    <a:cubicBezTo>
                      <a:pt x="1142" y="383"/>
                      <a:pt x="1142" y="383"/>
                      <a:pt x="1141" y="381"/>
                    </a:cubicBezTo>
                    <a:cubicBezTo>
                      <a:pt x="1141" y="381"/>
                      <a:pt x="1141" y="381"/>
                      <a:pt x="1139" y="383"/>
                    </a:cubicBezTo>
                    <a:cubicBezTo>
                      <a:pt x="1139" y="383"/>
                      <a:pt x="1139" y="383"/>
                      <a:pt x="1139" y="384"/>
                    </a:cubicBezTo>
                    <a:close/>
                    <a:moveTo>
                      <a:pt x="1142" y="406"/>
                    </a:moveTo>
                    <a:cubicBezTo>
                      <a:pt x="1141" y="404"/>
                      <a:pt x="1141" y="404"/>
                      <a:pt x="1141" y="404"/>
                    </a:cubicBezTo>
                    <a:cubicBezTo>
                      <a:pt x="1139" y="405"/>
                      <a:pt x="1139" y="405"/>
                      <a:pt x="1139" y="405"/>
                    </a:cubicBezTo>
                    <a:cubicBezTo>
                      <a:pt x="1139" y="406"/>
                      <a:pt x="1139" y="406"/>
                      <a:pt x="1139" y="406"/>
                    </a:cubicBezTo>
                    <a:cubicBezTo>
                      <a:pt x="1141" y="405"/>
                      <a:pt x="1141" y="405"/>
                      <a:pt x="1141" y="405"/>
                    </a:cubicBezTo>
                    <a:cubicBezTo>
                      <a:pt x="1140" y="407"/>
                      <a:pt x="1140" y="407"/>
                      <a:pt x="1140" y="407"/>
                    </a:cubicBezTo>
                    <a:cubicBezTo>
                      <a:pt x="1142" y="406"/>
                      <a:pt x="1142" y="406"/>
                      <a:pt x="1142" y="406"/>
                    </a:cubicBezTo>
                    <a:close/>
                    <a:moveTo>
                      <a:pt x="1137" y="399"/>
                    </a:moveTo>
                    <a:cubicBezTo>
                      <a:pt x="1137" y="399"/>
                      <a:pt x="1137" y="399"/>
                      <a:pt x="1138" y="398"/>
                    </a:cubicBezTo>
                    <a:cubicBezTo>
                      <a:pt x="1138" y="398"/>
                      <a:pt x="1138" y="398"/>
                      <a:pt x="1137" y="398"/>
                    </a:cubicBezTo>
                    <a:cubicBezTo>
                      <a:pt x="1137" y="398"/>
                      <a:pt x="1137" y="398"/>
                      <a:pt x="1137" y="399"/>
                    </a:cubicBezTo>
                    <a:close/>
                    <a:moveTo>
                      <a:pt x="1137" y="389"/>
                    </a:moveTo>
                    <a:cubicBezTo>
                      <a:pt x="1137" y="389"/>
                      <a:pt x="1137" y="389"/>
                      <a:pt x="1137" y="388"/>
                    </a:cubicBezTo>
                    <a:cubicBezTo>
                      <a:pt x="1137" y="388"/>
                      <a:pt x="1137" y="388"/>
                      <a:pt x="1135" y="388"/>
                    </a:cubicBezTo>
                    <a:cubicBezTo>
                      <a:pt x="1135" y="388"/>
                      <a:pt x="1135" y="388"/>
                      <a:pt x="1135" y="389"/>
                    </a:cubicBezTo>
                    <a:cubicBezTo>
                      <a:pt x="1135" y="389"/>
                      <a:pt x="1135" y="389"/>
                      <a:pt x="1136" y="389"/>
                    </a:cubicBezTo>
                    <a:cubicBezTo>
                      <a:pt x="1136" y="389"/>
                      <a:pt x="1136" y="389"/>
                      <a:pt x="1137" y="389"/>
                    </a:cubicBezTo>
                    <a:close/>
                    <a:moveTo>
                      <a:pt x="1135" y="390"/>
                    </a:moveTo>
                    <a:cubicBezTo>
                      <a:pt x="1135" y="390"/>
                      <a:pt x="1135" y="390"/>
                      <a:pt x="1136" y="391"/>
                    </a:cubicBezTo>
                    <a:cubicBezTo>
                      <a:pt x="1136" y="391"/>
                      <a:pt x="1136" y="391"/>
                      <a:pt x="1136" y="390"/>
                    </a:cubicBezTo>
                    <a:cubicBezTo>
                      <a:pt x="1136" y="390"/>
                      <a:pt x="1136" y="390"/>
                      <a:pt x="1135" y="390"/>
                    </a:cubicBezTo>
                    <a:close/>
                    <a:moveTo>
                      <a:pt x="1225" y="518"/>
                    </a:moveTo>
                    <a:cubicBezTo>
                      <a:pt x="1226" y="518"/>
                      <a:pt x="1226" y="518"/>
                      <a:pt x="1226" y="518"/>
                    </a:cubicBezTo>
                    <a:cubicBezTo>
                      <a:pt x="1226" y="519"/>
                      <a:pt x="1226" y="519"/>
                      <a:pt x="1226" y="519"/>
                    </a:cubicBezTo>
                    <a:cubicBezTo>
                      <a:pt x="1226" y="520"/>
                      <a:pt x="1226" y="520"/>
                      <a:pt x="1226" y="520"/>
                    </a:cubicBezTo>
                    <a:cubicBezTo>
                      <a:pt x="1225" y="520"/>
                      <a:pt x="1225" y="520"/>
                      <a:pt x="1225" y="520"/>
                    </a:cubicBezTo>
                    <a:cubicBezTo>
                      <a:pt x="1226" y="521"/>
                      <a:pt x="1226" y="521"/>
                      <a:pt x="1226" y="521"/>
                    </a:cubicBezTo>
                    <a:cubicBezTo>
                      <a:pt x="1228" y="522"/>
                      <a:pt x="1228" y="522"/>
                      <a:pt x="1228" y="522"/>
                    </a:cubicBezTo>
                    <a:cubicBezTo>
                      <a:pt x="1229" y="521"/>
                      <a:pt x="1229" y="521"/>
                      <a:pt x="1229" y="521"/>
                    </a:cubicBezTo>
                    <a:cubicBezTo>
                      <a:pt x="1230" y="519"/>
                      <a:pt x="1230" y="519"/>
                      <a:pt x="1230" y="519"/>
                    </a:cubicBezTo>
                    <a:cubicBezTo>
                      <a:pt x="1229" y="518"/>
                      <a:pt x="1229" y="518"/>
                      <a:pt x="1229" y="518"/>
                    </a:cubicBezTo>
                    <a:cubicBezTo>
                      <a:pt x="1230" y="515"/>
                      <a:pt x="1230" y="515"/>
                      <a:pt x="1230" y="515"/>
                    </a:cubicBezTo>
                    <a:cubicBezTo>
                      <a:pt x="1230" y="512"/>
                      <a:pt x="1230" y="512"/>
                      <a:pt x="1230" y="512"/>
                    </a:cubicBezTo>
                    <a:cubicBezTo>
                      <a:pt x="1230" y="511"/>
                      <a:pt x="1230" y="511"/>
                      <a:pt x="1230" y="511"/>
                    </a:cubicBezTo>
                    <a:cubicBezTo>
                      <a:pt x="1229" y="509"/>
                      <a:pt x="1229" y="509"/>
                      <a:pt x="1229" y="509"/>
                    </a:cubicBezTo>
                    <a:cubicBezTo>
                      <a:pt x="1229" y="510"/>
                      <a:pt x="1229" y="510"/>
                      <a:pt x="1229" y="510"/>
                    </a:cubicBezTo>
                    <a:cubicBezTo>
                      <a:pt x="1229" y="511"/>
                      <a:pt x="1229" y="511"/>
                      <a:pt x="1229" y="511"/>
                    </a:cubicBezTo>
                    <a:cubicBezTo>
                      <a:pt x="1229" y="512"/>
                      <a:pt x="1229" y="512"/>
                      <a:pt x="1229" y="512"/>
                    </a:cubicBezTo>
                    <a:cubicBezTo>
                      <a:pt x="1228" y="512"/>
                      <a:pt x="1228" y="512"/>
                      <a:pt x="1228" y="512"/>
                    </a:cubicBezTo>
                    <a:cubicBezTo>
                      <a:pt x="1227" y="511"/>
                      <a:pt x="1227" y="511"/>
                      <a:pt x="1227" y="511"/>
                    </a:cubicBezTo>
                    <a:cubicBezTo>
                      <a:pt x="1227" y="512"/>
                      <a:pt x="1227" y="512"/>
                      <a:pt x="1227" y="512"/>
                    </a:cubicBezTo>
                    <a:cubicBezTo>
                      <a:pt x="1225" y="512"/>
                      <a:pt x="1225" y="512"/>
                      <a:pt x="1225" y="512"/>
                    </a:cubicBezTo>
                    <a:cubicBezTo>
                      <a:pt x="1224" y="514"/>
                      <a:pt x="1224" y="514"/>
                      <a:pt x="1224" y="514"/>
                    </a:cubicBezTo>
                    <a:cubicBezTo>
                      <a:pt x="1225" y="515"/>
                      <a:pt x="1225" y="515"/>
                      <a:pt x="1225" y="515"/>
                    </a:cubicBezTo>
                    <a:cubicBezTo>
                      <a:pt x="1224" y="515"/>
                      <a:pt x="1224" y="515"/>
                      <a:pt x="1224" y="515"/>
                    </a:cubicBezTo>
                    <a:cubicBezTo>
                      <a:pt x="1224" y="516"/>
                      <a:pt x="1224" y="516"/>
                      <a:pt x="1224" y="516"/>
                    </a:cubicBezTo>
                    <a:cubicBezTo>
                      <a:pt x="1225" y="517"/>
                      <a:pt x="1225" y="517"/>
                      <a:pt x="1225" y="517"/>
                    </a:cubicBezTo>
                    <a:cubicBezTo>
                      <a:pt x="1224" y="517"/>
                      <a:pt x="1224" y="517"/>
                      <a:pt x="1224" y="517"/>
                    </a:cubicBezTo>
                    <a:cubicBezTo>
                      <a:pt x="1225" y="518"/>
                      <a:pt x="1225" y="518"/>
                      <a:pt x="1225" y="518"/>
                    </a:cubicBezTo>
                    <a:close/>
                    <a:moveTo>
                      <a:pt x="1261" y="564"/>
                    </a:moveTo>
                    <a:cubicBezTo>
                      <a:pt x="1262" y="565"/>
                      <a:pt x="1262" y="565"/>
                      <a:pt x="1262" y="565"/>
                    </a:cubicBezTo>
                    <a:cubicBezTo>
                      <a:pt x="1263" y="564"/>
                      <a:pt x="1263" y="564"/>
                      <a:pt x="1263" y="564"/>
                    </a:cubicBezTo>
                    <a:cubicBezTo>
                      <a:pt x="1263" y="563"/>
                      <a:pt x="1263" y="563"/>
                      <a:pt x="1263" y="563"/>
                    </a:cubicBezTo>
                    <a:cubicBezTo>
                      <a:pt x="1261" y="563"/>
                      <a:pt x="1261" y="563"/>
                      <a:pt x="1261" y="563"/>
                    </a:cubicBezTo>
                    <a:cubicBezTo>
                      <a:pt x="1261" y="564"/>
                      <a:pt x="1261" y="564"/>
                      <a:pt x="1261" y="564"/>
                    </a:cubicBezTo>
                    <a:close/>
                    <a:moveTo>
                      <a:pt x="1223" y="523"/>
                    </a:moveTo>
                    <a:cubicBezTo>
                      <a:pt x="1222" y="524"/>
                      <a:pt x="1222" y="524"/>
                      <a:pt x="1222" y="524"/>
                    </a:cubicBezTo>
                    <a:cubicBezTo>
                      <a:pt x="1223" y="524"/>
                      <a:pt x="1223" y="524"/>
                      <a:pt x="1223" y="524"/>
                    </a:cubicBezTo>
                    <a:cubicBezTo>
                      <a:pt x="1224" y="523"/>
                      <a:pt x="1224" y="523"/>
                      <a:pt x="1224" y="523"/>
                    </a:cubicBezTo>
                    <a:cubicBezTo>
                      <a:pt x="1223" y="523"/>
                      <a:pt x="1223" y="523"/>
                      <a:pt x="1223" y="523"/>
                    </a:cubicBezTo>
                    <a:close/>
                    <a:moveTo>
                      <a:pt x="1249" y="548"/>
                    </a:moveTo>
                    <a:cubicBezTo>
                      <a:pt x="1249" y="550"/>
                      <a:pt x="1249" y="550"/>
                      <a:pt x="1249" y="550"/>
                    </a:cubicBezTo>
                    <a:cubicBezTo>
                      <a:pt x="1250" y="551"/>
                      <a:pt x="1250" y="551"/>
                      <a:pt x="1250" y="551"/>
                    </a:cubicBezTo>
                    <a:cubicBezTo>
                      <a:pt x="1252" y="551"/>
                      <a:pt x="1252" y="551"/>
                      <a:pt x="1252" y="551"/>
                    </a:cubicBezTo>
                    <a:cubicBezTo>
                      <a:pt x="1254" y="553"/>
                      <a:pt x="1254" y="553"/>
                      <a:pt x="1254" y="553"/>
                    </a:cubicBezTo>
                    <a:cubicBezTo>
                      <a:pt x="1255" y="553"/>
                      <a:pt x="1255" y="553"/>
                      <a:pt x="1255" y="553"/>
                    </a:cubicBezTo>
                    <a:cubicBezTo>
                      <a:pt x="1257" y="554"/>
                      <a:pt x="1257" y="554"/>
                      <a:pt x="1257" y="554"/>
                    </a:cubicBezTo>
                    <a:cubicBezTo>
                      <a:pt x="1259" y="555"/>
                      <a:pt x="1259" y="555"/>
                      <a:pt x="1259" y="555"/>
                    </a:cubicBezTo>
                    <a:cubicBezTo>
                      <a:pt x="1260" y="555"/>
                      <a:pt x="1260" y="555"/>
                      <a:pt x="1260" y="555"/>
                    </a:cubicBezTo>
                    <a:cubicBezTo>
                      <a:pt x="1261" y="556"/>
                      <a:pt x="1261" y="556"/>
                      <a:pt x="1261" y="556"/>
                    </a:cubicBezTo>
                    <a:cubicBezTo>
                      <a:pt x="1261" y="557"/>
                      <a:pt x="1261" y="557"/>
                      <a:pt x="1261" y="557"/>
                    </a:cubicBezTo>
                    <a:cubicBezTo>
                      <a:pt x="1264" y="558"/>
                      <a:pt x="1264" y="558"/>
                      <a:pt x="1264" y="558"/>
                    </a:cubicBezTo>
                    <a:cubicBezTo>
                      <a:pt x="1265" y="558"/>
                      <a:pt x="1265" y="558"/>
                      <a:pt x="1265" y="558"/>
                    </a:cubicBezTo>
                    <a:cubicBezTo>
                      <a:pt x="1265" y="556"/>
                      <a:pt x="1265" y="556"/>
                      <a:pt x="1265" y="556"/>
                    </a:cubicBezTo>
                    <a:cubicBezTo>
                      <a:pt x="1266" y="556"/>
                      <a:pt x="1266" y="556"/>
                      <a:pt x="1266" y="556"/>
                    </a:cubicBezTo>
                    <a:cubicBezTo>
                      <a:pt x="1266" y="554"/>
                      <a:pt x="1266" y="554"/>
                      <a:pt x="1266" y="554"/>
                    </a:cubicBezTo>
                    <a:cubicBezTo>
                      <a:pt x="1265" y="553"/>
                      <a:pt x="1265" y="553"/>
                      <a:pt x="1265" y="553"/>
                    </a:cubicBezTo>
                    <a:cubicBezTo>
                      <a:pt x="1266" y="550"/>
                      <a:pt x="1266" y="550"/>
                      <a:pt x="1266" y="550"/>
                    </a:cubicBezTo>
                    <a:cubicBezTo>
                      <a:pt x="1267" y="549"/>
                      <a:pt x="1267" y="549"/>
                      <a:pt x="1267" y="549"/>
                    </a:cubicBezTo>
                    <a:cubicBezTo>
                      <a:pt x="1267" y="547"/>
                      <a:pt x="1267" y="547"/>
                      <a:pt x="1267" y="547"/>
                    </a:cubicBezTo>
                    <a:cubicBezTo>
                      <a:pt x="1266" y="546"/>
                      <a:pt x="1266" y="546"/>
                      <a:pt x="1266" y="546"/>
                    </a:cubicBezTo>
                    <a:cubicBezTo>
                      <a:pt x="1265" y="547"/>
                      <a:pt x="1265" y="547"/>
                      <a:pt x="1265" y="547"/>
                    </a:cubicBezTo>
                    <a:cubicBezTo>
                      <a:pt x="1264" y="547"/>
                      <a:pt x="1264" y="547"/>
                      <a:pt x="1264" y="547"/>
                    </a:cubicBezTo>
                    <a:cubicBezTo>
                      <a:pt x="1263" y="546"/>
                      <a:pt x="1263" y="546"/>
                      <a:pt x="1263" y="546"/>
                    </a:cubicBezTo>
                    <a:cubicBezTo>
                      <a:pt x="1261" y="548"/>
                      <a:pt x="1261" y="548"/>
                      <a:pt x="1261" y="548"/>
                    </a:cubicBezTo>
                    <a:cubicBezTo>
                      <a:pt x="1258" y="548"/>
                      <a:pt x="1258" y="548"/>
                      <a:pt x="1258" y="548"/>
                    </a:cubicBezTo>
                    <a:cubicBezTo>
                      <a:pt x="1256" y="548"/>
                      <a:pt x="1256" y="548"/>
                      <a:pt x="1256" y="548"/>
                    </a:cubicBezTo>
                    <a:cubicBezTo>
                      <a:pt x="1254" y="548"/>
                      <a:pt x="1254" y="548"/>
                      <a:pt x="1254" y="548"/>
                    </a:cubicBezTo>
                    <a:cubicBezTo>
                      <a:pt x="1253" y="547"/>
                      <a:pt x="1253" y="547"/>
                      <a:pt x="1253" y="547"/>
                    </a:cubicBezTo>
                    <a:cubicBezTo>
                      <a:pt x="1252" y="547"/>
                      <a:pt x="1252" y="547"/>
                      <a:pt x="1252" y="547"/>
                    </a:cubicBezTo>
                    <a:cubicBezTo>
                      <a:pt x="1251" y="548"/>
                      <a:pt x="1251" y="548"/>
                      <a:pt x="1251" y="548"/>
                    </a:cubicBezTo>
                    <a:cubicBezTo>
                      <a:pt x="1251" y="547"/>
                      <a:pt x="1251" y="547"/>
                      <a:pt x="1251" y="547"/>
                    </a:cubicBezTo>
                    <a:cubicBezTo>
                      <a:pt x="1249" y="548"/>
                      <a:pt x="1249" y="548"/>
                      <a:pt x="1249" y="548"/>
                    </a:cubicBezTo>
                    <a:close/>
                    <a:moveTo>
                      <a:pt x="1222" y="527"/>
                    </a:moveTo>
                    <a:cubicBezTo>
                      <a:pt x="1223" y="528"/>
                      <a:pt x="1223" y="528"/>
                      <a:pt x="1223" y="528"/>
                    </a:cubicBezTo>
                    <a:cubicBezTo>
                      <a:pt x="1223" y="529"/>
                      <a:pt x="1223" y="529"/>
                      <a:pt x="1223" y="529"/>
                    </a:cubicBezTo>
                    <a:cubicBezTo>
                      <a:pt x="1224" y="530"/>
                      <a:pt x="1224" y="530"/>
                      <a:pt x="1224" y="530"/>
                    </a:cubicBezTo>
                    <a:cubicBezTo>
                      <a:pt x="1224" y="532"/>
                      <a:pt x="1224" y="532"/>
                      <a:pt x="1224" y="532"/>
                    </a:cubicBezTo>
                    <a:cubicBezTo>
                      <a:pt x="1223" y="533"/>
                      <a:pt x="1223" y="533"/>
                      <a:pt x="1223" y="533"/>
                    </a:cubicBezTo>
                    <a:cubicBezTo>
                      <a:pt x="1224" y="533"/>
                      <a:pt x="1224" y="533"/>
                      <a:pt x="1224" y="533"/>
                    </a:cubicBezTo>
                    <a:cubicBezTo>
                      <a:pt x="1225" y="533"/>
                      <a:pt x="1225" y="533"/>
                      <a:pt x="1225" y="533"/>
                    </a:cubicBezTo>
                    <a:cubicBezTo>
                      <a:pt x="1225" y="534"/>
                      <a:pt x="1225" y="534"/>
                      <a:pt x="1225" y="534"/>
                    </a:cubicBezTo>
                    <a:cubicBezTo>
                      <a:pt x="1224" y="535"/>
                      <a:pt x="1224" y="535"/>
                      <a:pt x="1224" y="535"/>
                    </a:cubicBezTo>
                    <a:cubicBezTo>
                      <a:pt x="1224" y="537"/>
                      <a:pt x="1224" y="537"/>
                      <a:pt x="1224" y="537"/>
                    </a:cubicBezTo>
                    <a:cubicBezTo>
                      <a:pt x="1224" y="538"/>
                      <a:pt x="1224" y="538"/>
                      <a:pt x="1224" y="538"/>
                    </a:cubicBezTo>
                    <a:cubicBezTo>
                      <a:pt x="1225" y="540"/>
                      <a:pt x="1225" y="540"/>
                      <a:pt x="1225" y="540"/>
                    </a:cubicBezTo>
                    <a:cubicBezTo>
                      <a:pt x="1226" y="541"/>
                      <a:pt x="1226" y="541"/>
                      <a:pt x="1226" y="541"/>
                    </a:cubicBezTo>
                    <a:cubicBezTo>
                      <a:pt x="1227" y="541"/>
                      <a:pt x="1227" y="541"/>
                      <a:pt x="1227" y="541"/>
                    </a:cubicBezTo>
                    <a:cubicBezTo>
                      <a:pt x="1228" y="541"/>
                      <a:pt x="1228" y="541"/>
                      <a:pt x="1228" y="541"/>
                    </a:cubicBezTo>
                    <a:cubicBezTo>
                      <a:pt x="1228" y="540"/>
                      <a:pt x="1228" y="540"/>
                      <a:pt x="1228" y="540"/>
                    </a:cubicBezTo>
                    <a:cubicBezTo>
                      <a:pt x="1228" y="539"/>
                      <a:pt x="1228" y="539"/>
                      <a:pt x="1228" y="539"/>
                    </a:cubicBezTo>
                    <a:cubicBezTo>
                      <a:pt x="1229" y="539"/>
                      <a:pt x="1229" y="539"/>
                      <a:pt x="1229" y="539"/>
                    </a:cubicBezTo>
                    <a:cubicBezTo>
                      <a:pt x="1230" y="540"/>
                      <a:pt x="1230" y="540"/>
                      <a:pt x="1230" y="540"/>
                    </a:cubicBezTo>
                    <a:cubicBezTo>
                      <a:pt x="1231" y="540"/>
                      <a:pt x="1231" y="540"/>
                      <a:pt x="1231" y="540"/>
                    </a:cubicBezTo>
                    <a:cubicBezTo>
                      <a:pt x="1231" y="539"/>
                      <a:pt x="1231" y="539"/>
                      <a:pt x="1231" y="539"/>
                    </a:cubicBezTo>
                    <a:cubicBezTo>
                      <a:pt x="1231" y="536"/>
                      <a:pt x="1231" y="536"/>
                      <a:pt x="1231" y="536"/>
                    </a:cubicBezTo>
                    <a:cubicBezTo>
                      <a:pt x="1232" y="536"/>
                      <a:pt x="1232" y="536"/>
                      <a:pt x="1232" y="536"/>
                    </a:cubicBezTo>
                    <a:cubicBezTo>
                      <a:pt x="1231" y="533"/>
                      <a:pt x="1231" y="533"/>
                      <a:pt x="1231" y="533"/>
                    </a:cubicBezTo>
                    <a:cubicBezTo>
                      <a:pt x="1232" y="531"/>
                      <a:pt x="1232" y="531"/>
                      <a:pt x="1232" y="531"/>
                    </a:cubicBezTo>
                    <a:cubicBezTo>
                      <a:pt x="1230" y="529"/>
                      <a:pt x="1230" y="529"/>
                      <a:pt x="1230" y="529"/>
                    </a:cubicBezTo>
                    <a:cubicBezTo>
                      <a:pt x="1232" y="529"/>
                      <a:pt x="1232" y="529"/>
                      <a:pt x="1232" y="529"/>
                    </a:cubicBezTo>
                    <a:cubicBezTo>
                      <a:pt x="1232" y="528"/>
                      <a:pt x="1232" y="528"/>
                      <a:pt x="1232" y="528"/>
                    </a:cubicBezTo>
                    <a:cubicBezTo>
                      <a:pt x="1231" y="526"/>
                      <a:pt x="1231" y="526"/>
                      <a:pt x="1231" y="526"/>
                    </a:cubicBezTo>
                    <a:cubicBezTo>
                      <a:pt x="1231" y="525"/>
                      <a:pt x="1231" y="525"/>
                      <a:pt x="1231" y="525"/>
                    </a:cubicBezTo>
                    <a:cubicBezTo>
                      <a:pt x="1230" y="524"/>
                      <a:pt x="1230" y="524"/>
                      <a:pt x="1230" y="524"/>
                    </a:cubicBezTo>
                    <a:cubicBezTo>
                      <a:pt x="1229" y="524"/>
                      <a:pt x="1229" y="524"/>
                      <a:pt x="1229" y="524"/>
                    </a:cubicBezTo>
                    <a:cubicBezTo>
                      <a:pt x="1228" y="523"/>
                      <a:pt x="1228" y="523"/>
                      <a:pt x="1228" y="523"/>
                    </a:cubicBezTo>
                    <a:cubicBezTo>
                      <a:pt x="1227" y="523"/>
                      <a:pt x="1227" y="523"/>
                      <a:pt x="1227" y="523"/>
                    </a:cubicBezTo>
                    <a:cubicBezTo>
                      <a:pt x="1225" y="526"/>
                      <a:pt x="1225" y="526"/>
                      <a:pt x="1225" y="526"/>
                    </a:cubicBezTo>
                    <a:cubicBezTo>
                      <a:pt x="1224" y="526"/>
                      <a:pt x="1224" y="526"/>
                      <a:pt x="1224" y="526"/>
                    </a:cubicBezTo>
                    <a:cubicBezTo>
                      <a:pt x="1222" y="525"/>
                      <a:pt x="1222" y="525"/>
                      <a:pt x="1222" y="525"/>
                    </a:cubicBezTo>
                    <a:cubicBezTo>
                      <a:pt x="1222" y="527"/>
                      <a:pt x="1222" y="527"/>
                      <a:pt x="1222" y="527"/>
                    </a:cubicBezTo>
                    <a:close/>
                    <a:moveTo>
                      <a:pt x="1238" y="514"/>
                    </a:moveTo>
                    <a:cubicBezTo>
                      <a:pt x="1239" y="515"/>
                      <a:pt x="1239" y="515"/>
                      <a:pt x="1239" y="515"/>
                    </a:cubicBezTo>
                    <a:cubicBezTo>
                      <a:pt x="1239" y="514"/>
                      <a:pt x="1239" y="514"/>
                      <a:pt x="1239" y="514"/>
                    </a:cubicBezTo>
                    <a:cubicBezTo>
                      <a:pt x="1238" y="514"/>
                      <a:pt x="1238" y="514"/>
                      <a:pt x="1238" y="514"/>
                    </a:cubicBezTo>
                    <a:close/>
                    <a:moveTo>
                      <a:pt x="1235" y="511"/>
                    </a:moveTo>
                    <a:cubicBezTo>
                      <a:pt x="1236" y="511"/>
                      <a:pt x="1236" y="511"/>
                      <a:pt x="1236" y="511"/>
                    </a:cubicBezTo>
                    <a:cubicBezTo>
                      <a:pt x="1236" y="510"/>
                      <a:pt x="1236" y="510"/>
                      <a:pt x="1236" y="510"/>
                    </a:cubicBezTo>
                    <a:cubicBezTo>
                      <a:pt x="1235" y="510"/>
                      <a:pt x="1235" y="510"/>
                      <a:pt x="1235" y="510"/>
                    </a:cubicBezTo>
                    <a:cubicBezTo>
                      <a:pt x="1233" y="511"/>
                      <a:pt x="1233" y="511"/>
                      <a:pt x="1233" y="511"/>
                    </a:cubicBezTo>
                    <a:cubicBezTo>
                      <a:pt x="1234" y="512"/>
                      <a:pt x="1234" y="512"/>
                      <a:pt x="1234" y="512"/>
                    </a:cubicBezTo>
                    <a:cubicBezTo>
                      <a:pt x="1235" y="511"/>
                      <a:pt x="1235" y="511"/>
                      <a:pt x="1235" y="511"/>
                    </a:cubicBezTo>
                    <a:close/>
                    <a:moveTo>
                      <a:pt x="1199" y="534"/>
                    </a:moveTo>
                    <a:cubicBezTo>
                      <a:pt x="1200" y="534"/>
                      <a:pt x="1200" y="534"/>
                      <a:pt x="1200" y="534"/>
                    </a:cubicBezTo>
                    <a:cubicBezTo>
                      <a:pt x="1198" y="533"/>
                      <a:pt x="1198" y="533"/>
                      <a:pt x="1198" y="533"/>
                    </a:cubicBezTo>
                    <a:cubicBezTo>
                      <a:pt x="1196" y="533"/>
                      <a:pt x="1196" y="533"/>
                      <a:pt x="1196" y="533"/>
                    </a:cubicBezTo>
                    <a:cubicBezTo>
                      <a:pt x="1196" y="534"/>
                      <a:pt x="1196" y="534"/>
                      <a:pt x="1196" y="534"/>
                    </a:cubicBezTo>
                    <a:cubicBezTo>
                      <a:pt x="1198" y="534"/>
                      <a:pt x="1198" y="534"/>
                      <a:pt x="1198" y="534"/>
                    </a:cubicBezTo>
                    <a:cubicBezTo>
                      <a:pt x="1199" y="534"/>
                      <a:pt x="1199" y="534"/>
                      <a:pt x="1199" y="534"/>
                    </a:cubicBezTo>
                    <a:close/>
                    <a:moveTo>
                      <a:pt x="1186" y="540"/>
                    </a:moveTo>
                    <a:cubicBezTo>
                      <a:pt x="1184" y="540"/>
                      <a:pt x="1184" y="540"/>
                      <a:pt x="1184" y="540"/>
                    </a:cubicBezTo>
                    <a:cubicBezTo>
                      <a:pt x="1184" y="541"/>
                      <a:pt x="1184" y="541"/>
                      <a:pt x="1184" y="541"/>
                    </a:cubicBezTo>
                    <a:cubicBezTo>
                      <a:pt x="1185" y="542"/>
                      <a:pt x="1185" y="542"/>
                      <a:pt x="1185" y="542"/>
                    </a:cubicBezTo>
                    <a:cubicBezTo>
                      <a:pt x="1186" y="541"/>
                      <a:pt x="1186" y="541"/>
                      <a:pt x="1186" y="541"/>
                    </a:cubicBezTo>
                    <a:cubicBezTo>
                      <a:pt x="1186" y="540"/>
                      <a:pt x="1186" y="540"/>
                      <a:pt x="1186" y="540"/>
                    </a:cubicBezTo>
                    <a:close/>
                    <a:moveTo>
                      <a:pt x="1193" y="538"/>
                    </a:moveTo>
                    <a:cubicBezTo>
                      <a:pt x="1193" y="536"/>
                      <a:pt x="1193" y="536"/>
                      <a:pt x="1193" y="536"/>
                    </a:cubicBezTo>
                    <a:cubicBezTo>
                      <a:pt x="1195" y="535"/>
                      <a:pt x="1195" y="535"/>
                      <a:pt x="1195" y="535"/>
                    </a:cubicBezTo>
                    <a:cubicBezTo>
                      <a:pt x="1193" y="535"/>
                      <a:pt x="1193" y="535"/>
                      <a:pt x="1193" y="535"/>
                    </a:cubicBezTo>
                    <a:cubicBezTo>
                      <a:pt x="1192" y="535"/>
                      <a:pt x="1192" y="535"/>
                      <a:pt x="1192" y="535"/>
                    </a:cubicBezTo>
                    <a:cubicBezTo>
                      <a:pt x="1191" y="536"/>
                      <a:pt x="1191" y="536"/>
                      <a:pt x="1191" y="536"/>
                    </a:cubicBezTo>
                    <a:cubicBezTo>
                      <a:pt x="1190" y="537"/>
                      <a:pt x="1190" y="537"/>
                      <a:pt x="1190" y="537"/>
                    </a:cubicBezTo>
                    <a:cubicBezTo>
                      <a:pt x="1192" y="537"/>
                      <a:pt x="1192" y="537"/>
                      <a:pt x="1192" y="537"/>
                    </a:cubicBezTo>
                    <a:cubicBezTo>
                      <a:pt x="1193" y="538"/>
                      <a:pt x="1193" y="538"/>
                      <a:pt x="1193" y="538"/>
                    </a:cubicBezTo>
                    <a:close/>
                    <a:moveTo>
                      <a:pt x="1310" y="560"/>
                    </a:moveTo>
                    <a:cubicBezTo>
                      <a:pt x="1310" y="558"/>
                      <a:pt x="1310" y="558"/>
                      <a:pt x="1310" y="558"/>
                    </a:cubicBezTo>
                    <a:cubicBezTo>
                      <a:pt x="1309" y="559"/>
                      <a:pt x="1309" y="559"/>
                      <a:pt x="1309" y="559"/>
                    </a:cubicBezTo>
                    <a:cubicBezTo>
                      <a:pt x="1310" y="560"/>
                      <a:pt x="1310" y="560"/>
                      <a:pt x="1310" y="560"/>
                    </a:cubicBezTo>
                    <a:close/>
                    <a:moveTo>
                      <a:pt x="1327" y="555"/>
                    </a:moveTo>
                    <a:cubicBezTo>
                      <a:pt x="1327" y="555"/>
                      <a:pt x="1327" y="555"/>
                      <a:pt x="1328" y="556"/>
                    </a:cubicBezTo>
                    <a:cubicBezTo>
                      <a:pt x="1328" y="556"/>
                      <a:pt x="1328" y="556"/>
                      <a:pt x="1329" y="555"/>
                    </a:cubicBezTo>
                    <a:cubicBezTo>
                      <a:pt x="1329" y="555"/>
                      <a:pt x="1329" y="555"/>
                      <a:pt x="1329" y="554"/>
                    </a:cubicBezTo>
                    <a:cubicBezTo>
                      <a:pt x="1329" y="554"/>
                      <a:pt x="1329" y="554"/>
                      <a:pt x="1328" y="554"/>
                    </a:cubicBezTo>
                    <a:cubicBezTo>
                      <a:pt x="1328" y="554"/>
                      <a:pt x="1328" y="554"/>
                      <a:pt x="1327" y="555"/>
                    </a:cubicBezTo>
                    <a:close/>
                    <a:moveTo>
                      <a:pt x="1335" y="551"/>
                    </a:moveTo>
                    <a:cubicBezTo>
                      <a:pt x="1335" y="551"/>
                      <a:pt x="1335" y="551"/>
                      <a:pt x="1336" y="551"/>
                    </a:cubicBezTo>
                    <a:cubicBezTo>
                      <a:pt x="1336" y="551"/>
                      <a:pt x="1336" y="551"/>
                      <a:pt x="1337" y="550"/>
                    </a:cubicBezTo>
                    <a:cubicBezTo>
                      <a:pt x="1337" y="550"/>
                      <a:pt x="1337" y="550"/>
                      <a:pt x="1336" y="550"/>
                    </a:cubicBezTo>
                    <a:cubicBezTo>
                      <a:pt x="1336" y="550"/>
                      <a:pt x="1336" y="550"/>
                      <a:pt x="1335" y="549"/>
                    </a:cubicBezTo>
                    <a:cubicBezTo>
                      <a:pt x="1335" y="549"/>
                      <a:pt x="1335" y="549"/>
                      <a:pt x="1334" y="549"/>
                    </a:cubicBezTo>
                    <a:cubicBezTo>
                      <a:pt x="1334" y="549"/>
                      <a:pt x="1334" y="549"/>
                      <a:pt x="1333" y="550"/>
                    </a:cubicBezTo>
                    <a:cubicBezTo>
                      <a:pt x="1333" y="550"/>
                      <a:pt x="1333" y="550"/>
                      <a:pt x="1333" y="551"/>
                    </a:cubicBezTo>
                    <a:cubicBezTo>
                      <a:pt x="1333" y="551"/>
                      <a:pt x="1333" y="551"/>
                      <a:pt x="1334" y="550"/>
                    </a:cubicBezTo>
                    <a:cubicBezTo>
                      <a:pt x="1334" y="550"/>
                      <a:pt x="1334" y="550"/>
                      <a:pt x="1335" y="551"/>
                    </a:cubicBezTo>
                    <a:close/>
                    <a:moveTo>
                      <a:pt x="1339" y="565"/>
                    </a:moveTo>
                    <a:cubicBezTo>
                      <a:pt x="1339" y="565"/>
                      <a:pt x="1339" y="565"/>
                      <a:pt x="1339" y="564"/>
                    </a:cubicBezTo>
                    <a:cubicBezTo>
                      <a:pt x="1339" y="564"/>
                      <a:pt x="1339" y="564"/>
                      <a:pt x="1338" y="565"/>
                    </a:cubicBezTo>
                    <a:cubicBezTo>
                      <a:pt x="1338" y="565"/>
                      <a:pt x="1338" y="565"/>
                      <a:pt x="1338" y="566"/>
                    </a:cubicBezTo>
                    <a:cubicBezTo>
                      <a:pt x="1338" y="566"/>
                      <a:pt x="1338" y="566"/>
                      <a:pt x="1339" y="567"/>
                    </a:cubicBezTo>
                    <a:cubicBezTo>
                      <a:pt x="1339" y="567"/>
                      <a:pt x="1339" y="567"/>
                      <a:pt x="1339" y="565"/>
                    </a:cubicBezTo>
                    <a:close/>
                    <a:moveTo>
                      <a:pt x="1333" y="559"/>
                    </a:moveTo>
                    <a:cubicBezTo>
                      <a:pt x="1334" y="559"/>
                      <a:pt x="1334" y="559"/>
                      <a:pt x="1334" y="559"/>
                    </a:cubicBezTo>
                    <a:cubicBezTo>
                      <a:pt x="1334" y="559"/>
                      <a:pt x="1334" y="559"/>
                      <a:pt x="1335" y="558"/>
                    </a:cubicBezTo>
                    <a:cubicBezTo>
                      <a:pt x="1335" y="558"/>
                      <a:pt x="1335" y="558"/>
                      <a:pt x="1334" y="558"/>
                    </a:cubicBezTo>
                    <a:cubicBezTo>
                      <a:pt x="1334" y="558"/>
                      <a:pt x="1334" y="558"/>
                      <a:pt x="1333" y="558"/>
                    </a:cubicBezTo>
                    <a:cubicBezTo>
                      <a:pt x="1333" y="558"/>
                      <a:pt x="1333" y="558"/>
                      <a:pt x="1333" y="559"/>
                    </a:cubicBezTo>
                    <a:close/>
                    <a:moveTo>
                      <a:pt x="1291" y="535"/>
                    </a:moveTo>
                    <a:cubicBezTo>
                      <a:pt x="1291" y="535"/>
                      <a:pt x="1291" y="535"/>
                      <a:pt x="1292" y="535"/>
                    </a:cubicBezTo>
                    <a:cubicBezTo>
                      <a:pt x="1292" y="535"/>
                      <a:pt x="1292" y="535"/>
                      <a:pt x="1292" y="536"/>
                    </a:cubicBezTo>
                    <a:cubicBezTo>
                      <a:pt x="1292" y="536"/>
                      <a:pt x="1292" y="536"/>
                      <a:pt x="1293" y="537"/>
                    </a:cubicBezTo>
                    <a:cubicBezTo>
                      <a:pt x="1293" y="537"/>
                      <a:pt x="1293" y="537"/>
                      <a:pt x="1294" y="537"/>
                    </a:cubicBezTo>
                    <a:cubicBezTo>
                      <a:pt x="1294" y="537"/>
                      <a:pt x="1294" y="537"/>
                      <a:pt x="1293" y="536"/>
                    </a:cubicBezTo>
                    <a:cubicBezTo>
                      <a:pt x="1293" y="536"/>
                      <a:pt x="1293" y="536"/>
                      <a:pt x="1293" y="534"/>
                    </a:cubicBezTo>
                    <a:cubicBezTo>
                      <a:pt x="1293" y="534"/>
                      <a:pt x="1293" y="534"/>
                      <a:pt x="1292" y="534"/>
                    </a:cubicBezTo>
                    <a:cubicBezTo>
                      <a:pt x="1292" y="534"/>
                      <a:pt x="1292" y="534"/>
                      <a:pt x="1291" y="535"/>
                    </a:cubicBezTo>
                    <a:close/>
                    <a:moveTo>
                      <a:pt x="1316" y="540"/>
                    </a:moveTo>
                    <a:cubicBezTo>
                      <a:pt x="1316" y="540"/>
                      <a:pt x="1316" y="540"/>
                      <a:pt x="1316" y="539"/>
                    </a:cubicBezTo>
                    <a:cubicBezTo>
                      <a:pt x="1316" y="539"/>
                      <a:pt x="1316" y="539"/>
                      <a:pt x="1315" y="539"/>
                    </a:cubicBezTo>
                    <a:cubicBezTo>
                      <a:pt x="1315" y="539"/>
                      <a:pt x="1315" y="539"/>
                      <a:pt x="1316" y="540"/>
                    </a:cubicBezTo>
                    <a:close/>
                    <a:moveTo>
                      <a:pt x="1312" y="540"/>
                    </a:moveTo>
                    <a:cubicBezTo>
                      <a:pt x="1312" y="540"/>
                      <a:pt x="1312" y="540"/>
                      <a:pt x="1311" y="541"/>
                    </a:cubicBezTo>
                    <a:cubicBezTo>
                      <a:pt x="1311" y="541"/>
                      <a:pt x="1311" y="541"/>
                      <a:pt x="1312" y="541"/>
                    </a:cubicBezTo>
                    <a:cubicBezTo>
                      <a:pt x="1312" y="541"/>
                      <a:pt x="1312" y="541"/>
                      <a:pt x="1313" y="541"/>
                    </a:cubicBezTo>
                    <a:cubicBezTo>
                      <a:pt x="1313" y="541"/>
                      <a:pt x="1313" y="541"/>
                      <a:pt x="1313" y="542"/>
                    </a:cubicBezTo>
                    <a:cubicBezTo>
                      <a:pt x="1313" y="542"/>
                      <a:pt x="1313" y="542"/>
                      <a:pt x="1314" y="542"/>
                    </a:cubicBezTo>
                    <a:cubicBezTo>
                      <a:pt x="1314" y="542"/>
                      <a:pt x="1314" y="542"/>
                      <a:pt x="1315" y="543"/>
                    </a:cubicBezTo>
                    <a:cubicBezTo>
                      <a:pt x="1315" y="543"/>
                      <a:pt x="1315" y="543"/>
                      <a:pt x="1316" y="544"/>
                    </a:cubicBezTo>
                    <a:cubicBezTo>
                      <a:pt x="1316" y="544"/>
                      <a:pt x="1316" y="544"/>
                      <a:pt x="1317" y="545"/>
                    </a:cubicBezTo>
                    <a:cubicBezTo>
                      <a:pt x="1317" y="545"/>
                      <a:pt x="1317" y="545"/>
                      <a:pt x="1318" y="545"/>
                    </a:cubicBezTo>
                    <a:cubicBezTo>
                      <a:pt x="1318" y="545"/>
                      <a:pt x="1318" y="545"/>
                      <a:pt x="1319" y="546"/>
                    </a:cubicBezTo>
                    <a:cubicBezTo>
                      <a:pt x="1319" y="546"/>
                      <a:pt x="1319" y="546"/>
                      <a:pt x="1319" y="547"/>
                    </a:cubicBezTo>
                    <a:cubicBezTo>
                      <a:pt x="1319" y="547"/>
                      <a:pt x="1319" y="547"/>
                      <a:pt x="1320" y="548"/>
                    </a:cubicBezTo>
                    <a:cubicBezTo>
                      <a:pt x="1320" y="548"/>
                      <a:pt x="1320" y="548"/>
                      <a:pt x="1321" y="549"/>
                    </a:cubicBezTo>
                    <a:cubicBezTo>
                      <a:pt x="1321" y="549"/>
                      <a:pt x="1321" y="549"/>
                      <a:pt x="1321" y="548"/>
                    </a:cubicBezTo>
                    <a:cubicBezTo>
                      <a:pt x="1321" y="548"/>
                      <a:pt x="1321" y="548"/>
                      <a:pt x="1320" y="547"/>
                    </a:cubicBezTo>
                    <a:cubicBezTo>
                      <a:pt x="1320" y="547"/>
                      <a:pt x="1320" y="547"/>
                      <a:pt x="1320" y="546"/>
                    </a:cubicBezTo>
                    <a:cubicBezTo>
                      <a:pt x="1320" y="546"/>
                      <a:pt x="1320" y="546"/>
                      <a:pt x="1320" y="545"/>
                    </a:cubicBezTo>
                    <a:cubicBezTo>
                      <a:pt x="1320" y="545"/>
                      <a:pt x="1320" y="545"/>
                      <a:pt x="1319" y="544"/>
                    </a:cubicBezTo>
                    <a:cubicBezTo>
                      <a:pt x="1319" y="544"/>
                      <a:pt x="1319" y="544"/>
                      <a:pt x="1318" y="542"/>
                    </a:cubicBezTo>
                    <a:cubicBezTo>
                      <a:pt x="1318" y="542"/>
                      <a:pt x="1318" y="542"/>
                      <a:pt x="1317" y="542"/>
                    </a:cubicBezTo>
                    <a:cubicBezTo>
                      <a:pt x="1317" y="542"/>
                      <a:pt x="1317" y="542"/>
                      <a:pt x="1316" y="542"/>
                    </a:cubicBezTo>
                    <a:cubicBezTo>
                      <a:pt x="1316" y="542"/>
                      <a:pt x="1316" y="542"/>
                      <a:pt x="1314" y="541"/>
                    </a:cubicBezTo>
                    <a:cubicBezTo>
                      <a:pt x="1314" y="541"/>
                      <a:pt x="1314" y="541"/>
                      <a:pt x="1313" y="540"/>
                    </a:cubicBezTo>
                    <a:cubicBezTo>
                      <a:pt x="1313" y="538"/>
                      <a:pt x="1313" y="538"/>
                      <a:pt x="1313" y="538"/>
                    </a:cubicBezTo>
                    <a:cubicBezTo>
                      <a:pt x="1312" y="539"/>
                      <a:pt x="1312" y="539"/>
                      <a:pt x="1312" y="539"/>
                    </a:cubicBezTo>
                    <a:cubicBezTo>
                      <a:pt x="1312" y="540"/>
                      <a:pt x="1312" y="540"/>
                      <a:pt x="1312" y="540"/>
                    </a:cubicBezTo>
                    <a:close/>
                    <a:moveTo>
                      <a:pt x="1326" y="555"/>
                    </a:moveTo>
                    <a:cubicBezTo>
                      <a:pt x="1326" y="555"/>
                      <a:pt x="1326" y="555"/>
                      <a:pt x="1326" y="556"/>
                    </a:cubicBezTo>
                    <a:cubicBezTo>
                      <a:pt x="1326" y="556"/>
                      <a:pt x="1326" y="556"/>
                      <a:pt x="1327" y="555"/>
                    </a:cubicBezTo>
                    <a:cubicBezTo>
                      <a:pt x="1327" y="555"/>
                      <a:pt x="1327" y="555"/>
                      <a:pt x="1326" y="554"/>
                    </a:cubicBezTo>
                    <a:cubicBezTo>
                      <a:pt x="1326" y="554"/>
                      <a:pt x="1326" y="554"/>
                      <a:pt x="1326" y="555"/>
                    </a:cubicBezTo>
                    <a:close/>
                    <a:moveTo>
                      <a:pt x="1326" y="533"/>
                    </a:moveTo>
                    <a:cubicBezTo>
                      <a:pt x="1326" y="533"/>
                      <a:pt x="1326" y="533"/>
                      <a:pt x="1326" y="532"/>
                    </a:cubicBezTo>
                    <a:cubicBezTo>
                      <a:pt x="1326" y="532"/>
                      <a:pt x="1326" y="532"/>
                      <a:pt x="1326" y="531"/>
                    </a:cubicBezTo>
                    <a:cubicBezTo>
                      <a:pt x="1326" y="531"/>
                      <a:pt x="1326" y="531"/>
                      <a:pt x="1325" y="532"/>
                    </a:cubicBezTo>
                    <a:cubicBezTo>
                      <a:pt x="1325" y="532"/>
                      <a:pt x="1325" y="532"/>
                      <a:pt x="1324" y="532"/>
                    </a:cubicBezTo>
                    <a:cubicBezTo>
                      <a:pt x="1324" y="532"/>
                      <a:pt x="1324" y="532"/>
                      <a:pt x="1323" y="532"/>
                    </a:cubicBezTo>
                    <a:cubicBezTo>
                      <a:pt x="1323" y="532"/>
                      <a:pt x="1323" y="532"/>
                      <a:pt x="1324" y="533"/>
                    </a:cubicBezTo>
                    <a:cubicBezTo>
                      <a:pt x="1324" y="533"/>
                      <a:pt x="1324" y="533"/>
                      <a:pt x="1324" y="534"/>
                    </a:cubicBezTo>
                    <a:cubicBezTo>
                      <a:pt x="1324" y="534"/>
                      <a:pt x="1324" y="534"/>
                      <a:pt x="1325" y="533"/>
                    </a:cubicBezTo>
                    <a:cubicBezTo>
                      <a:pt x="1325" y="533"/>
                      <a:pt x="1325" y="533"/>
                      <a:pt x="1325" y="534"/>
                    </a:cubicBezTo>
                    <a:cubicBezTo>
                      <a:pt x="1325" y="534"/>
                      <a:pt x="1325" y="534"/>
                      <a:pt x="1326" y="533"/>
                    </a:cubicBezTo>
                    <a:close/>
                    <a:moveTo>
                      <a:pt x="1322" y="542"/>
                    </a:moveTo>
                    <a:cubicBezTo>
                      <a:pt x="1322" y="542"/>
                      <a:pt x="1322" y="542"/>
                      <a:pt x="1323" y="542"/>
                    </a:cubicBezTo>
                    <a:cubicBezTo>
                      <a:pt x="1323" y="542"/>
                      <a:pt x="1323" y="542"/>
                      <a:pt x="1323" y="541"/>
                    </a:cubicBezTo>
                    <a:cubicBezTo>
                      <a:pt x="1323" y="541"/>
                      <a:pt x="1323" y="541"/>
                      <a:pt x="1322" y="541"/>
                    </a:cubicBezTo>
                    <a:cubicBezTo>
                      <a:pt x="1322" y="541"/>
                      <a:pt x="1322" y="541"/>
                      <a:pt x="1322" y="542"/>
                    </a:cubicBezTo>
                    <a:close/>
                    <a:moveTo>
                      <a:pt x="1342" y="563"/>
                    </a:moveTo>
                    <a:cubicBezTo>
                      <a:pt x="1342" y="563"/>
                      <a:pt x="1342" y="563"/>
                      <a:pt x="1343" y="562"/>
                    </a:cubicBezTo>
                    <a:cubicBezTo>
                      <a:pt x="1343" y="562"/>
                      <a:pt x="1343" y="562"/>
                      <a:pt x="1344" y="562"/>
                    </a:cubicBezTo>
                    <a:cubicBezTo>
                      <a:pt x="1344" y="562"/>
                      <a:pt x="1344" y="562"/>
                      <a:pt x="1344" y="561"/>
                    </a:cubicBezTo>
                    <a:cubicBezTo>
                      <a:pt x="1344" y="561"/>
                      <a:pt x="1344" y="561"/>
                      <a:pt x="1345" y="561"/>
                    </a:cubicBezTo>
                    <a:cubicBezTo>
                      <a:pt x="1345" y="561"/>
                      <a:pt x="1345" y="561"/>
                      <a:pt x="1345" y="560"/>
                    </a:cubicBezTo>
                    <a:cubicBezTo>
                      <a:pt x="1345" y="560"/>
                      <a:pt x="1345" y="560"/>
                      <a:pt x="1345" y="559"/>
                    </a:cubicBezTo>
                    <a:cubicBezTo>
                      <a:pt x="1345" y="559"/>
                      <a:pt x="1345" y="559"/>
                      <a:pt x="1344" y="559"/>
                    </a:cubicBezTo>
                    <a:cubicBezTo>
                      <a:pt x="1344" y="559"/>
                      <a:pt x="1344" y="559"/>
                      <a:pt x="1343" y="560"/>
                    </a:cubicBezTo>
                    <a:cubicBezTo>
                      <a:pt x="1343" y="560"/>
                      <a:pt x="1343" y="560"/>
                      <a:pt x="1342" y="561"/>
                    </a:cubicBezTo>
                    <a:cubicBezTo>
                      <a:pt x="1342" y="561"/>
                      <a:pt x="1342" y="561"/>
                      <a:pt x="1342" y="562"/>
                    </a:cubicBezTo>
                    <a:cubicBezTo>
                      <a:pt x="1342" y="562"/>
                      <a:pt x="1342" y="562"/>
                      <a:pt x="1341" y="563"/>
                    </a:cubicBezTo>
                    <a:cubicBezTo>
                      <a:pt x="1341" y="563"/>
                      <a:pt x="1341" y="563"/>
                      <a:pt x="1342" y="563"/>
                    </a:cubicBezTo>
                    <a:close/>
                    <a:moveTo>
                      <a:pt x="1333" y="540"/>
                    </a:moveTo>
                    <a:cubicBezTo>
                      <a:pt x="1333" y="540"/>
                      <a:pt x="1333" y="540"/>
                      <a:pt x="1333" y="539"/>
                    </a:cubicBezTo>
                    <a:cubicBezTo>
                      <a:pt x="1333" y="539"/>
                      <a:pt x="1333" y="539"/>
                      <a:pt x="1333" y="538"/>
                    </a:cubicBezTo>
                    <a:cubicBezTo>
                      <a:pt x="1333" y="538"/>
                      <a:pt x="1333" y="538"/>
                      <a:pt x="1333" y="537"/>
                    </a:cubicBezTo>
                    <a:cubicBezTo>
                      <a:pt x="1333" y="537"/>
                      <a:pt x="1333" y="537"/>
                      <a:pt x="1331" y="537"/>
                    </a:cubicBezTo>
                    <a:cubicBezTo>
                      <a:pt x="1331" y="537"/>
                      <a:pt x="1331" y="537"/>
                      <a:pt x="1331" y="538"/>
                    </a:cubicBezTo>
                    <a:cubicBezTo>
                      <a:pt x="1331" y="538"/>
                      <a:pt x="1331" y="538"/>
                      <a:pt x="1332" y="538"/>
                    </a:cubicBezTo>
                    <a:cubicBezTo>
                      <a:pt x="1332" y="538"/>
                      <a:pt x="1332" y="538"/>
                      <a:pt x="1332" y="539"/>
                    </a:cubicBezTo>
                    <a:cubicBezTo>
                      <a:pt x="1332" y="539"/>
                      <a:pt x="1332" y="539"/>
                      <a:pt x="1331" y="539"/>
                    </a:cubicBezTo>
                    <a:cubicBezTo>
                      <a:pt x="1331" y="539"/>
                      <a:pt x="1331" y="539"/>
                      <a:pt x="1331" y="540"/>
                    </a:cubicBezTo>
                    <a:cubicBezTo>
                      <a:pt x="1331" y="540"/>
                      <a:pt x="1331" y="540"/>
                      <a:pt x="1332" y="540"/>
                    </a:cubicBezTo>
                    <a:cubicBezTo>
                      <a:pt x="1332" y="540"/>
                      <a:pt x="1332" y="540"/>
                      <a:pt x="1333" y="540"/>
                    </a:cubicBezTo>
                    <a:close/>
                    <a:moveTo>
                      <a:pt x="1324" y="551"/>
                    </a:moveTo>
                    <a:cubicBezTo>
                      <a:pt x="1324" y="551"/>
                      <a:pt x="1324" y="551"/>
                      <a:pt x="1325" y="551"/>
                    </a:cubicBezTo>
                    <a:cubicBezTo>
                      <a:pt x="1325" y="551"/>
                      <a:pt x="1325" y="551"/>
                      <a:pt x="1325" y="550"/>
                    </a:cubicBezTo>
                    <a:cubicBezTo>
                      <a:pt x="1325" y="550"/>
                      <a:pt x="1325" y="550"/>
                      <a:pt x="1324" y="549"/>
                    </a:cubicBezTo>
                    <a:cubicBezTo>
                      <a:pt x="1324" y="549"/>
                      <a:pt x="1324" y="549"/>
                      <a:pt x="1323" y="549"/>
                    </a:cubicBezTo>
                    <a:cubicBezTo>
                      <a:pt x="1323" y="549"/>
                      <a:pt x="1323" y="549"/>
                      <a:pt x="1322" y="549"/>
                    </a:cubicBezTo>
                    <a:cubicBezTo>
                      <a:pt x="1322" y="549"/>
                      <a:pt x="1322" y="549"/>
                      <a:pt x="1323" y="550"/>
                    </a:cubicBezTo>
                    <a:cubicBezTo>
                      <a:pt x="1323" y="550"/>
                      <a:pt x="1323" y="550"/>
                      <a:pt x="1324" y="551"/>
                    </a:cubicBezTo>
                    <a:close/>
                    <a:moveTo>
                      <a:pt x="1299" y="543"/>
                    </a:moveTo>
                    <a:cubicBezTo>
                      <a:pt x="1299" y="543"/>
                      <a:pt x="1299" y="543"/>
                      <a:pt x="1298" y="542"/>
                    </a:cubicBezTo>
                    <a:cubicBezTo>
                      <a:pt x="1298" y="542"/>
                      <a:pt x="1298" y="542"/>
                      <a:pt x="1297" y="543"/>
                    </a:cubicBezTo>
                    <a:cubicBezTo>
                      <a:pt x="1297" y="543"/>
                      <a:pt x="1297" y="543"/>
                      <a:pt x="1298" y="544"/>
                    </a:cubicBezTo>
                    <a:cubicBezTo>
                      <a:pt x="1298" y="544"/>
                      <a:pt x="1298" y="544"/>
                      <a:pt x="1298" y="543"/>
                    </a:cubicBezTo>
                    <a:cubicBezTo>
                      <a:pt x="1298" y="543"/>
                      <a:pt x="1298" y="543"/>
                      <a:pt x="1299" y="543"/>
                    </a:cubicBezTo>
                    <a:close/>
                    <a:moveTo>
                      <a:pt x="1327" y="552"/>
                    </a:moveTo>
                    <a:cubicBezTo>
                      <a:pt x="1327" y="552"/>
                      <a:pt x="1327" y="552"/>
                      <a:pt x="1326" y="551"/>
                    </a:cubicBezTo>
                    <a:cubicBezTo>
                      <a:pt x="1326" y="551"/>
                      <a:pt x="1326" y="551"/>
                      <a:pt x="1325" y="551"/>
                    </a:cubicBezTo>
                    <a:cubicBezTo>
                      <a:pt x="1325" y="551"/>
                      <a:pt x="1325" y="551"/>
                      <a:pt x="1326" y="552"/>
                    </a:cubicBezTo>
                    <a:cubicBezTo>
                      <a:pt x="1326" y="552"/>
                      <a:pt x="1326" y="552"/>
                      <a:pt x="1327" y="552"/>
                    </a:cubicBezTo>
                    <a:close/>
                    <a:moveTo>
                      <a:pt x="1314" y="561"/>
                    </a:moveTo>
                    <a:cubicBezTo>
                      <a:pt x="1314" y="561"/>
                      <a:pt x="1314" y="561"/>
                      <a:pt x="1313" y="560"/>
                    </a:cubicBezTo>
                    <a:cubicBezTo>
                      <a:pt x="1313" y="560"/>
                      <a:pt x="1313" y="560"/>
                      <a:pt x="1312" y="560"/>
                    </a:cubicBezTo>
                    <a:cubicBezTo>
                      <a:pt x="1312" y="560"/>
                      <a:pt x="1312" y="560"/>
                      <a:pt x="1313" y="561"/>
                    </a:cubicBezTo>
                    <a:cubicBezTo>
                      <a:pt x="1313" y="561"/>
                      <a:pt x="1313" y="561"/>
                      <a:pt x="1313" y="562"/>
                    </a:cubicBezTo>
                    <a:cubicBezTo>
                      <a:pt x="1313" y="562"/>
                      <a:pt x="1313" y="562"/>
                      <a:pt x="1314" y="561"/>
                    </a:cubicBezTo>
                    <a:close/>
                    <a:moveTo>
                      <a:pt x="1321" y="552"/>
                    </a:moveTo>
                    <a:cubicBezTo>
                      <a:pt x="1321" y="552"/>
                      <a:pt x="1321" y="552"/>
                      <a:pt x="1321" y="551"/>
                    </a:cubicBezTo>
                    <a:cubicBezTo>
                      <a:pt x="1321" y="551"/>
                      <a:pt x="1321" y="551"/>
                      <a:pt x="1320" y="552"/>
                    </a:cubicBezTo>
                    <a:cubicBezTo>
                      <a:pt x="1320" y="552"/>
                      <a:pt x="1320" y="552"/>
                      <a:pt x="1321" y="552"/>
                    </a:cubicBezTo>
                    <a:close/>
                    <a:moveTo>
                      <a:pt x="1328" y="552"/>
                    </a:moveTo>
                    <a:cubicBezTo>
                      <a:pt x="1328" y="552"/>
                      <a:pt x="1328" y="552"/>
                      <a:pt x="1327" y="552"/>
                    </a:cubicBezTo>
                    <a:cubicBezTo>
                      <a:pt x="1327" y="552"/>
                      <a:pt x="1327" y="552"/>
                      <a:pt x="1327" y="553"/>
                    </a:cubicBezTo>
                    <a:cubicBezTo>
                      <a:pt x="1327" y="553"/>
                      <a:pt x="1327" y="553"/>
                      <a:pt x="1328" y="552"/>
                    </a:cubicBezTo>
                    <a:close/>
                    <a:moveTo>
                      <a:pt x="1297" y="545"/>
                    </a:moveTo>
                    <a:cubicBezTo>
                      <a:pt x="1297" y="545"/>
                      <a:pt x="1297" y="545"/>
                      <a:pt x="1296" y="546"/>
                    </a:cubicBezTo>
                    <a:cubicBezTo>
                      <a:pt x="1296" y="546"/>
                      <a:pt x="1296" y="546"/>
                      <a:pt x="1296" y="547"/>
                    </a:cubicBezTo>
                    <a:cubicBezTo>
                      <a:pt x="1296" y="547"/>
                      <a:pt x="1296" y="547"/>
                      <a:pt x="1297" y="547"/>
                    </a:cubicBezTo>
                    <a:cubicBezTo>
                      <a:pt x="1297" y="547"/>
                      <a:pt x="1297" y="547"/>
                      <a:pt x="1298" y="548"/>
                    </a:cubicBezTo>
                    <a:cubicBezTo>
                      <a:pt x="1298" y="548"/>
                      <a:pt x="1298" y="548"/>
                      <a:pt x="1299" y="548"/>
                    </a:cubicBezTo>
                    <a:cubicBezTo>
                      <a:pt x="1299" y="548"/>
                      <a:pt x="1299" y="548"/>
                      <a:pt x="1299" y="547"/>
                    </a:cubicBezTo>
                    <a:cubicBezTo>
                      <a:pt x="1299" y="547"/>
                      <a:pt x="1299" y="547"/>
                      <a:pt x="1299" y="546"/>
                    </a:cubicBezTo>
                    <a:cubicBezTo>
                      <a:pt x="1299" y="546"/>
                      <a:pt x="1299" y="546"/>
                      <a:pt x="1298" y="546"/>
                    </a:cubicBezTo>
                    <a:cubicBezTo>
                      <a:pt x="1298" y="546"/>
                      <a:pt x="1298" y="546"/>
                      <a:pt x="1299" y="545"/>
                    </a:cubicBezTo>
                    <a:cubicBezTo>
                      <a:pt x="1299" y="545"/>
                      <a:pt x="1299" y="545"/>
                      <a:pt x="1298" y="544"/>
                    </a:cubicBezTo>
                    <a:cubicBezTo>
                      <a:pt x="1298" y="544"/>
                      <a:pt x="1298" y="544"/>
                      <a:pt x="1298" y="545"/>
                    </a:cubicBezTo>
                    <a:cubicBezTo>
                      <a:pt x="1298" y="545"/>
                      <a:pt x="1298" y="545"/>
                      <a:pt x="1297" y="545"/>
                    </a:cubicBezTo>
                    <a:close/>
                    <a:moveTo>
                      <a:pt x="1322" y="547"/>
                    </a:moveTo>
                    <a:cubicBezTo>
                      <a:pt x="1322" y="547"/>
                      <a:pt x="1322" y="547"/>
                      <a:pt x="1321" y="547"/>
                    </a:cubicBezTo>
                    <a:cubicBezTo>
                      <a:pt x="1321" y="547"/>
                      <a:pt x="1321" y="547"/>
                      <a:pt x="1321" y="548"/>
                    </a:cubicBezTo>
                    <a:cubicBezTo>
                      <a:pt x="1321" y="548"/>
                      <a:pt x="1321" y="548"/>
                      <a:pt x="1322" y="549"/>
                    </a:cubicBezTo>
                    <a:cubicBezTo>
                      <a:pt x="1322" y="549"/>
                      <a:pt x="1322" y="549"/>
                      <a:pt x="1322" y="547"/>
                    </a:cubicBezTo>
                    <a:close/>
                    <a:moveTo>
                      <a:pt x="1321" y="553"/>
                    </a:moveTo>
                    <a:cubicBezTo>
                      <a:pt x="1321" y="553"/>
                      <a:pt x="1321" y="553"/>
                      <a:pt x="1321" y="554"/>
                    </a:cubicBezTo>
                    <a:cubicBezTo>
                      <a:pt x="1322" y="553"/>
                      <a:pt x="1322" y="553"/>
                      <a:pt x="1322" y="553"/>
                    </a:cubicBezTo>
                    <a:cubicBezTo>
                      <a:pt x="1322" y="553"/>
                      <a:pt x="1322" y="553"/>
                      <a:pt x="1321" y="553"/>
                    </a:cubicBezTo>
                    <a:close/>
                    <a:moveTo>
                      <a:pt x="1331" y="551"/>
                    </a:moveTo>
                    <a:cubicBezTo>
                      <a:pt x="1331" y="551"/>
                      <a:pt x="1331" y="551"/>
                      <a:pt x="1331" y="552"/>
                    </a:cubicBezTo>
                    <a:cubicBezTo>
                      <a:pt x="1331" y="552"/>
                      <a:pt x="1331" y="552"/>
                      <a:pt x="1332" y="551"/>
                    </a:cubicBezTo>
                    <a:cubicBezTo>
                      <a:pt x="1332" y="551"/>
                      <a:pt x="1332" y="551"/>
                      <a:pt x="1331" y="551"/>
                    </a:cubicBezTo>
                    <a:close/>
                    <a:moveTo>
                      <a:pt x="1329" y="538"/>
                    </a:moveTo>
                    <a:cubicBezTo>
                      <a:pt x="1329" y="538"/>
                      <a:pt x="1329" y="538"/>
                      <a:pt x="1329" y="539"/>
                    </a:cubicBezTo>
                    <a:cubicBezTo>
                      <a:pt x="1329" y="539"/>
                      <a:pt x="1329" y="539"/>
                      <a:pt x="1330" y="540"/>
                    </a:cubicBezTo>
                    <a:cubicBezTo>
                      <a:pt x="1330" y="540"/>
                      <a:pt x="1330" y="540"/>
                      <a:pt x="1331" y="539"/>
                    </a:cubicBezTo>
                    <a:cubicBezTo>
                      <a:pt x="1331" y="539"/>
                      <a:pt x="1331" y="539"/>
                      <a:pt x="1331" y="538"/>
                    </a:cubicBezTo>
                    <a:cubicBezTo>
                      <a:pt x="1331" y="538"/>
                      <a:pt x="1331" y="538"/>
                      <a:pt x="1329" y="538"/>
                    </a:cubicBezTo>
                    <a:close/>
                    <a:moveTo>
                      <a:pt x="1298" y="549"/>
                    </a:moveTo>
                    <a:cubicBezTo>
                      <a:pt x="1298" y="549"/>
                      <a:pt x="1298" y="549"/>
                      <a:pt x="1298" y="550"/>
                    </a:cubicBezTo>
                    <a:cubicBezTo>
                      <a:pt x="1298" y="550"/>
                      <a:pt x="1298" y="550"/>
                      <a:pt x="1299" y="551"/>
                    </a:cubicBezTo>
                    <a:cubicBezTo>
                      <a:pt x="1299" y="551"/>
                      <a:pt x="1299" y="551"/>
                      <a:pt x="1300" y="550"/>
                    </a:cubicBezTo>
                    <a:cubicBezTo>
                      <a:pt x="1300" y="550"/>
                      <a:pt x="1300" y="550"/>
                      <a:pt x="1299" y="549"/>
                    </a:cubicBezTo>
                    <a:cubicBezTo>
                      <a:pt x="1299" y="549"/>
                      <a:pt x="1299" y="549"/>
                      <a:pt x="1298" y="549"/>
                    </a:cubicBezTo>
                    <a:close/>
                    <a:moveTo>
                      <a:pt x="1322" y="554"/>
                    </a:moveTo>
                    <a:cubicBezTo>
                      <a:pt x="1322" y="554"/>
                      <a:pt x="1322" y="554"/>
                      <a:pt x="1321" y="555"/>
                    </a:cubicBezTo>
                    <a:cubicBezTo>
                      <a:pt x="1321" y="555"/>
                      <a:pt x="1321" y="555"/>
                      <a:pt x="1322" y="555"/>
                    </a:cubicBezTo>
                    <a:cubicBezTo>
                      <a:pt x="1322" y="555"/>
                      <a:pt x="1322" y="555"/>
                      <a:pt x="1322" y="554"/>
                    </a:cubicBezTo>
                    <a:close/>
                    <a:moveTo>
                      <a:pt x="1320" y="566"/>
                    </a:moveTo>
                    <a:cubicBezTo>
                      <a:pt x="1319" y="566"/>
                      <a:pt x="1319" y="566"/>
                      <a:pt x="1319" y="566"/>
                    </a:cubicBezTo>
                    <a:cubicBezTo>
                      <a:pt x="1318" y="565"/>
                      <a:pt x="1318" y="565"/>
                      <a:pt x="1318" y="565"/>
                    </a:cubicBezTo>
                    <a:cubicBezTo>
                      <a:pt x="1318" y="566"/>
                      <a:pt x="1318" y="566"/>
                      <a:pt x="1318" y="566"/>
                    </a:cubicBezTo>
                    <a:cubicBezTo>
                      <a:pt x="1317" y="565"/>
                      <a:pt x="1317" y="565"/>
                      <a:pt x="1317" y="565"/>
                    </a:cubicBezTo>
                    <a:cubicBezTo>
                      <a:pt x="1317" y="566"/>
                      <a:pt x="1317" y="566"/>
                      <a:pt x="1317" y="566"/>
                    </a:cubicBezTo>
                    <a:cubicBezTo>
                      <a:pt x="1317" y="567"/>
                      <a:pt x="1317" y="567"/>
                      <a:pt x="1317" y="567"/>
                    </a:cubicBezTo>
                    <a:cubicBezTo>
                      <a:pt x="1317" y="568"/>
                      <a:pt x="1317" y="568"/>
                      <a:pt x="1317" y="568"/>
                    </a:cubicBezTo>
                    <a:cubicBezTo>
                      <a:pt x="1318" y="568"/>
                      <a:pt x="1318" y="568"/>
                      <a:pt x="1318" y="568"/>
                    </a:cubicBezTo>
                    <a:cubicBezTo>
                      <a:pt x="1320" y="568"/>
                      <a:pt x="1320" y="568"/>
                      <a:pt x="1320" y="568"/>
                    </a:cubicBezTo>
                    <a:cubicBezTo>
                      <a:pt x="1321" y="568"/>
                      <a:pt x="1321" y="568"/>
                      <a:pt x="1321" y="568"/>
                    </a:cubicBezTo>
                    <a:cubicBezTo>
                      <a:pt x="1322" y="568"/>
                      <a:pt x="1322" y="568"/>
                      <a:pt x="1322" y="568"/>
                    </a:cubicBezTo>
                    <a:cubicBezTo>
                      <a:pt x="1323" y="568"/>
                      <a:pt x="1323" y="568"/>
                      <a:pt x="1323" y="568"/>
                    </a:cubicBezTo>
                    <a:cubicBezTo>
                      <a:pt x="1324" y="569"/>
                      <a:pt x="1324" y="569"/>
                      <a:pt x="1324" y="569"/>
                    </a:cubicBezTo>
                    <a:cubicBezTo>
                      <a:pt x="1324" y="570"/>
                      <a:pt x="1324" y="570"/>
                      <a:pt x="1324" y="570"/>
                    </a:cubicBezTo>
                    <a:cubicBezTo>
                      <a:pt x="1326" y="570"/>
                      <a:pt x="1326" y="570"/>
                      <a:pt x="1326" y="570"/>
                    </a:cubicBezTo>
                    <a:cubicBezTo>
                      <a:pt x="1327" y="569"/>
                      <a:pt x="1327" y="569"/>
                      <a:pt x="1327" y="569"/>
                    </a:cubicBezTo>
                    <a:cubicBezTo>
                      <a:pt x="1329" y="569"/>
                      <a:pt x="1329" y="569"/>
                      <a:pt x="1329" y="569"/>
                    </a:cubicBezTo>
                    <a:cubicBezTo>
                      <a:pt x="1331" y="569"/>
                      <a:pt x="1331" y="569"/>
                      <a:pt x="1331" y="569"/>
                    </a:cubicBezTo>
                    <a:cubicBezTo>
                      <a:pt x="1333" y="569"/>
                      <a:pt x="1333" y="569"/>
                      <a:pt x="1333" y="569"/>
                    </a:cubicBezTo>
                    <a:cubicBezTo>
                      <a:pt x="1334" y="569"/>
                      <a:pt x="1334" y="569"/>
                      <a:pt x="1334" y="569"/>
                    </a:cubicBezTo>
                    <a:cubicBezTo>
                      <a:pt x="1334" y="568"/>
                      <a:pt x="1334" y="568"/>
                      <a:pt x="1334" y="568"/>
                    </a:cubicBezTo>
                    <a:cubicBezTo>
                      <a:pt x="1334" y="567"/>
                      <a:pt x="1334" y="567"/>
                      <a:pt x="1334" y="567"/>
                    </a:cubicBezTo>
                    <a:cubicBezTo>
                      <a:pt x="1334" y="566"/>
                      <a:pt x="1334" y="566"/>
                      <a:pt x="1334" y="566"/>
                    </a:cubicBezTo>
                    <a:cubicBezTo>
                      <a:pt x="1333" y="567"/>
                      <a:pt x="1333" y="567"/>
                      <a:pt x="1333" y="567"/>
                    </a:cubicBezTo>
                    <a:cubicBezTo>
                      <a:pt x="1333" y="568"/>
                      <a:pt x="1333" y="568"/>
                      <a:pt x="1333" y="568"/>
                    </a:cubicBezTo>
                    <a:cubicBezTo>
                      <a:pt x="1332" y="568"/>
                      <a:pt x="1332" y="568"/>
                      <a:pt x="1332" y="568"/>
                    </a:cubicBezTo>
                    <a:cubicBezTo>
                      <a:pt x="1331" y="568"/>
                      <a:pt x="1331" y="568"/>
                      <a:pt x="1331" y="568"/>
                    </a:cubicBezTo>
                    <a:cubicBezTo>
                      <a:pt x="1331" y="567"/>
                      <a:pt x="1331" y="567"/>
                      <a:pt x="1331" y="567"/>
                    </a:cubicBezTo>
                    <a:cubicBezTo>
                      <a:pt x="1330" y="566"/>
                      <a:pt x="1330" y="566"/>
                      <a:pt x="1330" y="566"/>
                    </a:cubicBezTo>
                    <a:cubicBezTo>
                      <a:pt x="1328" y="566"/>
                      <a:pt x="1328" y="566"/>
                      <a:pt x="1328" y="566"/>
                    </a:cubicBezTo>
                    <a:cubicBezTo>
                      <a:pt x="1327" y="566"/>
                      <a:pt x="1327" y="566"/>
                      <a:pt x="1327" y="566"/>
                    </a:cubicBezTo>
                    <a:cubicBezTo>
                      <a:pt x="1325" y="566"/>
                      <a:pt x="1325" y="566"/>
                      <a:pt x="1325" y="566"/>
                    </a:cubicBezTo>
                    <a:cubicBezTo>
                      <a:pt x="1324" y="567"/>
                      <a:pt x="1324" y="567"/>
                      <a:pt x="1324" y="567"/>
                    </a:cubicBezTo>
                    <a:cubicBezTo>
                      <a:pt x="1322" y="567"/>
                      <a:pt x="1322" y="567"/>
                      <a:pt x="1322" y="567"/>
                    </a:cubicBezTo>
                    <a:cubicBezTo>
                      <a:pt x="1322" y="566"/>
                      <a:pt x="1322" y="566"/>
                      <a:pt x="1322" y="566"/>
                    </a:cubicBezTo>
                    <a:cubicBezTo>
                      <a:pt x="1321" y="566"/>
                      <a:pt x="1321" y="566"/>
                      <a:pt x="1321" y="566"/>
                    </a:cubicBezTo>
                    <a:cubicBezTo>
                      <a:pt x="1320" y="565"/>
                      <a:pt x="1320" y="565"/>
                      <a:pt x="1320" y="565"/>
                    </a:cubicBezTo>
                    <a:cubicBezTo>
                      <a:pt x="1320" y="566"/>
                      <a:pt x="1320" y="566"/>
                      <a:pt x="1320" y="566"/>
                    </a:cubicBezTo>
                    <a:close/>
                    <a:moveTo>
                      <a:pt x="1321" y="559"/>
                    </a:moveTo>
                    <a:cubicBezTo>
                      <a:pt x="1321" y="559"/>
                      <a:pt x="1321" y="559"/>
                      <a:pt x="1322" y="558"/>
                    </a:cubicBezTo>
                    <a:cubicBezTo>
                      <a:pt x="1322" y="558"/>
                      <a:pt x="1322" y="558"/>
                      <a:pt x="1321" y="558"/>
                    </a:cubicBezTo>
                    <a:cubicBezTo>
                      <a:pt x="1321" y="558"/>
                      <a:pt x="1321" y="558"/>
                      <a:pt x="1321" y="559"/>
                    </a:cubicBezTo>
                    <a:close/>
                    <a:moveTo>
                      <a:pt x="1328" y="528"/>
                    </a:moveTo>
                    <a:cubicBezTo>
                      <a:pt x="1328" y="528"/>
                      <a:pt x="1328" y="528"/>
                      <a:pt x="1327" y="528"/>
                    </a:cubicBezTo>
                    <a:cubicBezTo>
                      <a:pt x="1327" y="528"/>
                      <a:pt x="1327" y="528"/>
                      <a:pt x="1326" y="528"/>
                    </a:cubicBezTo>
                    <a:cubicBezTo>
                      <a:pt x="1326" y="528"/>
                      <a:pt x="1326" y="528"/>
                      <a:pt x="1328" y="529"/>
                    </a:cubicBezTo>
                    <a:cubicBezTo>
                      <a:pt x="1328" y="529"/>
                      <a:pt x="1328" y="529"/>
                      <a:pt x="1328" y="528"/>
                    </a:cubicBezTo>
                    <a:close/>
                    <a:moveTo>
                      <a:pt x="1330" y="546"/>
                    </a:moveTo>
                    <a:cubicBezTo>
                      <a:pt x="1330" y="546"/>
                      <a:pt x="1330" y="546"/>
                      <a:pt x="1331" y="546"/>
                    </a:cubicBezTo>
                    <a:cubicBezTo>
                      <a:pt x="1331" y="546"/>
                      <a:pt x="1331" y="546"/>
                      <a:pt x="1331" y="545"/>
                    </a:cubicBezTo>
                    <a:cubicBezTo>
                      <a:pt x="1331" y="545"/>
                      <a:pt x="1331" y="545"/>
                      <a:pt x="1331" y="543"/>
                    </a:cubicBezTo>
                    <a:cubicBezTo>
                      <a:pt x="1331" y="543"/>
                      <a:pt x="1331" y="543"/>
                      <a:pt x="1330" y="543"/>
                    </a:cubicBezTo>
                    <a:cubicBezTo>
                      <a:pt x="1330" y="543"/>
                      <a:pt x="1330" y="543"/>
                      <a:pt x="1329" y="543"/>
                    </a:cubicBezTo>
                    <a:cubicBezTo>
                      <a:pt x="1329" y="543"/>
                      <a:pt x="1329" y="543"/>
                      <a:pt x="1329" y="544"/>
                    </a:cubicBezTo>
                    <a:cubicBezTo>
                      <a:pt x="1329" y="544"/>
                      <a:pt x="1329" y="544"/>
                      <a:pt x="1330" y="544"/>
                    </a:cubicBezTo>
                    <a:cubicBezTo>
                      <a:pt x="1330" y="544"/>
                      <a:pt x="1330" y="544"/>
                      <a:pt x="1330" y="545"/>
                    </a:cubicBezTo>
                    <a:cubicBezTo>
                      <a:pt x="1330" y="545"/>
                      <a:pt x="1330" y="545"/>
                      <a:pt x="1330" y="546"/>
                    </a:cubicBezTo>
                    <a:close/>
                    <a:moveTo>
                      <a:pt x="1340" y="558"/>
                    </a:moveTo>
                    <a:cubicBezTo>
                      <a:pt x="1341" y="557"/>
                      <a:pt x="1341" y="557"/>
                      <a:pt x="1341" y="557"/>
                    </a:cubicBezTo>
                    <a:cubicBezTo>
                      <a:pt x="1339" y="557"/>
                      <a:pt x="1339" y="557"/>
                      <a:pt x="1339" y="557"/>
                    </a:cubicBezTo>
                    <a:cubicBezTo>
                      <a:pt x="1340" y="558"/>
                      <a:pt x="1340" y="558"/>
                      <a:pt x="1340" y="558"/>
                    </a:cubicBezTo>
                    <a:close/>
                    <a:moveTo>
                      <a:pt x="1338" y="555"/>
                    </a:moveTo>
                    <a:cubicBezTo>
                      <a:pt x="1339" y="555"/>
                      <a:pt x="1339" y="555"/>
                      <a:pt x="1339" y="555"/>
                    </a:cubicBezTo>
                    <a:cubicBezTo>
                      <a:pt x="1338" y="554"/>
                      <a:pt x="1338" y="554"/>
                      <a:pt x="1338" y="554"/>
                    </a:cubicBezTo>
                    <a:cubicBezTo>
                      <a:pt x="1338" y="555"/>
                      <a:pt x="1338" y="555"/>
                      <a:pt x="1338" y="555"/>
                    </a:cubicBezTo>
                    <a:close/>
                    <a:moveTo>
                      <a:pt x="1330" y="530"/>
                    </a:moveTo>
                    <a:cubicBezTo>
                      <a:pt x="1329" y="529"/>
                      <a:pt x="1329" y="529"/>
                      <a:pt x="1329" y="529"/>
                    </a:cubicBezTo>
                    <a:cubicBezTo>
                      <a:pt x="1329" y="530"/>
                      <a:pt x="1329" y="530"/>
                      <a:pt x="1329" y="530"/>
                    </a:cubicBezTo>
                    <a:cubicBezTo>
                      <a:pt x="1328" y="530"/>
                      <a:pt x="1328" y="530"/>
                      <a:pt x="1328" y="530"/>
                    </a:cubicBezTo>
                    <a:cubicBezTo>
                      <a:pt x="1327" y="530"/>
                      <a:pt x="1327" y="530"/>
                      <a:pt x="1327" y="530"/>
                    </a:cubicBezTo>
                    <a:cubicBezTo>
                      <a:pt x="1328" y="531"/>
                      <a:pt x="1328" y="531"/>
                      <a:pt x="1328" y="531"/>
                    </a:cubicBezTo>
                    <a:cubicBezTo>
                      <a:pt x="1330" y="530"/>
                      <a:pt x="1330" y="530"/>
                      <a:pt x="1330" y="530"/>
                    </a:cubicBezTo>
                    <a:close/>
                    <a:moveTo>
                      <a:pt x="1342" y="558"/>
                    </a:moveTo>
                    <a:cubicBezTo>
                      <a:pt x="1341" y="558"/>
                      <a:pt x="1341" y="558"/>
                      <a:pt x="1341" y="558"/>
                    </a:cubicBezTo>
                    <a:cubicBezTo>
                      <a:pt x="1342" y="559"/>
                      <a:pt x="1342" y="559"/>
                      <a:pt x="1342" y="559"/>
                    </a:cubicBezTo>
                    <a:cubicBezTo>
                      <a:pt x="1342" y="558"/>
                      <a:pt x="1342" y="558"/>
                      <a:pt x="1342" y="558"/>
                    </a:cubicBezTo>
                    <a:close/>
                    <a:moveTo>
                      <a:pt x="1373" y="572"/>
                    </a:moveTo>
                    <a:cubicBezTo>
                      <a:pt x="1374" y="572"/>
                      <a:pt x="1374" y="572"/>
                      <a:pt x="1374" y="572"/>
                    </a:cubicBezTo>
                    <a:cubicBezTo>
                      <a:pt x="1375" y="572"/>
                      <a:pt x="1375" y="572"/>
                      <a:pt x="1375" y="572"/>
                    </a:cubicBezTo>
                    <a:cubicBezTo>
                      <a:pt x="1376" y="572"/>
                      <a:pt x="1376" y="572"/>
                      <a:pt x="1376" y="572"/>
                    </a:cubicBezTo>
                    <a:cubicBezTo>
                      <a:pt x="1377" y="571"/>
                      <a:pt x="1377" y="571"/>
                      <a:pt x="1377" y="571"/>
                    </a:cubicBezTo>
                    <a:cubicBezTo>
                      <a:pt x="1379" y="570"/>
                      <a:pt x="1379" y="570"/>
                      <a:pt x="1379" y="570"/>
                    </a:cubicBezTo>
                    <a:cubicBezTo>
                      <a:pt x="1380" y="570"/>
                      <a:pt x="1380" y="570"/>
                      <a:pt x="1380" y="570"/>
                    </a:cubicBezTo>
                    <a:cubicBezTo>
                      <a:pt x="1381" y="570"/>
                      <a:pt x="1381" y="570"/>
                      <a:pt x="1381" y="570"/>
                    </a:cubicBezTo>
                    <a:cubicBezTo>
                      <a:pt x="1381" y="569"/>
                      <a:pt x="1381" y="569"/>
                      <a:pt x="1381" y="569"/>
                    </a:cubicBezTo>
                    <a:cubicBezTo>
                      <a:pt x="1381" y="567"/>
                      <a:pt x="1381" y="567"/>
                      <a:pt x="1381" y="567"/>
                    </a:cubicBezTo>
                    <a:cubicBezTo>
                      <a:pt x="1382" y="566"/>
                      <a:pt x="1382" y="566"/>
                      <a:pt x="1382" y="566"/>
                    </a:cubicBezTo>
                    <a:cubicBezTo>
                      <a:pt x="1384" y="565"/>
                      <a:pt x="1384" y="565"/>
                      <a:pt x="1384" y="565"/>
                    </a:cubicBezTo>
                    <a:cubicBezTo>
                      <a:pt x="1384" y="564"/>
                      <a:pt x="1384" y="564"/>
                      <a:pt x="1384" y="564"/>
                    </a:cubicBezTo>
                    <a:cubicBezTo>
                      <a:pt x="1383" y="564"/>
                      <a:pt x="1383" y="564"/>
                      <a:pt x="1383" y="564"/>
                    </a:cubicBezTo>
                    <a:cubicBezTo>
                      <a:pt x="1381" y="565"/>
                      <a:pt x="1381" y="565"/>
                      <a:pt x="1381" y="565"/>
                    </a:cubicBezTo>
                    <a:cubicBezTo>
                      <a:pt x="1378" y="566"/>
                      <a:pt x="1378" y="566"/>
                      <a:pt x="1378" y="566"/>
                    </a:cubicBezTo>
                    <a:cubicBezTo>
                      <a:pt x="1377" y="567"/>
                      <a:pt x="1377" y="567"/>
                      <a:pt x="1377" y="567"/>
                    </a:cubicBezTo>
                    <a:cubicBezTo>
                      <a:pt x="1376" y="566"/>
                      <a:pt x="1376" y="566"/>
                      <a:pt x="1376" y="566"/>
                    </a:cubicBezTo>
                    <a:cubicBezTo>
                      <a:pt x="1374" y="566"/>
                      <a:pt x="1374" y="566"/>
                      <a:pt x="1374" y="566"/>
                    </a:cubicBezTo>
                    <a:cubicBezTo>
                      <a:pt x="1374" y="567"/>
                      <a:pt x="1374" y="567"/>
                      <a:pt x="1374" y="567"/>
                    </a:cubicBezTo>
                    <a:cubicBezTo>
                      <a:pt x="1374" y="568"/>
                      <a:pt x="1374" y="568"/>
                      <a:pt x="1374" y="568"/>
                    </a:cubicBezTo>
                    <a:cubicBezTo>
                      <a:pt x="1373" y="568"/>
                      <a:pt x="1373" y="568"/>
                      <a:pt x="1373" y="568"/>
                    </a:cubicBezTo>
                    <a:cubicBezTo>
                      <a:pt x="1372" y="567"/>
                      <a:pt x="1372" y="567"/>
                      <a:pt x="1372" y="567"/>
                    </a:cubicBezTo>
                    <a:cubicBezTo>
                      <a:pt x="1371" y="568"/>
                      <a:pt x="1371" y="568"/>
                      <a:pt x="1371" y="568"/>
                    </a:cubicBezTo>
                    <a:cubicBezTo>
                      <a:pt x="1370" y="568"/>
                      <a:pt x="1370" y="568"/>
                      <a:pt x="1370" y="568"/>
                    </a:cubicBezTo>
                    <a:cubicBezTo>
                      <a:pt x="1370" y="570"/>
                      <a:pt x="1370" y="570"/>
                      <a:pt x="1370" y="570"/>
                    </a:cubicBezTo>
                    <a:cubicBezTo>
                      <a:pt x="1371" y="571"/>
                      <a:pt x="1371" y="571"/>
                      <a:pt x="1371" y="571"/>
                    </a:cubicBezTo>
                    <a:cubicBezTo>
                      <a:pt x="1373" y="572"/>
                      <a:pt x="1373" y="572"/>
                      <a:pt x="1373" y="572"/>
                    </a:cubicBezTo>
                    <a:close/>
                    <a:moveTo>
                      <a:pt x="1007" y="541"/>
                    </a:moveTo>
                    <a:cubicBezTo>
                      <a:pt x="1009" y="542"/>
                      <a:pt x="1009" y="542"/>
                      <a:pt x="1009" y="542"/>
                    </a:cubicBezTo>
                    <a:cubicBezTo>
                      <a:pt x="1008" y="541"/>
                      <a:pt x="1008" y="541"/>
                      <a:pt x="1008" y="541"/>
                    </a:cubicBezTo>
                    <a:cubicBezTo>
                      <a:pt x="1007" y="541"/>
                      <a:pt x="1007" y="541"/>
                      <a:pt x="1007" y="541"/>
                    </a:cubicBezTo>
                    <a:close/>
                    <a:moveTo>
                      <a:pt x="1022" y="548"/>
                    </a:moveTo>
                    <a:cubicBezTo>
                      <a:pt x="1021" y="548"/>
                      <a:pt x="1021" y="548"/>
                      <a:pt x="1021" y="548"/>
                    </a:cubicBezTo>
                    <a:cubicBezTo>
                      <a:pt x="1022" y="549"/>
                      <a:pt x="1022" y="549"/>
                      <a:pt x="1022" y="549"/>
                    </a:cubicBezTo>
                    <a:cubicBezTo>
                      <a:pt x="1023" y="549"/>
                      <a:pt x="1023" y="549"/>
                      <a:pt x="1023" y="549"/>
                    </a:cubicBezTo>
                    <a:cubicBezTo>
                      <a:pt x="1024" y="548"/>
                      <a:pt x="1024" y="548"/>
                      <a:pt x="1024" y="548"/>
                    </a:cubicBezTo>
                    <a:cubicBezTo>
                      <a:pt x="1023" y="548"/>
                      <a:pt x="1023" y="548"/>
                      <a:pt x="1023" y="548"/>
                    </a:cubicBezTo>
                    <a:cubicBezTo>
                      <a:pt x="1022" y="548"/>
                      <a:pt x="1022" y="548"/>
                      <a:pt x="1022" y="548"/>
                    </a:cubicBezTo>
                    <a:close/>
                    <a:moveTo>
                      <a:pt x="1005" y="542"/>
                    </a:moveTo>
                    <a:cubicBezTo>
                      <a:pt x="1005" y="543"/>
                      <a:pt x="1005" y="543"/>
                      <a:pt x="1005" y="543"/>
                    </a:cubicBezTo>
                    <a:cubicBezTo>
                      <a:pt x="1007" y="543"/>
                      <a:pt x="1007" y="543"/>
                      <a:pt x="1007" y="543"/>
                    </a:cubicBezTo>
                    <a:cubicBezTo>
                      <a:pt x="1006" y="542"/>
                      <a:pt x="1006" y="542"/>
                      <a:pt x="1006" y="542"/>
                    </a:cubicBezTo>
                    <a:cubicBezTo>
                      <a:pt x="1005" y="542"/>
                      <a:pt x="1005" y="542"/>
                      <a:pt x="1005" y="542"/>
                    </a:cubicBezTo>
                    <a:close/>
                    <a:moveTo>
                      <a:pt x="1074" y="586"/>
                    </a:moveTo>
                    <a:cubicBezTo>
                      <a:pt x="1075" y="586"/>
                      <a:pt x="1075" y="586"/>
                      <a:pt x="1075" y="586"/>
                    </a:cubicBezTo>
                    <a:cubicBezTo>
                      <a:pt x="1075" y="586"/>
                      <a:pt x="1075" y="586"/>
                      <a:pt x="1074" y="584"/>
                    </a:cubicBezTo>
                    <a:cubicBezTo>
                      <a:pt x="1074" y="584"/>
                      <a:pt x="1074" y="584"/>
                      <a:pt x="1072" y="585"/>
                    </a:cubicBezTo>
                    <a:cubicBezTo>
                      <a:pt x="1072" y="585"/>
                      <a:pt x="1072" y="585"/>
                      <a:pt x="1073" y="585"/>
                    </a:cubicBezTo>
                    <a:cubicBezTo>
                      <a:pt x="1073" y="585"/>
                      <a:pt x="1073" y="585"/>
                      <a:pt x="1074" y="586"/>
                    </a:cubicBezTo>
                    <a:close/>
                    <a:moveTo>
                      <a:pt x="1067" y="621"/>
                    </a:moveTo>
                    <a:cubicBezTo>
                      <a:pt x="1067" y="621"/>
                      <a:pt x="1067" y="621"/>
                      <a:pt x="1067" y="620"/>
                    </a:cubicBezTo>
                    <a:cubicBezTo>
                      <a:pt x="1067" y="620"/>
                      <a:pt x="1067" y="620"/>
                      <a:pt x="1066" y="620"/>
                    </a:cubicBezTo>
                    <a:cubicBezTo>
                      <a:pt x="1066" y="620"/>
                      <a:pt x="1066" y="620"/>
                      <a:pt x="1067" y="621"/>
                    </a:cubicBezTo>
                    <a:close/>
                    <a:moveTo>
                      <a:pt x="1068" y="615"/>
                    </a:moveTo>
                    <a:cubicBezTo>
                      <a:pt x="1069" y="615"/>
                      <a:pt x="1069" y="615"/>
                      <a:pt x="1069" y="615"/>
                    </a:cubicBezTo>
                    <a:cubicBezTo>
                      <a:pt x="1069" y="615"/>
                      <a:pt x="1069" y="615"/>
                      <a:pt x="1069" y="613"/>
                    </a:cubicBezTo>
                    <a:cubicBezTo>
                      <a:pt x="1068" y="612"/>
                      <a:pt x="1068" y="612"/>
                      <a:pt x="1068" y="612"/>
                    </a:cubicBezTo>
                    <a:cubicBezTo>
                      <a:pt x="1067" y="613"/>
                      <a:pt x="1067" y="613"/>
                      <a:pt x="1067" y="613"/>
                    </a:cubicBezTo>
                    <a:cubicBezTo>
                      <a:pt x="1067" y="613"/>
                      <a:pt x="1067" y="613"/>
                      <a:pt x="1068" y="614"/>
                    </a:cubicBezTo>
                    <a:cubicBezTo>
                      <a:pt x="1068" y="614"/>
                      <a:pt x="1068" y="614"/>
                      <a:pt x="1068" y="615"/>
                    </a:cubicBezTo>
                    <a:close/>
                    <a:moveTo>
                      <a:pt x="1081" y="617"/>
                    </a:moveTo>
                    <a:cubicBezTo>
                      <a:pt x="1080" y="617"/>
                      <a:pt x="1080" y="617"/>
                      <a:pt x="1080" y="617"/>
                    </a:cubicBezTo>
                    <a:cubicBezTo>
                      <a:pt x="1080" y="619"/>
                      <a:pt x="1080" y="619"/>
                      <a:pt x="1080" y="619"/>
                    </a:cubicBezTo>
                    <a:cubicBezTo>
                      <a:pt x="1081" y="620"/>
                      <a:pt x="1081" y="620"/>
                      <a:pt x="1081" y="620"/>
                    </a:cubicBezTo>
                    <a:cubicBezTo>
                      <a:pt x="1082" y="619"/>
                      <a:pt x="1082" y="619"/>
                      <a:pt x="1082" y="619"/>
                    </a:cubicBezTo>
                    <a:cubicBezTo>
                      <a:pt x="1083" y="619"/>
                      <a:pt x="1083" y="619"/>
                      <a:pt x="1083" y="619"/>
                    </a:cubicBezTo>
                    <a:cubicBezTo>
                      <a:pt x="1082" y="618"/>
                      <a:pt x="1082" y="618"/>
                      <a:pt x="1082" y="618"/>
                    </a:cubicBezTo>
                    <a:cubicBezTo>
                      <a:pt x="1081" y="617"/>
                      <a:pt x="1081" y="617"/>
                      <a:pt x="1081" y="617"/>
                    </a:cubicBezTo>
                    <a:close/>
                    <a:moveTo>
                      <a:pt x="1076" y="617"/>
                    </a:moveTo>
                    <a:cubicBezTo>
                      <a:pt x="1076" y="617"/>
                      <a:pt x="1076" y="617"/>
                      <a:pt x="1078" y="617"/>
                    </a:cubicBezTo>
                    <a:cubicBezTo>
                      <a:pt x="1078" y="617"/>
                      <a:pt x="1078" y="617"/>
                      <a:pt x="1078" y="615"/>
                    </a:cubicBezTo>
                    <a:cubicBezTo>
                      <a:pt x="1078" y="615"/>
                      <a:pt x="1078" y="615"/>
                      <a:pt x="1077" y="615"/>
                    </a:cubicBezTo>
                    <a:cubicBezTo>
                      <a:pt x="1077" y="615"/>
                      <a:pt x="1077" y="615"/>
                      <a:pt x="1076" y="616"/>
                    </a:cubicBezTo>
                    <a:cubicBezTo>
                      <a:pt x="1076" y="616"/>
                      <a:pt x="1076" y="616"/>
                      <a:pt x="1075" y="616"/>
                    </a:cubicBezTo>
                    <a:cubicBezTo>
                      <a:pt x="1075" y="616"/>
                      <a:pt x="1075" y="616"/>
                      <a:pt x="1074" y="616"/>
                    </a:cubicBezTo>
                    <a:cubicBezTo>
                      <a:pt x="1074" y="616"/>
                      <a:pt x="1074" y="616"/>
                      <a:pt x="1073" y="617"/>
                    </a:cubicBezTo>
                    <a:cubicBezTo>
                      <a:pt x="1073" y="617"/>
                      <a:pt x="1073" y="617"/>
                      <a:pt x="1073" y="618"/>
                    </a:cubicBezTo>
                    <a:cubicBezTo>
                      <a:pt x="1073" y="618"/>
                      <a:pt x="1073" y="618"/>
                      <a:pt x="1074" y="618"/>
                    </a:cubicBezTo>
                    <a:cubicBezTo>
                      <a:pt x="1074" y="618"/>
                      <a:pt x="1074" y="618"/>
                      <a:pt x="1076" y="617"/>
                    </a:cubicBezTo>
                    <a:close/>
                    <a:moveTo>
                      <a:pt x="1092" y="613"/>
                    </a:moveTo>
                    <a:cubicBezTo>
                      <a:pt x="1092" y="613"/>
                      <a:pt x="1092" y="613"/>
                      <a:pt x="1093" y="612"/>
                    </a:cubicBezTo>
                    <a:cubicBezTo>
                      <a:pt x="1093" y="612"/>
                      <a:pt x="1093" y="612"/>
                      <a:pt x="1095" y="612"/>
                    </a:cubicBezTo>
                    <a:cubicBezTo>
                      <a:pt x="1095" y="612"/>
                      <a:pt x="1095" y="612"/>
                      <a:pt x="1094" y="611"/>
                    </a:cubicBezTo>
                    <a:cubicBezTo>
                      <a:pt x="1094" y="611"/>
                      <a:pt x="1094" y="611"/>
                      <a:pt x="1093" y="611"/>
                    </a:cubicBezTo>
                    <a:cubicBezTo>
                      <a:pt x="1093" y="611"/>
                      <a:pt x="1093" y="611"/>
                      <a:pt x="1092" y="613"/>
                    </a:cubicBezTo>
                    <a:close/>
                    <a:moveTo>
                      <a:pt x="1088" y="618"/>
                    </a:moveTo>
                    <a:cubicBezTo>
                      <a:pt x="1089" y="618"/>
                      <a:pt x="1089" y="618"/>
                      <a:pt x="1089" y="618"/>
                    </a:cubicBezTo>
                    <a:cubicBezTo>
                      <a:pt x="1089" y="618"/>
                      <a:pt x="1089" y="618"/>
                      <a:pt x="1090" y="618"/>
                    </a:cubicBezTo>
                    <a:cubicBezTo>
                      <a:pt x="1090" y="618"/>
                      <a:pt x="1090" y="618"/>
                      <a:pt x="1092" y="616"/>
                    </a:cubicBezTo>
                    <a:cubicBezTo>
                      <a:pt x="1092" y="616"/>
                      <a:pt x="1092" y="616"/>
                      <a:pt x="1092" y="614"/>
                    </a:cubicBezTo>
                    <a:cubicBezTo>
                      <a:pt x="1092" y="614"/>
                      <a:pt x="1092" y="614"/>
                      <a:pt x="1090" y="615"/>
                    </a:cubicBezTo>
                    <a:cubicBezTo>
                      <a:pt x="1090" y="615"/>
                      <a:pt x="1090" y="615"/>
                      <a:pt x="1090" y="616"/>
                    </a:cubicBezTo>
                    <a:cubicBezTo>
                      <a:pt x="1090" y="616"/>
                      <a:pt x="1090" y="616"/>
                      <a:pt x="1088" y="618"/>
                    </a:cubicBezTo>
                    <a:close/>
                    <a:moveTo>
                      <a:pt x="1034" y="692"/>
                    </a:moveTo>
                    <a:cubicBezTo>
                      <a:pt x="1034" y="692"/>
                      <a:pt x="1034" y="692"/>
                      <a:pt x="1035" y="692"/>
                    </a:cubicBezTo>
                    <a:cubicBezTo>
                      <a:pt x="1035" y="692"/>
                      <a:pt x="1035" y="692"/>
                      <a:pt x="1035" y="690"/>
                    </a:cubicBezTo>
                    <a:cubicBezTo>
                      <a:pt x="1035" y="690"/>
                      <a:pt x="1035" y="690"/>
                      <a:pt x="1034" y="691"/>
                    </a:cubicBezTo>
                    <a:cubicBezTo>
                      <a:pt x="1034" y="691"/>
                      <a:pt x="1034" y="691"/>
                      <a:pt x="1034" y="692"/>
                    </a:cubicBezTo>
                    <a:close/>
                    <a:moveTo>
                      <a:pt x="1033" y="695"/>
                    </a:moveTo>
                    <a:cubicBezTo>
                      <a:pt x="1033" y="695"/>
                      <a:pt x="1033" y="695"/>
                      <a:pt x="1034" y="696"/>
                    </a:cubicBezTo>
                    <a:cubicBezTo>
                      <a:pt x="1034" y="696"/>
                      <a:pt x="1034" y="696"/>
                      <a:pt x="1035" y="696"/>
                    </a:cubicBezTo>
                    <a:cubicBezTo>
                      <a:pt x="1035" y="696"/>
                      <a:pt x="1035" y="696"/>
                      <a:pt x="1035" y="695"/>
                    </a:cubicBezTo>
                    <a:cubicBezTo>
                      <a:pt x="1035" y="695"/>
                      <a:pt x="1035" y="695"/>
                      <a:pt x="1034" y="695"/>
                    </a:cubicBezTo>
                    <a:cubicBezTo>
                      <a:pt x="1034" y="695"/>
                      <a:pt x="1034" y="695"/>
                      <a:pt x="1033" y="695"/>
                    </a:cubicBezTo>
                    <a:close/>
                    <a:moveTo>
                      <a:pt x="1026" y="693"/>
                    </a:moveTo>
                    <a:cubicBezTo>
                      <a:pt x="1026" y="693"/>
                      <a:pt x="1026" y="693"/>
                      <a:pt x="1027" y="693"/>
                    </a:cubicBezTo>
                    <a:cubicBezTo>
                      <a:pt x="1027" y="693"/>
                      <a:pt x="1027" y="693"/>
                      <a:pt x="1027" y="692"/>
                    </a:cubicBezTo>
                    <a:cubicBezTo>
                      <a:pt x="1027" y="692"/>
                      <a:pt x="1027" y="692"/>
                      <a:pt x="1026" y="692"/>
                    </a:cubicBezTo>
                    <a:cubicBezTo>
                      <a:pt x="1026" y="692"/>
                      <a:pt x="1026" y="692"/>
                      <a:pt x="1026" y="693"/>
                    </a:cubicBezTo>
                    <a:close/>
                    <a:moveTo>
                      <a:pt x="1021" y="689"/>
                    </a:moveTo>
                    <a:cubicBezTo>
                      <a:pt x="1020" y="689"/>
                      <a:pt x="1020" y="689"/>
                      <a:pt x="1020" y="689"/>
                    </a:cubicBezTo>
                    <a:cubicBezTo>
                      <a:pt x="1019" y="689"/>
                      <a:pt x="1019" y="689"/>
                      <a:pt x="1019" y="689"/>
                    </a:cubicBezTo>
                    <a:cubicBezTo>
                      <a:pt x="1020" y="690"/>
                      <a:pt x="1020" y="690"/>
                      <a:pt x="1020" y="690"/>
                    </a:cubicBezTo>
                    <a:cubicBezTo>
                      <a:pt x="1020" y="690"/>
                      <a:pt x="1020" y="690"/>
                      <a:pt x="1021" y="690"/>
                    </a:cubicBezTo>
                    <a:cubicBezTo>
                      <a:pt x="1022" y="689"/>
                      <a:pt x="1022" y="689"/>
                      <a:pt x="1022" y="689"/>
                    </a:cubicBezTo>
                    <a:cubicBezTo>
                      <a:pt x="1021" y="689"/>
                      <a:pt x="1021" y="689"/>
                      <a:pt x="1021" y="689"/>
                    </a:cubicBezTo>
                    <a:close/>
                    <a:moveTo>
                      <a:pt x="1029" y="701"/>
                    </a:moveTo>
                    <a:cubicBezTo>
                      <a:pt x="1029" y="701"/>
                      <a:pt x="1029" y="701"/>
                      <a:pt x="1029" y="702"/>
                    </a:cubicBezTo>
                    <a:cubicBezTo>
                      <a:pt x="1029" y="702"/>
                      <a:pt x="1029" y="702"/>
                      <a:pt x="1029" y="703"/>
                    </a:cubicBezTo>
                    <a:cubicBezTo>
                      <a:pt x="1031" y="704"/>
                      <a:pt x="1031" y="704"/>
                      <a:pt x="1031" y="704"/>
                    </a:cubicBezTo>
                    <a:cubicBezTo>
                      <a:pt x="1031" y="704"/>
                      <a:pt x="1031" y="704"/>
                      <a:pt x="1031" y="703"/>
                    </a:cubicBezTo>
                    <a:cubicBezTo>
                      <a:pt x="1031" y="703"/>
                      <a:pt x="1031" y="703"/>
                      <a:pt x="1030" y="701"/>
                    </a:cubicBezTo>
                    <a:cubicBezTo>
                      <a:pt x="1030" y="701"/>
                      <a:pt x="1030" y="701"/>
                      <a:pt x="1029" y="701"/>
                    </a:cubicBezTo>
                    <a:close/>
                    <a:moveTo>
                      <a:pt x="1028" y="692"/>
                    </a:moveTo>
                    <a:cubicBezTo>
                      <a:pt x="1028" y="692"/>
                      <a:pt x="1028" y="692"/>
                      <a:pt x="1028" y="693"/>
                    </a:cubicBezTo>
                    <a:cubicBezTo>
                      <a:pt x="1028" y="693"/>
                      <a:pt x="1028" y="693"/>
                      <a:pt x="1029" y="693"/>
                    </a:cubicBezTo>
                    <a:cubicBezTo>
                      <a:pt x="1029" y="693"/>
                      <a:pt x="1029" y="693"/>
                      <a:pt x="1028" y="692"/>
                    </a:cubicBezTo>
                    <a:close/>
                    <a:moveTo>
                      <a:pt x="1022" y="691"/>
                    </a:moveTo>
                    <a:cubicBezTo>
                      <a:pt x="1023" y="691"/>
                      <a:pt x="1023" y="691"/>
                      <a:pt x="1023" y="691"/>
                    </a:cubicBezTo>
                    <a:cubicBezTo>
                      <a:pt x="1023" y="691"/>
                      <a:pt x="1023" y="691"/>
                      <a:pt x="1023" y="690"/>
                    </a:cubicBezTo>
                    <a:cubicBezTo>
                      <a:pt x="1023" y="690"/>
                      <a:pt x="1023" y="690"/>
                      <a:pt x="1022" y="690"/>
                    </a:cubicBezTo>
                    <a:cubicBezTo>
                      <a:pt x="1022" y="690"/>
                      <a:pt x="1022" y="690"/>
                      <a:pt x="1022" y="691"/>
                    </a:cubicBezTo>
                    <a:close/>
                    <a:moveTo>
                      <a:pt x="1033" y="702"/>
                    </a:moveTo>
                    <a:cubicBezTo>
                      <a:pt x="1033" y="702"/>
                      <a:pt x="1033" y="702"/>
                      <a:pt x="1033" y="701"/>
                    </a:cubicBezTo>
                    <a:cubicBezTo>
                      <a:pt x="1033" y="701"/>
                      <a:pt x="1033" y="701"/>
                      <a:pt x="1032" y="701"/>
                    </a:cubicBezTo>
                    <a:cubicBezTo>
                      <a:pt x="1032" y="701"/>
                      <a:pt x="1032" y="701"/>
                      <a:pt x="1033" y="702"/>
                    </a:cubicBezTo>
                    <a:close/>
                    <a:moveTo>
                      <a:pt x="1516" y="719"/>
                    </a:moveTo>
                    <a:cubicBezTo>
                      <a:pt x="1515" y="719"/>
                      <a:pt x="1515" y="719"/>
                      <a:pt x="1515" y="719"/>
                    </a:cubicBezTo>
                    <a:cubicBezTo>
                      <a:pt x="1514" y="719"/>
                      <a:pt x="1514" y="719"/>
                      <a:pt x="1514" y="719"/>
                    </a:cubicBezTo>
                    <a:cubicBezTo>
                      <a:pt x="1513" y="719"/>
                      <a:pt x="1513" y="719"/>
                      <a:pt x="1513" y="719"/>
                    </a:cubicBezTo>
                    <a:cubicBezTo>
                      <a:pt x="1513" y="718"/>
                      <a:pt x="1513" y="718"/>
                      <a:pt x="1513" y="718"/>
                    </a:cubicBezTo>
                    <a:cubicBezTo>
                      <a:pt x="1512" y="718"/>
                      <a:pt x="1512" y="718"/>
                      <a:pt x="1512" y="718"/>
                    </a:cubicBezTo>
                    <a:cubicBezTo>
                      <a:pt x="1511" y="719"/>
                      <a:pt x="1511" y="719"/>
                      <a:pt x="1511" y="719"/>
                    </a:cubicBezTo>
                    <a:cubicBezTo>
                      <a:pt x="1511" y="720"/>
                      <a:pt x="1511" y="720"/>
                      <a:pt x="1511" y="720"/>
                    </a:cubicBezTo>
                    <a:cubicBezTo>
                      <a:pt x="1511" y="721"/>
                      <a:pt x="1511" y="721"/>
                      <a:pt x="1511" y="721"/>
                    </a:cubicBezTo>
                    <a:cubicBezTo>
                      <a:pt x="1512" y="721"/>
                      <a:pt x="1512" y="721"/>
                      <a:pt x="1512" y="721"/>
                    </a:cubicBezTo>
                    <a:cubicBezTo>
                      <a:pt x="1514" y="721"/>
                      <a:pt x="1514" y="721"/>
                      <a:pt x="1514" y="721"/>
                    </a:cubicBezTo>
                    <a:cubicBezTo>
                      <a:pt x="1515" y="721"/>
                      <a:pt x="1515" y="721"/>
                      <a:pt x="1515" y="721"/>
                    </a:cubicBezTo>
                    <a:cubicBezTo>
                      <a:pt x="1517" y="720"/>
                      <a:pt x="1517" y="720"/>
                      <a:pt x="1517" y="720"/>
                    </a:cubicBezTo>
                    <a:cubicBezTo>
                      <a:pt x="1518" y="720"/>
                      <a:pt x="1518" y="720"/>
                      <a:pt x="1518" y="720"/>
                    </a:cubicBezTo>
                    <a:cubicBezTo>
                      <a:pt x="1518" y="719"/>
                      <a:pt x="1518" y="719"/>
                      <a:pt x="1518" y="719"/>
                    </a:cubicBezTo>
                    <a:cubicBezTo>
                      <a:pt x="1517" y="719"/>
                      <a:pt x="1517" y="719"/>
                      <a:pt x="1517" y="719"/>
                    </a:cubicBezTo>
                    <a:cubicBezTo>
                      <a:pt x="1516" y="719"/>
                      <a:pt x="1516" y="719"/>
                      <a:pt x="1516" y="719"/>
                    </a:cubicBezTo>
                    <a:close/>
                    <a:moveTo>
                      <a:pt x="1499" y="734"/>
                    </a:moveTo>
                    <a:cubicBezTo>
                      <a:pt x="1498" y="733"/>
                      <a:pt x="1498" y="733"/>
                      <a:pt x="1498" y="733"/>
                    </a:cubicBezTo>
                    <a:cubicBezTo>
                      <a:pt x="1498" y="734"/>
                      <a:pt x="1498" y="734"/>
                      <a:pt x="1498" y="734"/>
                    </a:cubicBezTo>
                    <a:cubicBezTo>
                      <a:pt x="1499" y="734"/>
                      <a:pt x="1499" y="734"/>
                      <a:pt x="1499" y="734"/>
                    </a:cubicBezTo>
                    <a:close/>
                    <a:moveTo>
                      <a:pt x="1240" y="579"/>
                    </a:moveTo>
                    <a:cubicBezTo>
                      <a:pt x="1241" y="579"/>
                      <a:pt x="1241" y="579"/>
                      <a:pt x="1241" y="579"/>
                    </a:cubicBezTo>
                    <a:cubicBezTo>
                      <a:pt x="1241" y="578"/>
                      <a:pt x="1241" y="578"/>
                      <a:pt x="1241" y="578"/>
                    </a:cubicBezTo>
                    <a:cubicBezTo>
                      <a:pt x="1240" y="578"/>
                      <a:pt x="1240" y="578"/>
                      <a:pt x="1240" y="578"/>
                    </a:cubicBezTo>
                    <a:cubicBezTo>
                      <a:pt x="1239" y="578"/>
                      <a:pt x="1239" y="578"/>
                      <a:pt x="1239" y="578"/>
                    </a:cubicBezTo>
                    <a:cubicBezTo>
                      <a:pt x="1240" y="579"/>
                      <a:pt x="1240" y="579"/>
                      <a:pt x="1240" y="579"/>
                    </a:cubicBezTo>
                    <a:close/>
                    <a:moveTo>
                      <a:pt x="1098" y="752"/>
                    </a:moveTo>
                    <a:cubicBezTo>
                      <a:pt x="1099" y="753"/>
                      <a:pt x="1099" y="753"/>
                      <a:pt x="1099" y="753"/>
                    </a:cubicBezTo>
                    <a:cubicBezTo>
                      <a:pt x="1099" y="752"/>
                      <a:pt x="1099" y="752"/>
                      <a:pt x="1099" y="752"/>
                    </a:cubicBezTo>
                    <a:cubicBezTo>
                      <a:pt x="1098" y="751"/>
                      <a:pt x="1098" y="751"/>
                      <a:pt x="1098" y="751"/>
                    </a:cubicBezTo>
                    <a:cubicBezTo>
                      <a:pt x="1098" y="752"/>
                      <a:pt x="1098" y="752"/>
                      <a:pt x="1098" y="752"/>
                    </a:cubicBezTo>
                    <a:close/>
                    <a:moveTo>
                      <a:pt x="1216" y="798"/>
                    </a:moveTo>
                    <a:cubicBezTo>
                      <a:pt x="1216" y="799"/>
                      <a:pt x="1216" y="799"/>
                      <a:pt x="1216" y="799"/>
                    </a:cubicBezTo>
                    <a:cubicBezTo>
                      <a:pt x="1217" y="799"/>
                      <a:pt x="1217" y="799"/>
                      <a:pt x="1217" y="799"/>
                    </a:cubicBezTo>
                    <a:cubicBezTo>
                      <a:pt x="1218" y="798"/>
                      <a:pt x="1218" y="798"/>
                      <a:pt x="1218" y="798"/>
                    </a:cubicBezTo>
                    <a:cubicBezTo>
                      <a:pt x="1217" y="797"/>
                      <a:pt x="1217" y="797"/>
                      <a:pt x="1217" y="797"/>
                    </a:cubicBezTo>
                    <a:cubicBezTo>
                      <a:pt x="1216" y="798"/>
                      <a:pt x="1216" y="798"/>
                      <a:pt x="1216" y="798"/>
                    </a:cubicBezTo>
                    <a:close/>
                    <a:moveTo>
                      <a:pt x="1231" y="777"/>
                    </a:moveTo>
                    <a:cubicBezTo>
                      <a:pt x="1231" y="775"/>
                      <a:pt x="1231" y="775"/>
                      <a:pt x="1231" y="775"/>
                    </a:cubicBezTo>
                    <a:cubicBezTo>
                      <a:pt x="1229" y="776"/>
                      <a:pt x="1229" y="776"/>
                      <a:pt x="1229" y="776"/>
                    </a:cubicBezTo>
                    <a:cubicBezTo>
                      <a:pt x="1229" y="778"/>
                      <a:pt x="1229" y="778"/>
                      <a:pt x="1229" y="778"/>
                    </a:cubicBezTo>
                    <a:cubicBezTo>
                      <a:pt x="1228" y="778"/>
                      <a:pt x="1228" y="778"/>
                      <a:pt x="1228" y="778"/>
                    </a:cubicBezTo>
                    <a:cubicBezTo>
                      <a:pt x="1228" y="779"/>
                      <a:pt x="1228" y="779"/>
                      <a:pt x="1228" y="779"/>
                    </a:cubicBezTo>
                    <a:cubicBezTo>
                      <a:pt x="1229" y="779"/>
                      <a:pt x="1229" y="779"/>
                      <a:pt x="1229" y="779"/>
                    </a:cubicBezTo>
                    <a:cubicBezTo>
                      <a:pt x="1230" y="780"/>
                      <a:pt x="1230" y="780"/>
                      <a:pt x="1230" y="780"/>
                    </a:cubicBezTo>
                    <a:cubicBezTo>
                      <a:pt x="1231" y="777"/>
                      <a:pt x="1231" y="777"/>
                      <a:pt x="1231" y="777"/>
                    </a:cubicBezTo>
                    <a:close/>
                    <a:moveTo>
                      <a:pt x="2223" y="947"/>
                    </a:moveTo>
                    <a:cubicBezTo>
                      <a:pt x="2223" y="946"/>
                      <a:pt x="2223" y="946"/>
                      <a:pt x="2223" y="946"/>
                    </a:cubicBezTo>
                    <a:cubicBezTo>
                      <a:pt x="2223" y="945"/>
                      <a:pt x="2223" y="945"/>
                      <a:pt x="2223" y="945"/>
                    </a:cubicBezTo>
                    <a:cubicBezTo>
                      <a:pt x="2222" y="944"/>
                      <a:pt x="2222" y="944"/>
                      <a:pt x="2222" y="944"/>
                    </a:cubicBezTo>
                    <a:cubicBezTo>
                      <a:pt x="2221" y="945"/>
                      <a:pt x="2221" y="945"/>
                      <a:pt x="2221" y="945"/>
                    </a:cubicBezTo>
                    <a:cubicBezTo>
                      <a:pt x="2221" y="946"/>
                      <a:pt x="2221" y="946"/>
                      <a:pt x="2221" y="946"/>
                    </a:cubicBezTo>
                    <a:cubicBezTo>
                      <a:pt x="2221" y="947"/>
                      <a:pt x="2221" y="947"/>
                      <a:pt x="2221" y="947"/>
                    </a:cubicBezTo>
                    <a:cubicBezTo>
                      <a:pt x="2222" y="948"/>
                      <a:pt x="2222" y="948"/>
                      <a:pt x="2222" y="948"/>
                    </a:cubicBezTo>
                    <a:cubicBezTo>
                      <a:pt x="2223" y="948"/>
                      <a:pt x="2223" y="948"/>
                      <a:pt x="2223" y="948"/>
                    </a:cubicBezTo>
                    <a:cubicBezTo>
                      <a:pt x="2224" y="948"/>
                      <a:pt x="2224" y="948"/>
                      <a:pt x="2224" y="948"/>
                    </a:cubicBezTo>
                    <a:cubicBezTo>
                      <a:pt x="2223" y="947"/>
                      <a:pt x="2223" y="947"/>
                      <a:pt x="2223" y="947"/>
                    </a:cubicBezTo>
                    <a:close/>
                    <a:moveTo>
                      <a:pt x="2206" y="947"/>
                    </a:moveTo>
                    <a:cubicBezTo>
                      <a:pt x="2206" y="948"/>
                      <a:pt x="2206" y="948"/>
                      <a:pt x="2206" y="948"/>
                    </a:cubicBezTo>
                    <a:cubicBezTo>
                      <a:pt x="2207" y="949"/>
                      <a:pt x="2207" y="949"/>
                      <a:pt x="2207" y="949"/>
                    </a:cubicBezTo>
                    <a:cubicBezTo>
                      <a:pt x="2208" y="949"/>
                      <a:pt x="2208" y="949"/>
                      <a:pt x="2208" y="949"/>
                    </a:cubicBezTo>
                    <a:cubicBezTo>
                      <a:pt x="2208" y="950"/>
                      <a:pt x="2208" y="950"/>
                      <a:pt x="2208" y="950"/>
                    </a:cubicBezTo>
                    <a:cubicBezTo>
                      <a:pt x="2210" y="951"/>
                      <a:pt x="2210" y="951"/>
                      <a:pt x="2210" y="951"/>
                    </a:cubicBezTo>
                    <a:cubicBezTo>
                      <a:pt x="2211" y="953"/>
                      <a:pt x="2211" y="953"/>
                      <a:pt x="2211" y="953"/>
                    </a:cubicBezTo>
                    <a:cubicBezTo>
                      <a:pt x="2212" y="953"/>
                      <a:pt x="2212" y="953"/>
                      <a:pt x="2212" y="953"/>
                    </a:cubicBezTo>
                    <a:cubicBezTo>
                      <a:pt x="2212" y="955"/>
                      <a:pt x="2212" y="955"/>
                      <a:pt x="2212" y="955"/>
                    </a:cubicBezTo>
                    <a:cubicBezTo>
                      <a:pt x="2214" y="955"/>
                      <a:pt x="2214" y="955"/>
                      <a:pt x="2214" y="955"/>
                    </a:cubicBezTo>
                    <a:cubicBezTo>
                      <a:pt x="2214" y="956"/>
                      <a:pt x="2214" y="956"/>
                      <a:pt x="2214" y="956"/>
                    </a:cubicBezTo>
                    <a:cubicBezTo>
                      <a:pt x="2215" y="957"/>
                      <a:pt x="2215" y="957"/>
                      <a:pt x="2215" y="957"/>
                    </a:cubicBezTo>
                    <a:cubicBezTo>
                      <a:pt x="2217" y="957"/>
                      <a:pt x="2217" y="957"/>
                      <a:pt x="2217" y="957"/>
                    </a:cubicBezTo>
                    <a:cubicBezTo>
                      <a:pt x="2218" y="958"/>
                      <a:pt x="2218" y="958"/>
                      <a:pt x="2218" y="958"/>
                    </a:cubicBezTo>
                    <a:cubicBezTo>
                      <a:pt x="2218" y="957"/>
                      <a:pt x="2218" y="957"/>
                      <a:pt x="2218" y="957"/>
                    </a:cubicBezTo>
                    <a:cubicBezTo>
                      <a:pt x="2219" y="958"/>
                      <a:pt x="2219" y="958"/>
                      <a:pt x="2219" y="958"/>
                    </a:cubicBezTo>
                    <a:cubicBezTo>
                      <a:pt x="2219" y="956"/>
                      <a:pt x="2219" y="956"/>
                      <a:pt x="2219" y="956"/>
                    </a:cubicBezTo>
                    <a:cubicBezTo>
                      <a:pt x="2218" y="956"/>
                      <a:pt x="2218" y="956"/>
                      <a:pt x="2218" y="956"/>
                    </a:cubicBezTo>
                    <a:cubicBezTo>
                      <a:pt x="2216" y="954"/>
                      <a:pt x="2216" y="954"/>
                      <a:pt x="2216" y="954"/>
                    </a:cubicBezTo>
                    <a:cubicBezTo>
                      <a:pt x="2214" y="951"/>
                      <a:pt x="2214" y="951"/>
                      <a:pt x="2214" y="951"/>
                    </a:cubicBezTo>
                    <a:cubicBezTo>
                      <a:pt x="2213" y="951"/>
                      <a:pt x="2213" y="951"/>
                      <a:pt x="2213" y="951"/>
                    </a:cubicBezTo>
                    <a:cubicBezTo>
                      <a:pt x="2211" y="949"/>
                      <a:pt x="2211" y="949"/>
                      <a:pt x="2211" y="949"/>
                    </a:cubicBezTo>
                    <a:cubicBezTo>
                      <a:pt x="2209" y="945"/>
                      <a:pt x="2209" y="945"/>
                      <a:pt x="2209" y="945"/>
                    </a:cubicBezTo>
                    <a:cubicBezTo>
                      <a:pt x="2208" y="945"/>
                      <a:pt x="2208" y="945"/>
                      <a:pt x="2208" y="945"/>
                    </a:cubicBezTo>
                    <a:cubicBezTo>
                      <a:pt x="2208" y="944"/>
                      <a:pt x="2208" y="944"/>
                      <a:pt x="2208" y="944"/>
                    </a:cubicBezTo>
                    <a:cubicBezTo>
                      <a:pt x="2206" y="943"/>
                      <a:pt x="2206" y="943"/>
                      <a:pt x="2206" y="943"/>
                    </a:cubicBezTo>
                    <a:cubicBezTo>
                      <a:pt x="2206" y="942"/>
                      <a:pt x="2206" y="942"/>
                      <a:pt x="2206" y="942"/>
                    </a:cubicBezTo>
                    <a:cubicBezTo>
                      <a:pt x="2205" y="941"/>
                      <a:pt x="2205" y="941"/>
                      <a:pt x="2205" y="941"/>
                    </a:cubicBezTo>
                    <a:cubicBezTo>
                      <a:pt x="2205" y="942"/>
                      <a:pt x="2205" y="942"/>
                      <a:pt x="2205" y="942"/>
                    </a:cubicBezTo>
                    <a:cubicBezTo>
                      <a:pt x="2203" y="940"/>
                      <a:pt x="2203" y="940"/>
                      <a:pt x="2203" y="940"/>
                    </a:cubicBezTo>
                    <a:cubicBezTo>
                      <a:pt x="2203" y="941"/>
                      <a:pt x="2203" y="941"/>
                      <a:pt x="2203" y="941"/>
                    </a:cubicBezTo>
                    <a:cubicBezTo>
                      <a:pt x="2203" y="942"/>
                      <a:pt x="2203" y="942"/>
                      <a:pt x="2203" y="942"/>
                    </a:cubicBezTo>
                    <a:cubicBezTo>
                      <a:pt x="2203" y="943"/>
                      <a:pt x="2203" y="943"/>
                      <a:pt x="2203" y="943"/>
                    </a:cubicBezTo>
                    <a:cubicBezTo>
                      <a:pt x="2205" y="946"/>
                      <a:pt x="2205" y="946"/>
                      <a:pt x="2205" y="946"/>
                    </a:cubicBezTo>
                    <a:cubicBezTo>
                      <a:pt x="2206" y="947"/>
                      <a:pt x="2206" y="947"/>
                      <a:pt x="2206" y="947"/>
                    </a:cubicBezTo>
                    <a:close/>
                    <a:moveTo>
                      <a:pt x="2228" y="951"/>
                    </a:moveTo>
                    <a:cubicBezTo>
                      <a:pt x="2227" y="950"/>
                      <a:pt x="2227" y="950"/>
                      <a:pt x="2227" y="950"/>
                    </a:cubicBezTo>
                    <a:cubicBezTo>
                      <a:pt x="2225" y="951"/>
                      <a:pt x="2225" y="951"/>
                      <a:pt x="2225" y="951"/>
                    </a:cubicBezTo>
                    <a:cubicBezTo>
                      <a:pt x="2225" y="952"/>
                      <a:pt x="2225" y="952"/>
                      <a:pt x="2225" y="952"/>
                    </a:cubicBezTo>
                    <a:cubicBezTo>
                      <a:pt x="2226" y="953"/>
                      <a:pt x="2226" y="953"/>
                      <a:pt x="2226" y="953"/>
                    </a:cubicBezTo>
                    <a:cubicBezTo>
                      <a:pt x="2227" y="952"/>
                      <a:pt x="2227" y="952"/>
                      <a:pt x="2227" y="952"/>
                    </a:cubicBezTo>
                    <a:cubicBezTo>
                      <a:pt x="2228" y="951"/>
                      <a:pt x="2228" y="951"/>
                      <a:pt x="2228" y="951"/>
                    </a:cubicBezTo>
                    <a:close/>
                    <a:moveTo>
                      <a:pt x="2219" y="944"/>
                    </a:moveTo>
                    <a:cubicBezTo>
                      <a:pt x="2219" y="943"/>
                      <a:pt x="2219" y="943"/>
                      <a:pt x="2219" y="943"/>
                    </a:cubicBezTo>
                    <a:cubicBezTo>
                      <a:pt x="2218" y="943"/>
                      <a:pt x="2218" y="943"/>
                      <a:pt x="2218" y="943"/>
                    </a:cubicBezTo>
                    <a:cubicBezTo>
                      <a:pt x="2218" y="944"/>
                      <a:pt x="2218" y="944"/>
                      <a:pt x="2218" y="944"/>
                    </a:cubicBezTo>
                    <a:cubicBezTo>
                      <a:pt x="2217" y="945"/>
                      <a:pt x="2217" y="945"/>
                      <a:pt x="2217" y="945"/>
                    </a:cubicBezTo>
                    <a:cubicBezTo>
                      <a:pt x="2219" y="945"/>
                      <a:pt x="2219" y="945"/>
                      <a:pt x="2219" y="945"/>
                    </a:cubicBezTo>
                    <a:cubicBezTo>
                      <a:pt x="2219" y="944"/>
                      <a:pt x="2219" y="944"/>
                      <a:pt x="2219" y="944"/>
                    </a:cubicBezTo>
                    <a:close/>
                    <a:moveTo>
                      <a:pt x="1588" y="1185"/>
                    </a:moveTo>
                    <a:cubicBezTo>
                      <a:pt x="1588" y="1186"/>
                      <a:pt x="1588" y="1186"/>
                      <a:pt x="1588" y="1186"/>
                    </a:cubicBezTo>
                    <a:cubicBezTo>
                      <a:pt x="1588" y="1187"/>
                      <a:pt x="1588" y="1187"/>
                      <a:pt x="1588" y="1187"/>
                    </a:cubicBezTo>
                    <a:cubicBezTo>
                      <a:pt x="1589" y="1187"/>
                      <a:pt x="1589" y="1187"/>
                      <a:pt x="1589" y="1187"/>
                    </a:cubicBezTo>
                    <a:cubicBezTo>
                      <a:pt x="1589" y="1188"/>
                      <a:pt x="1589" y="1188"/>
                      <a:pt x="1589" y="1188"/>
                    </a:cubicBezTo>
                    <a:cubicBezTo>
                      <a:pt x="1590" y="1188"/>
                      <a:pt x="1590" y="1188"/>
                      <a:pt x="1590" y="1188"/>
                    </a:cubicBezTo>
                    <a:cubicBezTo>
                      <a:pt x="1589" y="1186"/>
                      <a:pt x="1589" y="1186"/>
                      <a:pt x="1589" y="1186"/>
                    </a:cubicBezTo>
                    <a:cubicBezTo>
                      <a:pt x="1588" y="1185"/>
                      <a:pt x="1588" y="1185"/>
                      <a:pt x="1588" y="1185"/>
                    </a:cubicBezTo>
                    <a:close/>
                    <a:moveTo>
                      <a:pt x="1572" y="1146"/>
                    </a:moveTo>
                    <a:cubicBezTo>
                      <a:pt x="1571" y="1146"/>
                      <a:pt x="1571" y="1146"/>
                      <a:pt x="1571" y="1146"/>
                    </a:cubicBezTo>
                    <a:cubicBezTo>
                      <a:pt x="1570" y="1147"/>
                      <a:pt x="1570" y="1147"/>
                      <a:pt x="1570" y="1147"/>
                    </a:cubicBezTo>
                    <a:cubicBezTo>
                      <a:pt x="1571" y="1148"/>
                      <a:pt x="1571" y="1148"/>
                      <a:pt x="1571" y="1148"/>
                    </a:cubicBezTo>
                    <a:cubicBezTo>
                      <a:pt x="1571" y="1147"/>
                      <a:pt x="1571" y="1147"/>
                      <a:pt x="1571" y="1147"/>
                    </a:cubicBezTo>
                    <a:cubicBezTo>
                      <a:pt x="1572" y="1146"/>
                      <a:pt x="1572" y="1146"/>
                      <a:pt x="1572" y="1146"/>
                    </a:cubicBezTo>
                    <a:close/>
                    <a:moveTo>
                      <a:pt x="1574" y="1147"/>
                    </a:moveTo>
                    <a:cubicBezTo>
                      <a:pt x="1573" y="1147"/>
                      <a:pt x="1573" y="1147"/>
                      <a:pt x="1573" y="1147"/>
                    </a:cubicBezTo>
                    <a:cubicBezTo>
                      <a:pt x="1573" y="1148"/>
                      <a:pt x="1573" y="1148"/>
                      <a:pt x="1573" y="1148"/>
                    </a:cubicBezTo>
                    <a:cubicBezTo>
                      <a:pt x="1574" y="1148"/>
                      <a:pt x="1574" y="1148"/>
                      <a:pt x="1574" y="1148"/>
                    </a:cubicBezTo>
                    <a:cubicBezTo>
                      <a:pt x="1574" y="1147"/>
                      <a:pt x="1574" y="1147"/>
                      <a:pt x="1574" y="1147"/>
                    </a:cubicBezTo>
                    <a:close/>
                    <a:moveTo>
                      <a:pt x="1577" y="1149"/>
                    </a:moveTo>
                    <a:cubicBezTo>
                      <a:pt x="1576" y="1151"/>
                      <a:pt x="1576" y="1151"/>
                      <a:pt x="1576" y="1151"/>
                    </a:cubicBezTo>
                    <a:cubicBezTo>
                      <a:pt x="1575" y="1151"/>
                      <a:pt x="1575" y="1151"/>
                      <a:pt x="1575" y="1151"/>
                    </a:cubicBezTo>
                    <a:cubicBezTo>
                      <a:pt x="1575" y="1149"/>
                      <a:pt x="1575" y="1149"/>
                      <a:pt x="1575" y="1149"/>
                    </a:cubicBezTo>
                    <a:cubicBezTo>
                      <a:pt x="1575" y="1148"/>
                      <a:pt x="1575" y="1148"/>
                      <a:pt x="1575" y="1148"/>
                    </a:cubicBezTo>
                    <a:cubicBezTo>
                      <a:pt x="1574" y="1149"/>
                      <a:pt x="1574" y="1149"/>
                      <a:pt x="1574" y="1149"/>
                    </a:cubicBezTo>
                    <a:cubicBezTo>
                      <a:pt x="1574" y="1150"/>
                      <a:pt x="1574" y="1150"/>
                      <a:pt x="1574" y="1150"/>
                    </a:cubicBezTo>
                    <a:cubicBezTo>
                      <a:pt x="1573" y="1149"/>
                      <a:pt x="1573" y="1149"/>
                      <a:pt x="1573" y="1149"/>
                    </a:cubicBezTo>
                    <a:cubicBezTo>
                      <a:pt x="1572" y="1149"/>
                      <a:pt x="1572" y="1149"/>
                      <a:pt x="1572" y="1149"/>
                    </a:cubicBezTo>
                    <a:cubicBezTo>
                      <a:pt x="1571" y="1148"/>
                      <a:pt x="1571" y="1148"/>
                      <a:pt x="1571" y="1148"/>
                    </a:cubicBezTo>
                    <a:cubicBezTo>
                      <a:pt x="1571" y="1149"/>
                      <a:pt x="1571" y="1149"/>
                      <a:pt x="1571" y="1149"/>
                    </a:cubicBezTo>
                    <a:cubicBezTo>
                      <a:pt x="1571" y="1150"/>
                      <a:pt x="1571" y="1150"/>
                      <a:pt x="1571" y="1150"/>
                    </a:cubicBezTo>
                    <a:cubicBezTo>
                      <a:pt x="1570" y="1151"/>
                      <a:pt x="1570" y="1151"/>
                      <a:pt x="1570" y="1151"/>
                    </a:cubicBezTo>
                    <a:cubicBezTo>
                      <a:pt x="1569" y="1152"/>
                      <a:pt x="1569" y="1152"/>
                      <a:pt x="1569" y="1152"/>
                    </a:cubicBezTo>
                    <a:cubicBezTo>
                      <a:pt x="1569" y="1153"/>
                      <a:pt x="1569" y="1153"/>
                      <a:pt x="1569" y="1153"/>
                    </a:cubicBezTo>
                    <a:cubicBezTo>
                      <a:pt x="1570" y="1153"/>
                      <a:pt x="1570" y="1153"/>
                      <a:pt x="1570" y="1153"/>
                    </a:cubicBezTo>
                    <a:cubicBezTo>
                      <a:pt x="1571" y="1152"/>
                      <a:pt x="1571" y="1152"/>
                      <a:pt x="1571" y="1152"/>
                    </a:cubicBezTo>
                    <a:cubicBezTo>
                      <a:pt x="1572" y="1152"/>
                      <a:pt x="1572" y="1152"/>
                      <a:pt x="1572" y="1152"/>
                    </a:cubicBezTo>
                    <a:cubicBezTo>
                      <a:pt x="1573" y="1153"/>
                      <a:pt x="1573" y="1153"/>
                      <a:pt x="1573" y="1153"/>
                    </a:cubicBezTo>
                    <a:cubicBezTo>
                      <a:pt x="1574" y="1153"/>
                      <a:pt x="1574" y="1153"/>
                      <a:pt x="1574" y="1153"/>
                    </a:cubicBezTo>
                    <a:cubicBezTo>
                      <a:pt x="1575" y="1152"/>
                      <a:pt x="1575" y="1152"/>
                      <a:pt x="1575" y="1152"/>
                    </a:cubicBezTo>
                    <a:cubicBezTo>
                      <a:pt x="1575" y="1153"/>
                      <a:pt x="1575" y="1153"/>
                      <a:pt x="1575" y="1153"/>
                    </a:cubicBezTo>
                    <a:cubicBezTo>
                      <a:pt x="1576" y="1154"/>
                      <a:pt x="1576" y="1154"/>
                      <a:pt x="1576" y="1154"/>
                    </a:cubicBezTo>
                    <a:cubicBezTo>
                      <a:pt x="1577" y="1154"/>
                      <a:pt x="1577" y="1154"/>
                      <a:pt x="1577" y="1154"/>
                    </a:cubicBezTo>
                    <a:cubicBezTo>
                      <a:pt x="1578" y="1153"/>
                      <a:pt x="1578" y="1153"/>
                      <a:pt x="1578" y="1153"/>
                    </a:cubicBezTo>
                    <a:cubicBezTo>
                      <a:pt x="1577" y="1153"/>
                      <a:pt x="1577" y="1153"/>
                      <a:pt x="1577" y="1153"/>
                    </a:cubicBezTo>
                    <a:cubicBezTo>
                      <a:pt x="1576" y="1152"/>
                      <a:pt x="1576" y="1152"/>
                      <a:pt x="1576" y="1152"/>
                    </a:cubicBezTo>
                    <a:cubicBezTo>
                      <a:pt x="1577" y="1151"/>
                      <a:pt x="1577" y="1151"/>
                      <a:pt x="1577" y="1151"/>
                    </a:cubicBezTo>
                    <a:cubicBezTo>
                      <a:pt x="1578" y="1151"/>
                      <a:pt x="1578" y="1151"/>
                      <a:pt x="1578" y="1151"/>
                    </a:cubicBezTo>
                    <a:cubicBezTo>
                      <a:pt x="1579" y="1151"/>
                      <a:pt x="1579" y="1151"/>
                      <a:pt x="1579" y="1151"/>
                    </a:cubicBezTo>
                    <a:cubicBezTo>
                      <a:pt x="1579" y="1150"/>
                      <a:pt x="1579" y="1150"/>
                      <a:pt x="1579" y="1150"/>
                    </a:cubicBezTo>
                    <a:cubicBezTo>
                      <a:pt x="1579" y="1149"/>
                      <a:pt x="1579" y="1149"/>
                      <a:pt x="1579" y="1149"/>
                    </a:cubicBezTo>
                    <a:cubicBezTo>
                      <a:pt x="1578" y="1150"/>
                      <a:pt x="1578" y="1150"/>
                      <a:pt x="1578" y="1150"/>
                    </a:cubicBezTo>
                    <a:cubicBezTo>
                      <a:pt x="1577" y="1149"/>
                      <a:pt x="1577" y="1149"/>
                      <a:pt x="1577" y="1149"/>
                    </a:cubicBezTo>
                    <a:close/>
                    <a:moveTo>
                      <a:pt x="1534" y="929"/>
                    </a:moveTo>
                    <a:cubicBezTo>
                      <a:pt x="1533" y="928"/>
                      <a:pt x="1533" y="928"/>
                      <a:pt x="1533" y="928"/>
                    </a:cubicBezTo>
                    <a:cubicBezTo>
                      <a:pt x="1533" y="930"/>
                      <a:pt x="1533" y="930"/>
                      <a:pt x="1533" y="930"/>
                    </a:cubicBezTo>
                    <a:cubicBezTo>
                      <a:pt x="1532" y="931"/>
                      <a:pt x="1532" y="931"/>
                      <a:pt x="1532" y="931"/>
                    </a:cubicBezTo>
                    <a:cubicBezTo>
                      <a:pt x="1534" y="932"/>
                      <a:pt x="1534" y="932"/>
                      <a:pt x="1534" y="932"/>
                    </a:cubicBezTo>
                    <a:cubicBezTo>
                      <a:pt x="1535" y="931"/>
                      <a:pt x="1535" y="931"/>
                      <a:pt x="1535" y="931"/>
                    </a:cubicBezTo>
                    <a:cubicBezTo>
                      <a:pt x="1535" y="930"/>
                      <a:pt x="1535" y="930"/>
                      <a:pt x="1535" y="930"/>
                    </a:cubicBezTo>
                    <a:cubicBezTo>
                      <a:pt x="1536" y="930"/>
                      <a:pt x="1536" y="930"/>
                      <a:pt x="1536" y="930"/>
                    </a:cubicBezTo>
                    <a:cubicBezTo>
                      <a:pt x="1536" y="929"/>
                      <a:pt x="1536" y="929"/>
                      <a:pt x="1536" y="929"/>
                    </a:cubicBezTo>
                    <a:cubicBezTo>
                      <a:pt x="1535" y="928"/>
                      <a:pt x="1535" y="928"/>
                      <a:pt x="1535" y="928"/>
                    </a:cubicBezTo>
                    <a:cubicBezTo>
                      <a:pt x="1534" y="929"/>
                      <a:pt x="1534" y="929"/>
                      <a:pt x="1534" y="929"/>
                    </a:cubicBezTo>
                    <a:close/>
                    <a:moveTo>
                      <a:pt x="1520" y="933"/>
                    </a:moveTo>
                    <a:cubicBezTo>
                      <a:pt x="1520" y="935"/>
                      <a:pt x="1520" y="935"/>
                      <a:pt x="1520" y="935"/>
                    </a:cubicBezTo>
                    <a:cubicBezTo>
                      <a:pt x="1521" y="937"/>
                      <a:pt x="1521" y="937"/>
                      <a:pt x="1521" y="937"/>
                    </a:cubicBezTo>
                    <a:cubicBezTo>
                      <a:pt x="1522" y="937"/>
                      <a:pt x="1522" y="937"/>
                      <a:pt x="1522" y="937"/>
                    </a:cubicBezTo>
                    <a:cubicBezTo>
                      <a:pt x="1523" y="936"/>
                      <a:pt x="1523" y="936"/>
                      <a:pt x="1523" y="936"/>
                    </a:cubicBezTo>
                    <a:cubicBezTo>
                      <a:pt x="1523" y="935"/>
                      <a:pt x="1523" y="935"/>
                      <a:pt x="1523" y="935"/>
                    </a:cubicBezTo>
                    <a:cubicBezTo>
                      <a:pt x="1522" y="934"/>
                      <a:pt x="1522" y="934"/>
                      <a:pt x="1522" y="934"/>
                    </a:cubicBezTo>
                    <a:cubicBezTo>
                      <a:pt x="1520" y="933"/>
                      <a:pt x="1520" y="933"/>
                      <a:pt x="1520" y="933"/>
                    </a:cubicBezTo>
                    <a:close/>
                    <a:moveTo>
                      <a:pt x="1479" y="884"/>
                    </a:moveTo>
                    <a:cubicBezTo>
                      <a:pt x="1479" y="885"/>
                      <a:pt x="1479" y="885"/>
                      <a:pt x="1479" y="885"/>
                    </a:cubicBezTo>
                    <a:cubicBezTo>
                      <a:pt x="1480" y="884"/>
                      <a:pt x="1480" y="884"/>
                      <a:pt x="1480" y="884"/>
                    </a:cubicBezTo>
                    <a:cubicBezTo>
                      <a:pt x="1479" y="884"/>
                      <a:pt x="1479" y="884"/>
                      <a:pt x="1479" y="884"/>
                    </a:cubicBezTo>
                    <a:close/>
                    <a:moveTo>
                      <a:pt x="1486" y="908"/>
                    </a:moveTo>
                    <a:cubicBezTo>
                      <a:pt x="1487" y="907"/>
                      <a:pt x="1487" y="907"/>
                      <a:pt x="1487" y="907"/>
                    </a:cubicBezTo>
                    <a:cubicBezTo>
                      <a:pt x="1486" y="907"/>
                      <a:pt x="1486" y="907"/>
                      <a:pt x="1486" y="907"/>
                    </a:cubicBezTo>
                    <a:cubicBezTo>
                      <a:pt x="1486" y="908"/>
                      <a:pt x="1486" y="908"/>
                      <a:pt x="1486" y="908"/>
                    </a:cubicBezTo>
                    <a:close/>
                    <a:moveTo>
                      <a:pt x="1480" y="881"/>
                    </a:moveTo>
                    <a:cubicBezTo>
                      <a:pt x="1479" y="882"/>
                      <a:pt x="1479" y="882"/>
                      <a:pt x="1479" y="882"/>
                    </a:cubicBezTo>
                    <a:cubicBezTo>
                      <a:pt x="1480" y="882"/>
                      <a:pt x="1480" y="882"/>
                      <a:pt x="1480" y="882"/>
                    </a:cubicBezTo>
                    <a:cubicBezTo>
                      <a:pt x="1480" y="881"/>
                      <a:pt x="1480" y="881"/>
                      <a:pt x="1480" y="881"/>
                    </a:cubicBezTo>
                    <a:close/>
                    <a:moveTo>
                      <a:pt x="1488" y="894"/>
                    </a:moveTo>
                    <a:cubicBezTo>
                      <a:pt x="1489" y="893"/>
                      <a:pt x="1489" y="893"/>
                      <a:pt x="1489" y="893"/>
                    </a:cubicBezTo>
                    <a:cubicBezTo>
                      <a:pt x="1489" y="892"/>
                      <a:pt x="1489" y="892"/>
                      <a:pt x="1489" y="892"/>
                    </a:cubicBezTo>
                    <a:cubicBezTo>
                      <a:pt x="1488" y="890"/>
                      <a:pt x="1488" y="890"/>
                      <a:pt x="1488" y="890"/>
                    </a:cubicBezTo>
                    <a:cubicBezTo>
                      <a:pt x="1489" y="889"/>
                      <a:pt x="1489" y="889"/>
                      <a:pt x="1489" y="889"/>
                    </a:cubicBezTo>
                    <a:cubicBezTo>
                      <a:pt x="1489" y="886"/>
                      <a:pt x="1489" y="886"/>
                      <a:pt x="1489" y="886"/>
                    </a:cubicBezTo>
                    <a:cubicBezTo>
                      <a:pt x="1488" y="885"/>
                      <a:pt x="1488" y="885"/>
                      <a:pt x="1488" y="885"/>
                    </a:cubicBezTo>
                    <a:cubicBezTo>
                      <a:pt x="1488" y="882"/>
                      <a:pt x="1488" y="882"/>
                      <a:pt x="1488" y="882"/>
                    </a:cubicBezTo>
                    <a:cubicBezTo>
                      <a:pt x="1487" y="881"/>
                      <a:pt x="1487" y="881"/>
                      <a:pt x="1487" y="881"/>
                    </a:cubicBezTo>
                    <a:cubicBezTo>
                      <a:pt x="1486" y="880"/>
                      <a:pt x="1486" y="880"/>
                      <a:pt x="1486" y="880"/>
                    </a:cubicBezTo>
                    <a:cubicBezTo>
                      <a:pt x="1485" y="879"/>
                      <a:pt x="1485" y="879"/>
                      <a:pt x="1485" y="879"/>
                    </a:cubicBezTo>
                    <a:cubicBezTo>
                      <a:pt x="1484" y="878"/>
                      <a:pt x="1484" y="878"/>
                      <a:pt x="1484" y="878"/>
                    </a:cubicBezTo>
                    <a:cubicBezTo>
                      <a:pt x="1485" y="877"/>
                      <a:pt x="1485" y="877"/>
                      <a:pt x="1485" y="877"/>
                    </a:cubicBezTo>
                    <a:cubicBezTo>
                      <a:pt x="1485" y="876"/>
                      <a:pt x="1485" y="876"/>
                      <a:pt x="1485" y="876"/>
                    </a:cubicBezTo>
                    <a:cubicBezTo>
                      <a:pt x="1483" y="877"/>
                      <a:pt x="1483" y="877"/>
                      <a:pt x="1483" y="877"/>
                    </a:cubicBezTo>
                    <a:cubicBezTo>
                      <a:pt x="1483" y="878"/>
                      <a:pt x="1483" y="878"/>
                      <a:pt x="1483" y="878"/>
                    </a:cubicBezTo>
                    <a:cubicBezTo>
                      <a:pt x="1482" y="879"/>
                      <a:pt x="1482" y="879"/>
                      <a:pt x="1482" y="879"/>
                    </a:cubicBezTo>
                    <a:cubicBezTo>
                      <a:pt x="1482" y="880"/>
                      <a:pt x="1482" y="880"/>
                      <a:pt x="1482" y="880"/>
                    </a:cubicBezTo>
                    <a:cubicBezTo>
                      <a:pt x="1482" y="881"/>
                      <a:pt x="1482" y="881"/>
                      <a:pt x="1482" y="881"/>
                    </a:cubicBezTo>
                    <a:cubicBezTo>
                      <a:pt x="1481" y="883"/>
                      <a:pt x="1481" y="883"/>
                      <a:pt x="1481" y="883"/>
                    </a:cubicBezTo>
                    <a:cubicBezTo>
                      <a:pt x="1481" y="884"/>
                      <a:pt x="1481" y="884"/>
                      <a:pt x="1481" y="884"/>
                    </a:cubicBezTo>
                    <a:cubicBezTo>
                      <a:pt x="1480" y="886"/>
                      <a:pt x="1480" y="886"/>
                      <a:pt x="1480" y="886"/>
                    </a:cubicBezTo>
                    <a:cubicBezTo>
                      <a:pt x="1479" y="885"/>
                      <a:pt x="1479" y="885"/>
                      <a:pt x="1479" y="885"/>
                    </a:cubicBezTo>
                    <a:cubicBezTo>
                      <a:pt x="1478" y="887"/>
                      <a:pt x="1478" y="887"/>
                      <a:pt x="1478" y="887"/>
                    </a:cubicBezTo>
                    <a:cubicBezTo>
                      <a:pt x="1478" y="888"/>
                      <a:pt x="1478" y="888"/>
                      <a:pt x="1478" y="888"/>
                    </a:cubicBezTo>
                    <a:cubicBezTo>
                      <a:pt x="1477" y="888"/>
                      <a:pt x="1477" y="888"/>
                      <a:pt x="1477" y="888"/>
                    </a:cubicBezTo>
                    <a:cubicBezTo>
                      <a:pt x="1477" y="886"/>
                      <a:pt x="1477" y="886"/>
                      <a:pt x="1477" y="886"/>
                    </a:cubicBezTo>
                    <a:cubicBezTo>
                      <a:pt x="1476" y="886"/>
                      <a:pt x="1476" y="886"/>
                      <a:pt x="1476" y="886"/>
                    </a:cubicBezTo>
                    <a:cubicBezTo>
                      <a:pt x="1475" y="887"/>
                      <a:pt x="1475" y="887"/>
                      <a:pt x="1475" y="887"/>
                    </a:cubicBezTo>
                    <a:cubicBezTo>
                      <a:pt x="1475" y="888"/>
                      <a:pt x="1475" y="888"/>
                      <a:pt x="1475" y="888"/>
                    </a:cubicBezTo>
                    <a:cubicBezTo>
                      <a:pt x="1476" y="890"/>
                      <a:pt x="1476" y="890"/>
                      <a:pt x="1476" y="890"/>
                    </a:cubicBezTo>
                    <a:cubicBezTo>
                      <a:pt x="1477" y="890"/>
                      <a:pt x="1477" y="890"/>
                      <a:pt x="1477" y="890"/>
                    </a:cubicBezTo>
                    <a:cubicBezTo>
                      <a:pt x="1476" y="891"/>
                      <a:pt x="1476" y="891"/>
                      <a:pt x="1476" y="891"/>
                    </a:cubicBezTo>
                    <a:cubicBezTo>
                      <a:pt x="1476" y="890"/>
                      <a:pt x="1476" y="890"/>
                      <a:pt x="1476" y="890"/>
                    </a:cubicBezTo>
                    <a:cubicBezTo>
                      <a:pt x="1474" y="891"/>
                      <a:pt x="1474" y="891"/>
                      <a:pt x="1474" y="891"/>
                    </a:cubicBezTo>
                    <a:cubicBezTo>
                      <a:pt x="1475" y="892"/>
                      <a:pt x="1475" y="892"/>
                      <a:pt x="1475" y="892"/>
                    </a:cubicBezTo>
                    <a:cubicBezTo>
                      <a:pt x="1476" y="892"/>
                      <a:pt x="1476" y="892"/>
                      <a:pt x="1476" y="892"/>
                    </a:cubicBezTo>
                    <a:cubicBezTo>
                      <a:pt x="1476" y="893"/>
                      <a:pt x="1476" y="893"/>
                      <a:pt x="1476" y="893"/>
                    </a:cubicBezTo>
                    <a:cubicBezTo>
                      <a:pt x="1475" y="894"/>
                      <a:pt x="1475" y="894"/>
                      <a:pt x="1475" y="894"/>
                    </a:cubicBezTo>
                    <a:cubicBezTo>
                      <a:pt x="1475" y="893"/>
                      <a:pt x="1475" y="893"/>
                      <a:pt x="1475" y="893"/>
                    </a:cubicBezTo>
                    <a:cubicBezTo>
                      <a:pt x="1474" y="893"/>
                      <a:pt x="1474" y="893"/>
                      <a:pt x="1474" y="893"/>
                    </a:cubicBezTo>
                    <a:cubicBezTo>
                      <a:pt x="1474" y="894"/>
                      <a:pt x="1474" y="894"/>
                      <a:pt x="1474" y="894"/>
                    </a:cubicBezTo>
                    <a:cubicBezTo>
                      <a:pt x="1472" y="896"/>
                      <a:pt x="1472" y="896"/>
                      <a:pt x="1472" y="896"/>
                    </a:cubicBezTo>
                    <a:cubicBezTo>
                      <a:pt x="1472" y="894"/>
                      <a:pt x="1472" y="894"/>
                      <a:pt x="1472" y="894"/>
                    </a:cubicBezTo>
                    <a:cubicBezTo>
                      <a:pt x="1472" y="893"/>
                      <a:pt x="1472" y="893"/>
                      <a:pt x="1472" y="893"/>
                    </a:cubicBezTo>
                    <a:cubicBezTo>
                      <a:pt x="1471" y="894"/>
                      <a:pt x="1471" y="894"/>
                      <a:pt x="1471" y="894"/>
                    </a:cubicBezTo>
                    <a:cubicBezTo>
                      <a:pt x="1471" y="895"/>
                      <a:pt x="1471" y="895"/>
                      <a:pt x="1471" y="895"/>
                    </a:cubicBezTo>
                    <a:cubicBezTo>
                      <a:pt x="1470" y="896"/>
                      <a:pt x="1470" y="896"/>
                      <a:pt x="1470" y="896"/>
                    </a:cubicBezTo>
                    <a:cubicBezTo>
                      <a:pt x="1470" y="897"/>
                      <a:pt x="1470" y="897"/>
                      <a:pt x="1470" y="897"/>
                    </a:cubicBezTo>
                    <a:cubicBezTo>
                      <a:pt x="1471" y="897"/>
                      <a:pt x="1471" y="897"/>
                      <a:pt x="1471" y="897"/>
                    </a:cubicBezTo>
                    <a:cubicBezTo>
                      <a:pt x="1471" y="898"/>
                      <a:pt x="1471" y="898"/>
                      <a:pt x="1471" y="898"/>
                    </a:cubicBezTo>
                    <a:cubicBezTo>
                      <a:pt x="1470" y="898"/>
                      <a:pt x="1470" y="898"/>
                      <a:pt x="1470" y="898"/>
                    </a:cubicBezTo>
                    <a:cubicBezTo>
                      <a:pt x="1469" y="899"/>
                      <a:pt x="1469" y="899"/>
                      <a:pt x="1469" y="899"/>
                    </a:cubicBezTo>
                    <a:cubicBezTo>
                      <a:pt x="1469" y="898"/>
                      <a:pt x="1469" y="898"/>
                      <a:pt x="1469" y="898"/>
                    </a:cubicBezTo>
                    <a:cubicBezTo>
                      <a:pt x="1468" y="898"/>
                      <a:pt x="1468" y="898"/>
                      <a:pt x="1468" y="898"/>
                    </a:cubicBezTo>
                    <a:cubicBezTo>
                      <a:pt x="1469" y="897"/>
                      <a:pt x="1469" y="897"/>
                      <a:pt x="1469" y="897"/>
                    </a:cubicBezTo>
                    <a:cubicBezTo>
                      <a:pt x="1468" y="897"/>
                      <a:pt x="1468" y="897"/>
                      <a:pt x="1468" y="897"/>
                    </a:cubicBezTo>
                    <a:cubicBezTo>
                      <a:pt x="1466" y="899"/>
                      <a:pt x="1466" y="899"/>
                      <a:pt x="1466" y="899"/>
                    </a:cubicBezTo>
                    <a:cubicBezTo>
                      <a:pt x="1466" y="900"/>
                      <a:pt x="1466" y="900"/>
                      <a:pt x="1466" y="900"/>
                    </a:cubicBezTo>
                    <a:cubicBezTo>
                      <a:pt x="1466" y="901"/>
                      <a:pt x="1466" y="901"/>
                      <a:pt x="1466" y="901"/>
                    </a:cubicBezTo>
                    <a:cubicBezTo>
                      <a:pt x="1466" y="902"/>
                      <a:pt x="1466" y="902"/>
                      <a:pt x="1466" y="902"/>
                    </a:cubicBezTo>
                    <a:cubicBezTo>
                      <a:pt x="1465" y="902"/>
                      <a:pt x="1465" y="902"/>
                      <a:pt x="1465" y="902"/>
                    </a:cubicBezTo>
                    <a:cubicBezTo>
                      <a:pt x="1464" y="901"/>
                      <a:pt x="1464" y="901"/>
                      <a:pt x="1464" y="901"/>
                    </a:cubicBezTo>
                    <a:cubicBezTo>
                      <a:pt x="1464" y="900"/>
                      <a:pt x="1464" y="900"/>
                      <a:pt x="1464" y="900"/>
                    </a:cubicBezTo>
                    <a:cubicBezTo>
                      <a:pt x="1464" y="899"/>
                      <a:pt x="1464" y="899"/>
                      <a:pt x="1464" y="899"/>
                    </a:cubicBezTo>
                    <a:cubicBezTo>
                      <a:pt x="1462" y="901"/>
                      <a:pt x="1462" y="901"/>
                      <a:pt x="1462" y="901"/>
                    </a:cubicBezTo>
                    <a:cubicBezTo>
                      <a:pt x="1461" y="900"/>
                      <a:pt x="1461" y="900"/>
                      <a:pt x="1461" y="900"/>
                    </a:cubicBezTo>
                    <a:cubicBezTo>
                      <a:pt x="1460" y="900"/>
                      <a:pt x="1460" y="900"/>
                      <a:pt x="1460" y="900"/>
                    </a:cubicBezTo>
                    <a:cubicBezTo>
                      <a:pt x="1460" y="902"/>
                      <a:pt x="1460" y="902"/>
                      <a:pt x="1460" y="902"/>
                    </a:cubicBezTo>
                    <a:cubicBezTo>
                      <a:pt x="1459" y="902"/>
                      <a:pt x="1459" y="902"/>
                      <a:pt x="1459" y="902"/>
                    </a:cubicBezTo>
                    <a:cubicBezTo>
                      <a:pt x="1459" y="901"/>
                      <a:pt x="1459" y="901"/>
                      <a:pt x="1459" y="901"/>
                    </a:cubicBezTo>
                    <a:cubicBezTo>
                      <a:pt x="1458" y="901"/>
                      <a:pt x="1458" y="901"/>
                      <a:pt x="1458" y="901"/>
                    </a:cubicBezTo>
                    <a:cubicBezTo>
                      <a:pt x="1458" y="902"/>
                      <a:pt x="1458" y="902"/>
                      <a:pt x="1458" y="902"/>
                    </a:cubicBezTo>
                    <a:cubicBezTo>
                      <a:pt x="1457" y="901"/>
                      <a:pt x="1457" y="901"/>
                      <a:pt x="1457" y="901"/>
                    </a:cubicBezTo>
                    <a:cubicBezTo>
                      <a:pt x="1455" y="903"/>
                      <a:pt x="1455" y="903"/>
                      <a:pt x="1455" y="903"/>
                    </a:cubicBezTo>
                    <a:cubicBezTo>
                      <a:pt x="1454" y="903"/>
                      <a:pt x="1454" y="903"/>
                      <a:pt x="1454" y="903"/>
                    </a:cubicBezTo>
                    <a:cubicBezTo>
                      <a:pt x="1453" y="903"/>
                      <a:pt x="1453" y="903"/>
                      <a:pt x="1453" y="903"/>
                    </a:cubicBezTo>
                    <a:cubicBezTo>
                      <a:pt x="1452" y="903"/>
                      <a:pt x="1452" y="903"/>
                      <a:pt x="1452" y="903"/>
                    </a:cubicBezTo>
                    <a:cubicBezTo>
                      <a:pt x="1452" y="904"/>
                      <a:pt x="1452" y="904"/>
                      <a:pt x="1452" y="904"/>
                    </a:cubicBezTo>
                    <a:cubicBezTo>
                      <a:pt x="1452" y="906"/>
                      <a:pt x="1452" y="906"/>
                      <a:pt x="1452" y="906"/>
                    </a:cubicBezTo>
                    <a:cubicBezTo>
                      <a:pt x="1450" y="909"/>
                      <a:pt x="1450" y="909"/>
                      <a:pt x="1450" y="909"/>
                    </a:cubicBezTo>
                    <a:cubicBezTo>
                      <a:pt x="1448" y="911"/>
                      <a:pt x="1448" y="911"/>
                      <a:pt x="1448" y="911"/>
                    </a:cubicBezTo>
                    <a:cubicBezTo>
                      <a:pt x="1448" y="912"/>
                      <a:pt x="1448" y="912"/>
                      <a:pt x="1448" y="912"/>
                    </a:cubicBezTo>
                    <a:cubicBezTo>
                      <a:pt x="1449" y="913"/>
                      <a:pt x="1449" y="913"/>
                      <a:pt x="1449" y="913"/>
                    </a:cubicBezTo>
                    <a:cubicBezTo>
                      <a:pt x="1448" y="914"/>
                      <a:pt x="1448" y="914"/>
                      <a:pt x="1448" y="914"/>
                    </a:cubicBezTo>
                    <a:cubicBezTo>
                      <a:pt x="1449" y="916"/>
                      <a:pt x="1449" y="916"/>
                      <a:pt x="1449" y="916"/>
                    </a:cubicBezTo>
                    <a:cubicBezTo>
                      <a:pt x="1449" y="917"/>
                      <a:pt x="1449" y="917"/>
                      <a:pt x="1449" y="917"/>
                    </a:cubicBezTo>
                    <a:cubicBezTo>
                      <a:pt x="1451" y="921"/>
                      <a:pt x="1451" y="921"/>
                      <a:pt x="1451" y="921"/>
                    </a:cubicBezTo>
                    <a:cubicBezTo>
                      <a:pt x="1451" y="922"/>
                      <a:pt x="1451" y="922"/>
                      <a:pt x="1451" y="922"/>
                    </a:cubicBezTo>
                    <a:cubicBezTo>
                      <a:pt x="1452" y="923"/>
                      <a:pt x="1452" y="923"/>
                      <a:pt x="1452" y="923"/>
                    </a:cubicBezTo>
                    <a:cubicBezTo>
                      <a:pt x="1451" y="924"/>
                      <a:pt x="1451" y="924"/>
                      <a:pt x="1451" y="924"/>
                    </a:cubicBezTo>
                    <a:cubicBezTo>
                      <a:pt x="1451" y="925"/>
                      <a:pt x="1451" y="925"/>
                      <a:pt x="1451" y="925"/>
                    </a:cubicBezTo>
                    <a:cubicBezTo>
                      <a:pt x="1451" y="928"/>
                      <a:pt x="1451" y="928"/>
                      <a:pt x="1451" y="928"/>
                    </a:cubicBezTo>
                    <a:cubicBezTo>
                      <a:pt x="1449" y="929"/>
                      <a:pt x="1449" y="929"/>
                      <a:pt x="1449" y="929"/>
                    </a:cubicBezTo>
                    <a:cubicBezTo>
                      <a:pt x="1449" y="930"/>
                      <a:pt x="1449" y="930"/>
                      <a:pt x="1449" y="930"/>
                    </a:cubicBezTo>
                    <a:cubicBezTo>
                      <a:pt x="1448" y="930"/>
                      <a:pt x="1448" y="930"/>
                      <a:pt x="1448" y="930"/>
                    </a:cubicBezTo>
                    <a:cubicBezTo>
                      <a:pt x="1448" y="932"/>
                      <a:pt x="1448" y="932"/>
                      <a:pt x="1448" y="932"/>
                    </a:cubicBezTo>
                    <a:cubicBezTo>
                      <a:pt x="1447" y="932"/>
                      <a:pt x="1447" y="932"/>
                      <a:pt x="1447" y="932"/>
                    </a:cubicBezTo>
                    <a:cubicBezTo>
                      <a:pt x="1447" y="935"/>
                      <a:pt x="1447" y="935"/>
                      <a:pt x="1447" y="935"/>
                    </a:cubicBezTo>
                    <a:cubicBezTo>
                      <a:pt x="1446" y="936"/>
                      <a:pt x="1446" y="936"/>
                      <a:pt x="1446" y="936"/>
                    </a:cubicBezTo>
                    <a:cubicBezTo>
                      <a:pt x="1444" y="936"/>
                      <a:pt x="1444" y="936"/>
                      <a:pt x="1444" y="936"/>
                    </a:cubicBezTo>
                    <a:cubicBezTo>
                      <a:pt x="1444" y="937"/>
                      <a:pt x="1444" y="937"/>
                      <a:pt x="1444" y="937"/>
                    </a:cubicBezTo>
                    <a:cubicBezTo>
                      <a:pt x="1444" y="939"/>
                      <a:pt x="1444" y="939"/>
                      <a:pt x="1444" y="939"/>
                    </a:cubicBezTo>
                    <a:cubicBezTo>
                      <a:pt x="1442" y="940"/>
                      <a:pt x="1442" y="940"/>
                      <a:pt x="1442" y="940"/>
                    </a:cubicBezTo>
                    <a:cubicBezTo>
                      <a:pt x="1442" y="942"/>
                      <a:pt x="1442" y="942"/>
                      <a:pt x="1442" y="942"/>
                    </a:cubicBezTo>
                    <a:cubicBezTo>
                      <a:pt x="1442" y="943"/>
                      <a:pt x="1442" y="943"/>
                      <a:pt x="1442" y="943"/>
                    </a:cubicBezTo>
                    <a:cubicBezTo>
                      <a:pt x="1442" y="944"/>
                      <a:pt x="1442" y="944"/>
                      <a:pt x="1442" y="944"/>
                    </a:cubicBezTo>
                    <a:cubicBezTo>
                      <a:pt x="1442" y="946"/>
                      <a:pt x="1442" y="946"/>
                      <a:pt x="1442" y="946"/>
                    </a:cubicBezTo>
                    <a:cubicBezTo>
                      <a:pt x="1444" y="948"/>
                      <a:pt x="1444" y="948"/>
                      <a:pt x="1444" y="948"/>
                    </a:cubicBezTo>
                    <a:cubicBezTo>
                      <a:pt x="1444" y="949"/>
                      <a:pt x="1444" y="949"/>
                      <a:pt x="1444" y="949"/>
                    </a:cubicBezTo>
                    <a:cubicBezTo>
                      <a:pt x="1444" y="950"/>
                      <a:pt x="1444" y="950"/>
                      <a:pt x="1444" y="950"/>
                    </a:cubicBezTo>
                    <a:cubicBezTo>
                      <a:pt x="1445" y="950"/>
                      <a:pt x="1445" y="950"/>
                      <a:pt x="1445" y="950"/>
                    </a:cubicBezTo>
                    <a:cubicBezTo>
                      <a:pt x="1445" y="951"/>
                      <a:pt x="1445" y="951"/>
                      <a:pt x="1445" y="951"/>
                    </a:cubicBezTo>
                    <a:cubicBezTo>
                      <a:pt x="1444" y="951"/>
                      <a:pt x="1444" y="951"/>
                      <a:pt x="1444" y="951"/>
                    </a:cubicBezTo>
                    <a:cubicBezTo>
                      <a:pt x="1444" y="952"/>
                      <a:pt x="1444" y="952"/>
                      <a:pt x="1444" y="952"/>
                    </a:cubicBezTo>
                    <a:cubicBezTo>
                      <a:pt x="1444" y="954"/>
                      <a:pt x="1444" y="954"/>
                      <a:pt x="1444" y="954"/>
                    </a:cubicBezTo>
                    <a:cubicBezTo>
                      <a:pt x="1444" y="957"/>
                      <a:pt x="1444" y="957"/>
                      <a:pt x="1444" y="957"/>
                    </a:cubicBezTo>
                    <a:cubicBezTo>
                      <a:pt x="1444" y="958"/>
                      <a:pt x="1444" y="958"/>
                      <a:pt x="1444" y="958"/>
                    </a:cubicBezTo>
                    <a:cubicBezTo>
                      <a:pt x="1445" y="959"/>
                      <a:pt x="1445" y="959"/>
                      <a:pt x="1445" y="959"/>
                    </a:cubicBezTo>
                    <a:cubicBezTo>
                      <a:pt x="1446" y="960"/>
                      <a:pt x="1446" y="960"/>
                      <a:pt x="1446" y="960"/>
                    </a:cubicBezTo>
                    <a:cubicBezTo>
                      <a:pt x="1447" y="961"/>
                      <a:pt x="1447" y="961"/>
                      <a:pt x="1447" y="961"/>
                    </a:cubicBezTo>
                    <a:cubicBezTo>
                      <a:pt x="1448" y="962"/>
                      <a:pt x="1448" y="962"/>
                      <a:pt x="1448" y="962"/>
                    </a:cubicBezTo>
                    <a:cubicBezTo>
                      <a:pt x="1449" y="962"/>
                      <a:pt x="1449" y="962"/>
                      <a:pt x="1449" y="962"/>
                    </a:cubicBezTo>
                    <a:cubicBezTo>
                      <a:pt x="1450" y="963"/>
                      <a:pt x="1450" y="963"/>
                      <a:pt x="1450" y="963"/>
                    </a:cubicBezTo>
                    <a:cubicBezTo>
                      <a:pt x="1451" y="964"/>
                      <a:pt x="1451" y="964"/>
                      <a:pt x="1451" y="964"/>
                    </a:cubicBezTo>
                    <a:cubicBezTo>
                      <a:pt x="1452" y="964"/>
                      <a:pt x="1452" y="964"/>
                      <a:pt x="1452" y="964"/>
                    </a:cubicBezTo>
                    <a:cubicBezTo>
                      <a:pt x="1452" y="965"/>
                      <a:pt x="1452" y="965"/>
                      <a:pt x="1452" y="965"/>
                    </a:cubicBezTo>
                    <a:cubicBezTo>
                      <a:pt x="1453" y="964"/>
                      <a:pt x="1453" y="964"/>
                      <a:pt x="1453" y="964"/>
                    </a:cubicBezTo>
                    <a:cubicBezTo>
                      <a:pt x="1454" y="965"/>
                      <a:pt x="1454" y="965"/>
                      <a:pt x="1454" y="965"/>
                    </a:cubicBezTo>
                    <a:cubicBezTo>
                      <a:pt x="1456" y="964"/>
                      <a:pt x="1456" y="964"/>
                      <a:pt x="1456" y="964"/>
                    </a:cubicBezTo>
                    <a:cubicBezTo>
                      <a:pt x="1457" y="962"/>
                      <a:pt x="1457" y="962"/>
                      <a:pt x="1457" y="962"/>
                    </a:cubicBezTo>
                    <a:cubicBezTo>
                      <a:pt x="1461" y="962"/>
                      <a:pt x="1461" y="962"/>
                      <a:pt x="1461" y="962"/>
                    </a:cubicBezTo>
                    <a:cubicBezTo>
                      <a:pt x="1462" y="962"/>
                      <a:pt x="1462" y="962"/>
                      <a:pt x="1462" y="962"/>
                    </a:cubicBezTo>
                    <a:cubicBezTo>
                      <a:pt x="1464" y="961"/>
                      <a:pt x="1464" y="961"/>
                      <a:pt x="1464" y="961"/>
                    </a:cubicBezTo>
                    <a:cubicBezTo>
                      <a:pt x="1465" y="960"/>
                      <a:pt x="1465" y="960"/>
                      <a:pt x="1465" y="960"/>
                    </a:cubicBezTo>
                    <a:cubicBezTo>
                      <a:pt x="1466" y="960"/>
                      <a:pt x="1466" y="960"/>
                      <a:pt x="1466" y="960"/>
                    </a:cubicBezTo>
                    <a:cubicBezTo>
                      <a:pt x="1466" y="958"/>
                      <a:pt x="1466" y="958"/>
                      <a:pt x="1466" y="958"/>
                    </a:cubicBezTo>
                    <a:cubicBezTo>
                      <a:pt x="1467" y="957"/>
                      <a:pt x="1467" y="957"/>
                      <a:pt x="1467" y="957"/>
                    </a:cubicBezTo>
                    <a:cubicBezTo>
                      <a:pt x="1468" y="955"/>
                      <a:pt x="1468" y="955"/>
                      <a:pt x="1468" y="955"/>
                    </a:cubicBezTo>
                    <a:cubicBezTo>
                      <a:pt x="1469" y="955"/>
                      <a:pt x="1469" y="955"/>
                      <a:pt x="1469" y="955"/>
                    </a:cubicBezTo>
                    <a:cubicBezTo>
                      <a:pt x="1469" y="953"/>
                      <a:pt x="1469" y="953"/>
                      <a:pt x="1469" y="953"/>
                    </a:cubicBezTo>
                    <a:cubicBezTo>
                      <a:pt x="1468" y="952"/>
                      <a:pt x="1468" y="952"/>
                      <a:pt x="1468" y="952"/>
                    </a:cubicBezTo>
                    <a:cubicBezTo>
                      <a:pt x="1469" y="952"/>
                      <a:pt x="1469" y="952"/>
                      <a:pt x="1469" y="952"/>
                    </a:cubicBezTo>
                    <a:cubicBezTo>
                      <a:pt x="1470" y="950"/>
                      <a:pt x="1470" y="950"/>
                      <a:pt x="1470" y="950"/>
                    </a:cubicBezTo>
                    <a:cubicBezTo>
                      <a:pt x="1470" y="949"/>
                      <a:pt x="1470" y="949"/>
                      <a:pt x="1470" y="949"/>
                    </a:cubicBezTo>
                    <a:cubicBezTo>
                      <a:pt x="1471" y="948"/>
                      <a:pt x="1471" y="948"/>
                      <a:pt x="1471" y="948"/>
                    </a:cubicBezTo>
                    <a:cubicBezTo>
                      <a:pt x="1472" y="943"/>
                      <a:pt x="1472" y="943"/>
                      <a:pt x="1472" y="943"/>
                    </a:cubicBezTo>
                    <a:cubicBezTo>
                      <a:pt x="1473" y="941"/>
                      <a:pt x="1473" y="941"/>
                      <a:pt x="1473" y="941"/>
                    </a:cubicBezTo>
                    <a:cubicBezTo>
                      <a:pt x="1474" y="940"/>
                      <a:pt x="1474" y="940"/>
                      <a:pt x="1474" y="940"/>
                    </a:cubicBezTo>
                    <a:cubicBezTo>
                      <a:pt x="1474" y="937"/>
                      <a:pt x="1474" y="937"/>
                      <a:pt x="1474" y="937"/>
                    </a:cubicBezTo>
                    <a:cubicBezTo>
                      <a:pt x="1476" y="934"/>
                      <a:pt x="1476" y="934"/>
                      <a:pt x="1476" y="934"/>
                    </a:cubicBezTo>
                    <a:cubicBezTo>
                      <a:pt x="1478" y="929"/>
                      <a:pt x="1478" y="929"/>
                      <a:pt x="1478" y="929"/>
                    </a:cubicBezTo>
                    <a:cubicBezTo>
                      <a:pt x="1479" y="928"/>
                      <a:pt x="1479" y="928"/>
                      <a:pt x="1479" y="928"/>
                    </a:cubicBezTo>
                    <a:cubicBezTo>
                      <a:pt x="1479" y="925"/>
                      <a:pt x="1479" y="925"/>
                      <a:pt x="1479" y="925"/>
                    </a:cubicBezTo>
                    <a:cubicBezTo>
                      <a:pt x="1480" y="923"/>
                      <a:pt x="1480" y="923"/>
                      <a:pt x="1480" y="923"/>
                    </a:cubicBezTo>
                    <a:cubicBezTo>
                      <a:pt x="1480" y="922"/>
                      <a:pt x="1480" y="922"/>
                      <a:pt x="1480" y="922"/>
                    </a:cubicBezTo>
                    <a:cubicBezTo>
                      <a:pt x="1482" y="920"/>
                      <a:pt x="1482" y="920"/>
                      <a:pt x="1482" y="920"/>
                    </a:cubicBezTo>
                    <a:cubicBezTo>
                      <a:pt x="1482" y="916"/>
                      <a:pt x="1482" y="916"/>
                      <a:pt x="1482" y="916"/>
                    </a:cubicBezTo>
                    <a:cubicBezTo>
                      <a:pt x="1483" y="914"/>
                      <a:pt x="1483" y="914"/>
                      <a:pt x="1483" y="914"/>
                    </a:cubicBezTo>
                    <a:cubicBezTo>
                      <a:pt x="1484" y="913"/>
                      <a:pt x="1484" y="913"/>
                      <a:pt x="1484" y="913"/>
                    </a:cubicBezTo>
                    <a:cubicBezTo>
                      <a:pt x="1484" y="911"/>
                      <a:pt x="1484" y="911"/>
                      <a:pt x="1484" y="911"/>
                    </a:cubicBezTo>
                    <a:cubicBezTo>
                      <a:pt x="1483" y="910"/>
                      <a:pt x="1483" y="910"/>
                      <a:pt x="1483" y="910"/>
                    </a:cubicBezTo>
                    <a:cubicBezTo>
                      <a:pt x="1484" y="909"/>
                      <a:pt x="1484" y="909"/>
                      <a:pt x="1484" y="909"/>
                    </a:cubicBezTo>
                    <a:cubicBezTo>
                      <a:pt x="1485" y="907"/>
                      <a:pt x="1485" y="907"/>
                      <a:pt x="1485" y="907"/>
                    </a:cubicBezTo>
                    <a:cubicBezTo>
                      <a:pt x="1485" y="906"/>
                      <a:pt x="1485" y="906"/>
                      <a:pt x="1485" y="906"/>
                    </a:cubicBezTo>
                    <a:cubicBezTo>
                      <a:pt x="1486" y="905"/>
                      <a:pt x="1486" y="905"/>
                      <a:pt x="1486" y="905"/>
                    </a:cubicBezTo>
                    <a:cubicBezTo>
                      <a:pt x="1486" y="904"/>
                      <a:pt x="1486" y="904"/>
                      <a:pt x="1486" y="904"/>
                    </a:cubicBezTo>
                    <a:cubicBezTo>
                      <a:pt x="1485" y="903"/>
                      <a:pt x="1485" y="903"/>
                      <a:pt x="1485" y="903"/>
                    </a:cubicBezTo>
                    <a:cubicBezTo>
                      <a:pt x="1486" y="902"/>
                      <a:pt x="1486" y="902"/>
                      <a:pt x="1486" y="902"/>
                    </a:cubicBezTo>
                    <a:cubicBezTo>
                      <a:pt x="1485" y="900"/>
                      <a:pt x="1485" y="900"/>
                      <a:pt x="1485" y="900"/>
                    </a:cubicBezTo>
                    <a:cubicBezTo>
                      <a:pt x="1485" y="899"/>
                      <a:pt x="1485" y="899"/>
                      <a:pt x="1485" y="899"/>
                    </a:cubicBezTo>
                    <a:cubicBezTo>
                      <a:pt x="1486" y="898"/>
                      <a:pt x="1486" y="898"/>
                      <a:pt x="1486" y="898"/>
                    </a:cubicBezTo>
                    <a:cubicBezTo>
                      <a:pt x="1486" y="899"/>
                      <a:pt x="1486" y="899"/>
                      <a:pt x="1486" y="899"/>
                    </a:cubicBezTo>
                    <a:cubicBezTo>
                      <a:pt x="1487" y="900"/>
                      <a:pt x="1487" y="900"/>
                      <a:pt x="1487" y="900"/>
                    </a:cubicBezTo>
                    <a:cubicBezTo>
                      <a:pt x="1488" y="901"/>
                      <a:pt x="1488" y="901"/>
                      <a:pt x="1488" y="901"/>
                    </a:cubicBezTo>
                    <a:cubicBezTo>
                      <a:pt x="1489" y="902"/>
                      <a:pt x="1489" y="902"/>
                      <a:pt x="1489" y="902"/>
                    </a:cubicBezTo>
                    <a:cubicBezTo>
                      <a:pt x="1489" y="901"/>
                      <a:pt x="1489" y="901"/>
                      <a:pt x="1489" y="901"/>
                    </a:cubicBezTo>
                    <a:cubicBezTo>
                      <a:pt x="1489" y="900"/>
                      <a:pt x="1489" y="900"/>
                      <a:pt x="1489" y="900"/>
                    </a:cubicBezTo>
                    <a:cubicBezTo>
                      <a:pt x="1489" y="899"/>
                      <a:pt x="1489" y="899"/>
                      <a:pt x="1489" y="899"/>
                    </a:cubicBezTo>
                    <a:cubicBezTo>
                      <a:pt x="1490" y="898"/>
                      <a:pt x="1490" y="898"/>
                      <a:pt x="1490" y="898"/>
                    </a:cubicBezTo>
                    <a:cubicBezTo>
                      <a:pt x="1490" y="897"/>
                      <a:pt x="1490" y="897"/>
                      <a:pt x="1490" y="897"/>
                    </a:cubicBezTo>
                    <a:cubicBezTo>
                      <a:pt x="1489" y="895"/>
                      <a:pt x="1489" y="895"/>
                      <a:pt x="1489" y="895"/>
                    </a:cubicBezTo>
                    <a:cubicBezTo>
                      <a:pt x="1488" y="894"/>
                      <a:pt x="1488" y="894"/>
                      <a:pt x="1488" y="894"/>
                    </a:cubicBezTo>
                    <a:close/>
                    <a:moveTo>
                      <a:pt x="1478" y="884"/>
                    </a:moveTo>
                    <a:cubicBezTo>
                      <a:pt x="1477" y="884"/>
                      <a:pt x="1477" y="884"/>
                      <a:pt x="1477" y="884"/>
                    </a:cubicBezTo>
                    <a:cubicBezTo>
                      <a:pt x="1477" y="885"/>
                      <a:pt x="1477" y="885"/>
                      <a:pt x="1477" y="885"/>
                    </a:cubicBezTo>
                    <a:cubicBezTo>
                      <a:pt x="1478" y="885"/>
                      <a:pt x="1478" y="885"/>
                      <a:pt x="1478" y="885"/>
                    </a:cubicBezTo>
                    <a:cubicBezTo>
                      <a:pt x="1478" y="884"/>
                      <a:pt x="1478" y="884"/>
                      <a:pt x="1478" y="884"/>
                    </a:cubicBezTo>
                    <a:close/>
                    <a:moveTo>
                      <a:pt x="2047" y="1108"/>
                    </a:moveTo>
                    <a:cubicBezTo>
                      <a:pt x="2047" y="1108"/>
                      <a:pt x="2047" y="1108"/>
                      <a:pt x="2047" y="1109"/>
                    </a:cubicBezTo>
                    <a:cubicBezTo>
                      <a:pt x="2047" y="1109"/>
                      <a:pt x="2047" y="1109"/>
                      <a:pt x="2048" y="1108"/>
                    </a:cubicBezTo>
                    <a:cubicBezTo>
                      <a:pt x="2048" y="1108"/>
                      <a:pt x="2048" y="1108"/>
                      <a:pt x="2048" y="1107"/>
                    </a:cubicBezTo>
                    <a:cubicBezTo>
                      <a:pt x="2048" y="1107"/>
                      <a:pt x="2048" y="1107"/>
                      <a:pt x="2047" y="1108"/>
                    </a:cubicBezTo>
                    <a:close/>
                    <a:moveTo>
                      <a:pt x="2049" y="1109"/>
                    </a:moveTo>
                    <a:cubicBezTo>
                      <a:pt x="2049" y="1108"/>
                      <a:pt x="2049" y="1108"/>
                      <a:pt x="2049" y="1108"/>
                    </a:cubicBezTo>
                    <a:cubicBezTo>
                      <a:pt x="2048" y="1108"/>
                      <a:pt x="2048" y="1108"/>
                      <a:pt x="2048" y="1108"/>
                    </a:cubicBezTo>
                    <a:cubicBezTo>
                      <a:pt x="2048" y="1109"/>
                      <a:pt x="2048" y="1109"/>
                      <a:pt x="2048" y="1109"/>
                    </a:cubicBezTo>
                    <a:cubicBezTo>
                      <a:pt x="2049" y="1109"/>
                      <a:pt x="2049" y="1109"/>
                      <a:pt x="2049" y="1109"/>
                    </a:cubicBezTo>
                    <a:close/>
                    <a:moveTo>
                      <a:pt x="2032" y="892"/>
                    </a:moveTo>
                    <a:cubicBezTo>
                      <a:pt x="2032" y="892"/>
                      <a:pt x="2032" y="892"/>
                      <a:pt x="2032" y="893"/>
                    </a:cubicBezTo>
                    <a:cubicBezTo>
                      <a:pt x="2032" y="893"/>
                      <a:pt x="2032" y="893"/>
                      <a:pt x="2033" y="893"/>
                    </a:cubicBezTo>
                    <a:cubicBezTo>
                      <a:pt x="2033" y="893"/>
                      <a:pt x="2033" y="893"/>
                      <a:pt x="2032" y="892"/>
                    </a:cubicBezTo>
                    <a:close/>
                    <a:moveTo>
                      <a:pt x="2048" y="1111"/>
                    </a:moveTo>
                    <a:cubicBezTo>
                      <a:pt x="2049" y="1111"/>
                      <a:pt x="2049" y="1111"/>
                      <a:pt x="2049" y="1111"/>
                    </a:cubicBezTo>
                    <a:cubicBezTo>
                      <a:pt x="2049" y="1110"/>
                      <a:pt x="2049" y="1110"/>
                      <a:pt x="2049" y="1110"/>
                    </a:cubicBezTo>
                    <a:cubicBezTo>
                      <a:pt x="2048" y="1110"/>
                      <a:pt x="2048" y="1110"/>
                      <a:pt x="2048" y="1110"/>
                    </a:cubicBezTo>
                    <a:cubicBezTo>
                      <a:pt x="2048" y="1111"/>
                      <a:pt x="2048" y="1111"/>
                      <a:pt x="2048" y="1111"/>
                    </a:cubicBezTo>
                    <a:close/>
                    <a:moveTo>
                      <a:pt x="2130" y="974"/>
                    </a:moveTo>
                    <a:cubicBezTo>
                      <a:pt x="2130" y="974"/>
                      <a:pt x="2130" y="974"/>
                      <a:pt x="2130" y="975"/>
                    </a:cubicBezTo>
                    <a:cubicBezTo>
                      <a:pt x="2130" y="975"/>
                      <a:pt x="2130" y="975"/>
                      <a:pt x="2129" y="977"/>
                    </a:cubicBezTo>
                    <a:cubicBezTo>
                      <a:pt x="2129" y="977"/>
                      <a:pt x="2129" y="977"/>
                      <a:pt x="2128" y="978"/>
                    </a:cubicBezTo>
                    <a:cubicBezTo>
                      <a:pt x="2128" y="978"/>
                      <a:pt x="2128" y="978"/>
                      <a:pt x="2128" y="979"/>
                    </a:cubicBezTo>
                    <a:cubicBezTo>
                      <a:pt x="2128" y="979"/>
                      <a:pt x="2128" y="979"/>
                      <a:pt x="2128" y="980"/>
                    </a:cubicBezTo>
                    <a:cubicBezTo>
                      <a:pt x="2128" y="980"/>
                      <a:pt x="2128" y="980"/>
                      <a:pt x="2128" y="982"/>
                    </a:cubicBezTo>
                    <a:cubicBezTo>
                      <a:pt x="2128" y="982"/>
                      <a:pt x="2128" y="982"/>
                      <a:pt x="2129" y="982"/>
                    </a:cubicBezTo>
                    <a:cubicBezTo>
                      <a:pt x="2129" y="982"/>
                      <a:pt x="2129" y="982"/>
                      <a:pt x="2129" y="981"/>
                    </a:cubicBezTo>
                    <a:cubicBezTo>
                      <a:pt x="2129" y="981"/>
                      <a:pt x="2129" y="981"/>
                      <a:pt x="2129" y="979"/>
                    </a:cubicBezTo>
                    <a:cubicBezTo>
                      <a:pt x="2129" y="979"/>
                      <a:pt x="2129" y="979"/>
                      <a:pt x="2130" y="977"/>
                    </a:cubicBezTo>
                    <a:cubicBezTo>
                      <a:pt x="2130" y="977"/>
                      <a:pt x="2130" y="977"/>
                      <a:pt x="2131" y="975"/>
                    </a:cubicBezTo>
                    <a:cubicBezTo>
                      <a:pt x="2131" y="975"/>
                      <a:pt x="2131" y="975"/>
                      <a:pt x="2130" y="973"/>
                    </a:cubicBezTo>
                    <a:cubicBezTo>
                      <a:pt x="2130" y="973"/>
                      <a:pt x="2130" y="973"/>
                      <a:pt x="2130" y="974"/>
                    </a:cubicBezTo>
                    <a:close/>
                    <a:moveTo>
                      <a:pt x="2034" y="896"/>
                    </a:moveTo>
                    <a:cubicBezTo>
                      <a:pt x="2035" y="895"/>
                      <a:pt x="2035" y="895"/>
                      <a:pt x="2035" y="895"/>
                    </a:cubicBezTo>
                    <a:cubicBezTo>
                      <a:pt x="2036" y="895"/>
                      <a:pt x="2036" y="895"/>
                      <a:pt x="2036" y="895"/>
                    </a:cubicBezTo>
                    <a:cubicBezTo>
                      <a:pt x="2037" y="894"/>
                      <a:pt x="2037" y="894"/>
                      <a:pt x="2037" y="894"/>
                    </a:cubicBezTo>
                    <a:cubicBezTo>
                      <a:pt x="2036" y="894"/>
                      <a:pt x="2036" y="894"/>
                      <a:pt x="2036" y="894"/>
                    </a:cubicBezTo>
                    <a:cubicBezTo>
                      <a:pt x="2035" y="894"/>
                      <a:pt x="2035" y="894"/>
                      <a:pt x="2035" y="894"/>
                    </a:cubicBezTo>
                    <a:cubicBezTo>
                      <a:pt x="2036" y="893"/>
                      <a:pt x="2036" y="893"/>
                      <a:pt x="2036" y="893"/>
                    </a:cubicBezTo>
                    <a:cubicBezTo>
                      <a:pt x="2035" y="893"/>
                      <a:pt x="2035" y="893"/>
                      <a:pt x="2035" y="893"/>
                    </a:cubicBezTo>
                    <a:cubicBezTo>
                      <a:pt x="2035" y="892"/>
                      <a:pt x="2035" y="892"/>
                      <a:pt x="2035" y="892"/>
                    </a:cubicBezTo>
                    <a:cubicBezTo>
                      <a:pt x="2034" y="893"/>
                      <a:pt x="2034" y="893"/>
                      <a:pt x="2034" y="893"/>
                    </a:cubicBezTo>
                    <a:cubicBezTo>
                      <a:pt x="2033" y="894"/>
                      <a:pt x="2033" y="894"/>
                      <a:pt x="2033" y="894"/>
                    </a:cubicBezTo>
                    <a:cubicBezTo>
                      <a:pt x="2034" y="895"/>
                      <a:pt x="2034" y="895"/>
                      <a:pt x="2034" y="895"/>
                    </a:cubicBezTo>
                    <a:cubicBezTo>
                      <a:pt x="2033" y="896"/>
                      <a:pt x="2033" y="896"/>
                      <a:pt x="2033" y="896"/>
                    </a:cubicBezTo>
                    <a:cubicBezTo>
                      <a:pt x="2034" y="896"/>
                      <a:pt x="2034" y="896"/>
                      <a:pt x="2034" y="896"/>
                    </a:cubicBezTo>
                    <a:close/>
                    <a:moveTo>
                      <a:pt x="2045" y="1104"/>
                    </a:moveTo>
                    <a:cubicBezTo>
                      <a:pt x="2045" y="1104"/>
                      <a:pt x="2045" y="1104"/>
                      <a:pt x="2046" y="1102"/>
                    </a:cubicBezTo>
                    <a:cubicBezTo>
                      <a:pt x="2046" y="1102"/>
                      <a:pt x="2046" y="1102"/>
                      <a:pt x="2046" y="1100"/>
                    </a:cubicBezTo>
                    <a:cubicBezTo>
                      <a:pt x="2046" y="1100"/>
                      <a:pt x="2046" y="1100"/>
                      <a:pt x="2045" y="1099"/>
                    </a:cubicBezTo>
                    <a:cubicBezTo>
                      <a:pt x="2045" y="1099"/>
                      <a:pt x="2045" y="1099"/>
                      <a:pt x="2045" y="1100"/>
                    </a:cubicBezTo>
                    <a:cubicBezTo>
                      <a:pt x="2045" y="1100"/>
                      <a:pt x="2045" y="1100"/>
                      <a:pt x="2044" y="1101"/>
                    </a:cubicBezTo>
                    <a:cubicBezTo>
                      <a:pt x="2044" y="1101"/>
                      <a:pt x="2044" y="1101"/>
                      <a:pt x="2044" y="1102"/>
                    </a:cubicBezTo>
                    <a:cubicBezTo>
                      <a:pt x="2044" y="1102"/>
                      <a:pt x="2044" y="1102"/>
                      <a:pt x="2043" y="1103"/>
                    </a:cubicBezTo>
                    <a:cubicBezTo>
                      <a:pt x="2043" y="1103"/>
                      <a:pt x="2043" y="1103"/>
                      <a:pt x="2043" y="1104"/>
                    </a:cubicBezTo>
                    <a:cubicBezTo>
                      <a:pt x="2043" y="1104"/>
                      <a:pt x="2043" y="1104"/>
                      <a:pt x="2043" y="1105"/>
                    </a:cubicBezTo>
                    <a:cubicBezTo>
                      <a:pt x="2043" y="1105"/>
                      <a:pt x="2043" y="1105"/>
                      <a:pt x="2044" y="1105"/>
                    </a:cubicBezTo>
                    <a:cubicBezTo>
                      <a:pt x="2044" y="1105"/>
                      <a:pt x="2044" y="1105"/>
                      <a:pt x="2045" y="1104"/>
                    </a:cubicBezTo>
                    <a:close/>
                    <a:moveTo>
                      <a:pt x="1876" y="974"/>
                    </a:moveTo>
                    <a:cubicBezTo>
                      <a:pt x="1876" y="974"/>
                      <a:pt x="1876" y="974"/>
                      <a:pt x="1876" y="975"/>
                    </a:cubicBezTo>
                    <a:cubicBezTo>
                      <a:pt x="1876" y="975"/>
                      <a:pt x="1876" y="975"/>
                      <a:pt x="1876" y="978"/>
                    </a:cubicBezTo>
                    <a:cubicBezTo>
                      <a:pt x="1876" y="978"/>
                      <a:pt x="1876" y="978"/>
                      <a:pt x="1877" y="976"/>
                    </a:cubicBezTo>
                    <a:cubicBezTo>
                      <a:pt x="1877" y="976"/>
                      <a:pt x="1877" y="976"/>
                      <a:pt x="1876" y="974"/>
                    </a:cubicBezTo>
                    <a:close/>
                    <a:moveTo>
                      <a:pt x="2017" y="1062"/>
                    </a:moveTo>
                    <a:cubicBezTo>
                      <a:pt x="2018" y="1062"/>
                      <a:pt x="2018" y="1062"/>
                      <a:pt x="2018" y="1062"/>
                    </a:cubicBezTo>
                    <a:cubicBezTo>
                      <a:pt x="2018" y="1062"/>
                      <a:pt x="2018" y="1062"/>
                      <a:pt x="2019" y="1062"/>
                    </a:cubicBezTo>
                    <a:cubicBezTo>
                      <a:pt x="2019" y="1062"/>
                      <a:pt x="2019" y="1062"/>
                      <a:pt x="2018" y="1061"/>
                    </a:cubicBezTo>
                    <a:cubicBezTo>
                      <a:pt x="2018" y="1061"/>
                      <a:pt x="2018" y="1061"/>
                      <a:pt x="2017" y="1062"/>
                    </a:cubicBezTo>
                    <a:close/>
                    <a:moveTo>
                      <a:pt x="1877" y="972"/>
                    </a:moveTo>
                    <a:cubicBezTo>
                      <a:pt x="1877" y="972"/>
                      <a:pt x="1877" y="972"/>
                      <a:pt x="1877" y="970"/>
                    </a:cubicBezTo>
                    <a:cubicBezTo>
                      <a:pt x="1877" y="970"/>
                      <a:pt x="1877" y="970"/>
                      <a:pt x="1876" y="973"/>
                    </a:cubicBezTo>
                    <a:lnTo>
                      <a:pt x="1877" y="972"/>
                    </a:lnTo>
                    <a:close/>
                    <a:moveTo>
                      <a:pt x="2066" y="1114"/>
                    </a:moveTo>
                    <a:cubicBezTo>
                      <a:pt x="2066" y="1114"/>
                      <a:pt x="2066" y="1114"/>
                      <a:pt x="2065" y="1115"/>
                    </a:cubicBezTo>
                    <a:cubicBezTo>
                      <a:pt x="2065" y="1115"/>
                      <a:pt x="2065" y="1115"/>
                      <a:pt x="2065" y="1114"/>
                    </a:cubicBezTo>
                    <a:cubicBezTo>
                      <a:pt x="2065" y="1114"/>
                      <a:pt x="2065" y="1114"/>
                      <a:pt x="2064" y="1114"/>
                    </a:cubicBezTo>
                    <a:cubicBezTo>
                      <a:pt x="2064" y="1114"/>
                      <a:pt x="2064" y="1114"/>
                      <a:pt x="2063" y="1115"/>
                    </a:cubicBezTo>
                    <a:cubicBezTo>
                      <a:pt x="2063" y="1115"/>
                      <a:pt x="2063" y="1115"/>
                      <a:pt x="2063" y="1116"/>
                    </a:cubicBezTo>
                    <a:cubicBezTo>
                      <a:pt x="2063" y="1116"/>
                      <a:pt x="2063" y="1116"/>
                      <a:pt x="2059" y="1115"/>
                    </a:cubicBezTo>
                    <a:cubicBezTo>
                      <a:pt x="2059" y="1115"/>
                      <a:pt x="2059" y="1115"/>
                      <a:pt x="2058" y="1116"/>
                    </a:cubicBezTo>
                    <a:cubicBezTo>
                      <a:pt x="2058" y="1116"/>
                      <a:pt x="2058" y="1116"/>
                      <a:pt x="2058" y="1117"/>
                    </a:cubicBezTo>
                    <a:cubicBezTo>
                      <a:pt x="2058" y="1117"/>
                      <a:pt x="2058" y="1117"/>
                      <a:pt x="2057" y="1116"/>
                    </a:cubicBezTo>
                    <a:cubicBezTo>
                      <a:pt x="2057" y="1116"/>
                      <a:pt x="2057" y="1116"/>
                      <a:pt x="2056" y="1116"/>
                    </a:cubicBezTo>
                    <a:cubicBezTo>
                      <a:pt x="2056" y="1116"/>
                      <a:pt x="2056" y="1116"/>
                      <a:pt x="2055" y="1117"/>
                    </a:cubicBezTo>
                    <a:cubicBezTo>
                      <a:pt x="2055" y="1117"/>
                      <a:pt x="2055" y="1117"/>
                      <a:pt x="2054" y="1116"/>
                    </a:cubicBezTo>
                    <a:cubicBezTo>
                      <a:pt x="2054" y="1116"/>
                      <a:pt x="2054" y="1116"/>
                      <a:pt x="2052" y="1114"/>
                    </a:cubicBezTo>
                    <a:cubicBezTo>
                      <a:pt x="2052" y="1114"/>
                      <a:pt x="2052" y="1114"/>
                      <a:pt x="2050" y="1113"/>
                    </a:cubicBezTo>
                    <a:cubicBezTo>
                      <a:pt x="2050" y="1113"/>
                      <a:pt x="2050" y="1113"/>
                      <a:pt x="2050" y="1112"/>
                    </a:cubicBezTo>
                    <a:cubicBezTo>
                      <a:pt x="2050" y="1112"/>
                      <a:pt x="2050" y="1112"/>
                      <a:pt x="2049" y="1113"/>
                    </a:cubicBezTo>
                    <a:cubicBezTo>
                      <a:pt x="2049" y="1113"/>
                      <a:pt x="2049" y="1113"/>
                      <a:pt x="2049" y="1112"/>
                    </a:cubicBezTo>
                    <a:cubicBezTo>
                      <a:pt x="2049" y="1112"/>
                      <a:pt x="2049" y="1112"/>
                      <a:pt x="2047" y="1111"/>
                    </a:cubicBezTo>
                    <a:cubicBezTo>
                      <a:pt x="2047" y="1111"/>
                      <a:pt x="2047" y="1111"/>
                      <a:pt x="2046" y="1110"/>
                    </a:cubicBezTo>
                    <a:cubicBezTo>
                      <a:pt x="2046" y="1110"/>
                      <a:pt x="2046" y="1110"/>
                      <a:pt x="2046" y="1111"/>
                    </a:cubicBezTo>
                    <a:cubicBezTo>
                      <a:pt x="2046" y="1111"/>
                      <a:pt x="2046" y="1111"/>
                      <a:pt x="2046" y="1112"/>
                    </a:cubicBezTo>
                    <a:cubicBezTo>
                      <a:pt x="2046" y="1112"/>
                      <a:pt x="2046" y="1112"/>
                      <a:pt x="2045" y="1113"/>
                    </a:cubicBezTo>
                    <a:cubicBezTo>
                      <a:pt x="2045" y="1113"/>
                      <a:pt x="2045" y="1113"/>
                      <a:pt x="2045" y="1114"/>
                    </a:cubicBezTo>
                    <a:cubicBezTo>
                      <a:pt x="2045" y="1114"/>
                      <a:pt x="2045" y="1114"/>
                      <a:pt x="2046" y="1116"/>
                    </a:cubicBezTo>
                    <a:cubicBezTo>
                      <a:pt x="2046" y="1116"/>
                      <a:pt x="2046" y="1116"/>
                      <a:pt x="2045" y="1118"/>
                    </a:cubicBezTo>
                    <a:cubicBezTo>
                      <a:pt x="2045" y="1118"/>
                      <a:pt x="2045" y="1118"/>
                      <a:pt x="2045" y="1121"/>
                    </a:cubicBezTo>
                    <a:cubicBezTo>
                      <a:pt x="2045" y="1121"/>
                      <a:pt x="2045" y="1121"/>
                      <a:pt x="2046" y="1123"/>
                    </a:cubicBezTo>
                    <a:cubicBezTo>
                      <a:pt x="2046" y="1123"/>
                      <a:pt x="2046" y="1123"/>
                      <a:pt x="2045" y="1125"/>
                    </a:cubicBezTo>
                    <a:cubicBezTo>
                      <a:pt x="2045" y="1125"/>
                      <a:pt x="2045" y="1125"/>
                      <a:pt x="2046" y="1125"/>
                    </a:cubicBezTo>
                    <a:cubicBezTo>
                      <a:pt x="2046" y="1125"/>
                      <a:pt x="2046" y="1125"/>
                      <a:pt x="2046" y="1126"/>
                    </a:cubicBezTo>
                    <a:cubicBezTo>
                      <a:pt x="2046" y="1126"/>
                      <a:pt x="2046" y="1126"/>
                      <a:pt x="2047" y="1127"/>
                    </a:cubicBezTo>
                    <a:cubicBezTo>
                      <a:pt x="2047" y="1127"/>
                      <a:pt x="2047" y="1127"/>
                      <a:pt x="2046" y="1127"/>
                    </a:cubicBezTo>
                    <a:cubicBezTo>
                      <a:pt x="2046" y="1127"/>
                      <a:pt x="2046" y="1127"/>
                      <a:pt x="2045" y="1126"/>
                    </a:cubicBezTo>
                    <a:cubicBezTo>
                      <a:pt x="2045" y="1126"/>
                      <a:pt x="2045" y="1126"/>
                      <a:pt x="2044" y="1127"/>
                    </a:cubicBezTo>
                    <a:cubicBezTo>
                      <a:pt x="2044" y="1127"/>
                      <a:pt x="2044" y="1127"/>
                      <a:pt x="2044" y="1129"/>
                    </a:cubicBezTo>
                    <a:cubicBezTo>
                      <a:pt x="2044" y="1129"/>
                      <a:pt x="2044" y="1129"/>
                      <a:pt x="2045" y="1130"/>
                    </a:cubicBezTo>
                    <a:cubicBezTo>
                      <a:pt x="2045" y="1130"/>
                      <a:pt x="2045" y="1130"/>
                      <a:pt x="2045" y="1131"/>
                    </a:cubicBezTo>
                    <a:cubicBezTo>
                      <a:pt x="2045" y="1131"/>
                      <a:pt x="2045" y="1131"/>
                      <a:pt x="2045" y="1134"/>
                    </a:cubicBezTo>
                    <a:cubicBezTo>
                      <a:pt x="2045" y="1134"/>
                      <a:pt x="2045" y="1134"/>
                      <a:pt x="2046" y="1135"/>
                    </a:cubicBezTo>
                    <a:cubicBezTo>
                      <a:pt x="2046" y="1135"/>
                      <a:pt x="2046" y="1135"/>
                      <a:pt x="2045" y="1135"/>
                    </a:cubicBezTo>
                    <a:cubicBezTo>
                      <a:pt x="2045" y="1135"/>
                      <a:pt x="2045" y="1135"/>
                      <a:pt x="2046" y="1137"/>
                    </a:cubicBezTo>
                    <a:cubicBezTo>
                      <a:pt x="2046" y="1137"/>
                      <a:pt x="2046" y="1137"/>
                      <a:pt x="2047" y="1137"/>
                    </a:cubicBezTo>
                    <a:cubicBezTo>
                      <a:pt x="2047" y="1137"/>
                      <a:pt x="2047" y="1137"/>
                      <a:pt x="2046" y="1138"/>
                    </a:cubicBezTo>
                    <a:cubicBezTo>
                      <a:pt x="2046" y="1138"/>
                      <a:pt x="2046" y="1138"/>
                      <a:pt x="2046" y="1139"/>
                    </a:cubicBezTo>
                    <a:cubicBezTo>
                      <a:pt x="2047" y="1140"/>
                      <a:pt x="2047" y="1140"/>
                      <a:pt x="2047" y="1140"/>
                    </a:cubicBezTo>
                    <a:cubicBezTo>
                      <a:pt x="2047" y="1140"/>
                      <a:pt x="2047" y="1140"/>
                      <a:pt x="2048" y="1139"/>
                    </a:cubicBezTo>
                    <a:cubicBezTo>
                      <a:pt x="2048" y="1139"/>
                      <a:pt x="2048" y="1139"/>
                      <a:pt x="2049" y="1140"/>
                    </a:cubicBezTo>
                    <a:cubicBezTo>
                      <a:pt x="2049" y="1140"/>
                      <a:pt x="2049" y="1140"/>
                      <a:pt x="2050" y="1139"/>
                    </a:cubicBezTo>
                    <a:cubicBezTo>
                      <a:pt x="2050" y="1139"/>
                      <a:pt x="2050" y="1139"/>
                      <a:pt x="2050" y="1140"/>
                    </a:cubicBezTo>
                    <a:cubicBezTo>
                      <a:pt x="2050" y="1140"/>
                      <a:pt x="2050" y="1140"/>
                      <a:pt x="2050" y="1141"/>
                    </a:cubicBezTo>
                    <a:cubicBezTo>
                      <a:pt x="2050" y="1141"/>
                      <a:pt x="2050" y="1141"/>
                      <a:pt x="2051" y="1141"/>
                    </a:cubicBezTo>
                    <a:cubicBezTo>
                      <a:pt x="2051" y="1141"/>
                      <a:pt x="2051" y="1141"/>
                      <a:pt x="2052" y="1139"/>
                    </a:cubicBezTo>
                    <a:cubicBezTo>
                      <a:pt x="2052" y="1139"/>
                      <a:pt x="2052" y="1139"/>
                      <a:pt x="2053" y="1138"/>
                    </a:cubicBezTo>
                    <a:cubicBezTo>
                      <a:pt x="2053" y="1138"/>
                      <a:pt x="2053" y="1138"/>
                      <a:pt x="2053" y="1136"/>
                    </a:cubicBezTo>
                    <a:cubicBezTo>
                      <a:pt x="2053" y="1136"/>
                      <a:pt x="2053" y="1136"/>
                      <a:pt x="2054" y="1137"/>
                    </a:cubicBezTo>
                    <a:cubicBezTo>
                      <a:pt x="2054" y="1137"/>
                      <a:pt x="2054" y="1137"/>
                      <a:pt x="2054" y="1136"/>
                    </a:cubicBezTo>
                    <a:cubicBezTo>
                      <a:pt x="2054" y="1136"/>
                      <a:pt x="2054" y="1136"/>
                      <a:pt x="2055" y="1135"/>
                    </a:cubicBezTo>
                    <a:cubicBezTo>
                      <a:pt x="2055" y="1135"/>
                      <a:pt x="2055" y="1135"/>
                      <a:pt x="2056" y="1134"/>
                    </a:cubicBezTo>
                    <a:cubicBezTo>
                      <a:pt x="2056" y="1134"/>
                      <a:pt x="2056" y="1134"/>
                      <a:pt x="2056" y="1135"/>
                    </a:cubicBezTo>
                    <a:cubicBezTo>
                      <a:pt x="2056" y="1135"/>
                      <a:pt x="2056" y="1135"/>
                      <a:pt x="2057" y="1136"/>
                    </a:cubicBezTo>
                    <a:cubicBezTo>
                      <a:pt x="2057" y="1136"/>
                      <a:pt x="2057" y="1136"/>
                      <a:pt x="2057" y="1134"/>
                    </a:cubicBezTo>
                    <a:cubicBezTo>
                      <a:pt x="2057" y="1134"/>
                      <a:pt x="2057" y="1134"/>
                      <a:pt x="2058" y="1134"/>
                    </a:cubicBezTo>
                    <a:cubicBezTo>
                      <a:pt x="2058" y="1134"/>
                      <a:pt x="2058" y="1134"/>
                      <a:pt x="2059" y="1135"/>
                    </a:cubicBezTo>
                    <a:cubicBezTo>
                      <a:pt x="2059" y="1135"/>
                      <a:pt x="2059" y="1135"/>
                      <a:pt x="2059" y="1136"/>
                    </a:cubicBezTo>
                    <a:cubicBezTo>
                      <a:pt x="2059" y="1136"/>
                      <a:pt x="2059" y="1136"/>
                      <a:pt x="2058" y="1135"/>
                    </a:cubicBezTo>
                    <a:cubicBezTo>
                      <a:pt x="2058" y="1135"/>
                      <a:pt x="2058" y="1135"/>
                      <a:pt x="2058" y="1137"/>
                    </a:cubicBezTo>
                    <a:cubicBezTo>
                      <a:pt x="2058" y="1137"/>
                      <a:pt x="2058" y="1137"/>
                      <a:pt x="2059" y="1137"/>
                    </a:cubicBezTo>
                    <a:cubicBezTo>
                      <a:pt x="2059" y="1137"/>
                      <a:pt x="2059" y="1137"/>
                      <a:pt x="2061" y="1135"/>
                    </a:cubicBezTo>
                    <a:cubicBezTo>
                      <a:pt x="2061" y="1135"/>
                      <a:pt x="2061" y="1135"/>
                      <a:pt x="2061" y="1134"/>
                    </a:cubicBezTo>
                    <a:cubicBezTo>
                      <a:pt x="2061" y="1134"/>
                      <a:pt x="2061" y="1134"/>
                      <a:pt x="2060" y="1133"/>
                    </a:cubicBezTo>
                    <a:cubicBezTo>
                      <a:pt x="2060" y="1133"/>
                      <a:pt x="2060" y="1133"/>
                      <a:pt x="2061" y="1132"/>
                    </a:cubicBezTo>
                    <a:cubicBezTo>
                      <a:pt x="2061" y="1132"/>
                      <a:pt x="2061" y="1132"/>
                      <a:pt x="2061" y="1131"/>
                    </a:cubicBezTo>
                    <a:cubicBezTo>
                      <a:pt x="2061" y="1131"/>
                      <a:pt x="2061" y="1131"/>
                      <a:pt x="2062" y="1131"/>
                    </a:cubicBezTo>
                    <a:cubicBezTo>
                      <a:pt x="2062" y="1131"/>
                      <a:pt x="2062" y="1131"/>
                      <a:pt x="2062" y="1130"/>
                    </a:cubicBezTo>
                    <a:cubicBezTo>
                      <a:pt x="2062" y="1130"/>
                      <a:pt x="2062" y="1130"/>
                      <a:pt x="2062" y="1128"/>
                    </a:cubicBezTo>
                    <a:cubicBezTo>
                      <a:pt x="2062" y="1128"/>
                      <a:pt x="2062" y="1128"/>
                      <a:pt x="2063" y="1127"/>
                    </a:cubicBezTo>
                    <a:cubicBezTo>
                      <a:pt x="2063" y="1127"/>
                      <a:pt x="2063" y="1127"/>
                      <a:pt x="2064" y="1126"/>
                    </a:cubicBezTo>
                    <a:cubicBezTo>
                      <a:pt x="2064" y="1126"/>
                      <a:pt x="2064" y="1126"/>
                      <a:pt x="2064" y="1128"/>
                    </a:cubicBezTo>
                    <a:cubicBezTo>
                      <a:pt x="2064" y="1128"/>
                      <a:pt x="2064" y="1128"/>
                      <a:pt x="2064" y="1129"/>
                    </a:cubicBezTo>
                    <a:cubicBezTo>
                      <a:pt x="2064" y="1129"/>
                      <a:pt x="2064" y="1129"/>
                      <a:pt x="2065" y="1127"/>
                    </a:cubicBezTo>
                    <a:cubicBezTo>
                      <a:pt x="2065" y="1127"/>
                      <a:pt x="2065" y="1127"/>
                      <a:pt x="2065" y="1126"/>
                    </a:cubicBezTo>
                    <a:cubicBezTo>
                      <a:pt x="2065" y="1126"/>
                      <a:pt x="2065" y="1126"/>
                      <a:pt x="2065" y="1125"/>
                    </a:cubicBezTo>
                    <a:cubicBezTo>
                      <a:pt x="2065" y="1125"/>
                      <a:pt x="2065" y="1125"/>
                      <a:pt x="2065" y="1124"/>
                    </a:cubicBezTo>
                    <a:cubicBezTo>
                      <a:pt x="2065" y="1124"/>
                      <a:pt x="2065" y="1124"/>
                      <a:pt x="2066" y="1123"/>
                    </a:cubicBezTo>
                    <a:cubicBezTo>
                      <a:pt x="2066" y="1123"/>
                      <a:pt x="2066" y="1123"/>
                      <a:pt x="2066" y="1120"/>
                    </a:cubicBezTo>
                    <a:cubicBezTo>
                      <a:pt x="2066" y="1120"/>
                      <a:pt x="2066" y="1120"/>
                      <a:pt x="2067" y="1119"/>
                    </a:cubicBezTo>
                    <a:cubicBezTo>
                      <a:pt x="2067" y="1119"/>
                      <a:pt x="2067" y="1119"/>
                      <a:pt x="2068" y="1116"/>
                    </a:cubicBezTo>
                    <a:cubicBezTo>
                      <a:pt x="2068" y="1116"/>
                      <a:pt x="2068" y="1116"/>
                      <a:pt x="2068" y="1115"/>
                    </a:cubicBezTo>
                    <a:cubicBezTo>
                      <a:pt x="2068" y="1115"/>
                      <a:pt x="2068" y="1115"/>
                      <a:pt x="2067" y="1114"/>
                    </a:cubicBezTo>
                    <a:cubicBezTo>
                      <a:pt x="2067" y="1114"/>
                      <a:pt x="2067" y="1114"/>
                      <a:pt x="2066" y="1114"/>
                    </a:cubicBezTo>
                    <a:close/>
                    <a:moveTo>
                      <a:pt x="2011" y="876"/>
                    </a:moveTo>
                    <a:cubicBezTo>
                      <a:pt x="2011" y="876"/>
                      <a:pt x="2011" y="876"/>
                      <a:pt x="2011" y="874"/>
                    </a:cubicBezTo>
                    <a:cubicBezTo>
                      <a:pt x="2011" y="874"/>
                      <a:pt x="2011" y="874"/>
                      <a:pt x="2011" y="873"/>
                    </a:cubicBezTo>
                    <a:cubicBezTo>
                      <a:pt x="2011" y="873"/>
                      <a:pt x="2011" y="873"/>
                      <a:pt x="2010" y="873"/>
                    </a:cubicBezTo>
                    <a:cubicBezTo>
                      <a:pt x="2010" y="873"/>
                      <a:pt x="2010" y="873"/>
                      <a:pt x="2010" y="874"/>
                    </a:cubicBezTo>
                    <a:cubicBezTo>
                      <a:pt x="2010" y="874"/>
                      <a:pt x="2010" y="874"/>
                      <a:pt x="2011" y="876"/>
                    </a:cubicBezTo>
                    <a:close/>
                    <a:moveTo>
                      <a:pt x="2013" y="1060"/>
                    </a:moveTo>
                    <a:cubicBezTo>
                      <a:pt x="2013" y="1060"/>
                      <a:pt x="2013" y="1060"/>
                      <a:pt x="2010" y="1061"/>
                    </a:cubicBezTo>
                    <a:cubicBezTo>
                      <a:pt x="2010" y="1061"/>
                      <a:pt x="2010" y="1061"/>
                      <a:pt x="2009" y="1061"/>
                    </a:cubicBezTo>
                    <a:cubicBezTo>
                      <a:pt x="2009" y="1061"/>
                      <a:pt x="2009" y="1061"/>
                      <a:pt x="2008" y="1062"/>
                    </a:cubicBezTo>
                    <a:cubicBezTo>
                      <a:pt x="2008" y="1062"/>
                      <a:pt x="2008" y="1062"/>
                      <a:pt x="2009" y="1063"/>
                    </a:cubicBezTo>
                    <a:cubicBezTo>
                      <a:pt x="2009" y="1063"/>
                      <a:pt x="2009" y="1063"/>
                      <a:pt x="2011" y="1063"/>
                    </a:cubicBezTo>
                    <a:cubicBezTo>
                      <a:pt x="2011" y="1063"/>
                      <a:pt x="2011" y="1063"/>
                      <a:pt x="2012" y="1063"/>
                    </a:cubicBezTo>
                    <a:cubicBezTo>
                      <a:pt x="2012" y="1063"/>
                      <a:pt x="2012" y="1063"/>
                      <a:pt x="2013" y="1063"/>
                    </a:cubicBezTo>
                    <a:cubicBezTo>
                      <a:pt x="2013" y="1063"/>
                      <a:pt x="2013" y="1063"/>
                      <a:pt x="2014" y="1063"/>
                    </a:cubicBezTo>
                    <a:cubicBezTo>
                      <a:pt x="2014" y="1063"/>
                      <a:pt x="2014" y="1063"/>
                      <a:pt x="2015" y="1063"/>
                    </a:cubicBezTo>
                    <a:cubicBezTo>
                      <a:pt x="2015" y="1063"/>
                      <a:pt x="2015" y="1063"/>
                      <a:pt x="2015" y="1062"/>
                    </a:cubicBezTo>
                    <a:cubicBezTo>
                      <a:pt x="2015" y="1062"/>
                      <a:pt x="2015" y="1062"/>
                      <a:pt x="2016" y="1062"/>
                    </a:cubicBezTo>
                    <a:cubicBezTo>
                      <a:pt x="2016" y="1062"/>
                      <a:pt x="2016" y="1062"/>
                      <a:pt x="2016" y="1061"/>
                    </a:cubicBezTo>
                    <a:cubicBezTo>
                      <a:pt x="2016" y="1061"/>
                      <a:pt x="2016" y="1061"/>
                      <a:pt x="2015" y="1060"/>
                    </a:cubicBezTo>
                    <a:cubicBezTo>
                      <a:pt x="2015" y="1060"/>
                      <a:pt x="2015" y="1060"/>
                      <a:pt x="2013" y="1060"/>
                    </a:cubicBezTo>
                    <a:close/>
                    <a:moveTo>
                      <a:pt x="2053" y="1139"/>
                    </a:moveTo>
                    <a:cubicBezTo>
                      <a:pt x="2053" y="1139"/>
                      <a:pt x="2053" y="1139"/>
                      <a:pt x="2054" y="1140"/>
                    </a:cubicBezTo>
                    <a:cubicBezTo>
                      <a:pt x="2054" y="1140"/>
                      <a:pt x="2054" y="1140"/>
                      <a:pt x="2055" y="1138"/>
                    </a:cubicBezTo>
                    <a:cubicBezTo>
                      <a:pt x="2055" y="1138"/>
                      <a:pt x="2055" y="1138"/>
                      <a:pt x="2055" y="1137"/>
                    </a:cubicBezTo>
                    <a:cubicBezTo>
                      <a:pt x="2055" y="1137"/>
                      <a:pt x="2055" y="1137"/>
                      <a:pt x="2054" y="1137"/>
                    </a:cubicBezTo>
                    <a:cubicBezTo>
                      <a:pt x="2054" y="1137"/>
                      <a:pt x="2054" y="1137"/>
                      <a:pt x="2054" y="1138"/>
                    </a:cubicBezTo>
                    <a:cubicBezTo>
                      <a:pt x="2054" y="1138"/>
                      <a:pt x="2054" y="1138"/>
                      <a:pt x="2053" y="1139"/>
                    </a:cubicBezTo>
                    <a:close/>
                    <a:moveTo>
                      <a:pt x="2118" y="963"/>
                    </a:moveTo>
                    <a:cubicBezTo>
                      <a:pt x="2118" y="964"/>
                      <a:pt x="2118" y="964"/>
                      <a:pt x="2118" y="964"/>
                    </a:cubicBezTo>
                    <a:cubicBezTo>
                      <a:pt x="2119" y="965"/>
                      <a:pt x="2119" y="965"/>
                      <a:pt x="2119" y="965"/>
                    </a:cubicBezTo>
                    <a:cubicBezTo>
                      <a:pt x="2120" y="966"/>
                      <a:pt x="2120" y="966"/>
                      <a:pt x="2120" y="966"/>
                    </a:cubicBezTo>
                    <a:cubicBezTo>
                      <a:pt x="2120" y="965"/>
                      <a:pt x="2120" y="965"/>
                      <a:pt x="2120" y="965"/>
                    </a:cubicBezTo>
                    <a:cubicBezTo>
                      <a:pt x="2119" y="964"/>
                      <a:pt x="2119" y="964"/>
                      <a:pt x="2119" y="964"/>
                    </a:cubicBezTo>
                    <a:cubicBezTo>
                      <a:pt x="2118" y="963"/>
                      <a:pt x="2118" y="963"/>
                      <a:pt x="2118" y="963"/>
                    </a:cubicBezTo>
                    <a:close/>
                    <a:moveTo>
                      <a:pt x="1999" y="879"/>
                    </a:moveTo>
                    <a:cubicBezTo>
                      <a:pt x="2000" y="880"/>
                      <a:pt x="2000" y="880"/>
                      <a:pt x="2000" y="880"/>
                    </a:cubicBezTo>
                    <a:cubicBezTo>
                      <a:pt x="2003" y="877"/>
                      <a:pt x="2003" y="877"/>
                      <a:pt x="2003" y="877"/>
                    </a:cubicBezTo>
                    <a:cubicBezTo>
                      <a:pt x="2004" y="876"/>
                      <a:pt x="2004" y="876"/>
                      <a:pt x="2004" y="876"/>
                    </a:cubicBezTo>
                    <a:cubicBezTo>
                      <a:pt x="2003" y="876"/>
                      <a:pt x="2003" y="876"/>
                      <a:pt x="2003" y="876"/>
                    </a:cubicBezTo>
                    <a:cubicBezTo>
                      <a:pt x="2003" y="875"/>
                      <a:pt x="2003" y="875"/>
                      <a:pt x="2003" y="875"/>
                    </a:cubicBezTo>
                    <a:cubicBezTo>
                      <a:pt x="2002" y="875"/>
                      <a:pt x="2002" y="875"/>
                      <a:pt x="2002" y="875"/>
                    </a:cubicBezTo>
                    <a:cubicBezTo>
                      <a:pt x="2000" y="875"/>
                      <a:pt x="2000" y="875"/>
                      <a:pt x="2000" y="875"/>
                    </a:cubicBezTo>
                    <a:cubicBezTo>
                      <a:pt x="1999" y="876"/>
                      <a:pt x="1999" y="876"/>
                      <a:pt x="1999" y="876"/>
                    </a:cubicBezTo>
                    <a:cubicBezTo>
                      <a:pt x="1998" y="875"/>
                      <a:pt x="1998" y="875"/>
                      <a:pt x="1998" y="875"/>
                    </a:cubicBezTo>
                    <a:cubicBezTo>
                      <a:pt x="1997" y="875"/>
                      <a:pt x="1997" y="875"/>
                      <a:pt x="1997" y="875"/>
                    </a:cubicBezTo>
                    <a:cubicBezTo>
                      <a:pt x="1997" y="876"/>
                      <a:pt x="1997" y="876"/>
                      <a:pt x="1997" y="876"/>
                    </a:cubicBezTo>
                    <a:cubicBezTo>
                      <a:pt x="1998" y="878"/>
                      <a:pt x="1998" y="878"/>
                      <a:pt x="1998" y="878"/>
                    </a:cubicBezTo>
                    <a:cubicBezTo>
                      <a:pt x="1999" y="879"/>
                      <a:pt x="1999" y="879"/>
                      <a:pt x="1999" y="879"/>
                    </a:cubicBezTo>
                    <a:close/>
                    <a:moveTo>
                      <a:pt x="1895" y="941"/>
                    </a:moveTo>
                    <a:cubicBezTo>
                      <a:pt x="1895" y="941"/>
                      <a:pt x="1895" y="941"/>
                      <a:pt x="1896" y="940"/>
                    </a:cubicBezTo>
                    <a:cubicBezTo>
                      <a:pt x="1896" y="940"/>
                      <a:pt x="1896" y="940"/>
                      <a:pt x="1896" y="938"/>
                    </a:cubicBezTo>
                    <a:cubicBezTo>
                      <a:pt x="1896" y="938"/>
                      <a:pt x="1896" y="938"/>
                      <a:pt x="1895" y="940"/>
                    </a:cubicBezTo>
                    <a:cubicBezTo>
                      <a:pt x="1895" y="940"/>
                      <a:pt x="1895" y="940"/>
                      <a:pt x="1895" y="941"/>
                    </a:cubicBezTo>
                    <a:close/>
                    <a:moveTo>
                      <a:pt x="2072" y="872"/>
                    </a:moveTo>
                    <a:cubicBezTo>
                      <a:pt x="2072" y="871"/>
                      <a:pt x="2072" y="871"/>
                      <a:pt x="2072" y="871"/>
                    </a:cubicBezTo>
                    <a:cubicBezTo>
                      <a:pt x="2071" y="870"/>
                      <a:pt x="2071" y="870"/>
                      <a:pt x="2071" y="870"/>
                    </a:cubicBezTo>
                    <a:cubicBezTo>
                      <a:pt x="2071" y="872"/>
                      <a:pt x="2071" y="872"/>
                      <a:pt x="2071" y="872"/>
                    </a:cubicBezTo>
                    <a:cubicBezTo>
                      <a:pt x="2072" y="872"/>
                      <a:pt x="2072" y="872"/>
                      <a:pt x="2072" y="872"/>
                    </a:cubicBezTo>
                    <a:close/>
                    <a:moveTo>
                      <a:pt x="2051" y="911"/>
                    </a:moveTo>
                    <a:cubicBezTo>
                      <a:pt x="2049" y="912"/>
                      <a:pt x="2049" y="912"/>
                      <a:pt x="2049" y="912"/>
                    </a:cubicBezTo>
                    <a:cubicBezTo>
                      <a:pt x="2049" y="913"/>
                      <a:pt x="2049" y="913"/>
                      <a:pt x="2049" y="913"/>
                    </a:cubicBezTo>
                    <a:cubicBezTo>
                      <a:pt x="2050" y="914"/>
                      <a:pt x="2050" y="914"/>
                      <a:pt x="2050" y="914"/>
                    </a:cubicBezTo>
                    <a:cubicBezTo>
                      <a:pt x="2050" y="913"/>
                      <a:pt x="2050" y="913"/>
                      <a:pt x="2050" y="913"/>
                    </a:cubicBezTo>
                    <a:cubicBezTo>
                      <a:pt x="2051" y="912"/>
                      <a:pt x="2051" y="912"/>
                      <a:pt x="2051" y="912"/>
                    </a:cubicBezTo>
                    <a:cubicBezTo>
                      <a:pt x="2053" y="912"/>
                      <a:pt x="2053" y="912"/>
                      <a:pt x="2053" y="912"/>
                    </a:cubicBezTo>
                    <a:cubicBezTo>
                      <a:pt x="2051" y="911"/>
                      <a:pt x="2051" y="911"/>
                      <a:pt x="2051" y="911"/>
                    </a:cubicBezTo>
                    <a:close/>
                    <a:moveTo>
                      <a:pt x="2052" y="916"/>
                    </a:moveTo>
                    <a:cubicBezTo>
                      <a:pt x="2052" y="915"/>
                      <a:pt x="2052" y="915"/>
                      <a:pt x="2052" y="915"/>
                    </a:cubicBezTo>
                    <a:cubicBezTo>
                      <a:pt x="2051" y="916"/>
                      <a:pt x="2051" y="916"/>
                      <a:pt x="2051" y="916"/>
                    </a:cubicBezTo>
                    <a:cubicBezTo>
                      <a:pt x="2052" y="916"/>
                      <a:pt x="2052" y="916"/>
                      <a:pt x="2052" y="916"/>
                    </a:cubicBezTo>
                    <a:close/>
                    <a:moveTo>
                      <a:pt x="2035" y="876"/>
                    </a:moveTo>
                    <a:cubicBezTo>
                      <a:pt x="2036" y="876"/>
                      <a:pt x="2036" y="876"/>
                      <a:pt x="2036" y="876"/>
                    </a:cubicBezTo>
                    <a:cubicBezTo>
                      <a:pt x="2036" y="875"/>
                      <a:pt x="2036" y="875"/>
                      <a:pt x="2036" y="875"/>
                    </a:cubicBezTo>
                    <a:cubicBezTo>
                      <a:pt x="2037" y="874"/>
                      <a:pt x="2037" y="874"/>
                      <a:pt x="2037" y="874"/>
                    </a:cubicBezTo>
                    <a:cubicBezTo>
                      <a:pt x="2036" y="874"/>
                      <a:pt x="2036" y="874"/>
                      <a:pt x="2036" y="874"/>
                    </a:cubicBezTo>
                    <a:cubicBezTo>
                      <a:pt x="2035" y="875"/>
                      <a:pt x="2035" y="875"/>
                      <a:pt x="2035" y="875"/>
                    </a:cubicBezTo>
                    <a:cubicBezTo>
                      <a:pt x="2035" y="876"/>
                      <a:pt x="2035" y="876"/>
                      <a:pt x="2035" y="876"/>
                    </a:cubicBezTo>
                    <a:close/>
                    <a:moveTo>
                      <a:pt x="2036" y="905"/>
                    </a:moveTo>
                    <a:cubicBezTo>
                      <a:pt x="2036" y="905"/>
                      <a:pt x="2036" y="905"/>
                      <a:pt x="2036" y="906"/>
                    </a:cubicBezTo>
                    <a:cubicBezTo>
                      <a:pt x="2036" y="906"/>
                      <a:pt x="2036" y="906"/>
                      <a:pt x="2036" y="907"/>
                    </a:cubicBezTo>
                    <a:cubicBezTo>
                      <a:pt x="2036" y="907"/>
                      <a:pt x="2036" y="907"/>
                      <a:pt x="2037" y="906"/>
                    </a:cubicBezTo>
                    <a:cubicBezTo>
                      <a:pt x="2037" y="906"/>
                      <a:pt x="2037" y="906"/>
                      <a:pt x="2036" y="905"/>
                    </a:cubicBezTo>
                    <a:close/>
                    <a:moveTo>
                      <a:pt x="2034" y="876"/>
                    </a:moveTo>
                    <a:cubicBezTo>
                      <a:pt x="2033" y="877"/>
                      <a:pt x="2033" y="877"/>
                      <a:pt x="2033" y="877"/>
                    </a:cubicBezTo>
                    <a:cubicBezTo>
                      <a:pt x="2034" y="877"/>
                      <a:pt x="2034" y="877"/>
                      <a:pt x="2034" y="877"/>
                    </a:cubicBezTo>
                    <a:cubicBezTo>
                      <a:pt x="2034" y="876"/>
                      <a:pt x="2034" y="876"/>
                      <a:pt x="2034" y="876"/>
                    </a:cubicBezTo>
                    <a:close/>
                    <a:moveTo>
                      <a:pt x="2033" y="878"/>
                    </a:moveTo>
                    <a:cubicBezTo>
                      <a:pt x="2033" y="877"/>
                      <a:pt x="2033" y="877"/>
                      <a:pt x="2033" y="877"/>
                    </a:cubicBezTo>
                    <a:cubicBezTo>
                      <a:pt x="2032" y="877"/>
                      <a:pt x="2032" y="877"/>
                      <a:pt x="2032" y="877"/>
                    </a:cubicBezTo>
                    <a:cubicBezTo>
                      <a:pt x="2033" y="878"/>
                      <a:pt x="2033" y="878"/>
                      <a:pt x="2033" y="878"/>
                    </a:cubicBezTo>
                    <a:close/>
                    <a:moveTo>
                      <a:pt x="2093" y="926"/>
                    </a:moveTo>
                    <a:cubicBezTo>
                      <a:pt x="2093" y="926"/>
                      <a:pt x="2093" y="926"/>
                      <a:pt x="2092" y="927"/>
                    </a:cubicBezTo>
                    <a:cubicBezTo>
                      <a:pt x="2092" y="927"/>
                      <a:pt x="2092" y="927"/>
                      <a:pt x="2093" y="928"/>
                    </a:cubicBezTo>
                    <a:cubicBezTo>
                      <a:pt x="2093" y="928"/>
                      <a:pt x="2093" y="928"/>
                      <a:pt x="2093" y="926"/>
                    </a:cubicBezTo>
                    <a:close/>
                    <a:moveTo>
                      <a:pt x="2092" y="925"/>
                    </a:moveTo>
                    <a:cubicBezTo>
                      <a:pt x="2092" y="925"/>
                      <a:pt x="2092" y="925"/>
                      <a:pt x="2093" y="926"/>
                    </a:cubicBezTo>
                    <a:cubicBezTo>
                      <a:pt x="2093" y="926"/>
                      <a:pt x="2093" y="926"/>
                      <a:pt x="2093" y="925"/>
                    </a:cubicBezTo>
                    <a:cubicBezTo>
                      <a:pt x="2093" y="925"/>
                      <a:pt x="2093" y="925"/>
                      <a:pt x="2092" y="925"/>
                    </a:cubicBezTo>
                    <a:close/>
                    <a:moveTo>
                      <a:pt x="1956" y="902"/>
                    </a:moveTo>
                    <a:cubicBezTo>
                      <a:pt x="1957" y="903"/>
                      <a:pt x="1957" y="903"/>
                      <a:pt x="1957" y="903"/>
                    </a:cubicBezTo>
                    <a:cubicBezTo>
                      <a:pt x="1958" y="903"/>
                      <a:pt x="1958" y="903"/>
                      <a:pt x="1958" y="903"/>
                    </a:cubicBezTo>
                    <a:cubicBezTo>
                      <a:pt x="1957" y="902"/>
                      <a:pt x="1957" y="902"/>
                      <a:pt x="1957" y="902"/>
                    </a:cubicBezTo>
                    <a:lnTo>
                      <a:pt x="1956" y="902"/>
                    </a:lnTo>
                    <a:close/>
                    <a:moveTo>
                      <a:pt x="2126" y="977"/>
                    </a:moveTo>
                    <a:cubicBezTo>
                      <a:pt x="2126" y="975"/>
                      <a:pt x="2126" y="975"/>
                      <a:pt x="2126" y="975"/>
                    </a:cubicBezTo>
                    <a:cubicBezTo>
                      <a:pt x="2124" y="974"/>
                      <a:pt x="2124" y="974"/>
                      <a:pt x="2124" y="974"/>
                    </a:cubicBezTo>
                    <a:cubicBezTo>
                      <a:pt x="2123" y="972"/>
                      <a:pt x="2123" y="972"/>
                      <a:pt x="2123" y="972"/>
                    </a:cubicBezTo>
                    <a:cubicBezTo>
                      <a:pt x="2123" y="970"/>
                      <a:pt x="2123" y="970"/>
                      <a:pt x="2123" y="970"/>
                    </a:cubicBezTo>
                    <a:cubicBezTo>
                      <a:pt x="2122" y="969"/>
                      <a:pt x="2122" y="969"/>
                      <a:pt x="2122" y="969"/>
                    </a:cubicBezTo>
                    <a:cubicBezTo>
                      <a:pt x="2121" y="969"/>
                      <a:pt x="2121" y="969"/>
                      <a:pt x="2121" y="969"/>
                    </a:cubicBezTo>
                    <a:cubicBezTo>
                      <a:pt x="2120" y="969"/>
                      <a:pt x="2120" y="969"/>
                      <a:pt x="2120" y="969"/>
                    </a:cubicBezTo>
                    <a:cubicBezTo>
                      <a:pt x="2120" y="968"/>
                      <a:pt x="2120" y="968"/>
                      <a:pt x="2120" y="968"/>
                    </a:cubicBezTo>
                    <a:cubicBezTo>
                      <a:pt x="2119" y="967"/>
                      <a:pt x="2119" y="967"/>
                      <a:pt x="2119" y="967"/>
                    </a:cubicBezTo>
                    <a:cubicBezTo>
                      <a:pt x="2119" y="966"/>
                      <a:pt x="2119" y="966"/>
                      <a:pt x="2119" y="966"/>
                    </a:cubicBezTo>
                    <a:cubicBezTo>
                      <a:pt x="2117" y="964"/>
                      <a:pt x="2117" y="964"/>
                      <a:pt x="2117" y="964"/>
                    </a:cubicBezTo>
                    <a:cubicBezTo>
                      <a:pt x="2116" y="964"/>
                      <a:pt x="2116" y="964"/>
                      <a:pt x="2116" y="964"/>
                    </a:cubicBezTo>
                    <a:cubicBezTo>
                      <a:pt x="2117" y="963"/>
                      <a:pt x="2117" y="963"/>
                      <a:pt x="2117" y="963"/>
                    </a:cubicBezTo>
                    <a:cubicBezTo>
                      <a:pt x="2116" y="961"/>
                      <a:pt x="2116" y="961"/>
                      <a:pt x="2116" y="961"/>
                    </a:cubicBezTo>
                    <a:cubicBezTo>
                      <a:pt x="2117" y="960"/>
                      <a:pt x="2117" y="960"/>
                      <a:pt x="2117" y="960"/>
                    </a:cubicBezTo>
                    <a:cubicBezTo>
                      <a:pt x="2117" y="958"/>
                      <a:pt x="2117" y="958"/>
                      <a:pt x="2117" y="958"/>
                    </a:cubicBezTo>
                    <a:cubicBezTo>
                      <a:pt x="2117" y="957"/>
                      <a:pt x="2117" y="957"/>
                      <a:pt x="2117" y="957"/>
                    </a:cubicBezTo>
                    <a:cubicBezTo>
                      <a:pt x="2117" y="956"/>
                      <a:pt x="2117" y="956"/>
                      <a:pt x="2117" y="956"/>
                    </a:cubicBezTo>
                    <a:cubicBezTo>
                      <a:pt x="2116" y="955"/>
                      <a:pt x="2116" y="955"/>
                      <a:pt x="2116" y="955"/>
                    </a:cubicBezTo>
                    <a:cubicBezTo>
                      <a:pt x="2116" y="956"/>
                      <a:pt x="2116" y="956"/>
                      <a:pt x="2116" y="956"/>
                    </a:cubicBezTo>
                    <a:cubicBezTo>
                      <a:pt x="2116" y="957"/>
                      <a:pt x="2116" y="957"/>
                      <a:pt x="2116" y="957"/>
                    </a:cubicBezTo>
                    <a:cubicBezTo>
                      <a:pt x="2113" y="954"/>
                      <a:pt x="2113" y="954"/>
                      <a:pt x="2113" y="954"/>
                    </a:cubicBezTo>
                    <a:cubicBezTo>
                      <a:pt x="2113" y="953"/>
                      <a:pt x="2113" y="953"/>
                      <a:pt x="2113" y="953"/>
                    </a:cubicBezTo>
                    <a:cubicBezTo>
                      <a:pt x="2112" y="953"/>
                      <a:pt x="2112" y="953"/>
                      <a:pt x="2112" y="953"/>
                    </a:cubicBezTo>
                    <a:cubicBezTo>
                      <a:pt x="2112" y="954"/>
                      <a:pt x="2112" y="954"/>
                      <a:pt x="2112" y="954"/>
                    </a:cubicBezTo>
                    <a:cubicBezTo>
                      <a:pt x="2112" y="955"/>
                      <a:pt x="2112" y="955"/>
                      <a:pt x="2112" y="955"/>
                    </a:cubicBezTo>
                    <a:cubicBezTo>
                      <a:pt x="2112" y="957"/>
                      <a:pt x="2112" y="957"/>
                      <a:pt x="2112" y="957"/>
                    </a:cubicBezTo>
                    <a:cubicBezTo>
                      <a:pt x="2111" y="955"/>
                      <a:pt x="2111" y="955"/>
                      <a:pt x="2111" y="955"/>
                    </a:cubicBezTo>
                    <a:cubicBezTo>
                      <a:pt x="2110" y="956"/>
                      <a:pt x="2110" y="956"/>
                      <a:pt x="2110" y="956"/>
                    </a:cubicBezTo>
                    <a:cubicBezTo>
                      <a:pt x="2110" y="955"/>
                      <a:pt x="2110" y="955"/>
                      <a:pt x="2110" y="955"/>
                    </a:cubicBezTo>
                    <a:cubicBezTo>
                      <a:pt x="2110" y="954"/>
                      <a:pt x="2110" y="954"/>
                      <a:pt x="2110" y="954"/>
                    </a:cubicBezTo>
                    <a:cubicBezTo>
                      <a:pt x="2110" y="950"/>
                      <a:pt x="2110" y="950"/>
                      <a:pt x="2110" y="950"/>
                    </a:cubicBezTo>
                    <a:cubicBezTo>
                      <a:pt x="2110" y="949"/>
                      <a:pt x="2110" y="949"/>
                      <a:pt x="2110" y="949"/>
                    </a:cubicBezTo>
                    <a:cubicBezTo>
                      <a:pt x="2109" y="948"/>
                      <a:pt x="2109" y="948"/>
                      <a:pt x="2109" y="948"/>
                    </a:cubicBezTo>
                    <a:cubicBezTo>
                      <a:pt x="2109" y="947"/>
                      <a:pt x="2109" y="947"/>
                      <a:pt x="2109" y="947"/>
                    </a:cubicBezTo>
                    <a:cubicBezTo>
                      <a:pt x="2108" y="947"/>
                      <a:pt x="2108" y="947"/>
                      <a:pt x="2108" y="947"/>
                    </a:cubicBezTo>
                    <a:cubicBezTo>
                      <a:pt x="2109" y="946"/>
                      <a:pt x="2109" y="946"/>
                      <a:pt x="2109" y="946"/>
                    </a:cubicBezTo>
                    <a:cubicBezTo>
                      <a:pt x="2107" y="944"/>
                      <a:pt x="2107" y="944"/>
                      <a:pt x="2107" y="944"/>
                    </a:cubicBezTo>
                    <a:cubicBezTo>
                      <a:pt x="2106" y="943"/>
                      <a:pt x="2106" y="943"/>
                      <a:pt x="2106" y="943"/>
                    </a:cubicBezTo>
                    <a:cubicBezTo>
                      <a:pt x="2106" y="941"/>
                      <a:pt x="2106" y="941"/>
                      <a:pt x="2106" y="941"/>
                    </a:cubicBezTo>
                    <a:cubicBezTo>
                      <a:pt x="2107" y="941"/>
                      <a:pt x="2107" y="941"/>
                      <a:pt x="2107" y="941"/>
                    </a:cubicBezTo>
                    <a:cubicBezTo>
                      <a:pt x="2107" y="940"/>
                      <a:pt x="2107" y="940"/>
                      <a:pt x="2107" y="940"/>
                    </a:cubicBezTo>
                    <a:cubicBezTo>
                      <a:pt x="2106" y="938"/>
                      <a:pt x="2106" y="938"/>
                      <a:pt x="2106" y="938"/>
                    </a:cubicBezTo>
                    <a:cubicBezTo>
                      <a:pt x="2106" y="939"/>
                      <a:pt x="2106" y="939"/>
                      <a:pt x="2106" y="939"/>
                    </a:cubicBezTo>
                    <a:cubicBezTo>
                      <a:pt x="2104" y="938"/>
                      <a:pt x="2104" y="938"/>
                      <a:pt x="2104" y="938"/>
                    </a:cubicBezTo>
                    <a:cubicBezTo>
                      <a:pt x="2103" y="937"/>
                      <a:pt x="2103" y="937"/>
                      <a:pt x="2103" y="937"/>
                    </a:cubicBezTo>
                    <a:cubicBezTo>
                      <a:pt x="2102" y="937"/>
                      <a:pt x="2102" y="937"/>
                      <a:pt x="2102" y="937"/>
                    </a:cubicBezTo>
                    <a:cubicBezTo>
                      <a:pt x="2101" y="936"/>
                      <a:pt x="2101" y="936"/>
                      <a:pt x="2101" y="936"/>
                    </a:cubicBezTo>
                    <a:cubicBezTo>
                      <a:pt x="2100" y="936"/>
                      <a:pt x="2100" y="936"/>
                      <a:pt x="2100" y="936"/>
                    </a:cubicBezTo>
                    <a:cubicBezTo>
                      <a:pt x="2099" y="935"/>
                      <a:pt x="2099" y="935"/>
                      <a:pt x="2099" y="935"/>
                    </a:cubicBezTo>
                    <a:cubicBezTo>
                      <a:pt x="2098" y="936"/>
                      <a:pt x="2098" y="936"/>
                      <a:pt x="2098" y="936"/>
                    </a:cubicBezTo>
                    <a:cubicBezTo>
                      <a:pt x="2098" y="935"/>
                      <a:pt x="2098" y="935"/>
                      <a:pt x="2098" y="935"/>
                    </a:cubicBezTo>
                    <a:cubicBezTo>
                      <a:pt x="2100" y="934"/>
                      <a:pt x="2100" y="934"/>
                      <a:pt x="2100" y="934"/>
                    </a:cubicBezTo>
                    <a:cubicBezTo>
                      <a:pt x="2099" y="933"/>
                      <a:pt x="2099" y="933"/>
                      <a:pt x="2099" y="933"/>
                    </a:cubicBezTo>
                    <a:cubicBezTo>
                      <a:pt x="2098" y="933"/>
                      <a:pt x="2098" y="933"/>
                      <a:pt x="2098" y="933"/>
                    </a:cubicBezTo>
                    <a:cubicBezTo>
                      <a:pt x="2097" y="933"/>
                      <a:pt x="2097" y="933"/>
                      <a:pt x="2097" y="933"/>
                    </a:cubicBezTo>
                    <a:cubicBezTo>
                      <a:pt x="2097" y="932"/>
                      <a:pt x="2097" y="932"/>
                      <a:pt x="2097" y="932"/>
                    </a:cubicBezTo>
                    <a:cubicBezTo>
                      <a:pt x="2096" y="932"/>
                      <a:pt x="2096" y="932"/>
                      <a:pt x="2096" y="932"/>
                    </a:cubicBezTo>
                    <a:cubicBezTo>
                      <a:pt x="2093" y="931"/>
                      <a:pt x="2093" y="931"/>
                      <a:pt x="2093" y="931"/>
                    </a:cubicBezTo>
                    <a:cubicBezTo>
                      <a:pt x="2092" y="928"/>
                      <a:pt x="2092" y="928"/>
                      <a:pt x="2092" y="928"/>
                    </a:cubicBezTo>
                    <a:cubicBezTo>
                      <a:pt x="2092" y="927"/>
                      <a:pt x="2092" y="927"/>
                      <a:pt x="2092" y="927"/>
                    </a:cubicBezTo>
                    <a:cubicBezTo>
                      <a:pt x="2092" y="926"/>
                      <a:pt x="2092" y="926"/>
                      <a:pt x="2092" y="926"/>
                    </a:cubicBezTo>
                    <a:cubicBezTo>
                      <a:pt x="2091" y="925"/>
                      <a:pt x="2091" y="925"/>
                      <a:pt x="2091" y="925"/>
                    </a:cubicBezTo>
                    <a:cubicBezTo>
                      <a:pt x="2091" y="923"/>
                      <a:pt x="2091" y="923"/>
                      <a:pt x="2091" y="923"/>
                    </a:cubicBezTo>
                    <a:cubicBezTo>
                      <a:pt x="2092" y="923"/>
                      <a:pt x="2092" y="923"/>
                      <a:pt x="2092" y="923"/>
                    </a:cubicBezTo>
                    <a:cubicBezTo>
                      <a:pt x="2092" y="921"/>
                      <a:pt x="2092" y="921"/>
                      <a:pt x="2092" y="921"/>
                    </a:cubicBezTo>
                    <a:cubicBezTo>
                      <a:pt x="2092" y="917"/>
                      <a:pt x="2092" y="917"/>
                      <a:pt x="2092" y="917"/>
                    </a:cubicBezTo>
                    <a:cubicBezTo>
                      <a:pt x="2091" y="916"/>
                      <a:pt x="2091" y="916"/>
                      <a:pt x="2091" y="916"/>
                    </a:cubicBezTo>
                    <a:cubicBezTo>
                      <a:pt x="2092" y="916"/>
                      <a:pt x="2092" y="916"/>
                      <a:pt x="2092" y="916"/>
                    </a:cubicBezTo>
                    <a:cubicBezTo>
                      <a:pt x="2091" y="915"/>
                      <a:pt x="2091" y="915"/>
                      <a:pt x="2091" y="915"/>
                    </a:cubicBezTo>
                    <a:cubicBezTo>
                      <a:pt x="2090" y="915"/>
                      <a:pt x="2090" y="915"/>
                      <a:pt x="2090" y="915"/>
                    </a:cubicBezTo>
                    <a:cubicBezTo>
                      <a:pt x="2089" y="912"/>
                      <a:pt x="2089" y="912"/>
                      <a:pt x="2089" y="912"/>
                    </a:cubicBezTo>
                    <a:cubicBezTo>
                      <a:pt x="2089" y="909"/>
                      <a:pt x="2089" y="909"/>
                      <a:pt x="2089" y="909"/>
                    </a:cubicBezTo>
                    <a:cubicBezTo>
                      <a:pt x="2089" y="908"/>
                      <a:pt x="2089" y="908"/>
                      <a:pt x="2089" y="908"/>
                    </a:cubicBezTo>
                    <a:cubicBezTo>
                      <a:pt x="2089" y="907"/>
                      <a:pt x="2089" y="907"/>
                      <a:pt x="2089" y="907"/>
                    </a:cubicBezTo>
                    <a:cubicBezTo>
                      <a:pt x="2088" y="904"/>
                      <a:pt x="2088" y="904"/>
                      <a:pt x="2088" y="904"/>
                    </a:cubicBezTo>
                    <a:cubicBezTo>
                      <a:pt x="2089" y="903"/>
                      <a:pt x="2089" y="903"/>
                      <a:pt x="2089" y="903"/>
                    </a:cubicBezTo>
                    <a:cubicBezTo>
                      <a:pt x="2088" y="901"/>
                      <a:pt x="2088" y="901"/>
                      <a:pt x="2088" y="901"/>
                    </a:cubicBezTo>
                    <a:cubicBezTo>
                      <a:pt x="2089" y="901"/>
                      <a:pt x="2089" y="901"/>
                      <a:pt x="2089" y="901"/>
                    </a:cubicBezTo>
                    <a:cubicBezTo>
                      <a:pt x="2089" y="900"/>
                      <a:pt x="2089" y="900"/>
                      <a:pt x="2089" y="900"/>
                    </a:cubicBezTo>
                    <a:cubicBezTo>
                      <a:pt x="2087" y="898"/>
                      <a:pt x="2087" y="898"/>
                      <a:pt x="2087" y="898"/>
                    </a:cubicBezTo>
                    <a:cubicBezTo>
                      <a:pt x="2085" y="897"/>
                      <a:pt x="2085" y="897"/>
                      <a:pt x="2085" y="897"/>
                    </a:cubicBezTo>
                    <a:cubicBezTo>
                      <a:pt x="2086" y="897"/>
                      <a:pt x="2086" y="897"/>
                      <a:pt x="2086" y="897"/>
                    </a:cubicBezTo>
                    <a:cubicBezTo>
                      <a:pt x="2084" y="895"/>
                      <a:pt x="2084" y="895"/>
                      <a:pt x="2084" y="895"/>
                    </a:cubicBezTo>
                    <a:cubicBezTo>
                      <a:pt x="2083" y="896"/>
                      <a:pt x="2083" y="896"/>
                      <a:pt x="2083" y="896"/>
                    </a:cubicBezTo>
                    <a:cubicBezTo>
                      <a:pt x="2082" y="896"/>
                      <a:pt x="2082" y="896"/>
                      <a:pt x="2082" y="896"/>
                    </a:cubicBezTo>
                    <a:cubicBezTo>
                      <a:pt x="2082" y="897"/>
                      <a:pt x="2082" y="897"/>
                      <a:pt x="2082" y="897"/>
                    </a:cubicBezTo>
                    <a:cubicBezTo>
                      <a:pt x="2081" y="897"/>
                      <a:pt x="2081" y="897"/>
                      <a:pt x="2081" y="897"/>
                    </a:cubicBezTo>
                    <a:cubicBezTo>
                      <a:pt x="2079" y="895"/>
                      <a:pt x="2079" y="895"/>
                      <a:pt x="2079" y="895"/>
                    </a:cubicBezTo>
                    <a:cubicBezTo>
                      <a:pt x="2079" y="894"/>
                      <a:pt x="2079" y="894"/>
                      <a:pt x="2079" y="894"/>
                    </a:cubicBezTo>
                    <a:cubicBezTo>
                      <a:pt x="2079" y="892"/>
                      <a:pt x="2079" y="892"/>
                      <a:pt x="2079" y="892"/>
                    </a:cubicBezTo>
                    <a:cubicBezTo>
                      <a:pt x="2079" y="890"/>
                      <a:pt x="2079" y="890"/>
                      <a:pt x="2079" y="890"/>
                    </a:cubicBezTo>
                    <a:cubicBezTo>
                      <a:pt x="2079" y="887"/>
                      <a:pt x="2079" y="887"/>
                      <a:pt x="2079" y="887"/>
                    </a:cubicBezTo>
                    <a:cubicBezTo>
                      <a:pt x="2078" y="887"/>
                      <a:pt x="2078" y="887"/>
                      <a:pt x="2078" y="887"/>
                    </a:cubicBezTo>
                    <a:cubicBezTo>
                      <a:pt x="2078" y="886"/>
                      <a:pt x="2078" y="886"/>
                      <a:pt x="2078" y="886"/>
                    </a:cubicBezTo>
                    <a:cubicBezTo>
                      <a:pt x="2078" y="885"/>
                      <a:pt x="2078" y="885"/>
                      <a:pt x="2078" y="885"/>
                    </a:cubicBezTo>
                    <a:cubicBezTo>
                      <a:pt x="2077" y="884"/>
                      <a:pt x="2077" y="884"/>
                      <a:pt x="2077" y="884"/>
                    </a:cubicBezTo>
                    <a:cubicBezTo>
                      <a:pt x="2077" y="883"/>
                      <a:pt x="2077" y="883"/>
                      <a:pt x="2077" y="883"/>
                    </a:cubicBezTo>
                    <a:cubicBezTo>
                      <a:pt x="2077" y="882"/>
                      <a:pt x="2077" y="882"/>
                      <a:pt x="2077" y="882"/>
                    </a:cubicBezTo>
                    <a:cubicBezTo>
                      <a:pt x="2077" y="881"/>
                      <a:pt x="2077" y="881"/>
                      <a:pt x="2077" y="881"/>
                    </a:cubicBezTo>
                    <a:cubicBezTo>
                      <a:pt x="2078" y="880"/>
                      <a:pt x="2078" y="880"/>
                      <a:pt x="2078" y="880"/>
                    </a:cubicBezTo>
                    <a:cubicBezTo>
                      <a:pt x="2077" y="879"/>
                      <a:pt x="2077" y="879"/>
                      <a:pt x="2077" y="879"/>
                    </a:cubicBezTo>
                    <a:cubicBezTo>
                      <a:pt x="2076" y="880"/>
                      <a:pt x="2076" y="880"/>
                      <a:pt x="2076" y="880"/>
                    </a:cubicBezTo>
                    <a:cubicBezTo>
                      <a:pt x="2075" y="879"/>
                      <a:pt x="2075" y="879"/>
                      <a:pt x="2075" y="879"/>
                    </a:cubicBezTo>
                    <a:cubicBezTo>
                      <a:pt x="2075" y="876"/>
                      <a:pt x="2075" y="876"/>
                      <a:pt x="2075" y="876"/>
                    </a:cubicBezTo>
                    <a:cubicBezTo>
                      <a:pt x="2075" y="875"/>
                      <a:pt x="2075" y="875"/>
                      <a:pt x="2075" y="875"/>
                    </a:cubicBezTo>
                    <a:cubicBezTo>
                      <a:pt x="2075" y="874"/>
                      <a:pt x="2075" y="874"/>
                      <a:pt x="2075" y="874"/>
                    </a:cubicBezTo>
                    <a:cubicBezTo>
                      <a:pt x="2073" y="873"/>
                      <a:pt x="2073" y="873"/>
                      <a:pt x="2073" y="873"/>
                    </a:cubicBezTo>
                    <a:cubicBezTo>
                      <a:pt x="2073" y="872"/>
                      <a:pt x="2073" y="872"/>
                      <a:pt x="2073" y="872"/>
                    </a:cubicBezTo>
                    <a:cubicBezTo>
                      <a:pt x="2072" y="873"/>
                      <a:pt x="2072" y="873"/>
                      <a:pt x="2072" y="873"/>
                    </a:cubicBezTo>
                    <a:cubicBezTo>
                      <a:pt x="2071" y="874"/>
                      <a:pt x="2071" y="874"/>
                      <a:pt x="2071" y="874"/>
                    </a:cubicBezTo>
                    <a:cubicBezTo>
                      <a:pt x="2071" y="876"/>
                      <a:pt x="2071" y="876"/>
                      <a:pt x="2071" y="876"/>
                    </a:cubicBezTo>
                    <a:cubicBezTo>
                      <a:pt x="2070" y="878"/>
                      <a:pt x="2070" y="878"/>
                      <a:pt x="2070" y="878"/>
                    </a:cubicBezTo>
                    <a:cubicBezTo>
                      <a:pt x="2070" y="879"/>
                      <a:pt x="2070" y="879"/>
                      <a:pt x="2070" y="879"/>
                    </a:cubicBezTo>
                    <a:cubicBezTo>
                      <a:pt x="2070" y="880"/>
                      <a:pt x="2070" y="880"/>
                      <a:pt x="2070" y="880"/>
                    </a:cubicBezTo>
                    <a:cubicBezTo>
                      <a:pt x="2069" y="880"/>
                      <a:pt x="2069" y="880"/>
                      <a:pt x="2069" y="880"/>
                    </a:cubicBezTo>
                    <a:cubicBezTo>
                      <a:pt x="2069" y="882"/>
                      <a:pt x="2069" y="882"/>
                      <a:pt x="2069" y="882"/>
                    </a:cubicBezTo>
                    <a:cubicBezTo>
                      <a:pt x="2068" y="883"/>
                      <a:pt x="2068" y="883"/>
                      <a:pt x="2068" y="883"/>
                    </a:cubicBezTo>
                    <a:cubicBezTo>
                      <a:pt x="2068" y="884"/>
                      <a:pt x="2068" y="884"/>
                      <a:pt x="2068" y="884"/>
                    </a:cubicBezTo>
                    <a:cubicBezTo>
                      <a:pt x="2070" y="885"/>
                      <a:pt x="2070" y="885"/>
                      <a:pt x="2070" y="885"/>
                    </a:cubicBezTo>
                    <a:cubicBezTo>
                      <a:pt x="2069" y="886"/>
                      <a:pt x="2069" y="886"/>
                      <a:pt x="2069" y="886"/>
                    </a:cubicBezTo>
                    <a:cubicBezTo>
                      <a:pt x="2068" y="886"/>
                      <a:pt x="2068" y="886"/>
                      <a:pt x="2068" y="886"/>
                    </a:cubicBezTo>
                    <a:cubicBezTo>
                      <a:pt x="2068" y="887"/>
                      <a:pt x="2068" y="887"/>
                      <a:pt x="2068" y="887"/>
                    </a:cubicBezTo>
                    <a:cubicBezTo>
                      <a:pt x="2067" y="888"/>
                      <a:pt x="2067" y="888"/>
                      <a:pt x="2067" y="888"/>
                    </a:cubicBezTo>
                    <a:cubicBezTo>
                      <a:pt x="2068" y="890"/>
                      <a:pt x="2068" y="890"/>
                      <a:pt x="2068" y="890"/>
                    </a:cubicBezTo>
                    <a:cubicBezTo>
                      <a:pt x="2068" y="891"/>
                      <a:pt x="2068" y="891"/>
                      <a:pt x="2068" y="891"/>
                    </a:cubicBezTo>
                    <a:cubicBezTo>
                      <a:pt x="2067" y="890"/>
                      <a:pt x="2067" y="890"/>
                      <a:pt x="2067" y="890"/>
                    </a:cubicBezTo>
                    <a:cubicBezTo>
                      <a:pt x="2066" y="891"/>
                      <a:pt x="2066" y="891"/>
                      <a:pt x="2066" y="891"/>
                    </a:cubicBezTo>
                    <a:cubicBezTo>
                      <a:pt x="2066" y="894"/>
                      <a:pt x="2066" y="894"/>
                      <a:pt x="2066" y="894"/>
                    </a:cubicBezTo>
                    <a:cubicBezTo>
                      <a:pt x="2066" y="896"/>
                      <a:pt x="2066" y="896"/>
                      <a:pt x="2066" y="896"/>
                    </a:cubicBezTo>
                    <a:cubicBezTo>
                      <a:pt x="2066" y="898"/>
                      <a:pt x="2066" y="898"/>
                      <a:pt x="2066" y="898"/>
                    </a:cubicBezTo>
                    <a:cubicBezTo>
                      <a:pt x="2066" y="900"/>
                      <a:pt x="2066" y="900"/>
                      <a:pt x="2066" y="900"/>
                    </a:cubicBezTo>
                    <a:cubicBezTo>
                      <a:pt x="2066" y="902"/>
                      <a:pt x="2066" y="902"/>
                      <a:pt x="2066" y="902"/>
                    </a:cubicBezTo>
                    <a:cubicBezTo>
                      <a:pt x="2065" y="903"/>
                      <a:pt x="2065" y="903"/>
                      <a:pt x="2065" y="903"/>
                    </a:cubicBezTo>
                    <a:cubicBezTo>
                      <a:pt x="2065" y="904"/>
                      <a:pt x="2065" y="904"/>
                      <a:pt x="2065" y="904"/>
                    </a:cubicBezTo>
                    <a:cubicBezTo>
                      <a:pt x="2064" y="906"/>
                      <a:pt x="2064" y="906"/>
                      <a:pt x="2064" y="906"/>
                    </a:cubicBezTo>
                    <a:cubicBezTo>
                      <a:pt x="2064" y="910"/>
                      <a:pt x="2064" y="910"/>
                      <a:pt x="2064" y="910"/>
                    </a:cubicBezTo>
                    <a:cubicBezTo>
                      <a:pt x="2063" y="911"/>
                      <a:pt x="2063" y="911"/>
                      <a:pt x="2063" y="911"/>
                    </a:cubicBezTo>
                    <a:cubicBezTo>
                      <a:pt x="2063" y="912"/>
                      <a:pt x="2063" y="912"/>
                      <a:pt x="2063" y="912"/>
                    </a:cubicBezTo>
                    <a:cubicBezTo>
                      <a:pt x="2062" y="914"/>
                      <a:pt x="2062" y="914"/>
                      <a:pt x="2062" y="914"/>
                    </a:cubicBezTo>
                    <a:cubicBezTo>
                      <a:pt x="2061" y="915"/>
                      <a:pt x="2061" y="915"/>
                      <a:pt x="2061" y="915"/>
                    </a:cubicBezTo>
                    <a:cubicBezTo>
                      <a:pt x="2061" y="918"/>
                      <a:pt x="2061" y="918"/>
                      <a:pt x="2061" y="918"/>
                    </a:cubicBezTo>
                    <a:cubicBezTo>
                      <a:pt x="2059" y="919"/>
                      <a:pt x="2059" y="919"/>
                      <a:pt x="2059" y="919"/>
                    </a:cubicBezTo>
                    <a:cubicBezTo>
                      <a:pt x="2055" y="921"/>
                      <a:pt x="2055" y="921"/>
                      <a:pt x="2055" y="921"/>
                    </a:cubicBezTo>
                    <a:cubicBezTo>
                      <a:pt x="2053" y="920"/>
                      <a:pt x="2053" y="920"/>
                      <a:pt x="2053" y="920"/>
                    </a:cubicBezTo>
                    <a:cubicBezTo>
                      <a:pt x="2052" y="920"/>
                      <a:pt x="2052" y="920"/>
                      <a:pt x="2052" y="920"/>
                    </a:cubicBezTo>
                    <a:cubicBezTo>
                      <a:pt x="2051" y="918"/>
                      <a:pt x="2051" y="918"/>
                      <a:pt x="2051" y="918"/>
                    </a:cubicBezTo>
                    <a:cubicBezTo>
                      <a:pt x="2049" y="917"/>
                      <a:pt x="2049" y="917"/>
                      <a:pt x="2049" y="917"/>
                    </a:cubicBezTo>
                    <a:cubicBezTo>
                      <a:pt x="2049" y="916"/>
                      <a:pt x="2049" y="916"/>
                      <a:pt x="2049" y="916"/>
                    </a:cubicBezTo>
                    <a:cubicBezTo>
                      <a:pt x="2048" y="915"/>
                      <a:pt x="2048" y="915"/>
                      <a:pt x="2048" y="915"/>
                    </a:cubicBezTo>
                    <a:cubicBezTo>
                      <a:pt x="2047" y="914"/>
                      <a:pt x="2047" y="914"/>
                      <a:pt x="2047" y="914"/>
                    </a:cubicBezTo>
                    <a:cubicBezTo>
                      <a:pt x="2046" y="914"/>
                      <a:pt x="2046" y="914"/>
                      <a:pt x="2046" y="914"/>
                    </a:cubicBezTo>
                    <a:cubicBezTo>
                      <a:pt x="2044" y="914"/>
                      <a:pt x="2044" y="914"/>
                      <a:pt x="2044" y="914"/>
                    </a:cubicBezTo>
                    <a:cubicBezTo>
                      <a:pt x="2042" y="913"/>
                      <a:pt x="2042" y="913"/>
                      <a:pt x="2042" y="913"/>
                    </a:cubicBezTo>
                    <a:cubicBezTo>
                      <a:pt x="2042" y="911"/>
                      <a:pt x="2042" y="911"/>
                      <a:pt x="2042" y="911"/>
                    </a:cubicBezTo>
                    <a:cubicBezTo>
                      <a:pt x="2040" y="910"/>
                      <a:pt x="2040" y="910"/>
                      <a:pt x="2040" y="910"/>
                    </a:cubicBezTo>
                    <a:cubicBezTo>
                      <a:pt x="2039" y="910"/>
                      <a:pt x="2039" y="910"/>
                      <a:pt x="2039" y="910"/>
                    </a:cubicBezTo>
                    <a:cubicBezTo>
                      <a:pt x="2037" y="909"/>
                      <a:pt x="2037" y="909"/>
                      <a:pt x="2037" y="909"/>
                    </a:cubicBezTo>
                    <a:cubicBezTo>
                      <a:pt x="2037" y="908"/>
                      <a:pt x="2037" y="908"/>
                      <a:pt x="2037" y="908"/>
                    </a:cubicBezTo>
                    <a:cubicBezTo>
                      <a:pt x="2036" y="908"/>
                      <a:pt x="2036" y="908"/>
                      <a:pt x="2036" y="908"/>
                    </a:cubicBezTo>
                    <a:cubicBezTo>
                      <a:pt x="2036" y="907"/>
                      <a:pt x="2036" y="907"/>
                      <a:pt x="2036" y="907"/>
                    </a:cubicBezTo>
                    <a:cubicBezTo>
                      <a:pt x="2034" y="907"/>
                      <a:pt x="2034" y="907"/>
                      <a:pt x="2034" y="907"/>
                    </a:cubicBezTo>
                    <a:cubicBezTo>
                      <a:pt x="2033" y="907"/>
                      <a:pt x="2033" y="907"/>
                      <a:pt x="2033" y="907"/>
                    </a:cubicBezTo>
                    <a:cubicBezTo>
                      <a:pt x="2033" y="906"/>
                      <a:pt x="2033" y="906"/>
                      <a:pt x="2033" y="906"/>
                    </a:cubicBezTo>
                    <a:cubicBezTo>
                      <a:pt x="2032" y="905"/>
                      <a:pt x="2032" y="905"/>
                      <a:pt x="2032" y="905"/>
                    </a:cubicBezTo>
                    <a:cubicBezTo>
                      <a:pt x="2032" y="904"/>
                      <a:pt x="2032" y="904"/>
                      <a:pt x="2032" y="904"/>
                    </a:cubicBezTo>
                    <a:cubicBezTo>
                      <a:pt x="2030" y="902"/>
                      <a:pt x="2030" y="902"/>
                      <a:pt x="2030" y="902"/>
                    </a:cubicBezTo>
                    <a:cubicBezTo>
                      <a:pt x="2029" y="902"/>
                      <a:pt x="2029" y="902"/>
                      <a:pt x="2029" y="902"/>
                    </a:cubicBezTo>
                    <a:cubicBezTo>
                      <a:pt x="2028" y="900"/>
                      <a:pt x="2028" y="900"/>
                      <a:pt x="2028" y="900"/>
                    </a:cubicBezTo>
                    <a:cubicBezTo>
                      <a:pt x="2027" y="899"/>
                      <a:pt x="2027" y="899"/>
                      <a:pt x="2027" y="899"/>
                    </a:cubicBezTo>
                    <a:cubicBezTo>
                      <a:pt x="2029" y="897"/>
                      <a:pt x="2029" y="897"/>
                      <a:pt x="2029" y="897"/>
                    </a:cubicBezTo>
                    <a:cubicBezTo>
                      <a:pt x="2029" y="895"/>
                      <a:pt x="2029" y="895"/>
                      <a:pt x="2029" y="895"/>
                    </a:cubicBezTo>
                    <a:cubicBezTo>
                      <a:pt x="2030" y="895"/>
                      <a:pt x="2030" y="895"/>
                      <a:pt x="2030" y="895"/>
                    </a:cubicBezTo>
                    <a:cubicBezTo>
                      <a:pt x="2031" y="893"/>
                      <a:pt x="2031" y="893"/>
                      <a:pt x="2031" y="893"/>
                    </a:cubicBezTo>
                    <a:cubicBezTo>
                      <a:pt x="2031" y="892"/>
                      <a:pt x="2031" y="892"/>
                      <a:pt x="2031" y="892"/>
                    </a:cubicBezTo>
                    <a:cubicBezTo>
                      <a:pt x="2030" y="893"/>
                      <a:pt x="2030" y="893"/>
                      <a:pt x="2030" y="893"/>
                    </a:cubicBezTo>
                    <a:cubicBezTo>
                      <a:pt x="2029" y="891"/>
                      <a:pt x="2029" y="891"/>
                      <a:pt x="2029" y="891"/>
                    </a:cubicBezTo>
                    <a:cubicBezTo>
                      <a:pt x="2030" y="890"/>
                      <a:pt x="2030" y="890"/>
                      <a:pt x="2030" y="890"/>
                    </a:cubicBezTo>
                    <a:cubicBezTo>
                      <a:pt x="2030" y="889"/>
                      <a:pt x="2030" y="889"/>
                      <a:pt x="2030" y="889"/>
                    </a:cubicBezTo>
                    <a:cubicBezTo>
                      <a:pt x="2031" y="889"/>
                      <a:pt x="2031" y="889"/>
                      <a:pt x="2031" y="889"/>
                    </a:cubicBezTo>
                    <a:cubicBezTo>
                      <a:pt x="2032" y="888"/>
                      <a:pt x="2032" y="888"/>
                      <a:pt x="2032" y="888"/>
                    </a:cubicBezTo>
                    <a:cubicBezTo>
                      <a:pt x="2032" y="889"/>
                      <a:pt x="2032" y="889"/>
                      <a:pt x="2032" y="889"/>
                    </a:cubicBezTo>
                    <a:cubicBezTo>
                      <a:pt x="2033" y="889"/>
                      <a:pt x="2033" y="889"/>
                      <a:pt x="2033" y="889"/>
                    </a:cubicBezTo>
                    <a:cubicBezTo>
                      <a:pt x="2035" y="888"/>
                      <a:pt x="2035" y="888"/>
                      <a:pt x="2035" y="888"/>
                    </a:cubicBezTo>
                    <a:cubicBezTo>
                      <a:pt x="2035" y="887"/>
                      <a:pt x="2035" y="887"/>
                      <a:pt x="2035" y="887"/>
                    </a:cubicBezTo>
                    <a:cubicBezTo>
                      <a:pt x="2034" y="886"/>
                      <a:pt x="2034" y="886"/>
                      <a:pt x="2034" y="886"/>
                    </a:cubicBezTo>
                    <a:cubicBezTo>
                      <a:pt x="2035" y="885"/>
                      <a:pt x="2035" y="885"/>
                      <a:pt x="2035" y="885"/>
                    </a:cubicBezTo>
                    <a:cubicBezTo>
                      <a:pt x="2036" y="886"/>
                      <a:pt x="2036" y="886"/>
                      <a:pt x="2036" y="886"/>
                    </a:cubicBezTo>
                    <a:cubicBezTo>
                      <a:pt x="2036" y="883"/>
                      <a:pt x="2036" y="883"/>
                      <a:pt x="2036" y="883"/>
                    </a:cubicBezTo>
                    <a:cubicBezTo>
                      <a:pt x="2037" y="883"/>
                      <a:pt x="2037" y="883"/>
                      <a:pt x="2037" y="883"/>
                    </a:cubicBezTo>
                    <a:cubicBezTo>
                      <a:pt x="2038" y="882"/>
                      <a:pt x="2038" y="882"/>
                      <a:pt x="2038" y="882"/>
                    </a:cubicBezTo>
                    <a:cubicBezTo>
                      <a:pt x="2038" y="881"/>
                      <a:pt x="2038" y="881"/>
                      <a:pt x="2038" y="881"/>
                    </a:cubicBezTo>
                    <a:cubicBezTo>
                      <a:pt x="2037" y="881"/>
                      <a:pt x="2037" y="881"/>
                      <a:pt x="2037" y="881"/>
                    </a:cubicBezTo>
                    <a:cubicBezTo>
                      <a:pt x="2036" y="882"/>
                      <a:pt x="2036" y="882"/>
                      <a:pt x="2036" y="882"/>
                    </a:cubicBezTo>
                    <a:cubicBezTo>
                      <a:pt x="2035" y="881"/>
                      <a:pt x="2035" y="881"/>
                      <a:pt x="2035" y="881"/>
                    </a:cubicBezTo>
                    <a:cubicBezTo>
                      <a:pt x="2035" y="879"/>
                      <a:pt x="2035" y="879"/>
                      <a:pt x="2035" y="879"/>
                    </a:cubicBezTo>
                    <a:cubicBezTo>
                      <a:pt x="2034" y="880"/>
                      <a:pt x="2034" y="880"/>
                      <a:pt x="2034" y="880"/>
                    </a:cubicBezTo>
                    <a:cubicBezTo>
                      <a:pt x="2032" y="881"/>
                      <a:pt x="2032" y="881"/>
                      <a:pt x="2032" y="881"/>
                    </a:cubicBezTo>
                    <a:cubicBezTo>
                      <a:pt x="2033" y="882"/>
                      <a:pt x="2033" y="882"/>
                      <a:pt x="2033" y="882"/>
                    </a:cubicBezTo>
                    <a:cubicBezTo>
                      <a:pt x="2033" y="883"/>
                      <a:pt x="2033" y="883"/>
                      <a:pt x="2033" y="883"/>
                    </a:cubicBezTo>
                    <a:cubicBezTo>
                      <a:pt x="2032" y="883"/>
                      <a:pt x="2032" y="883"/>
                      <a:pt x="2032" y="883"/>
                    </a:cubicBezTo>
                    <a:cubicBezTo>
                      <a:pt x="2031" y="882"/>
                      <a:pt x="2031" y="882"/>
                      <a:pt x="2031" y="882"/>
                    </a:cubicBezTo>
                    <a:cubicBezTo>
                      <a:pt x="2030" y="881"/>
                      <a:pt x="2030" y="881"/>
                      <a:pt x="2030" y="881"/>
                    </a:cubicBezTo>
                    <a:cubicBezTo>
                      <a:pt x="2030" y="882"/>
                      <a:pt x="2030" y="882"/>
                      <a:pt x="2030" y="882"/>
                    </a:cubicBezTo>
                    <a:cubicBezTo>
                      <a:pt x="2029" y="882"/>
                      <a:pt x="2029" y="882"/>
                      <a:pt x="2029" y="882"/>
                    </a:cubicBezTo>
                    <a:cubicBezTo>
                      <a:pt x="2029" y="881"/>
                      <a:pt x="2029" y="881"/>
                      <a:pt x="2029" y="881"/>
                    </a:cubicBezTo>
                    <a:cubicBezTo>
                      <a:pt x="2028" y="881"/>
                      <a:pt x="2028" y="881"/>
                      <a:pt x="2028" y="881"/>
                    </a:cubicBezTo>
                    <a:cubicBezTo>
                      <a:pt x="2028" y="880"/>
                      <a:pt x="2028" y="880"/>
                      <a:pt x="2028" y="880"/>
                    </a:cubicBezTo>
                    <a:cubicBezTo>
                      <a:pt x="2027" y="881"/>
                      <a:pt x="2027" y="881"/>
                      <a:pt x="2027" y="881"/>
                    </a:cubicBezTo>
                    <a:cubicBezTo>
                      <a:pt x="2027" y="882"/>
                      <a:pt x="2027" y="882"/>
                      <a:pt x="2027" y="882"/>
                    </a:cubicBezTo>
                    <a:cubicBezTo>
                      <a:pt x="2026" y="882"/>
                      <a:pt x="2026" y="882"/>
                      <a:pt x="2026" y="882"/>
                    </a:cubicBezTo>
                    <a:cubicBezTo>
                      <a:pt x="2025" y="881"/>
                      <a:pt x="2025" y="881"/>
                      <a:pt x="2025" y="881"/>
                    </a:cubicBezTo>
                    <a:cubicBezTo>
                      <a:pt x="2024" y="880"/>
                      <a:pt x="2024" y="880"/>
                      <a:pt x="2024" y="880"/>
                    </a:cubicBezTo>
                    <a:cubicBezTo>
                      <a:pt x="2023" y="879"/>
                      <a:pt x="2023" y="879"/>
                      <a:pt x="2023" y="879"/>
                    </a:cubicBezTo>
                    <a:cubicBezTo>
                      <a:pt x="2022" y="880"/>
                      <a:pt x="2022" y="880"/>
                      <a:pt x="2022" y="880"/>
                    </a:cubicBezTo>
                    <a:cubicBezTo>
                      <a:pt x="2021" y="880"/>
                      <a:pt x="2021" y="880"/>
                      <a:pt x="2021" y="880"/>
                    </a:cubicBezTo>
                    <a:cubicBezTo>
                      <a:pt x="2020" y="880"/>
                      <a:pt x="2020" y="880"/>
                      <a:pt x="2020" y="880"/>
                    </a:cubicBezTo>
                    <a:cubicBezTo>
                      <a:pt x="2020" y="879"/>
                      <a:pt x="2020" y="879"/>
                      <a:pt x="2020" y="879"/>
                    </a:cubicBezTo>
                    <a:cubicBezTo>
                      <a:pt x="2019" y="879"/>
                      <a:pt x="2019" y="879"/>
                      <a:pt x="2019" y="879"/>
                    </a:cubicBezTo>
                    <a:cubicBezTo>
                      <a:pt x="2018" y="878"/>
                      <a:pt x="2018" y="878"/>
                      <a:pt x="2018" y="878"/>
                    </a:cubicBezTo>
                    <a:cubicBezTo>
                      <a:pt x="2017" y="879"/>
                      <a:pt x="2017" y="879"/>
                      <a:pt x="2017" y="879"/>
                    </a:cubicBezTo>
                    <a:cubicBezTo>
                      <a:pt x="2015" y="878"/>
                      <a:pt x="2015" y="878"/>
                      <a:pt x="2015" y="878"/>
                    </a:cubicBezTo>
                    <a:cubicBezTo>
                      <a:pt x="2014" y="878"/>
                      <a:pt x="2014" y="878"/>
                      <a:pt x="2014" y="878"/>
                    </a:cubicBezTo>
                    <a:cubicBezTo>
                      <a:pt x="2014" y="877"/>
                      <a:pt x="2014" y="877"/>
                      <a:pt x="2014" y="877"/>
                    </a:cubicBezTo>
                    <a:cubicBezTo>
                      <a:pt x="2013" y="876"/>
                      <a:pt x="2013" y="876"/>
                      <a:pt x="2013" y="876"/>
                    </a:cubicBezTo>
                    <a:cubicBezTo>
                      <a:pt x="2011" y="877"/>
                      <a:pt x="2011" y="877"/>
                      <a:pt x="2011" y="877"/>
                    </a:cubicBezTo>
                    <a:cubicBezTo>
                      <a:pt x="2010" y="876"/>
                      <a:pt x="2010" y="876"/>
                      <a:pt x="2010" y="876"/>
                    </a:cubicBezTo>
                    <a:cubicBezTo>
                      <a:pt x="2009" y="875"/>
                      <a:pt x="2009" y="875"/>
                      <a:pt x="2009" y="875"/>
                    </a:cubicBezTo>
                    <a:cubicBezTo>
                      <a:pt x="2008" y="874"/>
                      <a:pt x="2008" y="874"/>
                      <a:pt x="2008" y="874"/>
                    </a:cubicBezTo>
                    <a:cubicBezTo>
                      <a:pt x="2007" y="875"/>
                      <a:pt x="2007" y="875"/>
                      <a:pt x="2007" y="875"/>
                    </a:cubicBezTo>
                    <a:cubicBezTo>
                      <a:pt x="2007" y="874"/>
                      <a:pt x="2007" y="874"/>
                      <a:pt x="2007" y="874"/>
                    </a:cubicBezTo>
                    <a:cubicBezTo>
                      <a:pt x="2005" y="875"/>
                      <a:pt x="2005" y="875"/>
                      <a:pt x="2005" y="875"/>
                    </a:cubicBezTo>
                    <a:cubicBezTo>
                      <a:pt x="2007" y="876"/>
                      <a:pt x="2007" y="876"/>
                      <a:pt x="2007" y="876"/>
                    </a:cubicBezTo>
                    <a:cubicBezTo>
                      <a:pt x="2006" y="876"/>
                      <a:pt x="2006" y="876"/>
                      <a:pt x="2006" y="876"/>
                    </a:cubicBezTo>
                    <a:cubicBezTo>
                      <a:pt x="2008" y="877"/>
                      <a:pt x="2008" y="877"/>
                      <a:pt x="2008" y="877"/>
                    </a:cubicBezTo>
                    <a:cubicBezTo>
                      <a:pt x="2009" y="876"/>
                      <a:pt x="2009" y="876"/>
                      <a:pt x="2009" y="876"/>
                    </a:cubicBezTo>
                    <a:cubicBezTo>
                      <a:pt x="2010" y="878"/>
                      <a:pt x="2010" y="878"/>
                      <a:pt x="2010" y="878"/>
                    </a:cubicBezTo>
                    <a:cubicBezTo>
                      <a:pt x="2011" y="880"/>
                      <a:pt x="2011" y="880"/>
                      <a:pt x="2011" y="880"/>
                    </a:cubicBezTo>
                    <a:cubicBezTo>
                      <a:pt x="2009" y="881"/>
                      <a:pt x="2009" y="881"/>
                      <a:pt x="2009" y="881"/>
                    </a:cubicBezTo>
                    <a:cubicBezTo>
                      <a:pt x="2009" y="882"/>
                      <a:pt x="2009" y="882"/>
                      <a:pt x="2009" y="882"/>
                    </a:cubicBezTo>
                    <a:cubicBezTo>
                      <a:pt x="2008" y="881"/>
                      <a:pt x="2008" y="881"/>
                      <a:pt x="2008" y="881"/>
                    </a:cubicBezTo>
                    <a:cubicBezTo>
                      <a:pt x="2007" y="881"/>
                      <a:pt x="2007" y="881"/>
                      <a:pt x="2007" y="881"/>
                    </a:cubicBezTo>
                    <a:cubicBezTo>
                      <a:pt x="2006" y="881"/>
                      <a:pt x="2006" y="881"/>
                      <a:pt x="2006" y="881"/>
                    </a:cubicBezTo>
                    <a:cubicBezTo>
                      <a:pt x="2003" y="882"/>
                      <a:pt x="2003" y="882"/>
                      <a:pt x="2003" y="882"/>
                    </a:cubicBezTo>
                    <a:cubicBezTo>
                      <a:pt x="2001" y="880"/>
                      <a:pt x="2001" y="880"/>
                      <a:pt x="2001" y="880"/>
                    </a:cubicBezTo>
                    <a:cubicBezTo>
                      <a:pt x="2001" y="881"/>
                      <a:pt x="2001" y="881"/>
                      <a:pt x="2001" y="881"/>
                    </a:cubicBezTo>
                    <a:cubicBezTo>
                      <a:pt x="2000" y="882"/>
                      <a:pt x="2000" y="882"/>
                      <a:pt x="2000" y="882"/>
                    </a:cubicBezTo>
                    <a:cubicBezTo>
                      <a:pt x="2000" y="883"/>
                      <a:pt x="2000" y="883"/>
                      <a:pt x="2000" y="883"/>
                    </a:cubicBezTo>
                    <a:cubicBezTo>
                      <a:pt x="1999" y="882"/>
                      <a:pt x="1999" y="882"/>
                      <a:pt x="1999" y="882"/>
                    </a:cubicBezTo>
                    <a:cubicBezTo>
                      <a:pt x="1999" y="884"/>
                      <a:pt x="1999" y="884"/>
                      <a:pt x="1999" y="884"/>
                    </a:cubicBezTo>
                    <a:cubicBezTo>
                      <a:pt x="1997" y="883"/>
                      <a:pt x="1997" y="883"/>
                      <a:pt x="1997" y="883"/>
                    </a:cubicBezTo>
                    <a:cubicBezTo>
                      <a:pt x="1997" y="884"/>
                      <a:pt x="1997" y="884"/>
                      <a:pt x="1997" y="884"/>
                    </a:cubicBezTo>
                    <a:cubicBezTo>
                      <a:pt x="1997" y="885"/>
                      <a:pt x="1997" y="885"/>
                      <a:pt x="1997" y="885"/>
                    </a:cubicBezTo>
                    <a:cubicBezTo>
                      <a:pt x="1996" y="885"/>
                      <a:pt x="1996" y="885"/>
                      <a:pt x="1996" y="885"/>
                    </a:cubicBezTo>
                    <a:cubicBezTo>
                      <a:pt x="1995" y="886"/>
                      <a:pt x="1995" y="886"/>
                      <a:pt x="1995" y="886"/>
                    </a:cubicBezTo>
                    <a:cubicBezTo>
                      <a:pt x="1995" y="887"/>
                      <a:pt x="1995" y="887"/>
                      <a:pt x="1995" y="887"/>
                    </a:cubicBezTo>
                    <a:cubicBezTo>
                      <a:pt x="1994" y="887"/>
                      <a:pt x="1994" y="887"/>
                      <a:pt x="1994" y="887"/>
                    </a:cubicBezTo>
                    <a:cubicBezTo>
                      <a:pt x="1994" y="888"/>
                      <a:pt x="1994" y="888"/>
                      <a:pt x="1994" y="888"/>
                    </a:cubicBezTo>
                    <a:cubicBezTo>
                      <a:pt x="1995" y="889"/>
                      <a:pt x="1995" y="889"/>
                      <a:pt x="1995" y="889"/>
                    </a:cubicBezTo>
                    <a:cubicBezTo>
                      <a:pt x="1995" y="890"/>
                      <a:pt x="1995" y="890"/>
                      <a:pt x="1995" y="890"/>
                    </a:cubicBezTo>
                    <a:cubicBezTo>
                      <a:pt x="1994" y="889"/>
                      <a:pt x="1994" y="889"/>
                      <a:pt x="1994" y="889"/>
                    </a:cubicBezTo>
                    <a:cubicBezTo>
                      <a:pt x="1993" y="890"/>
                      <a:pt x="1993" y="890"/>
                      <a:pt x="1993" y="890"/>
                    </a:cubicBezTo>
                    <a:cubicBezTo>
                      <a:pt x="1992" y="890"/>
                      <a:pt x="1992" y="890"/>
                      <a:pt x="1992" y="890"/>
                    </a:cubicBezTo>
                    <a:cubicBezTo>
                      <a:pt x="1991" y="892"/>
                      <a:pt x="1991" y="892"/>
                      <a:pt x="1991" y="892"/>
                    </a:cubicBezTo>
                    <a:cubicBezTo>
                      <a:pt x="1990" y="894"/>
                      <a:pt x="1990" y="894"/>
                      <a:pt x="1990" y="894"/>
                    </a:cubicBezTo>
                    <a:cubicBezTo>
                      <a:pt x="1989" y="894"/>
                      <a:pt x="1989" y="894"/>
                      <a:pt x="1989" y="894"/>
                    </a:cubicBezTo>
                    <a:cubicBezTo>
                      <a:pt x="1989" y="895"/>
                      <a:pt x="1989" y="895"/>
                      <a:pt x="1989" y="895"/>
                    </a:cubicBezTo>
                    <a:cubicBezTo>
                      <a:pt x="1988" y="896"/>
                      <a:pt x="1988" y="896"/>
                      <a:pt x="1988" y="896"/>
                    </a:cubicBezTo>
                    <a:cubicBezTo>
                      <a:pt x="1989" y="897"/>
                      <a:pt x="1989" y="897"/>
                      <a:pt x="1989" y="897"/>
                    </a:cubicBezTo>
                    <a:cubicBezTo>
                      <a:pt x="1991" y="897"/>
                      <a:pt x="1991" y="897"/>
                      <a:pt x="1991" y="897"/>
                    </a:cubicBezTo>
                    <a:cubicBezTo>
                      <a:pt x="1990" y="898"/>
                      <a:pt x="1990" y="898"/>
                      <a:pt x="1990" y="898"/>
                    </a:cubicBezTo>
                    <a:cubicBezTo>
                      <a:pt x="1989" y="898"/>
                      <a:pt x="1989" y="898"/>
                      <a:pt x="1989" y="898"/>
                    </a:cubicBezTo>
                    <a:cubicBezTo>
                      <a:pt x="1992" y="899"/>
                      <a:pt x="1992" y="899"/>
                      <a:pt x="1992" y="899"/>
                    </a:cubicBezTo>
                    <a:cubicBezTo>
                      <a:pt x="1991" y="900"/>
                      <a:pt x="1991" y="900"/>
                      <a:pt x="1991" y="900"/>
                    </a:cubicBezTo>
                    <a:cubicBezTo>
                      <a:pt x="1990" y="900"/>
                      <a:pt x="1990" y="900"/>
                      <a:pt x="1990" y="900"/>
                    </a:cubicBezTo>
                    <a:cubicBezTo>
                      <a:pt x="1990" y="902"/>
                      <a:pt x="1990" y="902"/>
                      <a:pt x="1990" y="902"/>
                    </a:cubicBezTo>
                    <a:cubicBezTo>
                      <a:pt x="1991" y="903"/>
                      <a:pt x="1991" y="903"/>
                      <a:pt x="1991" y="903"/>
                    </a:cubicBezTo>
                    <a:cubicBezTo>
                      <a:pt x="1989" y="902"/>
                      <a:pt x="1989" y="902"/>
                      <a:pt x="1989" y="902"/>
                    </a:cubicBezTo>
                    <a:cubicBezTo>
                      <a:pt x="1988" y="900"/>
                      <a:pt x="1988" y="900"/>
                      <a:pt x="1988" y="900"/>
                    </a:cubicBezTo>
                    <a:cubicBezTo>
                      <a:pt x="1987" y="900"/>
                      <a:pt x="1987" y="900"/>
                      <a:pt x="1987" y="900"/>
                    </a:cubicBezTo>
                    <a:cubicBezTo>
                      <a:pt x="1987" y="901"/>
                      <a:pt x="1987" y="901"/>
                      <a:pt x="1987" y="901"/>
                    </a:cubicBezTo>
                    <a:cubicBezTo>
                      <a:pt x="1987" y="902"/>
                      <a:pt x="1987" y="902"/>
                      <a:pt x="1987" y="902"/>
                    </a:cubicBezTo>
                    <a:cubicBezTo>
                      <a:pt x="1986" y="901"/>
                      <a:pt x="1986" y="901"/>
                      <a:pt x="1986" y="901"/>
                    </a:cubicBezTo>
                    <a:cubicBezTo>
                      <a:pt x="1984" y="899"/>
                      <a:pt x="1984" y="899"/>
                      <a:pt x="1984" y="899"/>
                    </a:cubicBezTo>
                    <a:cubicBezTo>
                      <a:pt x="1982" y="899"/>
                      <a:pt x="1982" y="899"/>
                      <a:pt x="1982" y="899"/>
                    </a:cubicBezTo>
                    <a:cubicBezTo>
                      <a:pt x="1982" y="900"/>
                      <a:pt x="1982" y="900"/>
                      <a:pt x="1982" y="900"/>
                    </a:cubicBezTo>
                    <a:cubicBezTo>
                      <a:pt x="1982" y="901"/>
                      <a:pt x="1982" y="901"/>
                      <a:pt x="1982" y="901"/>
                    </a:cubicBezTo>
                    <a:cubicBezTo>
                      <a:pt x="1981" y="900"/>
                      <a:pt x="1981" y="900"/>
                      <a:pt x="1981" y="900"/>
                    </a:cubicBezTo>
                    <a:cubicBezTo>
                      <a:pt x="1980" y="901"/>
                      <a:pt x="1980" y="901"/>
                      <a:pt x="1980" y="901"/>
                    </a:cubicBezTo>
                    <a:cubicBezTo>
                      <a:pt x="1981" y="902"/>
                      <a:pt x="1981" y="902"/>
                      <a:pt x="1981" y="902"/>
                    </a:cubicBezTo>
                    <a:cubicBezTo>
                      <a:pt x="1980" y="902"/>
                      <a:pt x="1980" y="902"/>
                      <a:pt x="1980" y="902"/>
                    </a:cubicBezTo>
                    <a:cubicBezTo>
                      <a:pt x="1980" y="903"/>
                      <a:pt x="1980" y="903"/>
                      <a:pt x="1980" y="903"/>
                    </a:cubicBezTo>
                    <a:cubicBezTo>
                      <a:pt x="1979" y="904"/>
                      <a:pt x="1979" y="904"/>
                      <a:pt x="1979" y="904"/>
                    </a:cubicBezTo>
                    <a:cubicBezTo>
                      <a:pt x="1977" y="904"/>
                      <a:pt x="1977" y="904"/>
                      <a:pt x="1977" y="904"/>
                    </a:cubicBezTo>
                    <a:cubicBezTo>
                      <a:pt x="1978" y="903"/>
                      <a:pt x="1978" y="903"/>
                      <a:pt x="1978" y="903"/>
                    </a:cubicBezTo>
                    <a:cubicBezTo>
                      <a:pt x="1979" y="902"/>
                      <a:pt x="1979" y="902"/>
                      <a:pt x="1979" y="902"/>
                    </a:cubicBezTo>
                    <a:cubicBezTo>
                      <a:pt x="1979" y="900"/>
                      <a:pt x="1979" y="900"/>
                      <a:pt x="1979" y="900"/>
                    </a:cubicBezTo>
                    <a:cubicBezTo>
                      <a:pt x="1980" y="899"/>
                      <a:pt x="1980" y="899"/>
                      <a:pt x="1980" y="899"/>
                    </a:cubicBezTo>
                    <a:cubicBezTo>
                      <a:pt x="1980" y="898"/>
                      <a:pt x="1980" y="898"/>
                      <a:pt x="1980" y="898"/>
                    </a:cubicBezTo>
                    <a:cubicBezTo>
                      <a:pt x="1978" y="898"/>
                      <a:pt x="1978" y="898"/>
                      <a:pt x="1978" y="898"/>
                    </a:cubicBezTo>
                    <a:cubicBezTo>
                      <a:pt x="1977" y="895"/>
                      <a:pt x="1977" y="895"/>
                      <a:pt x="1977" y="895"/>
                    </a:cubicBezTo>
                    <a:cubicBezTo>
                      <a:pt x="1976" y="893"/>
                      <a:pt x="1976" y="893"/>
                      <a:pt x="1976" y="893"/>
                    </a:cubicBezTo>
                    <a:cubicBezTo>
                      <a:pt x="1974" y="893"/>
                      <a:pt x="1974" y="893"/>
                      <a:pt x="1974" y="893"/>
                    </a:cubicBezTo>
                    <a:cubicBezTo>
                      <a:pt x="1973" y="892"/>
                      <a:pt x="1973" y="892"/>
                      <a:pt x="1973" y="892"/>
                    </a:cubicBezTo>
                    <a:cubicBezTo>
                      <a:pt x="1972" y="892"/>
                      <a:pt x="1972" y="892"/>
                      <a:pt x="1972" y="892"/>
                    </a:cubicBezTo>
                    <a:cubicBezTo>
                      <a:pt x="1973" y="893"/>
                      <a:pt x="1973" y="893"/>
                      <a:pt x="1973" y="893"/>
                    </a:cubicBezTo>
                    <a:cubicBezTo>
                      <a:pt x="1972" y="893"/>
                      <a:pt x="1972" y="893"/>
                      <a:pt x="1972" y="893"/>
                    </a:cubicBezTo>
                    <a:cubicBezTo>
                      <a:pt x="1971" y="895"/>
                      <a:pt x="1971" y="895"/>
                      <a:pt x="1971" y="895"/>
                    </a:cubicBezTo>
                    <a:cubicBezTo>
                      <a:pt x="1970" y="894"/>
                      <a:pt x="1970" y="894"/>
                      <a:pt x="1970" y="894"/>
                    </a:cubicBezTo>
                    <a:cubicBezTo>
                      <a:pt x="1969" y="894"/>
                      <a:pt x="1969" y="894"/>
                      <a:pt x="1969" y="894"/>
                    </a:cubicBezTo>
                    <a:cubicBezTo>
                      <a:pt x="1969" y="895"/>
                      <a:pt x="1969" y="895"/>
                      <a:pt x="1969" y="895"/>
                    </a:cubicBezTo>
                    <a:cubicBezTo>
                      <a:pt x="1968" y="893"/>
                      <a:pt x="1968" y="893"/>
                      <a:pt x="1968" y="893"/>
                    </a:cubicBezTo>
                    <a:cubicBezTo>
                      <a:pt x="1967" y="894"/>
                      <a:pt x="1967" y="894"/>
                      <a:pt x="1967" y="894"/>
                    </a:cubicBezTo>
                    <a:cubicBezTo>
                      <a:pt x="1968" y="894"/>
                      <a:pt x="1968" y="894"/>
                      <a:pt x="1968" y="894"/>
                    </a:cubicBezTo>
                    <a:cubicBezTo>
                      <a:pt x="1967" y="895"/>
                      <a:pt x="1967" y="895"/>
                      <a:pt x="1967" y="895"/>
                    </a:cubicBezTo>
                    <a:cubicBezTo>
                      <a:pt x="1967" y="897"/>
                      <a:pt x="1967" y="897"/>
                      <a:pt x="1967" y="897"/>
                    </a:cubicBezTo>
                    <a:cubicBezTo>
                      <a:pt x="1966" y="898"/>
                      <a:pt x="1966" y="898"/>
                      <a:pt x="1966" y="898"/>
                    </a:cubicBezTo>
                    <a:cubicBezTo>
                      <a:pt x="1965" y="897"/>
                      <a:pt x="1965" y="897"/>
                      <a:pt x="1965" y="897"/>
                    </a:cubicBezTo>
                    <a:cubicBezTo>
                      <a:pt x="1964" y="897"/>
                      <a:pt x="1964" y="897"/>
                      <a:pt x="1964" y="897"/>
                    </a:cubicBezTo>
                    <a:cubicBezTo>
                      <a:pt x="1962" y="897"/>
                      <a:pt x="1962" y="897"/>
                      <a:pt x="1962" y="897"/>
                    </a:cubicBezTo>
                    <a:cubicBezTo>
                      <a:pt x="1962" y="898"/>
                      <a:pt x="1962" y="898"/>
                      <a:pt x="1962" y="898"/>
                    </a:cubicBezTo>
                    <a:cubicBezTo>
                      <a:pt x="1962" y="899"/>
                      <a:pt x="1962" y="899"/>
                      <a:pt x="1962" y="899"/>
                    </a:cubicBezTo>
                    <a:cubicBezTo>
                      <a:pt x="1963" y="900"/>
                      <a:pt x="1963" y="900"/>
                      <a:pt x="1963" y="900"/>
                    </a:cubicBezTo>
                    <a:cubicBezTo>
                      <a:pt x="1962" y="901"/>
                      <a:pt x="1962" y="901"/>
                      <a:pt x="1962" y="901"/>
                    </a:cubicBezTo>
                    <a:cubicBezTo>
                      <a:pt x="1961" y="901"/>
                      <a:pt x="1961" y="901"/>
                      <a:pt x="1961" y="901"/>
                    </a:cubicBezTo>
                    <a:cubicBezTo>
                      <a:pt x="1959" y="902"/>
                      <a:pt x="1959" y="902"/>
                      <a:pt x="1959" y="902"/>
                    </a:cubicBezTo>
                    <a:cubicBezTo>
                      <a:pt x="1961" y="903"/>
                      <a:pt x="1961" y="903"/>
                      <a:pt x="1961" y="903"/>
                    </a:cubicBezTo>
                    <a:cubicBezTo>
                      <a:pt x="1961" y="904"/>
                      <a:pt x="1961" y="904"/>
                      <a:pt x="1961" y="904"/>
                    </a:cubicBezTo>
                    <a:cubicBezTo>
                      <a:pt x="1960" y="904"/>
                      <a:pt x="1960" y="904"/>
                      <a:pt x="1960" y="904"/>
                    </a:cubicBezTo>
                    <a:cubicBezTo>
                      <a:pt x="1959" y="902"/>
                      <a:pt x="1959" y="902"/>
                      <a:pt x="1959" y="902"/>
                    </a:cubicBezTo>
                    <a:cubicBezTo>
                      <a:pt x="1958" y="903"/>
                      <a:pt x="1958" y="903"/>
                      <a:pt x="1958" y="903"/>
                    </a:cubicBezTo>
                    <a:cubicBezTo>
                      <a:pt x="1957" y="904"/>
                      <a:pt x="1957" y="904"/>
                      <a:pt x="1957" y="904"/>
                    </a:cubicBezTo>
                    <a:cubicBezTo>
                      <a:pt x="1956" y="904"/>
                      <a:pt x="1956" y="904"/>
                      <a:pt x="1956" y="904"/>
                    </a:cubicBezTo>
                    <a:cubicBezTo>
                      <a:pt x="1956" y="905"/>
                      <a:pt x="1956" y="905"/>
                      <a:pt x="1956" y="905"/>
                    </a:cubicBezTo>
                    <a:cubicBezTo>
                      <a:pt x="1957" y="906"/>
                      <a:pt x="1957" y="906"/>
                      <a:pt x="1957" y="906"/>
                    </a:cubicBezTo>
                    <a:cubicBezTo>
                      <a:pt x="1958" y="906"/>
                      <a:pt x="1958" y="906"/>
                      <a:pt x="1958" y="906"/>
                    </a:cubicBezTo>
                    <a:cubicBezTo>
                      <a:pt x="1957" y="907"/>
                      <a:pt x="1957" y="907"/>
                      <a:pt x="1957" y="907"/>
                    </a:cubicBezTo>
                    <a:cubicBezTo>
                      <a:pt x="1957" y="908"/>
                      <a:pt x="1957" y="908"/>
                      <a:pt x="1957" y="908"/>
                    </a:cubicBezTo>
                    <a:cubicBezTo>
                      <a:pt x="1956" y="909"/>
                      <a:pt x="1956" y="909"/>
                      <a:pt x="1956" y="909"/>
                    </a:cubicBezTo>
                    <a:cubicBezTo>
                      <a:pt x="1956" y="910"/>
                      <a:pt x="1956" y="910"/>
                      <a:pt x="1956" y="910"/>
                    </a:cubicBezTo>
                    <a:cubicBezTo>
                      <a:pt x="1958" y="910"/>
                      <a:pt x="1958" y="910"/>
                      <a:pt x="1958" y="910"/>
                    </a:cubicBezTo>
                    <a:cubicBezTo>
                      <a:pt x="1956" y="911"/>
                      <a:pt x="1956" y="911"/>
                      <a:pt x="1956" y="911"/>
                    </a:cubicBezTo>
                    <a:cubicBezTo>
                      <a:pt x="1955" y="911"/>
                      <a:pt x="1955" y="911"/>
                      <a:pt x="1955" y="911"/>
                    </a:cubicBezTo>
                    <a:cubicBezTo>
                      <a:pt x="1954" y="910"/>
                      <a:pt x="1954" y="910"/>
                      <a:pt x="1954" y="910"/>
                    </a:cubicBezTo>
                    <a:cubicBezTo>
                      <a:pt x="1953" y="909"/>
                      <a:pt x="1953" y="909"/>
                      <a:pt x="1953" y="909"/>
                    </a:cubicBezTo>
                    <a:cubicBezTo>
                      <a:pt x="1952" y="910"/>
                      <a:pt x="1952" y="910"/>
                      <a:pt x="1952" y="910"/>
                    </a:cubicBezTo>
                    <a:cubicBezTo>
                      <a:pt x="1952" y="909"/>
                      <a:pt x="1952" y="909"/>
                      <a:pt x="1952" y="909"/>
                    </a:cubicBezTo>
                    <a:cubicBezTo>
                      <a:pt x="1951" y="909"/>
                      <a:pt x="1951" y="909"/>
                      <a:pt x="1951" y="909"/>
                    </a:cubicBezTo>
                    <a:cubicBezTo>
                      <a:pt x="1950" y="909"/>
                      <a:pt x="1950" y="909"/>
                      <a:pt x="1950" y="909"/>
                    </a:cubicBezTo>
                    <a:cubicBezTo>
                      <a:pt x="1951" y="910"/>
                      <a:pt x="1951" y="910"/>
                      <a:pt x="1951" y="910"/>
                    </a:cubicBezTo>
                    <a:cubicBezTo>
                      <a:pt x="1951" y="911"/>
                      <a:pt x="1951" y="911"/>
                      <a:pt x="1951" y="911"/>
                    </a:cubicBezTo>
                    <a:cubicBezTo>
                      <a:pt x="1950" y="912"/>
                      <a:pt x="1950" y="912"/>
                      <a:pt x="1950" y="912"/>
                    </a:cubicBezTo>
                    <a:cubicBezTo>
                      <a:pt x="1951" y="913"/>
                      <a:pt x="1951" y="913"/>
                      <a:pt x="1951" y="913"/>
                    </a:cubicBezTo>
                    <a:cubicBezTo>
                      <a:pt x="1953" y="913"/>
                      <a:pt x="1953" y="913"/>
                      <a:pt x="1953" y="913"/>
                    </a:cubicBezTo>
                    <a:cubicBezTo>
                      <a:pt x="1952" y="914"/>
                      <a:pt x="1952" y="914"/>
                      <a:pt x="1952" y="914"/>
                    </a:cubicBezTo>
                    <a:cubicBezTo>
                      <a:pt x="1952" y="915"/>
                      <a:pt x="1952" y="915"/>
                      <a:pt x="1952" y="915"/>
                    </a:cubicBezTo>
                    <a:cubicBezTo>
                      <a:pt x="1951" y="915"/>
                      <a:pt x="1951" y="915"/>
                      <a:pt x="1951" y="915"/>
                    </a:cubicBezTo>
                    <a:cubicBezTo>
                      <a:pt x="1951" y="916"/>
                      <a:pt x="1951" y="916"/>
                      <a:pt x="1951" y="916"/>
                    </a:cubicBezTo>
                    <a:cubicBezTo>
                      <a:pt x="1951" y="917"/>
                      <a:pt x="1951" y="917"/>
                      <a:pt x="1951" y="917"/>
                    </a:cubicBezTo>
                    <a:cubicBezTo>
                      <a:pt x="1950" y="919"/>
                      <a:pt x="1950" y="919"/>
                      <a:pt x="1950" y="919"/>
                    </a:cubicBezTo>
                    <a:cubicBezTo>
                      <a:pt x="1948" y="915"/>
                      <a:pt x="1948" y="915"/>
                      <a:pt x="1948" y="915"/>
                    </a:cubicBezTo>
                    <a:cubicBezTo>
                      <a:pt x="1947" y="912"/>
                      <a:pt x="1947" y="912"/>
                      <a:pt x="1947" y="912"/>
                    </a:cubicBezTo>
                    <a:cubicBezTo>
                      <a:pt x="1946" y="911"/>
                      <a:pt x="1946" y="911"/>
                      <a:pt x="1946" y="911"/>
                    </a:cubicBezTo>
                    <a:cubicBezTo>
                      <a:pt x="1947" y="910"/>
                      <a:pt x="1947" y="910"/>
                      <a:pt x="1947" y="910"/>
                    </a:cubicBezTo>
                    <a:cubicBezTo>
                      <a:pt x="1946" y="910"/>
                      <a:pt x="1946" y="910"/>
                      <a:pt x="1946" y="910"/>
                    </a:cubicBezTo>
                    <a:cubicBezTo>
                      <a:pt x="1945" y="911"/>
                      <a:pt x="1945" y="911"/>
                      <a:pt x="1945" y="911"/>
                    </a:cubicBezTo>
                    <a:cubicBezTo>
                      <a:pt x="1945" y="913"/>
                      <a:pt x="1945" y="913"/>
                      <a:pt x="1945" y="913"/>
                    </a:cubicBezTo>
                    <a:cubicBezTo>
                      <a:pt x="1944" y="913"/>
                      <a:pt x="1944" y="913"/>
                      <a:pt x="1944" y="913"/>
                    </a:cubicBezTo>
                    <a:cubicBezTo>
                      <a:pt x="1943" y="914"/>
                      <a:pt x="1943" y="914"/>
                      <a:pt x="1943" y="914"/>
                    </a:cubicBezTo>
                    <a:cubicBezTo>
                      <a:pt x="1942" y="914"/>
                      <a:pt x="1942" y="914"/>
                      <a:pt x="1942" y="914"/>
                    </a:cubicBezTo>
                    <a:cubicBezTo>
                      <a:pt x="1942" y="915"/>
                      <a:pt x="1942" y="915"/>
                      <a:pt x="1942" y="915"/>
                    </a:cubicBezTo>
                    <a:cubicBezTo>
                      <a:pt x="1940" y="916"/>
                      <a:pt x="1940" y="916"/>
                      <a:pt x="1940" y="916"/>
                    </a:cubicBezTo>
                    <a:cubicBezTo>
                      <a:pt x="1941" y="917"/>
                      <a:pt x="1941" y="917"/>
                      <a:pt x="1941" y="917"/>
                    </a:cubicBezTo>
                    <a:cubicBezTo>
                      <a:pt x="1941" y="921"/>
                      <a:pt x="1941" y="921"/>
                      <a:pt x="1941" y="921"/>
                    </a:cubicBezTo>
                    <a:cubicBezTo>
                      <a:pt x="1941" y="922"/>
                      <a:pt x="1941" y="922"/>
                      <a:pt x="1941" y="922"/>
                    </a:cubicBezTo>
                    <a:cubicBezTo>
                      <a:pt x="1940" y="923"/>
                      <a:pt x="1940" y="923"/>
                      <a:pt x="1940" y="923"/>
                    </a:cubicBezTo>
                    <a:cubicBezTo>
                      <a:pt x="1940" y="924"/>
                      <a:pt x="1940" y="924"/>
                      <a:pt x="1940" y="924"/>
                    </a:cubicBezTo>
                    <a:cubicBezTo>
                      <a:pt x="1938" y="924"/>
                      <a:pt x="1938" y="924"/>
                      <a:pt x="1938" y="924"/>
                    </a:cubicBezTo>
                    <a:cubicBezTo>
                      <a:pt x="1938" y="925"/>
                      <a:pt x="1938" y="925"/>
                      <a:pt x="1938" y="925"/>
                    </a:cubicBezTo>
                    <a:cubicBezTo>
                      <a:pt x="1936" y="926"/>
                      <a:pt x="1936" y="926"/>
                      <a:pt x="1936" y="926"/>
                    </a:cubicBezTo>
                    <a:cubicBezTo>
                      <a:pt x="1937" y="928"/>
                      <a:pt x="1937" y="928"/>
                      <a:pt x="1937" y="928"/>
                    </a:cubicBezTo>
                    <a:cubicBezTo>
                      <a:pt x="1936" y="928"/>
                      <a:pt x="1936" y="928"/>
                      <a:pt x="1936" y="928"/>
                    </a:cubicBezTo>
                    <a:cubicBezTo>
                      <a:pt x="1934" y="931"/>
                      <a:pt x="1934" y="931"/>
                      <a:pt x="1934" y="931"/>
                    </a:cubicBezTo>
                    <a:cubicBezTo>
                      <a:pt x="1930" y="933"/>
                      <a:pt x="1930" y="933"/>
                      <a:pt x="1930" y="933"/>
                    </a:cubicBezTo>
                    <a:cubicBezTo>
                      <a:pt x="1927" y="934"/>
                      <a:pt x="1927" y="934"/>
                      <a:pt x="1927" y="934"/>
                    </a:cubicBezTo>
                    <a:cubicBezTo>
                      <a:pt x="1925" y="934"/>
                      <a:pt x="1925" y="934"/>
                      <a:pt x="1925" y="934"/>
                    </a:cubicBezTo>
                    <a:cubicBezTo>
                      <a:pt x="1924" y="934"/>
                      <a:pt x="1924" y="934"/>
                      <a:pt x="1924" y="934"/>
                    </a:cubicBezTo>
                    <a:cubicBezTo>
                      <a:pt x="1922" y="935"/>
                      <a:pt x="1922" y="935"/>
                      <a:pt x="1922" y="935"/>
                    </a:cubicBezTo>
                    <a:cubicBezTo>
                      <a:pt x="1921" y="934"/>
                      <a:pt x="1921" y="934"/>
                      <a:pt x="1921" y="934"/>
                    </a:cubicBezTo>
                    <a:cubicBezTo>
                      <a:pt x="1919" y="935"/>
                      <a:pt x="1919" y="935"/>
                      <a:pt x="1919" y="935"/>
                    </a:cubicBezTo>
                    <a:cubicBezTo>
                      <a:pt x="1918" y="936"/>
                      <a:pt x="1918" y="936"/>
                      <a:pt x="1918" y="936"/>
                    </a:cubicBezTo>
                    <a:cubicBezTo>
                      <a:pt x="1917" y="937"/>
                      <a:pt x="1917" y="937"/>
                      <a:pt x="1917" y="937"/>
                    </a:cubicBezTo>
                    <a:cubicBezTo>
                      <a:pt x="1913" y="937"/>
                      <a:pt x="1913" y="937"/>
                      <a:pt x="1913" y="937"/>
                    </a:cubicBezTo>
                    <a:cubicBezTo>
                      <a:pt x="1912" y="937"/>
                      <a:pt x="1912" y="937"/>
                      <a:pt x="1912" y="937"/>
                    </a:cubicBezTo>
                    <a:cubicBezTo>
                      <a:pt x="1912" y="938"/>
                      <a:pt x="1912" y="938"/>
                      <a:pt x="1912" y="938"/>
                    </a:cubicBezTo>
                    <a:cubicBezTo>
                      <a:pt x="1909" y="939"/>
                      <a:pt x="1909" y="939"/>
                      <a:pt x="1909" y="939"/>
                    </a:cubicBezTo>
                    <a:cubicBezTo>
                      <a:pt x="1907" y="939"/>
                      <a:pt x="1907" y="939"/>
                      <a:pt x="1907" y="939"/>
                    </a:cubicBezTo>
                    <a:cubicBezTo>
                      <a:pt x="1906" y="939"/>
                      <a:pt x="1906" y="939"/>
                      <a:pt x="1906" y="939"/>
                    </a:cubicBezTo>
                    <a:cubicBezTo>
                      <a:pt x="1905" y="939"/>
                      <a:pt x="1905" y="939"/>
                      <a:pt x="1905" y="939"/>
                    </a:cubicBezTo>
                    <a:cubicBezTo>
                      <a:pt x="1905" y="938"/>
                      <a:pt x="1905" y="938"/>
                      <a:pt x="1905" y="938"/>
                    </a:cubicBezTo>
                    <a:cubicBezTo>
                      <a:pt x="1904" y="939"/>
                      <a:pt x="1904" y="939"/>
                      <a:pt x="1904" y="939"/>
                    </a:cubicBezTo>
                    <a:cubicBezTo>
                      <a:pt x="1903" y="940"/>
                      <a:pt x="1903" y="940"/>
                      <a:pt x="1903" y="940"/>
                    </a:cubicBezTo>
                    <a:cubicBezTo>
                      <a:pt x="1900" y="941"/>
                      <a:pt x="1900" y="941"/>
                      <a:pt x="1900" y="941"/>
                    </a:cubicBezTo>
                    <a:cubicBezTo>
                      <a:pt x="1899" y="941"/>
                      <a:pt x="1899" y="941"/>
                      <a:pt x="1899" y="941"/>
                    </a:cubicBezTo>
                    <a:cubicBezTo>
                      <a:pt x="1897" y="943"/>
                      <a:pt x="1897" y="943"/>
                      <a:pt x="1897" y="943"/>
                    </a:cubicBezTo>
                    <a:cubicBezTo>
                      <a:pt x="1894" y="945"/>
                      <a:pt x="1894" y="945"/>
                      <a:pt x="1894" y="945"/>
                    </a:cubicBezTo>
                    <a:cubicBezTo>
                      <a:pt x="1891" y="946"/>
                      <a:pt x="1891" y="946"/>
                      <a:pt x="1891" y="946"/>
                    </a:cubicBezTo>
                    <a:cubicBezTo>
                      <a:pt x="1889" y="948"/>
                      <a:pt x="1889" y="948"/>
                      <a:pt x="1889" y="948"/>
                    </a:cubicBezTo>
                    <a:cubicBezTo>
                      <a:pt x="1889" y="950"/>
                      <a:pt x="1889" y="950"/>
                      <a:pt x="1889" y="950"/>
                    </a:cubicBezTo>
                    <a:cubicBezTo>
                      <a:pt x="1888" y="951"/>
                      <a:pt x="1888" y="951"/>
                      <a:pt x="1888" y="951"/>
                    </a:cubicBezTo>
                    <a:cubicBezTo>
                      <a:pt x="1887" y="950"/>
                      <a:pt x="1887" y="950"/>
                      <a:pt x="1887" y="950"/>
                    </a:cubicBezTo>
                    <a:cubicBezTo>
                      <a:pt x="1887" y="949"/>
                      <a:pt x="1887" y="949"/>
                      <a:pt x="1887" y="949"/>
                    </a:cubicBezTo>
                    <a:cubicBezTo>
                      <a:pt x="1888" y="947"/>
                      <a:pt x="1888" y="947"/>
                      <a:pt x="1888" y="947"/>
                    </a:cubicBezTo>
                    <a:cubicBezTo>
                      <a:pt x="1888" y="946"/>
                      <a:pt x="1888" y="946"/>
                      <a:pt x="1888" y="946"/>
                    </a:cubicBezTo>
                    <a:cubicBezTo>
                      <a:pt x="1886" y="948"/>
                      <a:pt x="1886" y="948"/>
                      <a:pt x="1886" y="948"/>
                    </a:cubicBezTo>
                    <a:cubicBezTo>
                      <a:pt x="1885" y="949"/>
                      <a:pt x="1885" y="949"/>
                      <a:pt x="1885" y="949"/>
                    </a:cubicBezTo>
                    <a:cubicBezTo>
                      <a:pt x="1884" y="952"/>
                      <a:pt x="1884" y="952"/>
                      <a:pt x="1884" y="952"/>
                    </a:cubicBezTo>
                    <a:cubicBezTo>
                      <a:pt x="1885" y="954"/>
                      <a:pt x="1885" y="954"/>
                      <a:pt x="1885" y="954"/>
                    </a:cubicBezTo>
                    <a:cubicBezTo>
                      <a:pt x="1884" y="956"/>
                      <a:pt x="1884" y="956"/>
                      <a:pt x="1884" y="956"/>
                    </a:cubicBezTo>
                    <a:cubicBezTo>
                      <a:pt x="1884" y="958"/>
                      <a:pt x="1884" y="958"/>
                      <a:pt x="1884" y="958"/>
                    </a:cubicBezTo>
                    <a:cubicBezTo>
                      <a:pt x="1882" y="961"/>
                      <a:pt x="1882" y="961"/>
                      <a:pt x="1882" y="961"/>
                    </a:cubicBezTo>
                    <a:cubicBezTo>
                      <a:pt x="1881" y="966"/>
                      <a:pt x="1881" y="966"/>
                      <a:pt x="1881" y="966"/>
                    </a:cubicBezTo>
                    <a:cubicBezTo>
                      <a:pt x="1881" y="968"/>
                      <a:pt x="1881" y="968"/>
                      <a:pt x="1881" y="968"/>
                    </a:cubicBezTo>
                    <a:cubicBezTo>
                      <a:pt x="1881" y="971"/>
                      <a:pt x="1881" y="971"/>
                      <a:pt x="1881" y="971"/>
                    </a:cubicBezTo>
                    <a:cubicBezTo>
                      <a:pt x="1883" y="974"/>
                      <a:pt x="1883" y="974"/>
                      <a:pt x="1883" y="974"/>
                    </a:cubicBezTo>
                    <a:cubicBezTo>
                      <a:pt x="1883" y="976"/>
                      <a:pt x="1883" y="976"/>
                      <a:pt x="1883" y="976"/>
                    </a:cubicBezTo>
                    <a:cubicBezTo>
                      <a:pt x="1884" y="977"/>
                      <a:pt x="1884" y="977"/>
                      <a:pt x="1884" y="977"/>
                    </a:cubicBezTo>
                    <a:cubicBezTo>
                      <a:pt x="1883" y="979"/>
                      <a:pt x="1883" y="979"/>
                      <a:pt x="1883" y="979"/>
                    </a:cubicBezTo>
                    <a:cubicBezTo>
                      <a:pt x="1884" y="980"/>
                      <a:pt x="1884" y="980"/>
                      <a:pt x="1884" y="980"/>
                    </a:cubicBezTo>
                    <a:cubicBezTo>
                      <a:pt x="1882" y="981"/>
                      <a:pt x="1882" y="981"/>
                      <a:pt x="1882" y="981"/>
                    </a:cubicBezTo>
                    <a:cubicBezTo>
                      <a:pt x="1882" y="980"/>
                      <a:pt x="1882" y="980"/>
                      <a:pt x="1882" y="980"/>
                    </a:cubicBezTo>
                    <a:cubicBezTo>
                      <a:pt x="1882" y="978"/>
                      <a:pt x="1882" y="978"/>
                      <a:pt x="1882" y="978"/>
                    </a:cubicBezTo>
                    <a:cubicBezTo>
                      <a:pt x="1881" y="979"/>
                      <a:pt x="1881" y="979"/>
                      <a:pt x="1881" y="979"/>
                    </a:cubicBezTo>
                    <a:cubicBezTo>
                      <a:pt x="1881" y="977"/>
                      <a:pt x="1881" y="977"/>
                      <a:pt x="1881" y="977"/>
                    </a:cubicBezTo>
                    <a:cubicBezTo>
                      <a:pt x="1879" y="974"/>
                      <a:pt x="1879" y="974"/>
                      <a:pt x="1879" y="974"/>
                    </a:cubicBezTo>
                    <a:cubicBezTo>
                      <a:pt x="1879" y="975"/>
                      <a:pt x="1879" y="975"/>
                      <a:pt x="1879" y="975"/>
                    </a:cubicBezTo>
                    <a:cubicBezTo>
                      <a:pt x="1879" y="978"/>
                      <a:pt x="1879" y="978"/>
                      <a:pt x="1879" y="978"/>
                    </a:cubicBezTo>
                    <a:cubicBezTo>
                      <a:pt x="1881" y="980"/>
                      <a:pt x="1881" y="980"/>
                      <a:pt x="1881" y="980"/>
                    </a:cubicBezTo>
                    <a:cubicBezTo>
                      <a:pt x="1882" y="982"/>
                      <a:pt x="1882" y="982"/>
                      <a:pt x="1882" y="982"/>
                    </a:cubicBezTo>
                    <a:cubicBezTo>
                      <a:pt x="1880" y="982"/>
                      <a:pt x="1880" y="982"/>
                      <a:pt x="1880" y="982"/>
                    </a:cubicBezTo>
                    <a:cubicBezTo>
                      <a:pt x="1879" y="980"/>
                      <a:pt x="1879" y="980"/>
                      <a:pt x="1879" y="980"/>
                    </a:cubicBezTo>
                    <a:cubicBezTo>
                      <a:pt x="1878" y="978"/>
                      <a:pt x="1878" y="978"/>
                      <a:pt x="1878" y="978"/>
                    </a:cubicBezTo>
                    <a:cubicBezTo>
                      <a:pt x="1878" y="979"/>
                      <a:pt x="1878" y="979"/>
                      <a:pt x="1878" y="979"/>
                    </a:cubicBezTo>
                    <a:cubicBezTo>
                      <a:pt x="1877" y="979"/>
                      <a:pt x="1877" y="979"/>
                      <a:pt x="1877" y="979"/>
                    </a:cubicBezTo>
                    <a:cubicBezTo>
                      <a:pt x="1878" y="982"/>
                      <a:pt x="1878" y="982"/>
                      <a:pt x="1878" y="982"/>
                    </a:cubicBezTo>
                    <a:cubicBezTo>
                      <a:pt x="1880" y="984"/>
                      <a:pt x="1880" y="984"/>
                      <a:pt x="1880" y="984"/>
                    </a:cubicBezTo>
                    <a:cubicBezTo>
                      <a:pt x="1882" y="988"/>
                      <a:pt x="1882" y="988"/>
                      <a:pt x="1882" y="988"/>
                    </a:cubicBezTo>
                    <a:cubicBezTo>
                      <a:pt x="1881" y="994"/>
                      <a:pt x="1881" y="994"/>
                      <a:pt x="1881" y="994"/>
                    </a:cubicBezTo>
                    <a:cubicBezTo>
                      <a:pt x="1882" y="995"/>
                      <a:pt x="1882" y="995"/>
                      <a:pt x="1882" y="995"/>
                    </a:cubicBezTo>
                    <a:cubicBezTo>
                      <a:pt x="1883" y="999"/>
                      <a:pt x="1883" y="999"/>
                      <a:pt x="1883" y="999"/>
                    </a:cubicBezTo>
                    <a:cubicBezTo>
                      <a:pt x="1885" y="1004"/>
                      <a:pt x="1885" y="1004"/>
                      <a:pt x="1885" y="1004"/>
                    </a:cubicBezTo>
                    <a:cubicBezTo>
                      <a:pt x="1884" y="1005"/>
                      <a:pt x="1884" y="1005"/>
                      <a:pt x="1884" y="1005"/>
                    </a:cubicBezTo>
                    <a:cubicBezTo>
                      <a:pt x="1884" y="1012"/>
                      <a:pt x="1884" y="1012"/>
                      <a:pt x="1884" y="1012"/>
                    </a:cubicBezTo>
                    <a:cubicBezTo>
                      <a:pt x="1884" y="1013"/>
                      <a:pt x="1884" y="1013"/>
                      <a:pt x="1884" y="1013"/>
                    </a:cubicBezTo>
                    <a:cubicBezTo>
                      <a:pt x="1885" y="1015"/>
                      <a:pt x="1885" y="1015"/>
                      <a:pt x="1885" y="1015"/>
                    </a:cubicBezTo>
                    <a:cubicBezTo>
                      <a:pt x="1885" y="1017"/>
                      <a:pt x="1885" y="1017"/>
                      <a:pt x="1885" y="1017"/>
                    </a:cubicBezTo>
                    <a:cubicBezTo>
                      <a:pt x="1886" y="1020"/>
                      <a:pt x="1886" y="1020"/>
                      <a:pt x="1886" y="1020"/>
                    </a:cubicBezTo>
                    <a:cubicBezTo>
                      <a:pt x="1886" y="1022"/>
                      <a:pt x="1886" y="1022"/>
                      <a:pt x="1886" y="1022"/>
                    </a:cubicBezTo>
                    <a:cubicBezTo>
                      <a:pt x="1885" y="1023"/>
                      <a:pt x="1885" y="1023"/>
                      <a:pt x="1885" y="1023"/>
                    </a:cubicBezTo>
                    <a:cubicBezTo>
                      <a:pt x="1885" y="1024"/>
                      <a:pt x="1885" y="1024"/>
                      <a:pt x="1885" y="1024"/>
                    </a:cubicBezTo>
                    <a:cubicBezTo>
                      <a:pt x="1885" y="1025"/>
                      <a:pt x="1885" y="1025"/>
                      <a:pt x="1885" y="1025"/>
                    </a:cubicBezTo>
                    <a:cubicBezTo>
                      <a:pt x="1885" y="1028"/>
                      <a:pt x="1885" y="1028"/>
                      <a:pt x="1885" y="1028"/>
                    </a:cubicBezTo>
                    <a:cubicBezTo>
                      <a:pt x="1884" y="1029"/>
                      <a:pt x="1884" y="1029"/>
                      <a:pt x="1884" y="1029"/>
                    </a:cubicBezTo>
                    <a:cubicBezTo>
                      <a:pt x="1884" y="1030"/>
                      <a:pt x="1884" y="1030"/>
                      <a:pt x="1884" y="1030"/>
                    </a:cubicBezTo>
                    <a:cubicBezTo>
                      <a:pt x="1884" y="1031"/>
                      <a:pt x="1884" y="1031"/>
                      <a:pt x="1884" y="1031"/>
                    </a:cubicBezTo>
                    <a:cubicBezTo>
                      <a:pt x="1883" y="1032"/>
                      <a:pt x="1883" y="1032"/>
                      <a:pt x="1883" y="1032"/>
                    </a:cubicBezTo>
                    <a:cubicBezTo>
                      <a:pt x="1883" y="1034"/>
                      <a:pt x="1883" y="1034"/>
                      <a:pt x="1883" y="1034"/>
                    </a:cubicBezTo>
                    <a:cubicBezTo>
                      <a:pt x="1881" y="1035"/>
                      <a:pt x="1881" y="1035"/>
                      <a:pt x="1881" y="1035"/>
                    </a:cubicBezTo>
                    <a:cubicBezTo>
                      <a:pt x="1880" y="1035"/>
                      <a:pt x="1880" y="1035"/>
                      <a:pt x="1880" y="1035"/>
                    </a:cubicBezTo>
                    <a:cubicBezTo>
                      <a:pt x="1878" y="1037"/>
                      <a:pt x="1878" y="1037"/>
                      <a:pt x="1878" y="1037"/>
                    </a:cubicBezTo>
                    <a:cubicBezTo>
                      <a:pt x="1878" y="1041"/>
                      <a:pt x="1878" y="1041"/>
                      <a:pt x="1878" y="1041"/>
                    </a:cubicBezTo>
                    <a:cubicBezTo>
                      <a:pt x="1879" y="1042"/>
                      <a:pt x="1879" y="1042"/>
                      <a:pt x="1879" y="1042"/>
                    </a:cubicBezTo>
                    <a:cubicBezTo>
                      <a:pt x="1880" y="1042"/>
                      <a:pt x="1880" y="1042"/>
                      <a:pt x="1880" y="1042"/>
                    </a:cubicBezTo>
                    <a:cubicBezTo>
                      <a:pt x="1883" y="1044"/>
                      <a:pt x="1883" y="1044"/>
                      <a:pt x="1883" y="1044"/>
                    </a:cubicBezTo>
                    <a:cubicBezTo>
                      <a:pt x="1883" y="1045"/>
                      <a:pt x="1883" y="1045"/>
                      <a:pt x="1883" y="1045"/>
                    </a:cubicBezTo>
                    <a:cubicBezTo>
                      <a:pt x="1883" y="1046"/>
                      <a:pt x="1883" y="1046"/>
                      <a:pt x="1883" y="1046"/>
                    </a:cubicBezTo>
                    <a:cubicBezTo>
                      <a:pt x="1885" y="1046"/>
                      <a:pt x="1885" y="1046"/>
                      <a:pt x="1885" y="1046"/>
                    </a:cubicBezTo>
                    <a:cubicBezTo>
                      <a:pt x="1885" y="1047"/>
                      <a:pt x="1885" y="1047"/>
                      <a:pt x="1885" y="1047"/>
                    </a:cubicBezTo>
                    <a:cubicBezTo>
                      <a:pt x="1887" y="1047"/>
                      <a:pt x="1887" y="1047"/>
                      <a:pt x="1887" y="1047"/>
                    </a:cubicBezTo>
                    <a:cubicBezTo>
                      <a:pt x="1888" y="1047"/>
                      <a:pt x="1888" y="1047"/>
                      <a:pt x="1888" y="1047"/>
                    </a:cubicBezTo>
                    <a:cubicBezTo>
                      <a:pt x="1888" y="1048"/>
                      <a:pt x="1888" y="1048"/>
                      <a:pt x="1888" y="1048"/>
                    </a:cubicBezTo>
                    <a:cubicBezTo>
                      <a:pt x="1890" y="1048"/>
                      <a:pt x="1890" y="1048"/>
                      <a:pt x="1890" y="1048"/>
                    </a:cubicBezTo>
                    <a:cubicBezTo>
                      <a:pt x="1891" y="1047"/>
                      <a:pt x="1891" y="1047"/>
                      <a:pt x="1891" y="1047"/>
                    </a:cubicBezTo>
                    <a:cubicBezTo>
                      <a:pt x="1892" y="1048"/>
                      <a:pt x="1892" y="1048"/>
                      <a:pt x="1892" y="1048"/>
                    </a:cubicBezTo>
                    <a:cubicBezTo>
                      <a:pt x="1893" y="1048"/>
                      <a:pt x="1893" y="1048"/>
                      <a:pt x="1893" y="1048"/>
                    </a:cubicBezTo>
                    <a:cubicBezTo>
                      <a:pt x="1895" y="1048"/>
                      <a:pt x="1895" y="1048"/>
                      <a:pt x="1895" y="1048"/>
                    </a:cubicBezTo>
                    <a:cubicBezTo>
                      <a:pt x="1896" y="1048"/>
                      <a:pt x="1896" y="1048"/>
                      <a:pt x="1896" y="1048"/>
                    </a:cubicBezTo>
                    <a:cubicBezTo>
                      <a:pt x="1896" y="1047"/>
                      <a:pt x="1896" y="1047"/>
                      <a:pt x="1896" y="1047"/>
                    </a:cubicBezTo>
                    <a:cubicBezTo>
                      <a:pt x="1897" y="1047"/>
                      <a:pt x="1897" y="1047"/>
                      <a:pt x="1897" y="1047"/>
                    </a:cubicBezTo>
                    <a:cubicBezTo>
                      <a:pt x="1898" y="1045"/>
                      <a:pt x="1898" y="1045"/>
                      <a:pt x="1898" y="1045"/>
                    </a:cubicBezTo>
                    <a:cubicBezTo>
                      <a:pt x="1900" y="1045"/>
                      <a:pt x="1900" y="1045"/>
                      <a:pt x="1900" y="1045"/>
                    </a:cubicBezTo>
                    <a:cubicBezTo>
                      <a:pt x="1900" y="1044"/>
                      <a:pt x="1900" y="1044"/>
                      <a:pt x="1900" y="1044"/>
                    </a:cubicBezTo>
                    <a:cubicBezTo>
                      <a:pt x="1901" y="1044"/>
                      <a:pt x="1901" y="1044"/>
                      <a:pt x="1901" y="1044"/>
                    </a:cubicBezTo>
                    <a:cubicBezTo>
                      <a:pt x="1902" y="1044"/>
                      <a:pt x="1902" y="1044"/>
                      <a:pt x="1902" y="1044"/>
                    </a:cubicBezTo>
                    <a:cubicBezTo>
                      <a:pt x="1903" y="1045"/>
                      <a:pt x="1903" y="1045"/>
                      <a:pt x="1903" y="1045"/>
                    </a:cubicBezTo>
                    <a:cubicBezTo>
                      <a:pt x="1904" y="1043"/>
                      <a:pt x="1904" y="1043"/>
                      <a:pt x="1904" y="1043"/>
                    </a:cubicBezTo>
                    <a:cubicBezTo>
                      <a:pt x="1905" y="1043"/>
                      <a:pt x="1905" y="1043"/>
                      <a:pt x="1905" y="1043"/>
                    </a:cubicBezTo>
                    <a:cubicBezTo>
                      <a:pt x="1906" y="1042"/>
                      <a:pt x="1906" y="1042"/>
                      <a:pt x="1906" y="1042"/>
                    </a:cubicBezTo>
                    <a:cubicBezTo>
                      <a:pt x="1909" y="1039"/>
                      <a:pt x="1909" y="1039"/>
                      <a:pt x="1909" y="1039"/>
                    </a:cubicBezTo>
                    <a:cubicBezTo>
                      <a:pt x="1910" y="1040"/>
                      <a:pt x="1910" y="1040"/>
                      <a:pt x="1910" y="1040"/>
                    </a:cubicBezTo>
                    <a:cubicBezTo>
                      <a:pt x="1911" y="1040"/>
                      <a:pt x="1911" y="1040"/>
                      <a:pt x="1911" y="1040"/>
                    </a:cubicBezTo>
                    <a:cubicBezTo>
                      <a:pt x="1912" y="1039"/>
                      <a:pt x="1912" y="1039"/>
                      <a:pt x="1912" y="1039"/>
                    </a:cubicBezTo>
                    <a:cubicBezTo>
                      <a:pt x="1916" y="1039"/>
                      <a:pt x="1916" y="1039"/>
                      <a:pt x="1916" y="1039"/>
                    </a:cubicBezTo>
                    <a:cubicBezTo>
                      <a:pt x="1918" y="1039"/>
                      <a:pt x="1918" y="1039"/>
                      <a:pt x="1918" y="1039"/>
                    </a:cubicBezTo>
                    <a:cubicBezTo>
                      <a:pt x="1919" y="1039"/>
                      <a:pt x="1919" y="1039"/>
                      <a:pt x="1919" y="1039"/>
                    </a:cubicBezTo>
                    <a:cubicBezTo>
                      <a:pt x="1920" y="1039"/>
                      <a:pt x="1920" y="1039"/>
                      <a:pt x="1920" y="1039"/>
                    </a:cubicBezTo>
                    <a:cubicBezTo>
                      <a:pt x="1921" y="1039"/>
                      <a:pt x="1921" y="1039"/>
                      <a:pt x="1921" y="1039"/>
                    </a:cubicBezTo>
                    <a:cubicBezTo>
                      <a:pt x="1922" y="1040"/>
                      <a:pt x="1922" y="1040"/>
                      <a:pt x="1922" y="1040"/>
                    </a:cubicBezTo>
                    <a:cubicBezTo>
                      <a:pt x="1923" y="1040"/>
                      <a:pt x="1923" y="1040"/>
                      <a:pt x="1923" y="1040"/>
                    </a:cubicBezTo>
                    <a:cubicBezTo>
                      <a:pt x="1924" y="1040"/>
                      <a:pt x="1924" y="1040"/>
                      <a:pt x="1924" y="1040"/>
                    </a:cubicBezTo>
                    <a:cubicBezTo>
                      <a:pt x="1925" y="1040"/>
                      <a:pt x="1925" y="1040"/>
                      <a:pt x="1925" y="1040"/>
                    </a:cubicBezTo>
                    <a:cubicBezTo>
                      <a:pt x="1928" y="1040"/>
                      <a:pt x="1928" y="1040"/>
                      <a:pt x="1928" y="1040"/>
                    </a:cubicBezTo>
                    <a:cubicBezTo>
                      <a:pt x="1927" y="1041"/>
                      <a:pt x="1927" y="1041"/>
                      <a:pt x="1927" y="1041"/>
                    </a:cubicBezTo>
                    <a:cubicBezTo>
                      <a:pt x="1928" y="1041"/>
                      <a:pt x="1928" y="1041"/>
                      <a:pt x="1928" y="1041"/>
                    </a:cubicBezTo>
                    <a:cubicBezTo>
                      <a:pt x="1929" y="1040"/>
                      <a:pt x="1929" y="1040"/>
                      <a:pt x="1929" y="1040"/>
                    </a:cubicBezTo>
                    <a:cubicBezTo>
                      <a:pt x="1931" y="1040"/>
                      <a:pt x="1931" y="1040"/>
                      <a:pt x="1931" y="1040"/>
                    </a:cubicBezTo>
                    <a:cubicBezTo>
                      <a:pt x="1932" y="1039"/>
                      <a:pt x="1932" y="1039"/>
                      <a:pt x="1932" y="1039"/>
                    </a:cubicBezTo>
                    <a:cubicBezTo>
                      <a:pt x="1933" y="1037"/>
                      <a:pt x="1933" y="1037"/>
                      <a:pt x="1933" y="1037"/>
                    </a:cubicBezTo>
                    <a:cubicBezTo>
                      <a:pt x="1935" y="1036"/>
                      <a:pt x="1935" y="1036"/>
                      <a:pt x="1935" y="1036"/>
                    </a:cubicBezTo>
                    <a:cubicBezTo>
                      <a:pt x="1936" y="1034"/>
                      <a:pt x="1936" y="1034"/>
                      <a:pt x="1936" y="1034"/>
                    </a:cubicBezTo>
                    <a:cubicBezTo>
                      <a:pt x="1937" y="1032"/>
                      <a:pt x="1937" y="1032"/>
                      <a:pt x="1937" y="1032"/>
                    </a:cubicBezTo>
                    <a:cubicBezTo>
                      <a:pt x="1939" y="1032"/>
                      <a:pt x="1939" y="1032"/>
                      <a:pt x="1939" y="1032"/>
                    </a:cubicBezTo>
                    <a:cubicBezTo>
                      <a:pt x="1940" y="1032"/>
                      <a:pt x="1940" y="1032"/>
                      <a:pt x="1940" y="1032"/>
                    </a:cubicBezTo>
                    <a:cubicBezTo>
                      <a:pt x="1942" y="1031"/>
                      <a:pt x="1942" y="1031"/>
                      <a:pt x="1942" y="1031"/>
                    </a:cubicBezTo>
                    <a:cubicBezTo>
                      <a:pt x="1945" y="1029"/>
                      <a:pt x="1945" y="1029"/>
                      <a:pt x="1945" y="1029"/>
                    </a:cubicBezTo>
                    <a:cubicBezTo>
                      <a:pt x="1948" y="1027"/>
                      <a:pt x="1948" y="1027"/>
                      <a:pt x="1948" y="1027"/>
                    </a:cubicBezTo>
                    <a:cubicBezTo>
                      <a:pt x="1949" y="1027"/>
                      <a:pt x="1949" y="1027"/>
                      <a:pt x="1949" y="1027"/>
                    </a:cubicBezTo>
                    <a:cubicBezTo>
                      <a:pt x="1950" y="1027"/>
                      <a:pt x="1950" y="1027"/>
                      <a:pt x="1950" y="1027"/>
                    </a:cubicBezTo>
                    <a:cubicBezTo>
                      <a:pt x="1952" y="1028"/>
                      <a:pt x="1952" y="1028"/>
                      <a:pt x="1952" y="1028"/>
                    </a:cubicBezTo>
                    <a:cubicBezTo>
                      <a:pt x="1954" y="1028"/>
                      <a:pt x="1954" y="1028"/>
                      <a:pt x="1954" y="1028"/>
                    </a:cubicBezTo>
                    <a:cubicBezTo>
                      <a:pt x="1955" y="1028"/>
                      <a:pt x="1955" y="1028"/>
                      <a:pt x="1955" y="1028"/>
                    </a:cubicBezTo>
                    <a:cubicBezTo>
                      <a:pt x="1958" y="1028"/>
                      <a:pt x="1958" y="1028"/>
                      <a:pt x="1958" y="1028"/>
                    </a:cubicBezTo>
                    <a:cubicBezTo>
                      <a:pt x="1961" y="1026"/>
                      <a:pt x="1961" y="1026"/>
                      <a:pt x="1961" y="1026"/>
                    </a:cubicBezTo>
                    <a:cubicBezTo>
                      <a:pt x="1963" y="1026"/>
                      <a:pt x="1963" y="1026"/>
                      <a:pt x="1963" y="1026"/>
                    </a:cubicBezTo>
                    <a:cubicBezTo>
                      <a:pt x="1965" y="1025"/>
                      <a:pt x="1965" y="1025"/>
                      <a:pt x="1965" y="1025"/>
                    </a:cubicBezTo>
                    <a:cubicBezTo>
                      <a:pt x="1966" y="1025"/>
                      <a:pt x="1966" y="1025"/>
                      <a:pt x="1966" y="1025"/>
                    </a:cubicBezTo>
                    <a:cubicBezTo>
                      <a:pt x="1967" y="1024"/>
                      <a:pt x="1967" y="1024"/>
                      <a:pt x="1967" y="1024"/>
                    </a:cubicBezTo>
                    <a:cubicBezTo>
                      <a:pt x="1970" y="1023"/>
                      <a:pt x="1970" y="1023"/>
                      <a:pt x="1970" y="1023"/>
                    </a:cubicBezTo>
                    <a:cubicBezTo>
                      <a:pt x="1977" y="1023"/>
                      <a:pt x="1977" y="1023"/>
                      <a:pt x="1977" y="1023"/>
                    </a:cubicBezTo>
                    <a:cubicBezTo>
                      <a:pt x="1979" y="1024"/>
                      <a:pt x="1979" y="1024"/>
                      <a:pt x="1979" y="1024"/>
                    </a:cubicBezTo>
                    <a:cubicBezTo>
                      <a:pt x="1981" y="1024"/>
                      <a:pt x="1981" y="1024"/>
                      <a:pt x="1981" y="1024"/>
                    </a:cubicBezTo>
                    <a:cubicBezTo>
                      <a:pt x="1983" y="1023"/>
                      <a:pt x="1983" y="1023"/>
                      <a:pt x="1983" y="1023"/>
                    </a:cubicBezTo>
                    <a:cubicBezTo>
                      <a:pt x="1984" y="1023"/>
                      <a:pt x="1984" y="1023"/>
                      <a:pt x="1984" y="1023"/>
                    </a:cubicBezTo>
                    <a:cubicBezTo>
                      <a:pt x="1986" y="1025"/>
                      <a:pt x="1986" y="1025"/>
                      <a:pt x="1986" y="1025"/>
                    </a:cubicBezTo>
                    <a:cubicBezTo>
                      <a:pt x="1988" y="1027"/>
                      <a:pt x="1988" y="1027"/>
                      <a:pt x="1988" y="1027"/>
                    </a:cubicBezTo>
                    <a:cubicBezTo>
                      <a:pt x="1989" y="1028"/>
                      <a:pt x="1989" y="1028"/>
                      <a:pt x="1989" y="1028"/>
                    </a:cubicBezTo>
                    <a:cubicBezTo>
                      <a:pt x="1989" y="1027"/>
                      <a:pt x="1989" y="1027"/>
                      <a:pt x="1989" y="1027"/>
                    </a:cubicBezTo>
                    <a:cubicBezTo>
                      <a:pt x="1990" y="1027"/>
                      <a:pt x="1990" y="1027"/>
                      <a:pt x="1990" y="1027"/>
                    </a:cubicBezTo>
                    <a:cubicBezTo>
                      <a:pt x="1991" y="1027"/>
                      <a:pt x="1991" y="1027"/>
                      <a:pt x="1991" y="1027"/>
                    </a:cubicBezTo>
                    <a:cubicBezTo>
                      <a:pt x="1992" y="1027"/>
                      <a:pt x="1992" y="1027"/>
                      <a:pt x="1992" y="1027"/>
                    </a:cubicBezTo>
                    <a:cubicBezTo>
                      <a:pt x="1993" y="1027"/>
                      <a:pt x="1993" y="1027"/>
                      <a:pt x="1993" y="1027"/>
                    </a:cubicBezTo>
                    <a:cubicBezTo>
                      <a:pt x="1994" y="1029"/>
                      <a:pt x="1994" y="1029"/>
                      <a:pt x="1994" y="1029"/>
                    </a:cubicBezTo>
                    <a:cubicBezTo>
                      <a:pt x="1996" y="1029"/>
                      <a:pt x="1996" y="1029"/>
                      <a:pt x="1996" y="1029"/>
                    </a:cubicBezTo>
                    <a:cubicBezTo>
                      <a:pt x="1999" y="1031"/>
                      <a:pt x="1999" y="1031"/>
                      <a:pt x="1999" y="1031"/>
                    </a:cubicBezTo>
                    <a:cubicBezTo>
                      <a:pt x="1999" y="1032"/>
                      <a:pt x="1999" y="1032"/>
                      <a:pt x="1999" y="1032"/>
                    </a:cubicBezTo>
                    <a:cubicBezTo>
                      <a:pt x="2000" y="1032"/>
                      <a:pt x="2000" y="1032"/>
                      <a:pt x="2000" y="1032"/>
                    </a:cubicBezTo>
                    <a:cubicBezTo>
                      <a:pt x="2001" y="1033"/>
                      <a:pt x="2001" y="1033"/>
                      <a:pt x="2001" y="1033"/>
                    </a:cubicBezTo>
                    <a:cubicBezTo>
                      <a:pt x="2000" y="1034"/>
                      <a:pt x="2000" y="1034"/>
                      <a:pt x="2000" y="1034"/>
                    </a:cubicBezTo>
                    <a:cubicBezTo>
                      <a:pt x="1999" y="1034"/>
                      <a:pt x="1999" y="1034"/>
                      <a:pt x="1999" y="1034"/>
                    </a:cubicBezTo>
                    <a:cubicBezTo>
                      <a:pt x="1999" y="1035"/>
                      <a:pt x="1999" y="1035"/>
                      <a:pt x="1999" y="1035"/>
                    </a:cubicBezTo>
                    <a:cubicBezTo>
                      <a:pt x="2000" y="1037"/>
                      <a:pt x="2000" y="1037"/>
                      <a:pt x="2000" y="1037"/>
                    </a:cubicBezTo>
                    <a:cubicBezTo>
                      <a:pt x="2001" y="1037"/>
                      <a:pt x="2001" y="1037"/>
                      <a:pt x="2001" y="1037"/>
                    </a:cubicBezTo>
                    <a:cubicBezTo>
                      <a:pt x="2002" y="1039"/>
                      <a:pt x="2002" y="1039"/>
                      <a:pt x="2002" y="1039"/>
                    </a:cubicBezTo>
                    <a:cubicBezTo>
                      <a:pt x="2003" y="1040"/>
                      <a:pt x="2003" y="1040"/>
                      <a:pt x="2003" y="1040"/>
                    </a:cubicBezTo>
                    <a:cubicBezTo>
                      <a:pt x="2003" y="1042"/>
                      <a:pt x="2003" y="1042"/>
                      <a:pt x="2003" y="1042"/>
                    </a:cubicBezTo>
                    <a:cubicBezTo>
                      <a:pt x="2004" y="1045"/>
                      <a:pt x="2004" y="1045"/>
                      <a:pt x="2004" y="1045"/>
                    </a:cubicBezTo>
                    <a:cubicBezTo>
                      <a:pt x="2004" y="1046"/>
                      <a:pt x="2004" y="1046"/>
                      <a:pt x="2004" y="1046"/>
                    </a:cubicBezTo>
                    <a:cubicBezTo>
                      <a:pt x="2004" y="1047"/>
                      <a:pt x="2004" y="1047"/>
                      <a:pt x="2004" y="1047"/>
                    </a:cubicBezTo>
                    <a:cubicBezTo>
                      <a:pt x="2004" y="1049"/>
                      <a:pt x="2004" y="1049"/>
                      <a:pt x="2004" y="1049"/>
                    </a:cubicBezTo>
                    <a:cubicBezTo>
                      <a:pt x="2003" y="1050"/>
                      <a:pt x="2003" y="1050"/>
                      <a:pt x="2003" y="1050"/>
                    </a:cubicBezTo>
                    <a:cubicBezTo>
                      <a:pt x="2003" y="1049"/>
                      <a:pt x="2003" y="1049"/>
                      <a:pt x="2003" y="1049"/>
                    </a:cubicBezTo>
                    <a:cubicBezTo>
                      <a:pt x="2002" y="1049"/>
                      <a:pt x="2002" y="1049"/>
                      <a:pt x="2002" y="1049"/>
                    </a:cubicBezTo>
                    <a:cubicBezTo>
                      <a:pt x="2003" y="1051"/>
                      <a:pt x="2003" y="1051"/>
                      <a:pt x="2003" y="1051"/>
                    </a:cubicBezTo>
                    <a:cubicBezTo>
                      <a:pt x="2004" y="1051"/>
                      <a:pt x="2004" y="1051"/>
                      <a:pt x="2004" y="1051"/>
                    </a:cubicBezTo>
                    <a:cubicBezTo>
                      <a:pt x="2005" y="1053"/>
                      <a:pt x="2005" y="1053"/>
                      <a:pt x="2005" y="1053"/>
                    </a:cubicBezTo>
                    <a:cubicBezTo>
                      <a:pt x="2006" y="1052"/>
                      <a:pt x="2006" y="1052"/>
                      <a:pt x="2006" y="1052"/>
                    </a:cubicBezTo>
                    <a:cubicBezTo>
                      <a:pt x="2007" y="1053"/>
                      <a:pt x="2007" y="1053"/>
                      <a:pt x="2007" y="1053"/>
                    </a:cubicBezTo>
                    <a:cubicBezTo>
                      <a:pt x="2007" y="1052"/>
                      <a:pt x="2007" y="1052"/>
                      <a:pt x="2007" y="1052"/>
                    </a:cubicBezTo>
                    <a:cubicBezTo>
                      <a:pt x="2006" y="1051"/>
                      <a:pt x="2006" y="1051"/>
                      <a:pt x="2006" y="1051"/>
                    </a:cubicBezTo>
                    <a:cubicBezTo>
                      <a:pt x="2007" y="1050"/>
                      <a:pt x="2007" y="1050"/>
                      <a:pt x="2007" y="1050"/>
                    </a:cubicBezTo>
                    <a:cubicBezTo>
                      <a:pt x="2008" y="1049"/>
                      <a:pt x="2008" y="1049"/>
                      <a:pt x="2008" y="1049"/>
                    </a:cubicBezTo>
                    <a:cubicBezTo>
                      <a:pt x="2009" y="1049"/>
                      <a:pt x="2009" y="1049"/>
                      <a:pt x="2009" y="1049"/>
                    </a:cubicBezTo>
                    <a:cubicBezTo>
                      <a:pt x="2009" y="1048"/>
                      <a:pt x="2009" y="1048"/>
                      <a:pt x="2009" y="1048"/>
                    </a:cubicBezTo>
                    <a:cubicBezTo>
                      <a:pt x="2010" y="1047"/>
                      <a:pt x="2010" y="1047"/>
                      <a:pt x="2010" y="1047"/>
                    </a:cubicBezTo>
                    <a:cubicBezTo>
                      <a:pt x="2011" y="1046"/>
                      <a:pt x="2011" y="1046"/>
                      <a:pt x="2011" y="1046"/>
                    </a:cubicBezTo>
                    <a:cubicBezTo>
                      <a:pt x="2012" y="1045"/>
                      <a:pt x="2012" y="1045"/>
                      <a:pt x="2012" y="1045"/>
                    </a:cubicBezTo>
                    <a:cubicBezTo>
                      <a:pt x="2014" y="1043"/>
                      <a:pt x="2014" y="1043"/>
                      <a:pt x="2014" y="1043"/>
                    </a:cubicBezTo>
                    <a:cubicBezTo>
                      <a:pt x="2015" y="1043"/>
                      <a:pt x="2015" y="1043"/>
                      <a:pt x="2015" y="1043"/>
                    </a:cubicBezTo>
                    <a:cubicBezTo>
                      <a:pt x="2017" y="1042"/>
                      <a:pt x="2017" y="1042"/>
                      <a:pt x="2017" y="1042"/>
                    </a:cubicBezTo>
                    <a:cubicBezTo>
                      <a:pt x="2018" y="1040"/>
                      <a:pt x="2018" y="1040"/>
                      <a:pt x="2018" y="1040"/>
                    </a:cubicBezTo>
                    <a:cubicBezTo>
                      <a:pt x="2019" y="1037"/>
                      <a:pt x="2019" y="1037"/>
                      <a:pt x="2019" y="1037"/>
                    </a:cubicBezTo>
                    <a:cubicBezTo>
                      <a:pt x="2021" y="1037"/>
                      <a:pt x="2021" y="1037"/>
                      <a:pt x="2021" y="1037"/>
                    </a:cubicBezTo>
                    <a:cubicBezTo>
                      <a:pt x="2022" y="1036"/>
                      <a:pt x="2022" y="1036"/>
                      <a:pt x="2022" y="1036"/>
                    </a:cubicBezTo>
                    <a:cubicBezTo>
                      <a:pt x="2021" y="1034"/>
                      <a:pt x="2021" y="1034"/>
                      <a:pt x="2021" y="1034"/>
                    </a:cubicBezTo>
                    <a:cubicBezTo>
                      <a:pt x="2022" y="1033"/>
                      <a:pt x="2022" y="1033"/>
                      <a:pt x="2022" y="1033"/>
                    </a:cubicBezTo>
                    <a:cubicBezTo>
                      <a:pt x="2023" y="1035"/>
                      <a:pt x="2023" y="1035"/>
                      <a:pt x="2023" y="1035"/>
                    </a:cubicBezTo>
                    <a:cubicBezTo>
                      <a:pt x="2023" y="1036"/>
                      <a:pt x="2023" y="1036"/>
                      <a:pt x="2023" y="1036"/>
                    </a:cubicBezTo>
                    <a:cubicBezTo>
                      <a:pt x="2023" y="1038"/>
                      <a:pt x="2023" y="1038"/>
                      <a:pt x="2023" y="1038"/>
                    </a:cubicBezTo>
                    <a:cubicBezTo>
                      <a:pt x="2022" y="1039"/>
                      <a:pt x="2022" y="1039"/>
                      <a:pt x="2022" y="1039"/>
                    </a:cubicBezTo>
                    <a:cubicBezTo>
                      <a:pt x="2021" y="1042"/>
                      <a:pt x="2021" y="1042"/>
                      <a:pt x="2021" y="1042"/>
                    </a:cubicBezTo>
                    <a:cubicBezTo>
                      <a:pt x="2019" y="1044"/>
                      <a:pt x="2019" y="1044"/>
                      <a:pt x="2019" y="1044"/>
                    </a:cubicBezTo>
                    <a:cubicBezTo>
                      <a:pt x="2018" y="1045"/>
                      <a:pt x="2018" y="1045"/>
                      <a:pt x="2018" y="1045"/>
                    </a:cubicBezTo>
                    <a:cubicBezTo>
                      <a:pt x="2018" y="1046"/>
                      <a:pt x="2018" y="1046"/>
                      <a:pt x="2018" y="1046"/>
                    </a:cubicBezTo>
                    <a:cubicBezTo>
                      <a:pt x="2018" y="1048"/>
                      <a:pt x="2018" y="1048"/>
                      <a:pt x="2018" y="1048"/>
                    </a:cubicBezTo>
                    <a:cubicBezTo>
                      <a:pt x="2016" y="1050"/>
                      <a:pt x="2016" y="1050"/>
                      <a:pt x="2016" y="1050"/>
                    </a:cubicBezTo>
                    <a:cubicBezTo>
                      <a:pt x="2017" y="1050"/>
                      <a:pt x="2017" y="1050"/>
                      <a:pt x="2017" y="1050"/>
                    </a:cubicBezTo>
                    <a:cubicBezTo>
                      <a:pt x="2016" y="1053"/>
                      <a:pt x="2016" y="1053"/>
                      <a:pt x="2016" y="1053"/>
                    </a:cubicBezTo>
                    <a:cubicBezTo>
                      <a:pt x="2013" y="1053"/>
                      <a:pt x="2013" y="1053"/>
                      <a:pt x="2013" y="1053"/>
                    </a:cubicBezTo>
                    <a:cubicBezTo>
                      <a:pt x="2012" y="1055"/>
                      <a:pt x="2012" y="1055"/>
                      <a:pt x="2012" y="1055"/>
                    </a:cubicBezTo>
                    <a:cubicBezTo>
                      <a:pt x="2011" y="1056"/>
                      <a:pt x="2011" y="1056"/>
                      <a:pt x="2011" y="1056"/>
                    </a:cubicBezTo>
                    <a:cubicBezTo>
                      <a:pt x="2013" y="1056"/>
                      <a:pt x="2013" y="1056"/>
                      <a:pt x="2013" y="1056"/>
                    </a:cubicBezTo>
                    <a:cubicBezTo>
                      <a:pt x="2015" y="1055"/>
                      <a:pt x="2015" y="1055"/>
                      <a:pt x="2015" y="1055"/>
                    </a:cubicBezTo>
                    <a:cubicBezTo>
                      <a:pt x="2017" y="1056"/>
                      <a:pt x="2017" y="1056"/>
                      <a:pt x="2017" y="1056"/>
                    </a:cubicBezTo>
                    <a:cubicBezTo>
                      <a:pt x="2019" y="1052"/>
                      <a:pt x="2019" y="1052"/>
                      <a:pt x="2019" y="1052"/>
                    </a:cubicBezTo>
                    <a:cubicBezTo>
                      <a:pt x="2020" y="1049"/>
                      <a:pt x="2020" y="1049"/>
                      <a:pt x="2020" y="1049"/>
                    </a:cubicBezTo>
                    <a:cubicBezTo>
                      <a:pt x="2021" y="1047"/>
                      <a:pt x="2021" y="1047"/>
                      <a:pt x="2021" y="1047"/>
                    </a:cubicBezTo>
                    <a:cubicBezTo>
                      <a:pt x="2022" y="1048"/>
                      <a:pt x="2022" y="1048"/>
                      <a:pt x="2022" y="1048"/>
                    </a:cubicBezTo>
                    <a:cubicBezTo>
                      <a:pt x="2022" y="1051"/>
                      <a:pt x="2022" y="1051"/>
                      <a:pt x="2022" y="1051"/>
                    </a:cubicBezTo>
                    <a:cubicBezTo>
                      <a:pt x="2023" y="1053"/>
                      <a:pt x="2023" y="1053"/>
                      <a:pt x="2023" y="1053"/>
                    </a:cubicBezTo>
                    <a:cubicBezTo>
                      <a:pt x="2022" y="1053"/>
                      <a:pt x="2022" y="1053"/>
                      <a:pt x="2022" y="1053"/>
                    </a:cubicBezTo>
                    <a:cubicBezTo>
                      <a:pt x="2022" y="1056"/>
                      <a:pt x="2022" y="1056"/>
                      <a:pt x="2022" y="1056"/>
                    </a:cubicBezTo>
                    <a:cubicBezTo>
                      <a:pt x="2021" y="1058"/>
                      <a:pt x="2021" y="1058"/>
                      <a:pt x="2021" y="1058"/>
                    </a:cubicBezTo>
                    <a:cubicBezTo>
                      <a:pt x="2019" y="1059"/>
                      <a:pt x="2019" y="1059"/>
                      <a:pt x="2019" y="1059"/>
                    </a:cubicBezTo>
                    <a:cubicBezTo>
                      <a:pt x="2019" y="1060"/>
                      <a:pt x="2019" y="1060"/>
                      <a:pt x="2019" y="1060"/>
                    </a:cubicBezTo>
                    <a:cubicBezTo>
                      <a:pt x="2020" y="1060"/>
                      <a:pt x="2020" y="1060"/>
                      <a:pt x="2020" y="1060"/>
                    </a:cubicBezTo>
                    <a:cubicBezTo>
                      <a:pt x="2022" y="1060"/>
                      <a:pt x="2022" y="1060"/>
                      <a:pt x="2022" y="1060"/>
                    </a:cubicBezTo>
                    <a:cubicBezTo>
                      <a:pt x="2023" y="1059"/>
                      <a:pt x="2023" y="1059"/>
                      <a:pt x="2023" y="1059"/>
                    </a:cubicBezTo>
                    <a:cubicBezTo>
                      <a:pt x="2024" y="1059"/>
                      <a:pt x="2024" y="1059"/>
                      <a:pt x="2024" y="1059"/>
                    </a:cubicBezTo>
                    <a:cubicBezTo>
                      <a:pt x="2025" y="1058"/>
                      <a:pt x="2025" y="1058"/>
                      <a:pt x="2025" y="1058"/>
                    </a:cubicBezTo>
                    <a:cubicBezTo>
                      <a:pt x="2026" y="1058"/>
                      <a:pt x="2026" y="1058"/>
                      <a:pt x="2026" y="1058"/>
                    </a:cubicBezTo>
                    <a:cubicBezTo>
                      <a:pt x="2027" y="1058"/>
                      <a:pt x="2027" y="1058"/>
                      <a:pt x="2027" y="1058"/>
                    </a:cubicBezTo>
                    <a:cubicBezTo>
                      <a:pt x="2026" y="1059"/>
                      <a:pt x="2026" y="1059"/>
                      <a:pt x="2026" y="1059"/>
                    </a:cubicBezTo>
                    <a:cubicBezTo>
                      <a:pt x="2026" y="1060"/>
                      <a:pt x="2026" y="1060"/>
                      <a:pt x="2026" y="1060"/>
                    </a:cubicBezTo>
                    <a:cubicBezTo>
                      <a:pt x="2025" y="1060"/>
                      <a:pt x="2025" y="1060"/>
                      <a:pt x="2025" y="1060"/>
                    </a:cubicBezTo>
                    <a:cubicBezTo>
                      <a:pt x="2024" y="1061"/>
                      <a:pt x="2024" y="1061"/>
                      <a:pt x="2024" y="1061"/>
                    </a:cubicBezTo>
                    <a:cubicBezTo>
                      <a:pt x="2025" y="1063"/>
                      <a:pt x="2025" y="1063"/>
                      <a:pt x="2025" y="1063"/>
                    </a:cubicBezTo>
                    <a:cubicBezTo>
                      <a:pt x="2026" y="1064"/>
                      <a:pt x="2026" y="1064"/>
                      <a:pt x="2026" y="1064"/>
                    </a:cubicBezTo>
                    <a:cubicBezTo>
                      <a:pt x="2027" y="1066"/>
                      <a:pt x="2027" y="1066"/>
                      <a:pt x="2027" y="1066"/>
                    </a:cubicBezTo>
                    <a:cubicBezTo>
                      <a:pt x="2027" y="1068"/>
                      <a:pt x="2027" y="1068"/>
                      <a:pt x="2027" y="1068"/>
                    </a:cubicBezTo>
                    <a:cubicBezTo>
                      <a:pt x="2027" y="1071"/>
                      <a:pt x="2027" y="1071"/>
                      <a:pt x="2027" y="1071"/>
                    </a:cubicBezTo>
                    <a:cubicBezTo>
                      <a:pt x="2025" y="1073"/>
                      <a:pt x="2025" y="1073"/>
                      <a:pt x="2025" y="1073"/>
                    </a:cubicBezTo>
                    <a:cubicBezTo>
                      <a:pt x="2025" y="1074"/>
                      <a:pt x="2025" y="1074"/>
                      <a:pt x="2025" y="1074"/>
                    </a:cubicBezTo>
                    <a:cubicBezTo>
                      <a:pt x="2025" y="1076"/>
                      <a:pt x="2025" y="1076"/>
                      <a:pt x="2025" y="1076"/>
                    </a:cubicBezTo>
                    <a:cubicBezTo>
                      <a:pt x="2026" y="1077"/>
                      <a:pt x="2026" y="1077"/>
                      <a:pt x="2026" y="1077"/>
                    </a:cubicBezTo>
                    <a:cubicBezTo>
                      <a:pt x="2027" y="1078"/>
                      <a:pt x="2027" y="1078"/>
                      <a:pt x="2027" y="1078"/>
                    </a:cubicBezTo>
                    <a:cubicBezTo>
                      <a:pt x="2027" y="1080"/>
                      <a:pt x="2027" y="1080"/>
                      <a:pt x="2027" y="1080"/>
                    </a:cubicBezTo>
                    <a:cubicBezTo>
                      <a:pt x="2030" y="1083"/>
                      <a:pt x="2030" y="1083"/>
                      <a:pt x="2030" y="1083"/>
                    </a:cubicBezTo>
                    <a:cubicBezTo>
                      <a:pt x="2031" y="1084"/>
                      <a:pt x="2031" y="1084"/>
                      <a:pt x="2031" y="1084"/>
                    </a:cubicBezTo>
                    <a:cubicBezTo>
                      <a:pt x="2033" y="1085"/>
                      <a:pt x="2033" y="1085"/>
                      <a:pt x="2033" y="1085"/>
                    </a:cubicBezTo>
                    <a:cubicBezTo>
                      <a:pt x="2033" y="1086"/>
                      <a:pt x="2033" y="1086"/>
                      <a:pt x="2033" y="1086"/>
                    </a:cubicBezTo>
                    <a:cubicBezTo>
                      <a:pt x="2034" y="1086"/>
                      <a:pt x="2034" y="1086"/>
                      <a:pt x="2034" y="1086"/>
                    </a:cubicBezTo>
                    <a:cubicBezTo>
                      <a:pt x="2035" y="1086"/>
                      <a:pt x="2035" y="1086"/>
                      <a:pt x="2035" y="1086"/>
                    </a:cubicBezTo>
                    <a:cubicBezTo>
                      <a:pt x="2037" y="1086"/>
                      <a:pt x="2037" y="1086"/>
                      <a:pt x="2037" y="1086"/>
                    </a:cubicBezTo>
                    <a:cubicBezTo>
                      <a:pt x="2038" y="1088"/>
                      <a:pt x="2038" y="1088"/>
                      <a:pt x="2038" y="1088"/>
                    </a:cubicBezTo>
                    <a:cubicBezTo>
                      <a:pt x="2040" y="1088"/>
                      <a:pt x="2040" y="1088"/>
                      <a:pt x="2040" y="1088"/>
                    </a:cubicBezTo>
                    <a:cubicBezTo>
                      <a:pt x="2041" y="1089"/>
                      <a:pt x="2041" y="1089"/>
                      <a:pt x="2041" y="1089"/>
                    </a:cubicBezTo>
                    <a:cubicBezTo>
                      <a:pt x="2042" y="1091"/>
                      <a:pt x="2042" y="1091"/>
                      <a:pt x="2042" y="1091"/>
                    </a:cubicBezTo>
                    <a:cubicBezTo>
                      <a:pt x="2043" y="1091"/>
                      <a:pt x="2043" y="1091"/>
                      <a:pt x="2043" y="1091"/>
                    </a:cubicBezTo>
                    <a:cubicBezTo>
                      <a:pt x="2044" y="1092"/>
                      <a:pt x="2044" y="1092"/>
                      <a:pt x="2044" y="1092"/>
                    </a:cubicBezTo>
                    <a:cubicBezTo>
                      <a:pt x="2045" y="1092"/>
                      <a:pt x="2045" y="1092"/>
                      <a:pt x="2045" y="1092"/>
                    </a:cubicBezTo>
                    <a:cubicBezTo>
                      <a:pt x="2046" y="1092"/>
                      <a:pt x="2046" y="1092"/>
                      <a:pt x="2046" y="1092"/>
                    </a:cubicBezTo>
                    <a:cubicBezTo>
                      <a:pt x="2048" y="1090"/>
                      <a:pt x="2048" y="1090"/>
                      <a:pt x="2048" y="1090"/>
                    </a:cubicBezTo>
                    <a:cubicBezTo>
                      <a:pt x="2049" y="1089"/>
                      <a:pt x="2049" y="1089"/>
                      <a:pt x="2049" y="1089"/>
                    </a:cubicBezTo>
                    <a:cubicBezTo>
                      <a:pt x="2050" y="1089"/>
                      <a:pt x="2050" y="1089"/>
                      <a:pt x="2050" y="1089"/>
                    </a:cubicBezTo>
                    <a:cubicBezTo>
                      <a:pt x="2052" y="1088"/>
                      <a:pt x="2052" y="1088"/>
                      <a:pt x="2052" y="1088"/>
                    </a:cubicBezTo>
                    <a:cubicBezTo>
                      <a:pt x="2053" y="1088"/>
                      <a:pt x="2053" y="1088"/>
                      <a:pt x="2053" y="1088"/>
                    </a:cubicBezTo>
                    <a:cubicBezTo>
                      <a:pt x="2053" y="1087"/>
                      <a:pt x="2053" y="1087"/>
                      <a:pt x="2053" y="1087"/>
                    </a:cubicBezTo>
                    <a:cubicBezTo>
                      <a:pt x="2052" y="1086"/>
                      <a:pt x="2052" y="1086"/>
                      <a:pt x="2052" y="1086"/>
                    </a:cubicBezTo>
                    <a:cubicBezTo>
                      <a:pt x="2055" y="1084"/>
                      <a:pt x="2055" y="1084"/>
                      <a:pt x="2055" y="1084"/>
                    </a:cubicBezTo>
                    <a:cubicBezTo>
                      <a:pt x="2057" y="1085"/>
                      <a:pt x="2057" y="1085"/>
                      <a:pt x="2057" y="1085"/>
                    </a:cubicBezTo>
                    <a:cubicBezTo>
                      <a:pt x="2057" y="1087"/>
                      <a:pt x="2057" y="1087"/>
                      <a:pt x="2057" y="1087"/>
                    </a:cubicBezTo>
                    <a:cubicBezTo>
                      <a:pt x="2054" y="1088"/>
                      <a:pt x="2054" y="1088"/>
                      <a:pt x="2054" y="1088"/>
                    </a:cubicBezTo>
                    <a:cubicBezTo>
                      <a:pt x="2055" y="1089"/>
                      <a:pt x="2055" y="1089"/>
                      <a:pt x="2055" y="1089"/>
                    </a:cubicBezTo>
                    <a:cubicBezTo>
                      <a:pt x="2056" y="1089"/>
                      <a:pt x="2056" y="1089"/>
                      <a:pt x="2056" y="1089"/>
                    </a:cubicBezTo>
                    <a:cubicBezTo>
                      <a:pt x="2056" y="1088"/>
                      <a:pt x="2056" y="1088"/>
                      <a:pt x="2056" y="1088"/>
                    </a:cubicBezTo>
                    <a:cubicBezTo>
                      <a:pt x="2058" y="1088"/>
                      <a:pt x="2058" y="1088"/>
                      <a:pt x="2058" y="1088"/>
                    </a:cubicBezTo>
                    <a:cubicBezTo>
                      <a:pt x="2059" y="1088"/>
                      <a:pt x="2059" y="1088"/>
                      <a:pt x="2059" y="1088"/>
                    </a:cubicBezTo>
                    <a:cubicBezTo>
                      <a:pt x="2059" y="1090"/>
                      <a:pt x="2059" y="1090"/>
                      <a:pt x="2059" y="1090"/>
                    </a:cubicBezTo>
                    <a:cubicBezTo>
                      <a:pt x="2058" y="1090"/>
                      <a:pt x="2058" y="1090"/>
                      <a:pt x="2058" y="1090"/>
                    </a:cubicBezTo>
                    <a:cubicBezTo>
                      <a:pt x="2057" y="1091"/>
                      <a:pt x="2057" y="1091"/>
                      <a:pt x="2057" y="1091"/>
                    </a:cubicBezTo>
                    <a:cubicBezTo>
                      <a:pt x="2059" y="1093"/>
                      <a:pt x="2059" y="1093"/>
                      <a:pt x="2059" y="1093"/>
                    </a:cubicBezTo>
                    <a:cubicBezTo>
                      <a:pt x="2059" y="1095"/>
                      <a:pt x="2059" y="1095"/>
                      <a:pt x="2059" y="1095"/>
                    </a:cubicBezTo>
                    <a:cubicBezTo>
                      <a:pt x="2060" y="1094"/>
                      <a:pt x="2060" y="1094"/>
                      <a:pt x="2060" y="1094"/>
                    </a:cubicBezTo>
                    <a:cubicBezTo>
                      <a:pt x="2060" y="1096"/>
                      <a:pt x="2060" y="1096"/>
                      <a:pt x="2060" y="1096"/>
                    </a:cubicBezTo>
                    <a:cubicBezTo>
                      <a:pt x="2061" y="1097"/>
                      <a:pt x="2061" y="1097"/>
                      <a:pt x="2061" y="1097"/>
                    </a:cubicBezTo>
                    <a:cubicBezTo>
                      <a:pt x="2062" y="1095"/>
                      <a:pt x="2062" y="1095"/>
                      <a:pt x="2062" y="1095"/>
                    </a:cubicBezTo>
                    <a:cubicBezTo>
                      <a:pt x="2062" y="1094"/>
                      <a:pt x="2062" y="1094"/>
                      <a:pt x="2062" y="1094"/>
                    </a:cubicBezTo>
                    <a:cubicBezTo>
                      <a:pt x="2061" y="1094"/>
                      <a:pt x="2061" y="1094"/>
                      <a:pt x="2061" y="1094"/>
                    </a:cubicBezTo>
                    <a:cubicBezTo>
                      <a:pt x="2062" y="1093"/>
                      <a:pt x="2062" y="1093"/>
                      <a:pt x="2062" y="1093"/>
                    </a:cubicBezTo>
                    <a:cubicBezTo>
                      <a:pt x="2063" y="1093"/>
                      <a:pt x="2063" y="1093"/>
                      <a:pt x="2063" y="1093"/>
                    </a:cubicBezTo>
                    <a:cubicBezTo>
                      <a:pt x="2063" y="1094"/>
                      <a:pt x="2063" y="1094"/>
                      <a:pt x="2063" y="1094"/>
                    </a:cubicBezTo>
                    <a:cubicBezTo>
                      <a:pt x="2064" y="1093"/>
                      <a:pt x="2064" y="1093"/>
                      <a:pt x="2064" y="1093"/>
                    </a:cubicBezTo>
                    <a:cubicBezTo>
                      <a:pt x="2065" y="1093"/>
                      <a:pt x="2065" y="1093"/>
                      <a:pt x="2065" y="1093"/>
                    </a:cubicBezTo>
                    <a:cubicBezTo>
                      <a:pt x="2065" y="1094"/>
                      <a:pt x="2065" y="1094"/>
                      <a:pt x="2065" y="1094"/>
                    </a:cubicBezTo>
                    <a:cubicBezTo>
                      <a:pt x="2066" y="1093"/>
                      <a:pt x="2066" y="1093"/>
                      <a:pt x="2066" y="1093"/>
                    </a:cubicBezTo>
                    <a:cubicBezTo>
                      <a:pt x="2067" y="1091"/>
                      <a:pt x="2067" y="1091"/>
                      <a:pt x="2067" y="1091"/>
                    </a:cubicBezTo>
                    <a:cubicBezTo>
                      <a:pt x="2070" y="1089"/>
                      <a:pt x="2070" y="1089"/>
                      <a:pt x="2070" y="1089"/>
                    </a:cubicBezTo>
                    <a:cubicBezTo>
                      <a:pt x="2072" y="1087"/>
                      <a:pt x="2072" y="1087"/>
                      <a:pt x="2072" y="1087"/>
                    </a:cubicBezTo>
                    <a:cubicBezTo>
                      <a:pt x="2073" y="1087"/>
                      <a:pt x="2073" y="1087"/>
                      <a:pt x="2073" y="1087"/>
                    </a:cubicBezTo>
                    <a:cubicBezTo>
                      <a:pt x="2075" y="1086"/>
                      <a:pt x="2075" y="1086"/>
                      <a:pt x="2075" y="1086"/>
                    </a:cubicBezTo>
                    <a:cubicBezTo>
                      <a:pt x="2080" y="1085"/>
                      <a:pt x="2080" y="1085"/>
                      <a:pt x="2080" y="1085"/>
                    </a:cubicBezTo>
                    <a:cubicBezTo>
                      <a:pt x="2084" y="1086"/>
                      <a:pt x="2084" y="1086"/>
                      <a:pt x="2084" y="1086"/>
                    </a:cubicBezTo>
                    <a:cubicBezTo>
                      <a:pt x="2085" y="1085"/>
                      <a:pt x="2085" y="1085"/>
                      <a:pt x="2085" y="1085"/>
                    </a:cubicBezTo>
                    <a:cubicBezTo>
                      <a:pt x="2085" y="1084"/>
                      <a:pt x="2085" y="1084"/>
                      <a:pt x="2085" y="1084"/>
                    </a:cubicBezTo>
                    <a:cubicBezTo>
                      <a:pt x="2086" y="1084"/>
                      <a:pt x="2086" y="1084"/>
                      <a:pt x="2086" y="1084"/>
                    </a:cubicBezTo>
                    <a:cubicBezTo>
                      <a:pt x="2088" y="1083"/>
                      <a:pt x="2088" y="1083"/>
                      <a:pt x="2088" y="1083"/>
                    </a:cubicBezTo>
                    <a:cubicBezTo>
                      <a:pt x="2089" y="1081"/>
                      <a:pt x="2089" y="1081"/>
                      <a:pt x="2089" y="1081"/>
                    </a:cubicBezTo>
                    <a:cubicBezTo>
                      <a:pt x="2088" y="1078"/>
                      <a:pt x="2088" y="1078"/>
                      <a:pt x="2088" y="1078"/>
                    </a:cubicBezTo>
                    <a:cubicBezTo>
                      <a:pt x="2088" y="1077"/>
                      <a:pt x="2088" y="1077"/>
                      <a:pt x="2088" y="1077"/>
                    </a:cubicBezTo>
                    <a:cubicBezTo>
                      <a:pt x="2090" y="1075"/>
                      <a:pt x="2090" y="1075"/>
                      <a:pt x="2090" y="1075"/>
                    </a:cubicBezTo>
                    <a:cubicBezTo>
                      <a:pt x="2090" y="1071"/>
                      <a:pt x="2090" y="1071"/>
                      <a:pt x="2090" y="1071"/>
                    </a:cubicBezTo>
                    <a:cubicBezTo>
                      <a:pt x="2091" y="1070"/>
                      <a:pt x="2091" y="1070"/>
                      <a:pt x="2091" y="1070"/>
                    </a:cubicBezTo>
                    <a:cubicBezTo>
                      <a:pt x="2092" y="1067"/>
                      <a:pt x="2092" y="1067"/>
                      <a:pt x="2092" y="1067"/>
                    </a:cubicBezTo>
                    <a:cubicBezTo>
                      <a:pt x="2093" y="1067"/>
                      <a:pt x="2093" y="1067"/>
                      <a:pt x="2093" y="1067"/>
                    </a:cubicBezTo>
                    <a:cubicBezTo>
                      <a:pt x="2093" y="1065"/>
                      <a:pt x="2093" y="1065"/>
                      <a:pt x="2093" y="1065"/>
                    </a:cubicBezTo>
                    <a:cubicBezTo>
                      <a:pt x="2097" y="1061"/>
                      <a:pt x="2097" y="1061"/>
                      <a:pt x="2097" y="1061"/>
                    </a:cubicBezTo>
                    <a:cubicBezTo>
                      <a:pt x="2098" y="1061"/>
                      <a:pt x="2098" y="1061"/>
                      <a:pt x="2098" y="1061"/>
                    </a:cubicBezTo>
                    <a:cubicBezTo>
                      <a:pt x="2098" y="1058"/>
                      <a:pt x="2098" y="1058"/>
                      <a:pt x="2098" y="1058"/>
                    </a:cubicBezTo>
                    <a:cubicBezTo>
                      <a:pt x="2100" y="1056"/>
                      <a:pt x="2100" y="1056"/>
                      <a:pt x="2100" y="1056"/>
                    </a:cubicBezTo>
                    <a:cubicBezTo>
                      <a:pt x="2101" y="1053"/>
                      <a:pt x="2101" y="1053"/>
                      <a:pt x="2101" y="1053"/>
                    </a:cubicBezTo>
                    <a:cubicBezTo>
                      <a:pt x="2102" y="1052"/>
                      <a:pt x="2102" y="1052"/>
                      <a:pt x="2102" y="1052"/>
                    </a:cubicBezTo>
                    <a:cubicBezTo>
                      <a:pt x="2102" y="1050"/>
                      <a:pt x="2102" y="1050"/>
                      <a:pt x="2102" y="1050"/>
                    </a:cubicBezTo>
                    <a:cubicBezTo>
                      <a:pt x="2103" y="1050"/>
                      <a:pt x="2103" y="1050"/>
                      <a:pt x="2103" y="1050"/>
                    </a:cubicBezTo>
                    <a:cubicBezTo>
                      <a:pt x="2104" y="1047"/>
                      <a:pt x="2104" y="1047"/>
                      <a:pt x="2104" y="1047"/>
                    </a:cubicBezTo>
                    <a:cubicBezTo>
                      <a:pt x="2103" y="1047"/>
                      <a:pt x="2103" y="1047"/>
                      <a:pt x="2103" y="1047"/>
                    </a:cubicBezTo>
                    <a:cubicBezTo>
                      <a:pt x="2105" y="1046"/>
                      <a:pt x="2105" y="1046"/>
                      <a:pt x="2105" y="1046"/>
                    </a:cubicBezTo>
                    <a:cubicBezTo>
                      <a:pt x="2107" y="1044"/>
                      <a:pt x="2107" y="1044"/>
                      <a:pt x="2107" y="1044"/>
                    </a:cubicBezTo>
                    <a:cubicBezTo>
                      <a:pt x="2108" y="1043"/>
                      <a:pt x="2108" y="1043"/>
                      <a:pt x="2108" y="1043"/>
                    </a:cubicBezTo>
                    <a:cubicBezTo>
                      <a:pt x="2109" y="1041"/>
                      <a:pt x="2109" y="1041"/>
                      <a:pt x="2109" y="1041"/>
                    </a:cubicBezTo>
                    <a:cubicBezTo>
                      <a:pt x="2110" y="1040"/>
                      <a:pt x="2110" y="1040"/>
                      <a:pt x="2110" y="1040"/>
                    </a:cubicBezTo>
                    <a:cubicBezTo>
                      <a:pt x="2110" y="1039"/>
                      <a:pt x="2110" y="1039"/>
                      <a:pt x="2110" y="1039"/>
                    </a:cubicBezTo>
                    <a:cubicBezTo>
                      <a:pt x="2112" y="1039"/>
                      <a:pt x="2112" y="1039"/>
                      <a:pt x="2112" y="1039"/>
                    </a:cubicBezTo>
                    <a:cubicBezTo>
                      <a:pt x="2114" y="1038"/>
                      <a:pt x="2114" y="1038"/>
                      <a:pt x="2114" y="1038"/>
                    </a:cubicBezTo>
                    <a:cubicBezTo>
                      <a:pt x="2115" y="1036"/>
                      <a:pt x="2115" y="1036"/>
                      <a:pt x="2115" y="1036"/>
                    </a:cubicBezTo>
                    <a:cubicBezTo>
                      <a:pt x="2114" y="1035"/>
                      <a:pt x="2114" y="1035"/>
                      <a:pt x="2114" y="1035"/>
                    </a:cubicBezTo>
                    <a:cubicBezTo>
                      <a:pt x="2115" y="1034"/>
                      <a:pt x="2115" y="1034"/>
                      <a:pt x="2115" y="1034"/>
                    </a:cubicBezTo>
                    <a:cubicBezTo>
                      <a:pt x="2117" y="1033"/>
                      <a:pt x="2117" y="1033"/>
                      <a:pt x="2117" y="1033"/>
                    </a:cubicBezTo>
                    <a:cubicBezTo>
                      <a:pt x="2117" y="1031"/>
                      <a:pt x="2117" y="1031"/>
                      <a:pt x="2117" y="1031"/>
                    </a:cubicBezTo>
                    <a:cubicBezTo>
                      <a:pt x="2118" y="1031"/>
                      <a:pt x="2118" y="1031"/>
                      <a:pt x="2118" y="1031"/>
                    </a:cubicBezTo>
                    <a:cubicBezTo>
                      <a:pt x="2120" y="1028"/>
                      <a:pt x="2120" y="1028"/>
                      <a:pt x="2120" y="1028"/>
                    </a:cubicBezTo>
                    <a:cubicBezTo>
                      <a:pt x="2119" y="1027"/>
                      <a:pt x="2119" y="1027"/>
                      <a:pt x="2119" y="1027"/>
                    </a:cubicBezTo>
                    <a:cubicBezTo>
                      <a:pt x="2120" y="1025"/>
                      <a:pt x="2120" y="1025"/>
                      <a:pt x="2120" y="1025"/>
                    </a:cubicBezTo>
                    <a:cubicBezTo>
                      <a:pt x="2120" y="1024"/>
                      <a:pt x="2120" y="1024"/>
                      <a:pt x="2120" y="1024"/>
                    </a:cubicBezTo>
                    <a:cubicBezTo>
                      <a:pt x="2122" y="1019"/>
                      <a:pt x="2122" y="1019"/>
                      <a:pt x="2122" y="1019"/>
                    </a:cubicBezTo>
                    <a:cubicBezTo>
                      <a:pt x="2122" y="1017"/>
                      <a:pt x="2122" y="1017"/>
                      <a:pt x="2122" y="1017"/>
                    </a:cubicBezTo>
                    <a:cubicBezTo>
                      <a:pt x="2124" y="1013"/>
                      <a:pt x="2124" y="1013"/>
                      <a:pt x="2124" y="1013"/>
                    </a:cubicBezTo>
                    <a:cubicBezTo>
                      <a:pt x="2124" y="1012"/>
                      <a:pt x="2124" y="1012"/>
                      <a:pt x="2124" y="1012"/>
                    </a:cubicBezTo>
                    <a:cubicBezTo>
                      <a:pt x="2125" y="1009"/>
                      <a:pt x="2125" y="1009"/>
                      <a:pt x="2125" y="1009"/>
                    </a:cubicBezTo>
                    <a:cubicBezTo>
                      <a:pt x="2127" y="1007"/>
                      <a:pt x="2127" y="1007"/>
                      <a:pt x="2127" y="1007"/>
                    </a:cubicBezTo>
                    <a:cubicBezTo>
                      <a:pt x="2128" y="1006"/>
                      <a:pt x="2128" y="1006"/>
                      <a:pt x="2128" y="1006"/>
                    </a:cubicBezTo>
                    <a:cubicBezTo>
                      <a:pt x="2127" y="1004"/>
                      <a:pt x="2127" y="1004"/>
                      <a:pt x="2127" y="1004"/>
                    </a:cubicBezTo>
                    <a:cubicBezTo>
                      <a:pt x="2128" y="1002"/>
                      <a:pt x="2128" y="1002"/>
                      <a:pt x="2128" y="1002"/>
                    </a:cubicBezTo>
                    <a:cubicBezTo>
                      <a:pt x="2127" y="1000"/>
                      <a:pt x="2127" y="1000"/>
                      <a:pt x="2127" y="1000"/>
                    </a:cubicBezTo>
                    <a:cubicBezTo>
                      <a:pt x="2127" y="998"/>
                      <a:pt x="2127" y="998"/>
                      <a:pt x="2127" y="998"/>
                    </a:cubicBezTo>
                    <a:cubicBezTo>
                      <a:pt x="2127" y="996"/>
                      <a:pt x="2127" y="996"/>
                      <a:pt x="2127" y="996"/>
                    </a:cubicBezTo>
                    <a:cubicBezTo>
                      <a:pt x="2126" y="995"/>
                      <a:pt x="2126" y="995"/>
                      <a:pt x="2126" y="995"/>
                    </a:cubicBezTo>
                    <a:cubicBezTo>
                      <a:pt x="2126" y="994"/>
                      <a:pt x="2126" y="994"/>
                      <a:pt x="2126" y="994"/>
                    </a:cubicBezTo>
                    <a:cubicBezTo>
                      <a:pt x="2127" y="993"/>
                      <a:pt x="2127" y="993"/>
                      <a:pt x="2127" y="993"/>
                    </a:cubicBezTo>
                    <a:cubicBezTo>
                      <a:pt x="2127" y="992"/>
                      <a:pt x="2127" y="992"/>
                      <a:pt x="2127" y="992"/>
                    </a:cubicBezTo>
                    <a:cubicBezTo>
                      <a:pt x="2128" y="990"/>
                      <a:pt x="2128" y="990"/>
                      <a:pt x="2128" y="990"/>
                    </a:cubicBezTo>
                    <a:cubicBezTo>
                      <a:pt x="2128" y="989"/>
                      <a:pt x="2128" y="989"/>
                      <a:pt x="2128" y="989"/>
                    </a:cubicBezTo>
                    <a:cubicBezTo>
                      <a:pt x="2128" y="986"/>
                      <a:pt x="2128" y="986"/>
                      <a:pt x="2128" y="986"/>
                    </a:cubicBezTo>
                    <a:cubicBezTo>
                      <a:pt x="2128" y="984"/>
                      <a:pt x="2128" y="984"/>
                      <a:pt x="2128" y="984"/>
                    </a:cubicBezTo>
                    <a:cubicBezTo>
                      <a:pt x="2127" y="982"/>
                      <a:pt x="2127" y="982"/>
                      <a:pt x="2127" y="982"/>
                    </a:cubicBezTo>
                    <a:cubicBezTo>
                      <a:pt x="2127" y="980"/>
                      <a:pt x="2127" y="980"/>
                      <a:pt x="2127" y="980"/>
                    </a:cubicBezTo>
                    <a:cubicBezTo>
                      <a:pt x="2128" y="978"/>
                      <a:pt x="2128" y="978"/>
                      <a:pt x="2128" y="978"/>
                    </a:cubicBezTo>
                    <a:cubicBezTo>
                      <a:pt x="2126" y="978"/>
                      <a:pt x="2126" y="978"/>
                      <a:pt x="2126" y="978"/>
                    </a:cubicBezTo>
                    <a:cubicBezTo>
                      <a:pt x="2126" y="977"/>
                      <a:pt x="2126" y="977"/>
                      <a:pt x="2126" y="977"/>
                    </a:cubicBezTo>
                    <a:close/>
                    <a:moveTo>
                      <a:pt x="2057" y="1089"/>
                    </a:moveTo>
                    <a:cubicBezTo>
                      <a:pt x="2057" y="1089"/>
                      <a:pt x="2057" y="1089"/>
                      <a:pt x="2056" y="1089"/>
                    </a:cubicBezTo>
                    <a:cubicBezTo>
                      <a:pt x="2056" y="1089"/>
                      <a:pt x="2056" y="1089"/>
                      <a:pt x="2057" y="1090"/>
                    </a:cubicBezTo>
                    <a:cubicBezTo>
                      <a:pt x="2057" y="1090"/>
                      <a:pt x="2057" y="1090"/>
                      <a:pt x="2057" y="1089"/>
                    </a:cubicBezTo>
                    <a:close/>
                    <a:moveTo>
                      <a:pt x="2068" y="1105"/>
                    </a:moveTo>
                    <a:cubicBezTo>
                      <a:pt x="2067" y="1106"/>
                      <a:pt x="2067" y="1106"/>
                      <a:pt x="2067" y="1106"/>
                    </a:cubicBezTo>
                    <a:cubicBezTo>
                      <a:pt x="2068" y="1107"/>
                      <a:pt x="2068" y="1107"/>
                      <a:pt x="2068" y="1107"/>
                    </a:cubicBezTo>
                    <a:cubicBezTo>
                      <a:pt x="2068" y="1108"/>
                      <a:pt x="2068" y="1108"/>
                      <a:pt x="2068" y="1108"/>
                    </a:cubicBezTo>
                    <a:cubicBezTo>
                      <a:pt x="2071" y="1107"/>
                      <a:pt x="2071" y="1107"/>
                      <a:pt x="2071" y="1107"/>
                    </a:cubicBezTo>
                    <a:cubicBezTo>
                      <a:pt x="2071" y="1106"/>
                      <a:pt x="2071" y="1106"/>
                      <a:pt x="2071" y="1106"/>
                    </a:cubicBezTo>
                    <a:cubicBezTo>
                      <a:pt x="2068" y="1104"/>
                      <a:pt x="2068" y="1104"/>
                      <a:pt x="2068" y="1104"/>
                    </a:cubicBezTo>
                    <a:cubicBezTo>
                      <a:pt x="2068" y="1105"/>
                      <a:pt x="2068" y="1105"/>
                      <a:pt x="2068" y="1105"/>
                    </a:cubicBezTo>
                    <a:close/>
                    <a:moveTo>
                      <a:pt x="2068" y="1109"/>
                    </a:moveTo>
                    <a:cubicBezTo>
                      <a:pt x="2067" y="1109"/>
                      <a:pt x="2067" y="1109"/>
                      <a:pt x="2067" y="1109"/>
                    </a:cubicBezTo>
                    <a:cubicBezTo>
                      <a:pt x="2067" y="1110"/>
                      <a:pt x="2067" y="1110"/>
                      <a:pt x="2067" y="1110"/>
                    </a:cubicBezTo>
                    <a:cubicBezTo>
                      <a:pt x="2069" y="1110"/>
                      <a:pt x="2069" y="1110"/>
                      <a:pt x="2069" y="1110"/>
                    </a:cubicBezTo>
                    <a:cubicBezTo>
                      <a:pt x="2070" y="1111"/>
                      <a:pt x="2070" y="1111"/>
                      <a:pt x="2070" y="1111"/>
                    </a:cubicBezTo>
                    <a:cubicBezTo>
                      <a:pt x="2071" y="1110"/>
                      <a:pt x="2071" y="1110"/>
                      <a:pt x="2071" y="1110"/>
                    </a:cubicBezTo>
                    <a:cubicBezTo>
                      <a:pt x="2069" y="1109"/>
                      <a:pt x="2069" y="1109"/>
                      <a:pt x="2069" y="1109"/>
                    </a:cubicBezTo>
                    <a:cubicBezTo>
                      <a:pt x="2068" y="1109"/>
                      <a:pt x="2068" y="1109"/>
                      <a:pt x="2068" y="1109"/>
                    </a:cubicBezTo>
                    <a:close/>
                    <a:moveTo>
                      <a:pt x="2028" y="879"/>
                    </a:moveTo>
                    <a:cubicBezTo>
                      <a:pt x="2028" y="879"/>
                      <a:pt x="2028" y="879"/>
                      <a:pt x="2029" y="880"/>
                    </a:cubicBezTo>
                    <a:cubicBezTo>
                      <a:pt x="2029" y="880"/>
                      <a:pt x="2029" y="880"/>
                      <a:pt x="2030" y="879"/>
                    </a:cubicBezTo>
                    <a:cubicBezTo>
                      <a:pt x="2030" y="879"/>
                      <a:pt x="2030" y="879"/>
                      <a:pt x="2028" y="879"/>
                    </a:cubicBezTo>
                    <a:close/>
                    <a:moveTo>
                      <a:pt x="2029" y="880"/>
                    </a:moveTo>
                    <a:cubicBezTo>
                      <a:pt x="2029" y="881"/>
                      <a:pt x="2029" y="881"/>
                      <a:pt x="2029" y="881"/>
                    </a:cubicBezTo>
                    <a:cubicBezTo>
                      <a:pt x="2030" y="880"/>
                      <a:pt x="2030" y="880"/>
                      <a:pt x="2030" y="880"/>
                    </a:cubicBezTo>
                    <a:cubicBezTo>
                      <a:pt x="2029" y="880"/>
                      <a:pt x="2029" y="880"/>
                      <a:pt x="2029" y="880"/>
                    </a:cubicBezTo>
                    <a:close/>
                    <a:moveTo>
                      <a:pt x="1997" y="878"/>
                    </a:moveTo>
                    <a:cubicBezTo>
                      <a:pt x="1997" y="878"/>
                      <a:pt x="1997" y="878"/>
                      <a:pt x="1996" y="875"/>
                    </a:cubicBezTo>
                    <a:cubicBezTo>
                      <a:pt x="1996" y="875"/>
                      <a:pt x="1996" y="875"/>
                      <a:pt x="1995" y="876"/>
                    </a:cubicBezTo>
                    <a:cubicBezTo>
                      <a:pt x="1995" y="876"/>
                      <a:pt x="1995" y="876"/>
                      <a:pt x="1996" y="876"/>
                    </a:cubicBezTo>
                    <a:cubicBezTo>
                      <a:pt x="1996" y="876"/>
                      <a:pt x="1996" y="876"/>
                      <a:pt x="1995" y="877"/>
                    </a:cubicBezTo>
                    <a:cubicBezTo>
                      <a:pt x="1995" y="877"/>
                      <a:pt x="1995" y="877"/>
                      <a:pt x="1995" y="878"/>
                    </a:cubicBezTo>
                    <a:cubicBezTo>
                      <a:pt x="1995" y="878"/>
                      <a:pt x="1995" y="878"/>
                      <a:pt x="1996" y="878"/>
                    </a:cubicBezTo>
                    <a:cubicBezTo>
                      <a:pt x="1996" y="878"/>
                      <a:pt x="1996" y="878"/>
                      <a:pt x="1997" y="878"/>
                    </a:cubicBezTo>
                    <a:close/>
                    <a:moveTo>
                      <a:pt x="2072" y="868"/>
                    </a:moveTo>
                    <a:cubicBezTo>
                      <a:pt x="2073" y="867"/>
                      <a:pt x="2073" y="867"/>
                      <a:pt x="2073" y="867"/>
                    </a:cubicBezTo>
                    <a:cubicBezTo>
                      <a:pt x="2072" y="867"/>
                      <a:pt x="2072" y="867"/>
                      <a:pt x="2072" y="867"/>
                    </a:cubicBezTo>
                    <a:cubicBezTo>
                      <a:pt x="2072" y="868"/>
                      <a:pt x="2072" y="868"/>
                      <a:pt x="2072" y="868"/>
                    </a:cubicBezTo>
                    <a:close/>
                    <a:moveTo>
                      <a:pt x="2261" y="1101"/>
                    </a:moveTo>
                    <a:cubicBezTo>
                      <a:pt x="2260" y="1100"/>
                      <a:pt x="2260" y="1100"/>
                      <a:pt x="2260" y="1100"/>
                    </a:cubicBezTo>
                    <a:cubicBezTo>
                      <a:pt x="2261" y="1100"/>
                      <a:pt x="2261" y="1100"/>
                      <a:pt x="2261" y="1100"/>
                    </a:cubicBezTo>
                    <a:cubicBezTo>
                      <a:pt x="2260" y="1099"/>
                      <a:pt x="2260" y="1099"/>
                      <a:pt x="2260" y="1099"/>
                    </a:cubicBezTo>
                    <a:cubicBezTo>
                      <a:pt x="2258" y="1100"/>
                      <a:pt x="2258" y="1100"/>
                      <a:pt x="2258" y="1100"/>
                    </a:cubicBezTo>
                    <a:cubicBezTo>
                      <a:pt x="2256" y="1103"/>
                      <a:pt x="2256" y="1103"/>
                      <a:pt x="2256" y="1103"/>
                    </a:cubicBezTo>
                    <a:cubicBezTo>
                      <a:pt x="2254" y="1103"/>
                      <a:pt x="2254" y="1103"/>
                      <a:pt x="2254" y="1103"/>
                    </a:cubicBezTo>
                    <a:cubicBezTo>
                      <a:pt x="2252" y="1103"/>
                      <a:pt x="2252" y="1103"/>
                      <a:pt x="2252" y="1103"/>
                    </a:cubicBezTo>
                    <a:cubicBezTo>
                      <a:pt x="2250" y="1100"/>
                      <a:pt x="2250" y="1100"/>
                      <a:pt x="2250" y="1100"/>
                    </a:cubicBezTo>
                    <a:cubicBezTo>
                      <a:pt x="2249" y="1100"/>
                      <a:pt x="2249" y="1100"/>
                      <a:pt x="2249" y="1100"/>
                    </a:cubicBezTo>
                    <a:cubicBezTo>
                      <a:pt x="2248" y="1099"/>
                      <a:pt x="2248" y="1099"/>
                      <a:pt x="2248" y="1099"/>
                    </a:cubicBezTo>
                    <a:cubicBezTo>
                      <a:pt x="2248" y="1098"/>
                      <a:pt x="2248" y="1098"/>
                      <a:pt x="2248" y="1098"/>
                    </a:cubicBezTo>
                    <a:cubicBezTo>
                      <a:pt x="2249" y="1097"/>
                      <a:pt x="2249" y="1097"/>
                      <a:pt x="2249" y="1097"/>
                    </a:cubicBezTo>
                    <a:cubicBezTo>
                      <a:pt x="2249" y="1096"/>
                      <a:pt x="2249" y="1096"/>
                      <a:pt x="2249" y="1096"/>
                    </a:cubicBezTo>
                    <a:cubicBezTo>
                      <a:pt x="2248" y="1094"/>
                      <a:pt x="2248" y="1094"/>
                      <a:pt x="2248" y="1094"/>
                    </a:cubicBezTo>
                    <a:cubicBezTo>
                      <a:pt x="2248" y="1093"/>
                      <a:pt x="2248" y="1093"/>
                      <a:pt x="2248" y="1093"/>
                    </a:cubicBezTo>
                    <a:cubicBezTo>
                      <a:pt x="2247" y="1092"/>
                      <a:pt x="2247" y="1092"/>
                      <a:pt x="2247" y="1092"/>
                    </a:cubicBezTo>
                    <a:cubicBezTo>
                      <a:pt x="2248" y="1091"/>
                      <a:pt x="2248" y="1091"/>
                      <a:pt x="2248" y="1091"/>
                    </a:cubicBezTo>
                    <a:cubicBezTo>
                      <a:pt x="2248" y="1090"/>
                      <a:pt x="2248" y="1090"/>
                      <a:pt x="2248" y="1090"/>
                    </a:cubicBezTo>
                    <a:cubicBezTo>
                      <a:pt x="2247" y="1090"/>
                      <a:pt x="2247" y="1090"/>
                      <a:pt x="2247" y="1090"/>
                    </a:cubicBezTo>
                    <a:cubicBezTo>
                      <a:pt x="2247" y="1089"/>
                      <a:pt x="2247" y="1089"/>
                      <a:pt x="2247" y="1089"/>
                    </a:cubicBezTo>
                    <a:cubicBezTo>
                      <a:pt x="2247" y="1088"/>
                      <a:pt x="2247" y="1088"/>
                      <a:pt x="2247" y="1088"/>
                    </a:cubicBezTo>
                    <a:cubicBezTo>
                      <a:pt x="2246" y="1088"/>
                      <a:pt x="2246" y="1088"/>
                      <a:pt x="2246" y="1088"/>
                    </a:cubicBezTo>
                    <a:cubicBezTo>
                      <a:pt x="2245" y="1088"/>
                      <a:pt x="2245" y="1088"/>
                      <a:pt x="2245" y="1088"/>
                    </a:cubicBezTo>
                    <a:cubicBezTo>
                      <a:pt x="2246" y="1089"/>
                      <a:pt x="2246" y="1089"/>
                      <a:pt x="2246" y="1089"/>
                    </a:cubicBezTo>
                    <a:cubicBezTo>
                      <a:pt x="2246" y="1090"/>
                      <a:pt x="2246" y="1090"/>
                      <a:pt x="2246" y="1090"/>
                    </a:cubicBezTo>
                    <a:cubicBezTo>
                      <a:pt x="2246" y="1091"/>
                      <a:pt x="2246" y="1091"/>
                      <a:pt x="2246" y="1091"/>
                    </a:cubicBezTo>
                    <a:cubicBezTo>
                      <a:pt x="2245" y="1092"/>
                      <a:pt x="2245" y="1092"/>
                      <a:pt x="2245" y="1092"/>
                    </a:cubicBezTo>
                    <a:cubicBezTo>
                      <a:pt x="2246" y="1094"/>
                      <a:pt x="2246" y="1094"/>
                      <a:pt x="2246" y="1094"/>
                    </a:cubicBezTo>
                    <a:cubicBezTo>
                      <a:pt x="2245" y="1095"/>
                      <a:pt x="2245" y="1095"/>
                      <a:pt x="2245" y="1095"/>
                    </a:cubicBezTo>
                    <a:cubicBezTo>
                      <a:pt x="2244" y="1094"/>
                      <a:pt x="2244" y="1094"/>
                      <a:pt x="2244" y="1094"/>
                    </a:cubicBezTo>
                    <a:cubicBezTo>
                      <a:pt x="2244" y="1093"/>
                      <a:pt x="2244" y="1093"/>
                      <a:pt x="2244" y="1093"/>
                    </a:cubicBezTo>
                    <a:cubicBezTo>
                      <a:pt x="2243" y="1093"/>
                      <a:pt x="2243" y="1093"/>
                      <a:pt x="2243" y="1093"/>
                    </a:cubicBezTo>
                    <a:cubicBezTo>
                      <a:pt x="2243" y="1092"/>
                      <a:pt x="2243" y="1092"/>
                      <a:pt x="2243" y="1092"/>
                    </a:cubicBezTo>
                    <a:cubicBezTo>
                      <a:pt x="2242" y="1091"/>
                      <a:pt x="2242" y="1091"/>
                      <a:pt x="2242" y="1091"/>
                    </a:cubicBezTo>
                    <a:cubicBezTo>
                      <a:pt x="2241" y="1092"/>
                      <a:pt x="2241" y="1092"/>
                      <a:pt x="2241" y="1092"/>
                    </a:cubicBezTo>
                    <a:cubicBezTo>
                      <a:pt x="2241" y="1091"/>
                      <a:pt x="2241" y="1091"/>
                      <a:pt x="2241" y="1091"/>
                    </a:cubicBezTo>
                    <a:cubicBezTo>
                      <a:pt x="2242" y="1090"/>
                      <a:pt x="2242" y="1090"/>
                      <a:pt x="2242" y="1090"/>
                    </a:cubicBezTo>
                    <a:cubicBezTo>
                      <a:pt x="2241" y="1089"/>
                      <a:pt x="2241" y="1089"/>
                      <a:pt x="2241" y="1089"/>
                    </a:cubicBezTo>
                    <a:cubicBezTo>
                      <a:pt x="2242" y="1087"/>
                      <a:pt x="2242" y="1087"/>
                      <a:pt x="2242" y="1087"/>
                    </a:cubicBezTo>
                    <a:cubicBezTo>
                      <a:pt x="2243" y="1087"/>
                      <a:pt x="2243" y="1087"/>
                      <a:pt x="2243" y="1087"/>
                    </a:cubicBezTo>
                    <a:cubicBezTo>
                      <a:pt x="2243" y="1086"/>
                      <a:pt x="2243" y="1086"/>
                      <a:pt x="2243" y="1086"/>
                    </a:cubicBezTo>
                    <a:cubicBezTo>
                      <a:pt x="2243" y="1085"/>
                      <a:pt x="2243" y="1085"/>
                      <a:pt x="2243" y="1085"/>
                    </a:cubicBezTo>
                    <a:cubicBezTo>
                      <a:pt x="2243" y="1084"/>
                      <a:pt x="2243" y="1084"/>
                      <a:pt x="2243" y="1084"/>
                    </a:cubicBezTo>
                    <a:cubicBezTo>
                      <a:pt x="2243" y="1083"/>
                      <a:pt x="2243" y="1083"/>
                      <a:pt x="2243" y="1083"/>
                    </a:cubicBezTo>
                    <a:cubicBezTo>
                      <a:pt x="2243" y="1082"/>
                      <a:pt x="2243" y="1082"/>
                      <a:pt x="2243" y="1082"/>
                    </a:cubicBezTo>
                    <a:cubicBezTo>
                      <a:pt x="2241" y="1081"/>
                      <a:pt x="2241" y="1081"/>
                      <a:pt x="2241" y="1081"/>
                    </a:cubicBezTo>
                    <a:cubicBezTo>
                      <a:pt x="2242" y="1080"/>
                      <a:pt x="2242" y="1080"/>
                      <a:pt x="2242" y="1080"/>
                    </a:cubicBezTo>
                    <a:cubicBezTo>
                      <a:pt x="2242" y="1081"/>
                      <a:pt x="2242" y="1081"/>
                      <a:pt x="2242" y="1081"/>
                    </a:cubicBezTo>
                    <a:cubicBezTo>
                      <a:pt x="2243" y="1080"/>
                      <a:pt x="2243" y="1080"/>
                      <a:pt x="2243" y="1080"/>
                    </a:cubicBezTo>
                    <a:cubicBezTo>
                      <a:pt x="2244" y="1079"/>
                      <a:pt x="2244" y="1079"/>
                      <a:pt x="2244" y="1079"/>
                    </a:cubicBezTo>
                    <a:cubicBezTo>
                      <a:pt x="2244" y="1077"/>
                      <a:pt x="2244" y="1077"/>
                      <a:pt x="2244" y="1077"/>
                    </a:cubicBezTo>
                    <a:cubicBezTo>
                      <a:pt x="2244" y="1075"/>
                      <a:pt x="2244" y="1075"/>
                      <a:pt x="2244" y="1075"/>
                    </a:cubicBezTo>
                    <a:cubicBezTo>
                      <a:pt x="2244" y="1074"/>
                      <a:pt x="2244" y="1074"/>
                      <a:pt x="2244" y="1074"/>
                    </a:cubicBezTo>
                    <a:cubicBezTo>
                      <a:pt x="2243" y="1074"/>
                      <a:pt x="2243" y="1074"/>
                      <a:pt x="2243" y="1074"/>
                    </a:cubicBezTo>
                    <a:cubicBezTo>
                      <a:pt x="2242" y="1075"/>
                      <a:pt x="2242" y="1075"/>
                      <a:pt x="2242" y="1075"/>
                    </a:cubicBezTo>
                    <a:cubicBezTo>
                      <a:pt x="2241" y="1074"/>
                      <a:pt x="2241" y="1074"/>
                      <a:pt x="2241" y="1074"/>
                    </a:cubicBezTo>
                    <a:cubicBezTo>
                      <a:pt x="2241" y="1073"/>
                      <a:pt x="2241" y="1073"/>
                      <a:pt x="2241" y="1073"/>
                    </a:cubicBezTo>
                    <a:cubicBezTo>
                      <a:pt x="2240" y="1073"/>
                      <a:pt x="2240" y="1073"/>
                      <a:pt x="2240" y="1073"/>
                    </a:cubicBezTo>
                    <a:cubicBezTo>
                      <a:pt x="2241" y="1072"/>
                      <a:pt x="2241" y="1072"/>
                      <a:pt x="2241" y="1072"/>
                    </a:cubicBezTo>
                    <a:cubicBezTo>
                      <a:pt x="2242" y="1071"/>
                      <a:pt x="2242" y="1071"/>
                      <a:pt x="2242" y="1071"/>
                    </a:cubicBezTo>
                    <a:cubicBezTo>
                      <a:pt x="2241" y="1071"/>
                      <a:pt x="2241" y="1071"/>
                      <a:pt x="2241" y="1071"/>
                    </a:cubicBezTo>
                    <a:cubicBezTo>
                      <a:pt x="2240" y="1071"/>
                      <a:pt x="2240" y="1071"/>
                      <a:pt x="2240" y="1071"/>
                    </a:cubicBezTo>
                    <a:cubicBezTo>
                      <a:pt x="2239" y="1070"/>
                      <a:pt x="2239" y="1070"/>
                      <a:pt x="2239" y="1070"/>
                    </a:cubicBezTo>
                    <a:cubicBezTo>
                      <a:pt x="2238" y="1069"/>
                      <a:pt x="2238" y="1069"/>
                      <a:pt x="2238" y="1069"/>
                    </a:cubicBezTo>
                    <a:cubicBezTo>
                      <a:pt x="2238" y="1070"/>
                      <a:pt x="2238" y="1070"/>
                      <a:pt x="2238" y="1070"/>
                    </a:cubicBezTo>
                    <a:cubicBezTo>
                      <a:pt x="2237" y="1070"/>
                      <a:pt x="2237" y="1070"/>
                      <a:pt x="2237" y="1070"/>
                    </a:cubicBezTo>
                    <a:cubicBezTo>
                      <a:pt x="2237" y="1069"/>
                      <a:pt x="2237" y="1069"/>
                      <a:pt x="2237" y="1069"/>
                    </a:cubicBezTo>
                    <a:cubicBezTo>
                      <a:pt x="2237" y="1068"/>
                      <a:pt x="2237" y="1068"/>
                      <a:pt x="2237" y="1068"/>
                    </a:cubicBezTo>
                    <a:cubicBezTo>
                      <a:pt x="2236" y="1066"/>
                      <a:pt x="2236" y="1066"/>
                      <a:pt x="2236" y="1066"/>
                    </a:cubicBezTo>
                    <a:cubicBezTo>
                      <a:pt x="2236" y="1065"/>
                      <a:pt x="2236" y="1065"/>
                      <a:pt x="2236" y="1065"/>
                    </a:cubicBezTo>
                    <a:cubicBezTo>
                      <a:pt x="2234" y="1064"/>
                      <a:pt x="2234" y="1064"/>
                      <a:pt x="2234" y="1064"/>
                    </a:cubicBezTo>
                    <a:cubicBezTo>
                      <a:pt x="2234" y="1065"/>
                      <a:pt x="2234" y="1065"/>
                      <a:pt x="2234" y="1065"/>
                    </a:cubicBezTo>
                    <a:cubicBezTo>
                      <a:pt x="2235" y="1066"/>
                      <a:pt x="2235" y="1066"/>
                      <a:pt x="2235" y="1066"/>
                    </a:cubicBezTo>
                    <a:cubicBezTo>
                      <a:pt x="2236" y="1069"/>
                      <a:pt x="2236" y="1069"/>
                      <a:pt x="2236" y="1069"/>
                    </a:cubicBezTo>
                    <a:cubicBezTo>
                      <a:pt x="2236" y="1070"/>
                      <a:pt x="2236" y="1070"/>
                      <a:pt x="2236" y="1070"/>
                    </a:cubicBezTo>
                    <a:cubicBezTo>
                      <a:pt x="2236" y="1072"/>
                      <a:pt x="2236" y="1072"/>
                      <a:pt x="2236" y="1072"/>
                    </a:cubicBezTo>
                    <a:cubicBezTo>
                      <a:pt x="2235" y="1073"/>
                      <a:pt x="2235" y="1073"/>
                      <a:pt x="2235" y="1073"/>
                    </a:cubicBezTo>
                    <a:cubicBezTo>
                      <a:pt x="2235" y="1076"/>
                      <a:pt x="2235" y="1076"/>
                      <a:pt x="2235" y="1076"/>
                    </a:cubicBezTo>
                    <a:cubicBezTo>
                      <a:pt x="2236" y="1076"/>
                      <a:pt x="2236" y="1076"/>
                      <a:pt x="2236" y="1076"/>
                    </a:cubicBezTo>
                    <a:cubicBezTo>
                      <a:pt x="2237" y="1075"/>
                      <a:pt x="2237" y="1075"/>
                      <a:pt x="2237" y="1075"/>
                    </a:cubicBezTo>
                    <a:cubicBezTo>
                      <a:pt x="2238" y="1075"/>
                      <a:pt x="2238" y="1075"/>
                      <a:pt x="2238" y="1075"/>
                    </a:cubicBezTo>
                    <a:cubicBezTo>
                      <a:pt x="2237" y="1076"/>
                      <a:pt x="2237" y="1076"/>
                      <a:pt x="2237" y="1076"/>
                    </a:cubicBezTo>
                    <a:cubicBezTo>
                      <a:pt x="2236" y="1077"/>
                      <a:pt x="2236" y="1077"/>
                      <a:pt x="2236" y="1077"/>
                    </a:cubicBezTo>
                    <a:cubicBezTo>
                      <a:pt x="2237" y="1078"/>
                      <a:pt x="2237" y="1078"/>
                      <a:pt x="2237" y="1078"/>
                    </a:cubicBezTo>
                    <a:cubicBezTo>
                      <a:pt x="2237" y="1080"/>
                      <a:pt x="2237" y="1080"/>
                      <a:pt x="2237" y="1080"/>
                    </a:cubicBezTo>
                    <a:cubicBezTo>
                      <a:pt x="2238" y="1083"/>
                      <a:pt x="2238" y="1083"/>
                      <a:pt x="2238" y="1083"/>
                    </a:cubicBezTo>
                    <a:cubicBezTo>
                      <a:pt x="2238" y="1084"/>
                      <a:pt x="2238" y="1084"/>
                      <a:pt x="2238" y="1084"/>
                    </a:cubicBezTo>
                    <a:cubicBezTo>
                      <a:pt x="2239" y="1084"/>
                      <a:pt x="2239" y="1084"/>
                      <a:pt x="2239" y="1084"/>
                    </a:cubicBezTo>
                    <a:cubicBezTo>
                      <a:pt x="2239" y="1085"/>
                      <a:pt x="2239" y="1085"/>
                      <a:pt x="2239" y="1085"/>
                    </a:cubicBezTo>
                    <a:cubicBezTo>
                      <a:pt x="2239" y="1086"/>
                      <a:pt x="2239" y="1086"/>
                      <a:pt x="2239" y="1086"/>
                    </a:cubicBezTo>
                    <a:cubicBezTo>
                      <a:pt x="2240" y="1085"/>
                      <a:pt x="2240" y="1085"/>
                      <a:pt x="2240" y="1085"/>
                    </a:cubicBezTo>
                    <a:cubicBezTo>
                      <a:pt x="2240" y="1087"/>
                      <a:pt x="2240" y="1087"/>
                      <a:pt x="2240" y="1087"/>
                    </a:cubicBezTo>
                    <a:cubicBezTo>
                      <a:pt x="2239" y="1088"/>
                      <a:pt x="2239" y="1088"/>
                      <a:pt x="2239" y="1088"/>
                    </a:cubicBezTo>
                    <a:cubicBezTo>
                      <a:pt x="2238" y="1088"/>
                      <a:pt x="2238" y="1088"/>
                      <a:pt x="2238" y="1088"/>
                    </a:cubicBezTo>
                    <a:cubicBezTo>
                      <a:pt x="2238" y="1089"/>
                      <a:pt x="2238" y="1089"/>
                      <a:pt x="2238" y="1089"/>
                    </a:cubicBezTo>
                    <a:cubicBezTo>
                      <a:pt x="2239" y="1092"/>
                      <a:pt x="2239" y="1092"/>
                      <a:pt x="2239" y="1092"/>
                    </a:cubicBezTo>
                    <a:cubicBezTo>
                      <a:pt x="2240" y="1092"/>
                      <a:pt x="2240" y="1092"/>
                      <a:pt x="2240" y="1092"/>
                    </a:cubicBezTo>
                    <a:cubicBezTo>
                      <a:pt x="2240" y="1093"/>
                      <a:pt x="2240" y="1093"/>
                      <a:pt x="2240" y="1093"/>
                    </a:cubicBezTo>
                    <a:cubicBezTo>
                      <a:pt x="2241" y="1094"/>
                      <a:pt x="2241" y="1094"/>
                      <a:pt x="2241" y="1094"/>
                    </a:cubicBezTo>
                    <a:cubicBezTo>
                      <a:pt x="2240" y="1095"/>
                      <a:pt x="2240" y="1095"/>
                      <a:pt x="2240" y="1095"/>
                    </a:cubicBezTo>
                    <a:cubicBezTo>
                      <a:pt x="2240" y="1096"/>
                      <a:pt x="2240" y="1096"/>
                      <a:pt x="2240" y="1096"/>
                    </a:cubicBezTo>
                    <a:cubicBezTo>
                      <a:pt x="2239" y="1098"/>
                      <a:pt x="2239" y="1098"/>
                      <a:pt x="2239" y="1098"/>
                    </a:cubicBezTo>
                    <a:cubicBezTo>
                      <a:pt x="2239" y="1100"/>
                      <a:pt x="2239" y="1100"/>
                      <a:pt x="2239" y="1100"/>
                    </a:cubicBezTo>
                    <a:cubicBezTo>
                      <a:pt x="2239" y="1101"/>
                      <a:pt x="2239" y="1101"/>
                      <a:pt x="2239" y="1101"/>
                    </a:cubicBezTo>
                    <a:cubicBezTo>
                      <a:pt x="2238" y="1101"/>
                      <a:pt x="2238" y="1101"/>
                      <a:pt x="2238" y="1101"/>
                    </a:cubicBezTo>
                    <a:cubicBezTo>
                      <a:pt x="2238" y="1102"/>
                      <a:pt x="2238" y="1102"/>
                      <a:pt x="2238" y="1102"/>
                    </a:cubicBezTo>
                    <a:cubicBezTo>
                      <a:pt x="2238" y="1103"/>
                      <a:pt x="2238" y="1103"/>
                      <a:pt x="2238" y="1103"/>
                    </a:cubicBezTo>
                    <a:cubicBezTo>
                      <a:pt x="2238" y="1104"/>
                      <a:pt x="2238" y="1104"/>
                      <a:pt x="2238" y="1104"/>
                    </a:cubicBezTo>
                    <a:cubicBezTo>
                      <a:pt x="2237" y="1104"/>
                      <a:pt x="2237" y="1104"/>
                      <a:pt x="2237" y="1104"/>
                    </a:cubicBezTo>
                    <a:cubicBezTo>
                      <a:pt x="2236" y="1105"/>
                      <a:pt x="2236" y="1105"/>
                      <a:pt x="2236" y="1105"/>
                    </a:cubicBezTo>
                    <a:cubicBezTo>
                      <a:pt x="2235" y="1110"/>
                      <a:pt x="2235" y="1110"/>
                      <a:pt x="2235" y="1110"/>
                    </a:cubicBezTo>
                    <a:cubicBezTo>
                      <a:pt x="2235" y="1111"/>
                      <a:pt x="2235" y="1111"/>
                      <a:pt x="2235" y="1111"/>
                    </a:cubicBezTo>
                    <a:cubicBezTo>
                      <a:pt x="2234" y="1111"/>
                      <a:pt x="2234" y="1111"/>
                      <a:pt x="2234" y="1111"/>
                    </a:cubicBezTo>
                    <a:cubicBezTo>
                      <a:pt x="2232" y="1111"/>
                      <a:pt x="2232" y="1111"/>
                      <a:pt x="2232" y="1111"/>
                    </a:cubicBezTo>
                    <a:cubicBezTo>
                      <a:pt x="2231" y="1111"/>
                      <a:pt x="2231" y="1111"/>
                      <a:pt x="2231" y="1111"/>
                    </a:cubicBezTo>
                    <a:cubicBezTo>
                      <a:pt x="2229" y="1112"/>
                      <a:pt x="2229" y="1112"/>
                      <a:pt x="2229" y="1112"/>
                    </a:cubicBezTo>
                    <a:cubicBezTo>
                      <a:pt x="2228" y="1114"/>
                      <a:pt x="2228" y="1114"/>
                      <a:pt x="2228" y="1114"/>
                    </a:cubicBezTo>
                    <a:cubicBezTo>
                      <a:pt x="2227" y="1115"/>
                      <a:pt x="2227" y="1115"/>
                      <a:pt x="2227" y="1115"/>
                    </a:cubicBezTo>
                    <a:cubicBezTo>
                      <a:pt x="2228" y="1117"/>
                      <a:pt x="2228" y="1117"/>
                      <a:pt x="2228" y="1117"/>
                    </a:cubicBezTo>
                    <a:cubicBezTo>
                      <a:pt x="2229" y="1118"/>
                      <a:pt x="2229" y="1118"/>
                      <a:pt x="2229" y="1118"/>
                    </a:cubicBezTo>
                    <a:cubicBezTo>
                      <a:pt x="2231" y="1119"/>
                      <a:pt x="2231" y="1119"/>
                      <a:pt x="2231" y="1119"/>
                    </a:cubicBezTo>
                    <a:cubicBezTo>
                      <a:pt x="2231" y="1121"/>
                      <a:pt x="2231" y="1121"/>
                      <a:pt x="2231" y="1121"/>
                    </a:cubicBezTo>
                    <a:cubicBezTo>
                      <a:pt x="2233" y="1121"/>
                      <a:pt x="2233" y="1121"/>
                      <a:pt x="2233" y="1121"/>
                    </a:cubicBezTo>
                    <a:cubicBezTo>
                      <a:pt x="2234" y="1122"/>
                      <a:pt x="2234" y="1122"/>
                      <a:pt x="2234" y="1122"/>
                    </a:cubicBezTo>
                    <a:cubicBezTo>
                      <a:pt x="2234" y="1125"/>
                      <a:pt x="2234" y="1125"/>
                      <a:pt x="2234" y="1125"/>
                    </a:cubicBezTo>
                    <a:cubicBezTo>
                      <a:pt x="2234" y="1127"/>
                      <a:pt x="2234" y="1127"/>
                      <a:pt x="2234" y="1127"/>
                    </a:cubicBezTo>
                    <a:cubicBezTo>
                      <a:pt x="2233" y="1128"/>
                      <a:pt x="2233" y="1128"/>
                      <a:pt x="2233" y="1128"/>
                    </a:cubicBezTo>
                    <a:cubicBezTo>
                      <a:pt x="2231" y="1131"/>
                      <a:pt x="2231" y="1131"/>
                      <a:pt x="2231" y="1131"/>
                    </a:cubicBezTo>
                    <a:cubicBezTo>
                      <a:pt x="2229" y="1133"/>
                      <a:pt x="2229" y="1133"/>
                      <a:pt x="2229" y="1133"/>
                    </a:cubicBezTo>
                    <a:cubicBezTo>
                      <a:pt x="2227" y="1134"/>
                      <a:pt x="2227" y="1134"/>
                      <a:pt x="2227" y="1134"/>
                    </a:cubicBezTo>
                    <a:cubicBezTo>
                      <a:pt x="2227" y="1135"/>
                      <a:pt x="2227" y="1135"/>
                      <a:pt x="2227" y="1135"/>
                    </a:cubicBezTo>
                    <a:cubicBezTo>
                      <a:pt x="2227" y="1136"/>
                      <a:pt x="2227" y="1136"/>
                      <a:pt x="2227" y="1136"/>
                    </a:cubicBezTo>
                    <a:cubicBezTo>
                      <a:pt x="2228" y="1136"/>
                      <a:pt x="2228" y="1136"/>
                      <a:pt x="2228" y="1136"/>
                    </a:cubicBezTo>
                    <a:cubicBezTo>
                      <a:pt x="2228" y="1135"/>
                      <a:pt x="2228" y="1135"/>
                      <a:pt x="2228" y="1135"/>
                    </a:cubicBezTo>
                    <a:cubicBezTo>
                      <a:pt x="2229" y="1135"/>
                      <a:pt x="2229" y="1135"/>
                      <a:pt x="2229" y="1135"/>
                    </a:cubicBezTo>
                    <a:cubicBezTo>
                      <a:pt x="2229" y="1136"/>
                      <a:pt x="2229" y="1136"/>
                      <a:pt x="2229" y="1136"/>
                    </a:cubicBezTo>
                    <a:cubicBezTo>
                      <a:pt x="2229" y="1137"/>
                      <a:pt x="2229" y="1137"/>
                      <a:pt x="2229" y="1137"/>
                    </a:cubicBezTo>
                    <a:cubicBezTo>
                      <a:pt x="2230" y="1137"/>
                      <a:pt x="2230" y="1137"/>
                      <a:pt x="2230" y="1137"/>
                    </a:cubicBezTo>
                    <a:cubicBezTo>
                      <a:pt x="2230" y="1138"/>
                      <a:pt x="2230" y="1138"/>
                      <a:pt x="2230" y="1138"/>
                    </a:cubicBezTo>
                    <a:cubicBezTo>
                      <a:pt x="2230" y="1139"/>
                      <a:pt x="2230" y="1139"/>
                      <a:pt x="2230" y="1139"/>
                    </a:cubicBezTo>
                    <a:cubicBezTo>
                      <a:pt x="2231" y="1139"/>
                      <a:pt x="2231" y="1139"/>
                      <a:pt x="2231" y="1139"/>
                    </a:cubicBezTo>
                    <a:cubicBezTo>
                      <a:pt x="2233" y="1137"/>
                      <a:pt x="2233" y="1137"/>
                      <a:pt x="2233" y="1137"/>
                    </a:cubicBezTo>
                    <a:cubicBezTo>
                      <a:pt x="2235" y="1135"/>
                      <a:pt x="2235" y="1135"/>
                      <a:pt x="2235" y="1135"/>
                    </a:cubicBezTo>
                    <a:cubicBezTo>
                      <a:pt x="2237" y="1133"/>
                      <a:pt x="2237" y="1133"/>
                      <a:pt x="2237" y="1133"/>
                    </a:cubicBezTo>
                    <a:cubicBezTo>
                      <a:pt x="2239" y="1131"/>
                      <a:pt x="2239" y="1131"/>
                      <a:pt x="2239" y="1131"/>
                    </a:cubicBezTo>
                    <a:cubicBezTo>
                      <a:pt x="2241" y="1129"/>
                      <a:pt x="2241" y="1129"/>
                      <a:pt x="2241" y="1129"/>
                    </a:cubicBezTo>
                    <a:cubicBezTo>
                      <a:pt x="2242" y="1128"/>
                      <a:pt x="2242" y="1128"/>
                      <a:pt x="2242" y="1128"/>
                    </a:cubicBezTo>
                    <a:cubicBezTo>
                      <a:pt x="2243" y="1128"/>
                      <a:pt x="2243" y="1128"/>
                      <a:pt x="2243" y="1128"/>
                    </a:cubicBezTo>
                    <a:cubicBezTo>
                      <a:pt x="2244" y="1127"/>
                      <a:pt x="2244" y="1127"/>
                      <a:pt x="2244" y="1127"/>
                    </a:cubicBezTo>
                    <a:cubicBezTo>
                      <a:pt x="2244" y="1126"/>
                      <a:pt x="2244" y="1126"/>
                      <a:pt x="2244" y="1126"/>
                    </a:cubicBezTo>
                    <a:cubicBezTo>
                      <a:pt x="2245" y="1125"/>
                      <a:pt x="2245" y="1125"/>
                      <a:pt x="2245" y="1125"/>
                    </a:cubicBezTo>
                    <a:cubicBezTo>
                      <a:pt x="2246" y="1123"/>
                      <a:pt x="2246" y="1123"/>
                      <a:pt x="2246" y="1123"/>
                    </a:cubicBezTo>
                    <a:cubicBezTo>
                      <a:pt x="2248" y="1121"/>
                      <a:pt x="2248" y="1121"/>
                      <a:pt x="2248" y="1121"/>
                    </a:cubicBezTo>
                    <a:cubicBezTo>
                      <a:pt x="2248" y="1120"/>
                      <a:pt x="2248" y="1120"/>
                      <a:pt x="2248" y="1120"/>
                    </a:cubicBezTo>
                    <a:cubicBezTo>
                      <a:pt x="2247" y="1119"/>
                      <a:pt x="2247" y="1119"/>
                      <a:pt x="2247" y="1119"/>
                    </a:cubicBezTo>
                    <a:cubicBezTo>
                      <a:pt x="2246" y="1119"/>
                      <a:pt x="2246" y="1119"/>
                      <a:pt x="2246" y="1119"/>
                    </a:cubicBezTo>
                    <a:cubicBezTo>
                      <a:pt x="2245" y="1119"/>
                      <a:pt x="2245" y="1119"/>
                      <a:pt x="2245" y="1119"/>
                    </a:cubicBezTo>
                    <a:cubicBezTo>
                      <a:pt x="2246" y="1118"/>
                      <a:pt x="2246" y="1118"/>
                      <a:pt x="2246" y="1118"/>
                    </a:cubicBezTo>
                    <a:cubicBezTo>
                      <a:pt x="2247" y="1118"/>
                      <a:pt x="2247" y="1118"/>
                      <a:pt x="2247" y="1118"/>
                    </a:cubicBezTo>
                    <a:cubicBezTo>
                      <a:pt x="2250" y="1115"/>
                      <a:pt x="2250" y="1115"/>
                      <a:pt x="2250" y="1115"/>
                    </a:cubicBezTo>
                    <a:cubicBezTo>
                      <a:pt x="2251" y="1114"/>
                      <a:pt x="2251" y="1114"/>
                      <a:pt x="2251" y="1114"/>
                    </a:cubicBezTo>
                    <a:cubicBezTo>
                      <a:pt x="2253" y="1115"/>
                      <a:pt x="2253" y="1115"/>
                      <a:pt x="2253" y="1115"/>
                    </a:cubicBezTo>
                    <a:cubicBezTo>
                      <a:pt x="2254" y="1115"/>
                      <a:pt x="2254" y="1115"/>
                      <a:pt x="2254" y="1115"/>
                    </a:cubicBezTo>
                    <a:cubicBezTo>
                      <a:pt x="2254" y="1116"/>
                      <a:pt x="2254" y="1116"/>
                      <a:pt x="2254" y="1116"/>
                    </a:cubicBezTo>
                    <a:cubicBezTo>
                      <a:pt x="2255" y="1115"/>
                      <a:pt x="2255" y="1115"/>
                      <a:pt x="2255" y="1115"/>
                    </a:cubicBezTo>
                    <a:cubicBezTo>
                      <a:pt x="2256" y="1115"/>
                      <a:pt x="2256" y="1115"/>
                      <a:pt x="2256" y="1115"/>
                    </a:cubicBezTo>
                    <a:cubicBezTo>
                      <a:pt x="2254" y="1114"/>
                      <a:pt x="2254" y="1114"/>
                      <a:pt x="2254" y="1114"/>
                    </a:cubicBezTo>
                    <a:cubicBezTo>
                      <a:pt x="2254" y="1113"/>
                      <a:pt x="2254" y="1113"/>
                      <a:pt x="2254" y="1113"/>
                    </a:cubicBezTo>
                    <a:cubicBezTo>
                      <a:pt x="2255" y="1111"/>
                      <a:pt x="2255" y="1111"/>
                      <a:pt x="2255" y="1111"/>
                    </a:cubicBezTo>
                    <a:cubicBezTo>
                      <a:pt x="2256" y="1110"/>
                      <a:pt x="2256" y="1110"/>
                      <a:pt x="2256" y="1110"/>
                    </a:cubicBezTo>
                    <a:cubicBezTo>
                      <a:pt x="2257" y="1110"/>
                      <a:pt x="2257" y="1110"/>
                      <a:pt x="2257" y="1110"/>
                    </a:cubicBezTo>
                    <a:cubicBezTo>
                      <a:pt x="2257" y="1111"/>
                      <a:pt x="2257" y="1111"/>
                      <a:pt x="2257" y="1111"/>
                    </a:cubicBezTo>
                    <a:cubicBezTo>
                      <a:pt x="2258" y="1110"/>
                      <a:pt x="2258" y="1110"/>
                      <a:pt x="2258" y="1110"/>
                    </a:cubicBezTo>
                    <a:cubicBezTo>
                      <a:pt x="2259" y="1109"/>
                      <a:pt x="2259" y="1109"/>
                      <a:pt x="2259" y="1109"/>
                    </a:cubicBezTo>
                    <a:cubicBezTo>
                      <a:pt x="2260" y="1107"/>
                      <a:pt x="2260" y="1107"/>
                      <a:pt x="2260" y="1107"/>
                    </a:cubicBezTo>
                    <a:cubicBezTo>
                      <a:pt x="2260" y="1106"/>
                      <a:pt x="2260" y="1106"/>
                      <a:pt x="2260" y="1106"/>
                    </a:cubicBezTo>
                    <a:cubicBezTo>
                      <a:pt x="2260" y="1105"/>
                      <a:pt x="2260" y="1105"/>
                      <a:pt x="2260" y="1105"/>
                    </a:cubicBezTo>
                    <a:cubicBezTo>
                      <a:pt x="2261" y="1104"/>
                      <a:pt x="2261" y="1104"/>
                      <a:pt x="2261" y="1104"/>
                    </a:cubicBezTo>
                    <a:cubicBezTo>
                      <a:pt x="2262" y="1102"/>
                      <a:pt x="2262" y="1102"/>
                      <a:pt x="2262" y="1102"/>
                    </a:cubicBezTo>
                    <a:cubicBezTo>
                      <a:pt x="2263" y="1102"/>
                      <a:pt x="2263" y="1102"/>
                      <a:pt x="2263" y="1102"/>
                    </a:cubicBezTo>
                    <a:cubicBezTo>
                      <a:pt x="2262" y="1101"/>
                      <a:pt x="2262" y="1101"/>
                      <a:pt x="2262" y="1101"/>
                    </a:cubicBezTo>
                    <a:cubicBezTo>
                      <a:pt x="2261" y="1101"/>
                      <a:pt x="2261" y="1101"/>
                      <a:pt x="2261" y="1101"/>
                    </a:cubicBezTo>
                    <a:close/>
                    <a:moveTo>
                      <a:pt x="2145" y="1257"/>
                    </a:moveTo>
                    <a:cubicBezTo>
                      <a:pt x="2144" y="1257"/>
                      <a:pt x="2144" y="1257"/>
                      <a:pt x="2144" y="1257"/>
                    </a:cubicBezTo>
                    <a:cubicBezTo>
                      <a:pt x="2145" y="1258"/>
                      <a:pt x="2145" y="1258"/>
                      <a:pt x="2145" y="1258"/>
                    </a:cubicBezTo>
                    <a:cubicBezTo>
                      <a:pt x="2146" y="1258"/>
                      <a:pt x="2146" y="1258"/>
                      <a:pt x="2146" y="1258"/>
                    </a:cubicBezTo>
                    <a:cubicBezTo>
                      <a:pt x="2147" y="1256"/>
                      <a:pt x="2147" y="1256"/>
                      <a:pt x="2147" y="1256"/>
                    </a:cubicBezTo>
                    <a:cubicBezTo>
                      <a:pt x="2147" y="1255"/>
                      <a:pt x="2147" y="1255"/>
                      <a:pt x="2147" y="1255"/>
                    </a:cubicBezTo>
                    <a:cubicBezTo>
                      <a:pt x="2146" y="1257"/>
                      <a:pt x="2146" y="1257"/>
                      <a:pt x="2146" y="1257"/>
                    </a:cubicBezTo>
                    <a:cubicBezTo>
                      <a:pt x="2145" y="1257"/>
                      <a:pt x="2145" y="1257"/>
                      <a:pt x="2145" y="1257"/>
                    </a:cubicBezTo>
                    <a:close/>
                    <a:moveTo>
                      <a:pt x="2223" y="1130"/>
                    </a:moveTo>
                    <a:cubicBezTo>
                      <a:pt x="2224" y="1130"/>
                      <a:pt x="2224" y="1130"/>
                      <a:pt x="2224" y="1130"/>
                    </a:cubicBezTo>
                    <a:cubicBezTo>
                      <a:pt x="2224" y="1129"/>
                      <a:pt x="2224" y="1129"/>
                      <a:pt x="2224" y="1129"/>
                    </a:cubicBezTo>
                    <a:cubicBezTo>
                      <a:pt x="2223" y="1129"/>
                      <a:pt x="2223" y="1129"/>
                      <a:pt x="2223" y="1129"/>
                    </a:cubicBezTo>
                    <a:cubicBezTo>
                      <a:pt x="2223" y="1130"/>
                      <a:pt x="2223" y="1130"/>
                      <a:pt x="2223" y="1130"/>
                    </a:cubicBezTo>
                    <a:close/>
                    <a:moveTo>
                      <a:pt x="2247" y="1086"/>
                    </a:moveTo>
                    <a:cubicBezTo>
                      <a:pt x="2248" y="1086"/>
                      <a:pt x="2248" y="1086"/>
                      <a:pt x="2248" y="1086"/>
                    </a:cubicBezTo>
                    <a:cubicBezTo>
                      <a:pt x="2247" y="1085"/>
                      <a:pt x="2247" y="1085"/>
                      <a:pt x="2247" y="1085"/>
                    </a:cubicBezTo>
                    <a:cubicBezTo>
                      <a:pt x="2247" y="1084"/>
                      <a:pt x="2247" y="1084"/>
                      <a:pt x="2247" y="1084"/>
                    </a:cubicBezTo>
                    <a:cubicBezTo>
                      <a:pt x="2246" y="1086"/>
                      <a:pt x="2246" y="1086"/>
                      <a:pt x="2246" y="1086"/>
                    </a:cubicBezTo>
                    <a:cubicBezTo>
                      <a:pt x="2247" y="1087"/>
                      <a:pt x="2247" y="1087"/>
                      <a:pt x="2247" y="1087"/>
                    </a:cubicBezTo>
                    <a:cubicBezTo>
                      <a:pt x="2247" y="1086"/>
                      <a:pt x="2247" y="1086"/>
                      <a:pt x="2247" y="1086"/>
                    </a:cubicBezTo>
                    <a:close/>
                    <a:moveTo>
                      <a:pt x="2244" y="1092"/>
                    </a:moveTo>
                    <a:cubicBezTo>
                      <a:pt x="2244" y="1091"/>
                      <a:pt x="2244" y="1091"/>
                      <a:pt x="2244" y="1091"/>
                    </a:cubicBezTo>
                    <a:cubicBezTo>
                      <a:pt x="2243" y="1091"/>
                      <a:pt x="2243" y="1091"/>
                      <a:pt x="2243" y="1091"/>
                    </a:cubicBezTo>
                    <a:cubicBezTo>
                      <a:pt x="2244" y="1092"/>
                      <a:pt x="2244" y="1092"/>
                      <a:pt x="2244" y="1092"/>
                    </a:cubicBezTo>
                    <a:close/>
                    <a:moveTo>
                      <a:pt x="2166" y="1188"/>
                    </a:moveTo>
                    <a:cubicBezTo>
                      <a:pt x="2165" y="1188"/>
                      <a:pt x="2165" y="1188"/>
                      <a:pt x="2165" y="1188"/>
                    </a:cubicBezTo>
                    <a:cubicBezTo>
                      <a:pt x="2165" y="1189"/>
                      <a:pt x="2165" y="1189"/>
                      <a:pt x="2165" y="1189"/>
                    </a:cubicBezTo>
                    <a:cubicBezTo>
                      <a:pt x="2165" y="1190"/>
                      <a:pt x="2165" y="1190"/>
                      <a:pt x="2165" y="1190"/>
                    </a:cubicBezTo>
                    <a:cubicBezTo>
                      <a:pt x="2165" y="1191"/>
                      <a:pt x="2165" y="1191"/>
                      <a:pt x="2165" y="1191"/>
                    </a:cubicBezTo>
                    <a:cubicBezTo>
                      <a:pt x="2164" y="1191"/>
                      <a:pt x="2164" y="1191"/>
                      <a:pt x="2164" y="1191"/>
                    </a:cubicBezTo>
                    <a:cubicBezTo>
                      <a:pt x="2164" y="1192"/>
                      <a:pt x="2164" y="1192"/>
                      <a:pt x="2164" y="1192"/>
                    </a:cubicBezTo>
                    <a:cubicBezTo>
                      <a:pt x="2163" y="1192"/>
                      <a:pt x="2163" y="1192"/>
                      <a:pt x="2163" y="1192"/>
                    </a:cubicBezTo>
                    <a:cubicBezTo>
                      <a:pt x="2162" y="1194"/>
                      <a:pt x="2162" y="1194"/>
                      <a:pt x="2162" y="1194"/>
                    </a:cubicBezTo>
                    <a:cubicBezTo>
                      <a:pt x="2163" y="1194"/>
                      <a:pt x="2163" y="1194"/>
                      <a:pt x="2163" y="1194"/>
                    </a:cubicBezTo>
                    <a:cubicBezTo>
                      <a:pt x="2164" y="1193"/>
                      <a:pt x="2164" y="1193"/>
                      <a:pt x="2164" y="1193"/>
                    </a:cubicBezTo>
                    <a:cubicBezTo>
                      <a:pt x="2165" y="1193"/>
                      <a:pt x="2165" y="1193"/>
                      <a:pt x="2165" y="1193"/>
                    </a:cubicBezTo>
                    <a:cubicBezTo>
                      <a:pt x="2166" y="1193"/>
                      <a:pt x="2166" y="1193"/>
                      <a:pt x="2166" y="1193"/>
                    </a:cubicBezTo>
                    <a:cubicBezTo>
                      <a:pt x="2167" y="1192"/>
                      <a:pt x="2167" y="1192"/>
                      <a:pt x="2167" y="1192"/>
                    </a:cubicBezTo>
                    <a:cubicBezTo>
                      <a:pt x="2168" y="1193"/>
                      <a:pt x="2168" y="1193"/>
                      <a:pt x="2168" y="1193"/>
                    </a:cubicBezTo>
                    <a:cubicBezTo>
                      <a:pt x="2168" y="1192"/>
                      <a:pt x="2168" y="1192"/>
                      <a:pt x="2168" y="1192"/>
                    </a:cubicBezTo>
                    <a:cubicBezTo>
                      <a:pt x="2167" y="1191"/>
                      <a:pt x="2167" y="1191"/>
                      <a:pt x="2167" y="1191"/>
                    </a:cubicBezTo>
                    <a:cubicBezTo>
                      <a:pt x="2168" y="1191"/>
                      <a:pt x="2168" y="1191"/>
                      <a:pt x="2168" y="1191"/>
                    </a:cubicBezTo>
                    <a:cubicBezTo>
                      <a:pt x="2168" y="1190"/>
                      <a:pt x="2168" y="1190"/>
                      <a:pt x="2168" y="1190"/>
                    </a:cubicBezTo>
                    <a:cubicBezTo>
                      <a:pt x="2167" y="1189"/>
                      <a:pt x="2167" y="1189"/>
                      <a:pt x="2167" y="1189"/>
                    </a:cubicBezTo>
                    <a:cubicBezTo>
                      <a:pt x="2166" y="1188"/>
                      <a:pt x="2166" y="1188"/>
                      <a:pt x="2166" y="1188"/>
                    </a:cubicBezTo>
                    <a:close/>
                    <a:moveTo>
                      <a:pt x="2222" y="1134"/>
                    </a:moveTo>
                    <a:cubicBezTo>
                      <a:pt x="2222" y="1133"/>
                      <a:pt x="2222" y="1133"/>
                      <a:pt x="2222" y="1133"/>
                    </a:cubicBezTo>
                    <a:cubicBezTo>
                      <a:pt x="2221" y="1133"/>
                      <a:pt x="2221" y="1133"/>
                      <a:pt x="2221" y="1133"/>
                    </a:cubicBezTo>
                    <a:cubicBezTo>
                      <a:pt x="2220" y="1133"/>
                      <a:pt x="2220" y="1133"/>
                      <a:pt x="2220" y="1133"/>
                    </a:cubicBezTo>
                    <a:cubicBezTo>
                      <a:pt x="2219" y="1135"/>
                      <a:pt x="2219" y="1135"/>
                      <a:pt x="2219" y="1135"/>
                    </a:cubicBezTo>
                    <a:cubicBezTo>
                      <a:pt x="2219" y="1134"/>
                      <a:pt x="2219" y="1134"/>
                      <a:pt x="2219" y="1134"/>
                    </a:cubicBezTo>
                    <a:cubicBezTo>
                      <a:pt x="2218" y="1132"/>
                      <a:pt x="2218" y="1132"/>
                      <a:pt x="2218" y="1132"/>
                    </a:cubicBezTo>
                    <a:cubicBezTo>
                      <a:pt x="2219" y="1131"/>
                      <a:pt x="2219" y="1131"/>
                      <a:pt x="2219" y="1131"/>
                    </a:cubicBezTo>
                    <a:cubicBezTo>
                      <a:pt x="2219" y="1130"/>
                      <a:pt x="2219" y="1130"/>
                      <a:pt x="2219" y="1130"/>
                    </a:cubicBezTo>
                    <a:cubicBezTo>
                      <a:pt x="2218" y="1130"/>
                      <a:pt x="2218" y="1130"/>
                      <a:pt x="2218" y="1130"/>
                    </a:cubicBezTo>
                    <a:cubicBezTo>
                      <a:pt x="2217" y="1129"/>
                      <a:pt x="2217" y="1129"/>
                      <a:pt x="2217" y="1129"/>
                    </a:cubicBezTo>
                    <a:cubicBezTo>
                      <a:pt x="2217" y="1128"/>
                      <a:pt x="2217" y="1128"/>
                      <a:pt x="2217" y="1128"/>
                    </a:cubicBezTo>
                    <a:cubicBezTo>
                      <a:pt x="2218" y="1127"/>
                      <a:pt x="2218" y="1127"/>
                      <a:pt x="2218" y="1127"/>
                    </a:cubicBezTo>
                    <a:cubicBezTo>
                      <a:pt x="2217" y="1127"/>
                      <a:pt x="2217" y="1127"/>
                      <a:pt x="2217" y="1127"/>
                    </a:cubicBezTo>
                    <a:cubicBezTo>
                      <a:pt x="2215" y="1128"/>
                      <a:pt x="2215" y="1128"/>
                      <a:pt x="2215" y="1128"/>
                    </a:cubicBezTo>
                    <a:cubicBezTo>
                      <a:pt x="2214" y="1129"/>
                      <a:pt x="2214" y="1129"/>
                      <a:pt x="2214" y="1129"/>
                    </a:cubicBezTo>
                    <a:cubicBezTo>
                      <a:pt x="2213" y="1130"/>
                      <a:pt x="2213" y="1130"/>
                      <a:pt x="2213" y="1130"/>
                    </a:cubicBezTo>
                    <a:cubicBezTo>
                      <a:pt x="2213" y="1131"/>
                      <a:pt x="2213" y="1131"/>
                      <a:pt x="2213" y="1131"/>
                    </a:cubicBezTo>
                    <a:cubicBezTo>
                      <a:pt x="2212" y="1134"/>
                      <a:pt x="2212" y="1134"/>
                      <a:pt x="2212" y="1134"/>
                    </a:cubicBezTo>
                    <a:cubicBezTo>
                      <a:pt x="2211" y="1135"/>
                      <a:pt x="2211" y="1135"/>
                      <a:pt x="2211" y="1135"/>
                    </a:cubicBezTo>
                    <a:cubicBezTo>
                      <a:pt x="2210" y="1136"/>
                      <a:pt x="2210" y="1136"/>
                      <a:pt x="2210" y="1136"/>
                    </a:cubicBezTo>
                    <a:cubicBezTo>
                      <a:pt x="2209" y="1137"/>
                      <a:pt x="2209" y="1137"/>
                      <a:pt x="2209" y="1137"/>
                    </a:cubicBezTo>
                    <a:cubicBezTo>
                      <a:pt x="2208" y="1138"/>
                      <a:pt x="2208" y="1138"/>
                      <a:pt x="2208" y="1138"/>
                    </a:cubicBezTo>
                    <a:cubicBezTo>
                      <a:pt x="2207" y="1139"/>
                      <a:pt x="2207" y="1139"/>
                      <a:pt x="2207" y="1139"/>
                    </a:cubicBezTo>
                    <a:cubicBezTo>
                      <a:pt x="2206" y="1139"/>
                      <a:pt x="2206" y="1139"/>
                      <a:pt x="2206" y="1139"/>
                    </a:cubicBezTo>
                    <a:cubicBezTo>
                      <a:pt x="2205" y="1139"/>
                      <a:pt x="2205" y="1139"/>
                      <a:pt x="2205" y="1139"/>
                    </a:cubicBezTo>
                    <a:cubicBezTo>
                      <a:pt x="2205" y="1141"/>
                      <a:pt x="2205" y="1141"/>
                      <a:pt x="2205" y="1141"/>
                    </a:cubicBezTo>
                    <a:cubicBezTo>
                      <a:pt x="2205" y="1142"/>
                      <a:pt x="2205" y="1142"/>
                      <a:pt x="2205" y="1142"/>
                    </a:cubicBezTo>
                    <a:cubicBezTo>
                      <a:pt x="2204" y="1142"/>
                      <a:pt x="2204" y="1142"/>
                      <a:pt x="2204" y="1142"/>
                    </a:cubicBezTo>
                    <a:cubicBezTo>
                      <a:pt x="2203" y="1143"/>
                      <a:pt x="2203" y="1143"/>
                      <a:pt x="2203" y="1143"/>
                    </a:cubicBezTo>
                    <a:cubicBezTo>
                      <a:pt x="2203" y="1145"/>
                      <a:pt x="2203" y="1145"/>
                      <a:pt x="2203" y="1145"/>
                    </a:cubicBezTo>
                    <a:cubicBezTo>
                      <a:pt x="2202" y="1145"/>
                      <a:pt x="2202" y="1145"/>
                      <a:pt x="2202" y="1145"/>
                    </a:cubicBezTo>
                    <a:cubicBezTo>
                      <a:pt x="2202" y="1146"/>
                      <a:pt x="2202" y="1146"/>
                      <a:pt x="2202" y="1146"/>
                    </a:cubicBezTo>
                    <a:cubicBezTo>
                      <a:pt x="2200" y="1149"/>
                      <a:pt x="2200" y="1149"/>
                      <a:pt x="2200" y="1149"/>
                    </a:cubicBezTo>
                    <a:cubicBezTo>
                      <a:pt x="2197" y="1151"/>
                      <a:pt x="2197" y="1151"/>
                      <a:pt x="2197" y="1151"/>
                    </a:cubicBezTo>
                    <a:cubicBezTo>
                      <a:pt x="2196" y="1151"/>
                      <a:pt x="2196" y="1151"/>
                      <a:pt x="2196" y="1151"/>
                    </a:cubicBezTo>
                    <a:cubicBezTo>
                      <a:pt x="2194" y="1152"/>
                      <a:pt x="2194" y="1152"/>
                      <a:pt x="2194" y="1152"/>
                    </a:cubicBezTo>
                    <a:cubicBezTo>
                      <a:pt x="2194" y="1153"/>
                      <a:pt x="2194" y="1153"/>
                      <a:pt x="2194" y="1153"/>
                    </a:cubicBezTo>
                    <a:cubicBezTo>
                      <a:pt x="2193" y="1153"/>
                      <a:pt x="2193" y="1153"/>
                      <a:pt x="2193" y="1153"/>
                    </a:cubicBezTo>
                    <a:cubicBezTo>
                      <a:pt x="2191" y="1154"/>
                      <a:pt x="2191" y="1154"/>
                      <a:pt x="2191" y="1154"/>
                    </a:cubicBezTo>
                    <a:cubicBezTo>
                      <a:pt x="2189" y="1156"/>
                      <a:pt x="2189" y="1156"/>
                      <a:pt x="2189" y="1156"/>
                    </a:cubicBezTo>
                    <a:cubicBezTo>
                      <a:pt x="2188" y="1156"/>
                      <a:pt x="2188" y="1156"/>
                      <a:pt x="2188" y="1156"/>
                    </a:cubicBezTo>
                    <a:cubicBezTo>
                      <a:pt x="2186" y="1157"/>
                      <a:pt x="2186" y="1157"/>
                      <a:pt x="2186" y="1157"/>
                    </a:cubicBezTo>
                    <a:cubicBezTo>
                      <a:pt x="2185" y="1158"/>
                      <a:pt x="2185" y="1158"/>
                      <a:pt x="2185" y="1158"/>
                    </a:cubicBezTo>
                    <a:cubicBezTo>
                      <a:pt x="2186" y="1159"/>
                      <a:pt x="2186" y="1159"/>
                      <a:pt x="2186" y="1159"/>
                    </a:cubicBezTo>
                    <a:cubicBezTo>
                      <a:pt x="2186" y="1160"/>
                      <a:pt x="2186" y="1160"/>
                      <a:pt x="2186" y="1160"/>
                    </a:cubicBezTo>
                    <a:cubicBezTo>
                      <a:pt x="2185" y="1159"/>
                      <a:pt x="2185" y="1159"/>
                      <a:pt x="2185" y="1159"/>
                    </a:cubicBezTo>
                    <a:cubicBezTo>
                      <a:pt x="2184" y="1159"/>
                      <a:pt x="2184" y="1159"/>
                      <a:pt x="2184" y="1159"/>
                    </a:cubicBezTo>
                    <a:cubicBezTo>
                      <a:pt x="2183" y="1160"/>
                      <a:pt x="2183" y="1160"/>
                      <a:pt x="2183" y="1160"/>
                    </a:cubicBezTo>
                    <a:cubicBezTo>
                      <a:pt x="2182" y="1160"/>
                      <a:pt x="2182" y="1160"/>
                      <a:pt x="2182" y="1160"/>
                    </a:cubicBezTo>
                    <a:cubicBezTo>
                      <a:pt x="2182" y="1159"/>
                      <a:pt x="2182" y="1159"/>
                      <a:pt x="2182" y="1159"/>
                    </a:cubicBezTo>
                    <a:cubicBezTo>
                      <a:pt x="2181" y="1159"/>
                      <a:pt x="2181" y="1159"/>
                      <a:pt x="2181" y="1159"/>
                    </a:cubicBezTo>
                    <a:cubicBezTo>
                      <a:pt x="2179" y="1161"/>
                      <a:pt x="2179" y="1161"/>
                      <a:pt x="2179" y="1161"/>
                    </a:cubicBezTo>
                    <a:cubicBezTo>
                      <a:pt x="2178" y="1162"/>
                      <a:pt x="2178" y="1162"/>
                      <a:pt x="2178" y="1162"/>
                    </a:cubicBezTo>
                    <a:cubicBezTo>
                      <a:pt x="2176" y="1163"/>
                      <a:pt x="2176" y="1163"/>
                      <a:pt x="2176" y="1163"/>
                    </a:cubicBezTo>
                    <a:cubicBezTo>
                      <a:pt x="2176" y="1164"/>
                      <a:pt x="2176" y="1164"/>
                      <a:pt x="2176" y="1164"/>
                    </a:cubicBezTo>
                    <a:cubicBezTo>
                      <a:pt x="2174" y="1165"/>
                      <a:pt x="2174" y="1165"/>
                      <a:pt x="2174" y="1165"/>
                    </a:cubicBezTo>
                    <a:cubicBezTo>
                      <a:pt x="2174" y="1166"/>
                      <a:pt x="2174" y="1166"/>
                      <a:pt x="2174" y="1166"/>
                    </a:cubicBezTo>
                    <a:cubicBezTo>
                      <a:pt x="2173" y="1165"/>
                      <a:pt x="2173" y="1165"/>
                      <a:pt x="2173" y="1165"/>
                    </a:cubicBezTo>
                    <a:cubicBezTo>
                      <a:pt x="2173" y="1166"/>
                      <a:pt x="2173" y="1166"/>
                      <a:pt x="2173" y="1166"/>
                    </a:cubicBezTo>
                    <a:cubicBezTo>
                      <a:pt x="2172" y="1166"/>
                      <a:pt x="2172" y="1166"/>
                      <a:pt x="2172" y="1166"/>
                    </a:cubicBezTo>
                    <a:cubicBezTo>
                      <a:pt x="2172" y="1168"/>
                      <a:pt x="2172" y="1168"/>
                      <a:pt x="2172" y="1168"/>
                    </a:cubicBezTo>
                    <a:cubicBezTo>
                      <a:pt x="2171" y="1169"/>
                      <a:pt x="2171" y="1169"/>
                      <a:pt x="2171" y="1169"/>
                    </a:cubicBezTo>
                    <a:cubicBezTo>
                      <a:pt x="2171" y="1168"/>
                      <a:pt x="2171" y="1168"/>
                      <a:pt x="2171" y="1168"/>
                    </a:cubicBezTo>
                    <a:cubicBezTo>
                      <a:pt x="2169" y="1170"/>
                      <a:pt x="2169" y="1170"/>
                      <a:pt x="2169" y="1170"/>
                    </a:cubicBezTo>
                    <a:cubicBezTo>
                      <a:pt x="2168" y="1170"/>
                      <a:pt x="2168" y="1170"/>
                      <a:pt x="2168" y="1170"/>
                    </a:cubicBezTo>
                    <a:cubicBezTo>
                      <a:pt x="2168" y="1171"/>
                      <a:pt x="2168" y="1171"/>
                      <a:pt x="2168" y="1171"/>
                    </a:cubicBezTo>
                    <a:cubicBezTo>
                      <a:pt x="2168" y="1173"/>
                      <a:pt x="2168" y="1173"/>
                      <a:pt x="2168" y="1173"/>
                    </a:cubicBezTo>
                    <a:cubicBezTo>
                      <a:pt x="2167" y="1174"/>
                      <a:pt x="2167" y="1174"/>
                      <a:pt x="2167" y="1174"/>
                    </a:cubicBezTo>
                    <a:cubicBezTo>
                      <a:pt x="2167" y="1173"/>
                      <a:pt x="2167" y="1173"/>
                      <a:pt x="2167" y="1173"/>
                    </a:cubicBezTo>
                    <a:cubicBezTo>
                      <a:pt x="2166" y="1172"/>
                      <a:pt x="2166" y="1172"/>
                      <a:pt x="2166" y="1172"/>
                    </a:cubicBezTo>
                    <a:cubicBezTo>
                      <a:pt x="2166" y="1173"/>
                      <a:pt x="2166" y="1173"/>
                      <a:pt x="2166" y="1173"/>
                    </a:cubicBezTo>
                    <a:cubicBezTo>
                      <a:pt x="2165" y="1173"/>
                      <a:pt x="2165" y="1173"/>
                      <a:pt x="2165" y="1173"/>
                    </a:cubicBezTo>
                    <a:cubicBezTo>
                      <a:pt x="2164" y="1175"/>
                      <a:pt x="2164" y="1175"/>
                      <a:pt x="2164" y="1175"/>
                    </a:cubicBezTo>
                    <a:cubicBezTo>
                      <a:pt x="2164" y="1176"/>
                      <a:pt x="2164" y="1176"/>
                      <a:pt x="2164" y="1176"/>
                    </a:cubicBezTo>
                    <a:cubicBezTo>
                      <a:pt x="2165" y="1177"/>
                      <a:pt x="2165" y="1177"/>
                      <a:pt x="2165" y="1177"/>
                    </a:cubicBezTo>
                    <a:cubicBezTo>
                      <a:pt x="2166" y="1178"/>
                      <a:pt x="2166" y="1178"/>
                      <a:pt x="2166" y="1178"/>
                    </a:cubicBezTo>
                    <a:cubicBezTo>
                      <a:pt x="2165" y="1178"/>
                      <a:pt x="2165" y="1178"/>
                      <a:pt x="2165" y="1178"/>
                    </a:cubicBezTo>
                    <a:cubicBezTo>
                      <a:pt x="2164" y="1178"/>
                      <a:pt x="2164" y="1178"/>
                      <a:pt x="2164" y="1178"/>
                    </a:cubicBezTo>
                    <a:cubicBezTo>
                      <a:pt x="2163" y="1178"/>
                      <a:pt x="2163" y="1178"/>
                      <a:pt x="2163" y="1178"/>
                    </a:cubicBezTo>
                    <a:cubicBezTo>
                      <a:pt x="2162" y="1180"/>
                      <a:pt x="2162" y="1180"/>
                      <a:pt x="2162" y="1180"/>
                    </a:cubicBezTo>
                    <a:cubicBezTo>
                      <a:pt x="2162" y="1182"/>
                      <a:pt x="2162" y="1182"/>
                      <a:pt x="2162" y="1182"/>
                    </a:cubicBezTo>
                    <a:cubicBezTo>
                      <a:pt x="2163" y="1182"/>
                      <a:pt x="2163" y="1182"/>
                      <a:pt x="2163" y="1182"/>
                    </a:cubicBezTo>
                    <a:cubicBezTo>
                      <a:pt x="2163" y="1183"/>
                      <a:pt x="2163" y="1183"/>
                      <a:pt x="2163" y="1183"/>
                    </a:cubicBezTo>
                    <a:cubicBezTo>
                      <a:pt x="2165" y="1183"/>
                      <a:pt x="2165" y="1183"/>
                      <a:pt x="2165" y="1183"/>
                    </a:cubicBezTo>
                    <a:cubicBezTo>
                      <a:pt x="2166" y="1183"/>
                      <a:pt x="2166" y="1183"/>
                      <a:pt x="2166" y="1183"/>
                    </a:cubicBezTo>
                    <a:cubicBezTo>
                      <a:pt x="2167" y="1182"/>
                      <a:pt x="2167" y="1182"/>
                      <a:pt x="2167" y="1182"/>
                    </a:cubicBezTo>
                    <a:cubicBezTo>
                      <a:pt x="2167" y="1183"/>
                      <a:pt x="2167" y="1183"/>
                      <a:pt x="2167" y="1183"/>
                    </a:cubicBezTo>
                    <a:cubicBezTo>
                      <a:pt x="2168" y="1184"/>
                      <a:pt x="2168" y="1184"/>
                      <a:pt x="2168" y="1184"/>
                    </a:cubicBezTo>
                    <a:cubicBezTo>
                      <a:pt x="2168" y="1185"/>
                      <a:pt x="2168" y="1185"/>
                      <a:pt x="2168" y="1185"/>
                    </a:cubicBezTo>
                    <a:cubicBezTo>
                      <a:pt x="2169" y="1185"/>
                      <a:pt x="2169" y="1185"/>
                      <a:pt x="2169" y="1185"/>
                    </a:cubicBezTo>
                    <a:cubicBezTo>
                      <a:pt x="2170" y="1185"/>
                      <a:pt x="2170" y="1185"/>
                      <a:pt x="2170" y="1185"/>
                    </a:cubicBezTo>
                    <a:cubicBezTo>
                      <a:pt x="2170" y="1187"/>
                      <a:pt x="2170" y="1187"/>
                      <a:pt x="2170" y="1187"/>
                    </a:cubicBezTo>
                    <a:cubicBezTo>
                      <a:pt x="2171" y="1188"/>
                      <a:pt x="2171" y="1188"/>
                      <a:pt x="2171" y="1188"/>
                    </a:cubicBezTo>
                    <a:cubicBezTo>
                      <a:pt x="2172" y="1188"/>
                      <a:pt x="2172" y="1188"/>
                      <a:pt x="2172" y="1188"/>
                    </a:cubicBezTo>
                    <a:cubicBezTo>
                      <a:pt x="2171" y="1189"/>
                      <a:pt x="2171" y="1189"/>
                      <a:pt x="2171" y="1189"/>
                    </a:cubicBezTo>
                    <a:cubicBezTo>
                      <a:pt x="2173" y="1188"/>
                      <a:pt x="2173" y="1188"/>
                      <a:pt x="2173" y="1188"/>
                    </a:cubicBezTo>
                    <a:cubicBezTo>
                      <a:pt x="2173" y="1189"/>
                      <a:pt x="2173" y="1189"/>
                      <a:pt x="2173" y="1189"/>
                    </a:cubicBezTo>
                    <a:cubicBezTo>
                      <a:pt x="2174" y="1189"/>
                      <a:pt x="2174" y="1189"/>
                      <a:pt x="2174" y="1189"/>
                    </a:cubicBezTo>
                    <a:cubicBezTo>
                      <a:pt x="2175" y="1189"/>
                      <a:pt x="2175" y="1189"/>
                      <a:pt x="2175" y="1189"/>
                    </a:cubicBezTo>
                    <a:cubicBezTo>
                      <a:pt x="2178" y="1188"/>
                      <a:pt x="2178" y="1188"/>
                      <a:pt x="2178" y="1188"/>
                    </a:cubicBezTo>
                    <a:cubicBezTo>
                      <a:pt x="2179" y="1187"/>
                      <a:pt x="2179" y="1187"/>
                      <a:pt x="2179" y="1187"/>
                    </a:cubicBezTo>
                    <a:cubicBezTo>
                      <a:pt x="2181" y="1186"/>
                      <a:pt x="2181" y="1186"/>
                      <a:pt x="2181" y="1186"/>
                    </a:cubicBezTo>
                    <a:cubicBezTo>
                      <a:pt x="2182" y="1185"/>
                      <a:pt x="2182" y="1185"/>
                      <a:pt x="2182" y="1185"/>
                    </a:cubicBezTo>
                    <a:cubicBezTo>
                      <a:pt x="2183" y="1184"/>
                      <a:pt x="2183" y="1184"/>
                      <a:pt x="2183" y="1184"/>
                    </a:cubicBezTo>
                    <a:cubicBezTo>
                      <a:pt x="2184" y="1183"/>
                      <a:pt x="2184" y="1183"/>
                      <a:pt x="2184" y="1183"/>
                    </a:cubicBezTo>
                    <a:cubicBezTo>
                      <a:pt x="2185" y="1182"/>
                      <a:pt x="2185" y="1182"/>
                      <a:pt x="2185" y="1182"/>
                    </a:cubicBezTo>
                    <a:cubicBezTo>
                      <a:pt x="2187" y="1182"/>
                      <a:pt x="2187" y="1182"/>
                      <a:pt x="2187" y="1182"/>
                    </a:cubicBezTo>
                    <a:cubicBezTo>
                      <a:pt x="2188" y="1182"/>
                      <a:pt x="2188" y="1182"/>
                      <a:pt x="2188" y="1182"/>
                    </a:cubicBezTo>
                    <a:cubicBezTo>
                      <a:pt x="2188" y="1181"/>
                      <a:pt x="2188" y="1181"/>
                      <a:pt x="2188" y="1181"/>
                    </a:cubicBezTo>
                    <a:cubicBezTo>
                      <a:pt x="2187" y="1181"/>
                      <a:pt x="2187" y="1181"/>
                      <a:pt x="2187" y="1181"/>
                    </a:cubicBezTo>
                    <a:cubicBezTo>
                      <a:pt x="2187" y="1180"/>
                      <a:pt x="2187" y="1180"/>
                      <a:pt x="2187" y="1180"/>
                    </a:cubicBezTo>
                    <a:cubicBezTo>
                      <a:pt x="2188" y="1179"/>
                      <a:pt x="2188" y="1179"/>
                      <a:pt x="2188" y="1179"/>
                    </a:cubicBezTo>
                    <a:cubicBezTo>
                      <a:pt x="2189" y="1177"/>
                      <a:pt x="2189" y="1177"/>
                      <a:pt x="2189" y="1177"/>
                    </a:cubicBezTo>
                    <a:cubicBezTo>
                      <a:pt x="2190" y="1175"/>
                      <a:pt x="2190" y="1175"/>
                      <a:pt x="2190" y="1175"/>
                    </a:cubicBezTo>
                    <a:cubicBezTo>
                      <a:pt x="2191" y="1174"/>
                      <a:pt x="2191" y="1174"/>
                      <a:pt x="2191" y="1174"/>
                    </a:cubicBezTo>
                    <a:cubicBezTo>
                      <a:pt x="2193" y="1172"/>
                      <a:pt x="2193" y="1172"/>
                      <a:pt x="2193" y="1172"/>
                    </a:cubicBezTo>
                    <a:cubicBezTo>
                      <a:pt x="2194" y="1171"/>
                      <a:pt x="2194" y="1171"/>
                      <a:pt x="2194" y="1171"/>
                    </a:cubicBezTo>
                    <a:cubicBezTo>
                      <a:pt x="2194" y="1170"/>
                      <a:pt x="2194" y="1170"/>
                      <a:pt x="2194" y="1170"/>
                    </a:cubicBezTo>
                    <a:cubicBezTo>
                      <a:pt x="2196" y="1168"/>
                      <a:pt x="2196" y="1168"/>
                      <a:pt x="2196" y="1168"/>
                    </a:cubicBezTo>
                    <a:cubicBezTo>
                      <a:pt x="2196" y="1167"/>
                      <a:pt x="2196" y="1167"/>
                      <a:pt x="2196" y="1167"/>
                    </a:cubicBezTo>
                    <a:cubicBezTo>
                      <a:pt x="2196" y="1166"/>
                      <a:pt x="2196" y="1166"/>
                      <a:pt x="2196" y="1166"/>
                    </a:cubicBezTo>
                    <a:cubicBezTo>
                      <a:pt x="2197" y="1164"/>
                      <a:pt x="2197" y="1164"/>
                      <a:pt x="2197" y="1164"/>
                    </a:cubicBezTo>
                    <a:cubicBezTo>
                      <a:pt x="2198" y="1164"/>
                      <a:pt x="2198" y="1164"/>
                      <a:pt x="2198" y="1164"/>
                    </a:cubicBezTo>
                    <a:cubicBezTo>
                      <a:pt x="2199" y="1163"/>
                      <a:pt x="2199" y="1163"/>
                      <a:pt x="2199" y="1163"/>
                    </a:cubicBezTo>
                    <a:cubicBezTo>
                      <a:pt x="2199" y="1164"/>
                      <a:pt x="2199" y="1164"/>
                      <a:pt x="2199" y="1164"/>
                    </a:cubicBezTo>
                    <a:cubicBezTo>
                      <a:pt x="2200" y="1164"/>
                      <a:pt x="2200" y="1164"/>
                      <a:pt x="2200" y="1164"/>
                    </a:cubicBezTo>
                    <a:cubicBezTo>
                      <a:pt x="2201" y="1163"/>
                      <a:pt x="2201" y="1163"/>
                      <a:pt x="2201" y="1163"/>
                    </a:cubicBezTo>
                    <a:cubicBezTo>
                      <a:pt x="2202" y="1163"/>
                      <a:pt x="2202" y="1163"/>
                      <a:pt x="2202" y="1163"/>
                    </a:cubicBezTo>
                    <a:cubicBezTo>
                      <a:pt x="2202" y="1162"/>
                      <a:pt x="2202" y="1162"/>
                      <a:pt x="2202" y="1162"/>
                    </a:cubicBezTo>
                    <a:cubicBezTo>
                      <a:pt x="2203" y="1161"/>
                      <a:pt x="2203" y="1161"/>
                      <a:pt x="2203" y="1161"/>
                    </a:cubicBezTo>
                    <a:cubicBezTo>
                      <a:pt x="2203" y="1160"/>
                      <a:pt x="2203" y="1160"/>
                      <a:pt x="2203" y="1160"/>
                    </a:cubicBezTo>
                    <a:cubicBezTo>
                      <a:pt x="2204" y="1161"/>
                      <a:pt x="2204" y="1161"/>
                      <a:pt x="2204" y="1161"/>
                    </a:cubicBezTo>
                    <a:cubicBezTo>
                      <a:pt x="2205" y="1161"/>
                      <a:pt x="2205" y="1161"/>
                      <a:pt x="2205" y="1161"/>
                    </a:cubicBezTo>
                    <a:cubicBezTo>
                      <a:pt x="2206" y="1160"/>
                      <a:pt x="2206" y="1160"/>
                      <a:pt x="2206" y="1160"/>
                    </a:cubicBezTo>
                    <a:cubicBezTo>
                      <a:pt x="2207" y="1160"/>
                      <a:pt x="2207" y="1160"/>
                      <a:pt x="2207" y="1160"/>
                    </a:cubicBezTo>
                    <a:cubicBezTo>
                      <a:pt x="2207" y="1161"/>
                      <a:pt x="2207" y="1161"/>
                      <a:pt x="2207" y="1161"/>
                    </a:cubicBezTo>
                    <a:cubicBezTo>
                      <a:pt x="2208" y="1162"/>
                      <a:pt x="2208" y="1162"/>
                      <a:pt x="2208" y="1162"/>
                    </a:cubicBezTo>
                    <a:cubicBezTo>
                      <a:pt x="2208" y="1161"/>
                      <a:pt x="2208" y="1161"/>
                      <a:pt x="2208" y="1161"/>
                    </a:cubicBezTo>
                    <a:cubicBezTo>
                      <a:pt x="2208" y="1160"/>
                      <a:pt x="2208" y="1160"/>
                      <a:pt x="2208" y="1160"/>
                    </a:cubicBezTo>
                    <a:cubicBezTo>
                      <a:pt x="2209" y="1160"/>
                      <a:pt x="2209" y="1160"/>
                      <a:pt x="2209" y="1160"/>
                    </a:cubicBezTo>
                    <a:cubicBezTo>
                      <a:pt x="2209" y="1161"/>
                      <a:pt x="2209" y="1161"/>
                      <a:pt x="2209" y="1161"/>
                    </a:cubicBezTo>
                    <a:cubicBezTo>
                      <a:pt x="2209" y="1162"/>
                      <a:pt x="2209" y="1162"/>
                      <a:pt x="2209" y="1162"/>
                    </a:cubicBezTo>
                    <a:cubicBezTo>
                      <a:pt x="2210" y="1161"/>
                      <a:pt x="2210" y="1161"/>
                      <a:pt x="2210" y="1161"/>
                    </a:cubicBezTo>
                    <a:cubicBezTo>
                      <a:pt x="2210" y="1160"/>
                      <a:pt x="2210" y="1160"/>
                      <a:pt x="2210" y="1160"/>
                    </a:cubicBezTo>
                    <a:cubicBezTo>
                      <a:pt x="2209" y="1159"/>
                      <a:pt x="2209" y="1159"/>
                      <a:pt x="2209" y="1159"/>
                    </a:cubicBezTo>
                    <a:cubicBezTo>
                      <a:pt x="2208" y="1158"/>
                      <a:pt x="2208" y="1158"/>
                      <a:pt x="2208" y="1158"/>
                    </a:cubicBezTo>
                    <a:cubicBezTo>
                      <a:pt x="2209" y="1158"/>
                      <a:pt x="2209" y="1158"/>
                      <a:pt x="2209" y="1158"/>
                    </a:cubicBezTo>
                    <a:cubicBezTo>
                      <a:pt x="2209" y="1157"/>
                      <a:pt x="2209" y="1157"/>
                      <a:pt x="2209" y="1157"/>
                    </a:cubicBezTo>
                    <a:cubicBezTo>
                      <a:pt x="2209" y="1155"/>
                      <a:pt x="2209" y="1155"/>
                      <a:pt x="2209" y="1155"/>
                    </a:cubicBezTo>
                    <a:cubicBezTo>
                      <a:pt x="2210" y="1154"/>
                      <a:pt x="2210" y="1154"/>
                      <a:pt x="2210" y="1154"/>
                    </a:cubicBezTo>
                    <a:cubicBezTo>
                      <a:pt x="2212" y="1154"/>
                      <a:pt x="2212" y="1154"/>
                      <a:pt x="2212" y="1154"/>
                    </a:cubicBezTo>
                    <a:cubicBezTo>
                      <a:pt x="2213" y="1152"/>
                      <a:pt x="2213" y="1152"/>
                      <a:pt x="2213" y="1152"/>
                    </a:cubicBezTo>
                    <a:cubicBezTo>
                      <a:pt x="2214" y="1152"/>
                      <a:pt x="2214" y="1152"/>
                      <a:pt x="2214" y="1152"/>
                    </a:cubicBezTo>
                    <a:cubicBezTo>
                      <a:pt x="2215" y="1150"/>
                      <a:pt x="2215" y="1150"/>
                      <a:pt x="2215" y="1150"/>
                    </a:cubicBezTo>
                    <a:cubicBezTo>
                      <a:pt x="2215" y="1149"/>
                      <a:pt x="2215" y="1149"/>
                      <a:pt x="2215" y="1149"/>
                    </a:cubicBezTo>
                    <a:cubicBezTo>
                      <a:pt x="2217" y="1148"/>
                      <a:pt x="2217" y="1148"/>
                      <a:pt x="2217" y="1148"/>
                    </a:cubicBezTo>
                    <a:cubicBezTo>
                      <a:pt x="2218" y="1148"/>
                      <a:pt x="2218" y="1148"/>
                      <a:pt x="2218" y="1148"/>
                    </a:cubicBezTo>
                    <a:cubicBezTo>
                      <a:pt x="2217" y="1147"/>
                      <a:pt x="2217" y="1147"/>
                      <a:pt x="2217" y="1147"/>
                    </a:cubicBezTo>
                    <a:cubicBezTo>
                      <a:pt x="2220" y="1145"/>
                      <a:pt x="2220" y="1145"/>
                      <a:pt x="2220" y="1145"/>
                    </a:cubicBezTo>
                    <a:cubicBezTo>
                      <a:pt x="2220" y="1144"/>
                      <a:pt x="2220" y="1144"/>
                      <a:pt x="2220" y="1144"/>
                    </a:cubicBezTo>
                    <a:cubicBezTo>
                      <a:pt x="2223" y="1141"/>
                      <a:pt x="2223" y="1141"/>
                      <a:pt x="2223" y="1141"/>
                    </a:cubicBezTo>
                    <a:cubicBezTo>
                      <a:pt x="2224" y="1141"/>
                      <a:pt x="2224" y="1141"/>
                      <a:pt x="2224" y="1141"/>
                    </a:cubicBezTo>
                    <a:cubicBezTo>
                      <a:pt x="2224" y="1140"/>
                      <a:pt x="2224" y="1140"/>
                      <a:pt x="2224" y="1140"/>
                    </a:cubicBezTo>
                    <a:cubicBezTo>
                      <a:pt x="2224" y="1139"/>
                      <a:pt x="2224" y="1139"/>
                      <a:pt x="2224" y="1139"/>
                    </a:cubicBezTo>
                    <a:cubicBezTo>
                      <a:pt x="2223" y="1138"/>
                      <a:pt x="2223" y="1138"/>
                      <a:pt x="2223" y="1138"/>
                    </a:cubicBezTo>
                    <a:cubicBezTo>
                      <a:pt x="2223" y="1137"/>
                      <a:pt x="2223" y="1137"/>
                      <a:pt x="2223" y="1137"/>
                    </a:cubicBezTo>
                    <a:cubicBezTo>
                      <a:pt x="2223" y="1136"/>
                      <a:pt x="2223" y="1136"/>
                      <a:pt x="2223" y="1136"/>
                    </a:cubicBezTo>
                    <a:cubicBezTo>
                      <a:pt x="2224" y="1136"/>
                      <a:pt x="2224" y="1136"/>
                      <a:pt x="2224" y="1136"/>
                    </a:cubicBezTo>
                    <a:cubicBezTo>
                      <a:pt x="2225" y="1134"/>
                      <a:pt x="2225" y="1134"/>
                      <a:pt x="2225" y="1134"/>
                    </a:cubicBezTo>
                    <a:cubicBezTo>
                      <a:pt x="2224" y="1135"/>
                      <a:pt x="2224" y="1135"/>
                      <a:pt x="2224" y="1135"/>
                    </a:cubicBezTo>
                    <a:cubicBezTo>
                      <a:pt x="2223" y="1135"/>
                      <a:pt x="2223" y="1135"/>
                      <a:pt x="2223" y="1135"/>
                    </a:cubicBezTo>
                    <a:cubicBezTo>
                      <a:pt x="2224" y="1134"/>
                      <a:pt x="2224" y="1134"/>
                      <a:pt x="2224" y="1134"/>
                    </a:cubicBezTo>
                    <a:cubicBezTo>
                      <a:pt x="2223" y="1134"/>
                      <a:pt x="2223" y="1134"/>
                      <a:pt x="2223" y="1134"/>
                    </a:cubicBezTo>
                    <a:cubicBezTo>
                      <a:pt x="2222" y="1134"/>
                      <a:pt x="2222" y="1134"/>
                      <a:pt x="2222" y="1134"/>
                    </a:cubicBezTo>
                    <a:close/>
                    <a:moveTo>
                      <a:pt x="2162" y="1176"/>
                    </a:moveTo>
                    <a:cubicBezTo>
                      <a:pt x="2162" y="1177"/>
                      <a:pt x="2162" y="1177"/>
                      <a:pt x="2162" y="1177"/>
                    </a:cubicBezTo>
                    <a:cubicBezTo>
                      <a:pt x="2163" y="1177"/>
                      <a:pt x="2163" y="1177"/>
                      <a:pt x="2163" y="1177"/>
                    </a:cubicBezTo>
                    <a:cubicBezTo>
                      <a:pt x="2164" y="1177"/>
                      <a:pt x="2164" y="1177"/>
                      <a:pt x="2164" y="1177"/>
                    </a:cubicBezTo>
                    <a:cubicBezTo>
                      <a:pt x="2164" y="1176"/>
                      <a:pt x="2164" y="1176"/>
                      <a:pt x="2164" y="1176"/>
                    </a:cubicBezTo>
                    <a:cubicBezTo>
                      <a:pt x="2163" y="1176"/>
                      <a:pt x="2163" y="1176"/>
                      <a:pt x="2163" y="1176"/>
                    </a:cubicBezTo>
                    <a:cubicBezTo>
                      <a:pt x="2162" y="1176"/>
                      <a:pt x="2162" y="1176"/>
                      <a:pt x="2162" y="1176"/>
                    </a:cubicBezTo>
                    <a:close/>
                    <a:moveTo>
                      <a:pt x="2223" y="1132"/>
                    </a:moveTo>
                    <a:cubicBezTo>
                      <a:pt x="2222" y="1133"/>
                      <a:pt x="2222" y="1133"/>
                      <a:pt x="2222" y="1133"/>
                    </a:cubicBezTo>
                    <a:cubicBezTo>
                      <a:pt x="2223" y="1133"/>
                      <a:pt x="2223" y="1133"/>
                      <a:pt x="2223" y="1133"/>
                    </a:cubicBezTo>
                    <a:cubicBezTo>
                      <a:pt x="2223" y="1132"/>
                      <a:pt x="2223" y="1132"/>
                      <a:pt x="2223" y="1132"/>
                    </a:cubicBezTo>
                    <a:close/>
                    <a:moveTo>
                      <a:pt x="2136" y="1234"/>
                    </a:moveTo>
                    <a:cubicBezTo>
                      <a:pt x="2137" y="1233"/>
                      <a:pt x="2137" y="1233"/>
                      <a:pt x="2137" y="1233"/>
                    </a:cubicBezTo>
                    <a:cubicBezTo>
                      <a:pt x="2139" y="1234"/>
                      <a:pt x="2139" y="1234"/>
                      <a:pt x="2139" y="1234"/>
                    </a:cubicBezTo>
                    <a:cubicBezTo>
                      <a:pt x="2139" y="1233"/>
                      <a:pt x="2139" y="1233"/>
                      <a:pt x="2139" y="1233"/>
                    </a:cubicBezTo>
                    <a:cubicBezTo>
                      <a:pt x="2138" y="1232"/>
                      <a:pt x="2138" y="1232"/>
                      <a:pt x="2138" y="1232"/>
                    </a:cubicBezTo>
                    <a:cubicBezTo>
                      <a:pt x="2139" y="1231"/>
                      <a:pt x="2139" y="1231"/>
                      <a:pt x="2139" y="1231"/>
                    </a:cubicBezTo>
                    <a:cubicBezTo>
                      <a:pt x="2139" y="1230"/>
                      <a:pt x="2139" y="1230"/>
                      <a:pt x="2139" y="1230"/>
                    </a:cubicBezTo>
                    <a:cubicBezTo>
                      <a:pt x="2136" y="1233"/>
                      <a:pt x="2136" y="1233"/>
                      <a:pt x="2136" y="1233"/>
                    </a:cubicBezTo>
                    <a:cubicBezTo>
                      <a:pt x="2136" y="1234"/>
                      <a:pt x="2136" y="1234"/>
                      <a:pt x="2136" y="1234"/>
                    </a:cubicBezTo>
                    <a:close/>
                    <a:moveTo>
                      <a:pt x="2236" y="1064"/>
                    </a:moveTo>
                    <a:cubicBezTo>
                      <a:pt x="2236" y="1065"/>
                      <a:pt x="2236" y="1065"/>
                      <a:pt x="2236" y="1065"/>
                    </a:cubicBezTo>
                    <a:cubicBezTo>
                      <a:pt x="2237" y="1065"/>
                      <a:pt x="2237" y="1065"/>
                      <a:pt x="2237" y="1065"/>
                    </a:cubicBezTo>
                    <a:cubicBezTo>
                      <a:pt x="2236" y="1064"/>
                      <a:pt x="2236" y="1064"/>
                      <a:pt x="2236" y="1064"/>
                    </a:cubicBezTo>
                    <a:close/>
                    <a:moveTo>
                      <a:pt x="2239" y="1068"/>
                    </a:moveTo>
                    <a:cubicBezTo>
                      <a:pt x="2238" y="1069"/>
                      <a:pt x="2238" y="1069"/>
                      <a:pt x="2238" y="1069"/>
                    </a:cubicBezTo>
                    <a:cubicBezTo>
                      <a:pt x="2239" y="1069"/>
                      <a:pt x="2239" y="1069"/>
                      <a:pt x="2239" y="1069"/>
                    </a:cubicBezTo>
                    <a:cubicBezTo>
                      <a:pt x="2239" y="1068"/>
                      <a:pt x="2239" y="1068"/>
                      <a:pt x="2239" y="1068"/>
                    </a:cubicBezTo>
                    <a:close/>
                    <a:moveTo>
                      <a:pt x="2223" y="1133"/>
                    </a:moveTo>
                    <a:cubicBezTo>
                      <a:pt x="2224" y="1134"/>
                      <a:pt x="2224" y="1134"/>
                      <a:pt x="2224" y="1134"/>
                    </a:cubicBezTo>
                    <a:cubicBezTo>
                      <a:pt x="2225" y="1133"/>
                      <a:pt x="2225" y="1133"/>
                      <a:pt x="2225" y="1133"/>
                    </a:cubicBezTo>
                    <a:cubicBezTo>
                      <a:pt x="2225" y="1132"/>
                      <a:pt x="2225" y="1132"/>
                      <a:pt x="2225" y="1132"/>
                    </a:cubicBezTo>
                    <a:cubicBezTo>
                      <a:pt x="2224" y="1132"/>
                      <a:pt x="2224" y="1132"/>
                      <a:pt x="2224" y="1132"/>
                    </a:cubicBezTo>
                    <a:cubicBezTo>
                      <a:pt x="2223" y="1133"/>
                      <a:pt x="2223" y="1133"/>
                      <a:pt x="2223" y="1133"/>
                    </a:cubicBezTo>
                    <a:close/>
                    <a:moveTo>
                      <a:pt x="2238" y="1085"/>
                    </a:moveTo>
                    <a:cubicBezTo>
                      <a:pt x="2238" y="1086"/>
                      <a:pt x="2238" y="1086"/>
                      <a:pt x="2238" y="1086"/>
                    </a:cubicBezTo>
                    <a:cubicBezTo>
                      <a:pt x="2239" y="1085"/>
                      <a:pt x="2239" y="1085"/>
                      <a:pt x="2239" y="1085"/>
                    </a:cubicBezTo>
                    <a:cubicBezTo>
                      <a:pt x="2238" y="1084"/>
                      <a:pt x="2238" y="1084"/>
                      <a:pt x="2238" y="1084"/>
                    </a:cubicBezTo>
                    <a:cubicBezTo>
                      <a:pt x="2238" y="1085"/>
                      <a:pt x="2238" y="1085"/>
                      <a:pt x="2238" y="1085"/>
                    </a:cubicBezTo>
                    <a:close/>
                    <a:moveTo>
                      <a:pt x="1067" y="325"/>
                    </a:moveTo>
                    <a:cubicBezTo>
                      <a:pt x="1066" y="325"/>
                      <a:pt x="1066" y="325"/>
                      <a:pt x="1066" y="325"/>
                    </a:cubicBezTo>
                    <a:cubicBezTo>
                      <a:pt x="1065" y="325"/>
                      <a:pt x="1065" y="325"/>
                      <a:pt x="1065" y="325"/>
                    </a:cubicBezTo>
                    <a:cubicBezTo>
                      <a:pt x="1064" y="325"/>
                      <a:pt x="1064" y="325"/>
                      <a:pt x="1064" y="325"/>
                    </a:cubicBezTo>
                    <a:cubicBezTo>
                      <a:pt x="1063" y="324"/>
                      <a:pt x="1063" y="324"/>
                      <a:pt x="1063" y="324"/>
                    </a:cubicBezTo>
                    <a:cubicBezTo>
                      <a:pt x="1061" y="326"/>
                      <a:pt x="1061" y="326"/>
                      <a:pt x="1061" y="326"/>
                    </a:cubicBezTo>
                    <a:cubicBezTo>
                      <a:pt x="1059" y="325"/>
                      <a:pt x="1059" y="325"/>
                      <a:pt x="1059" y="325"/>
                    </a:cubicBezTo>
                    <a:cubicBezTo>
                      <a:pt x="1058" y="325"/>
                      <a:pt x="1058" y="325"/>
                      <a:pt x="1058" y="325"/>
                    </a:cubicBezTo>
                    <a:cubicBezTo>
                      <a:pt x="1056" y="325"/>
                      <a:pt x="1056" y="325"/>
                      <a:pt x="1056" y="325"/>
                    </a:cubicBezTo>
                    <a:cubicBezTo>
                      <a:pt x="1057" y="323"/>
                      <a:pt x="1057" y="323"/>
                      <a:pt x="1057" y="323"/>
                    </a:cubicBezTo>
                    <a:cubicBezTo>
                      <a:pt x="1056" y="323"/>
                      <a:pt x="1056" y="323"/>
                      <a:pt x="1056" y="323"/>
                    </a:cubicBezTo>
                    <a:cubicBezTo>
                      <a:pt x="1056" y="321"/>
                      <a:pt x="1056" y="321"/>
                      <a:pt x="1056" y="321"/>
                    </a:cubicBezTo>
                    <a:cubicBezTo>
                      <a:pt x="1057" y="321"/>
                      <a:pt x="1057" y="321"/>
                      <a:pt x="1057" y="321"/>
                    </a:cubicBezTo>
                    <a:cubicBezTo>
                      <a:pt x="1058" y="321"/>
                      <a:pt x="1058" y="321"/>
                      <a:pt x="1058" y="321"/>
                    </a:cubicBezTo>
                    <a:cubicBezTo>
                      <a:pt x="1058" y="322"/>
                      <a:pt x="1058" y="322"/>
                      <a:pt x="1058" y="322"/>
                    </a:cubicBezTo>
                    <a:cubicBezTo>
                      <a:pt x="1059" y="322"/>
                      <a:pt x="1059" y="322"/>
                      <a:pt x="1059" y="322"/>
                    </a:cubicBezTo>
                    <a:cubicBezTo>
                      <a:pt x="1060" y="322"/>
                      <a:pt x="1060" y="322"/>
                      <a:pt x="1060" y="322"/>
                    </a:cubicBezTo>
                    <a:cubicBezTo>
                      <a:pt x="1060" y="321"/>
                      <a:pt x="1060" y="321"/>
                      <a:pt x="1060" y="321"/>
                    </a:cubicBezTo>
                    <a:cubicBezTo>
                      <a:pt x="1060" y="320"/>
                      <a:pt x="1060" y="320"/>
                      <a:pt x="1060" y="320"/>
                    </a:cubicBezTo>
                    <a:cubicBezTo>
                      <a:pt x="1061" y="320"/>
                      <a:pt x="1061" y="320"/>
                      <a:pt x="1061" y="320"/>
                    </a:cubicBezTo>
                    <a:cubicBezTo>
                      <a:pt x="1060" y="319"/>
                      <a:pt x="1060" y="319"/>
                      <a:pt x="1060" y="319"/>
                    </a:cubicBezTo>
                    <a:cubicBezTo>
                      <a:pt x="1061" y="318"/>
                      <a:pt x="1061" y="318"/>
                      <a:pt x="1061" y="318"/>
                    </a:cubicBezTo>
                    <a:cubicBezTo>
                      <a:pt x="1062" y="317"/>
                      <a:pt x="1062" y="317"/>
                      <a:pt x="1062" y="317"/>
                    </a:cubicBezTo>
                    <a:cubicBezTo>
                      <a:pt x="1062" y="316"/>
                      <a:pt x="1062" y="316"/>
                      <a:pt x="1062" y="316"/>
                    </a:cubicBezTo>
                    <a:cubicBezTo>
                      <a:pt x="1060" y="318"/>
                      <a:pt x="1060" y="318"/>
                      <a:pt x="1060" y="318"/>
                    </a:cubicBezTo>
                    <a:cubicBezTo>
                      <a:pt x="1059" y="317"/>
                      <a:pt x="1059" y="317"/>
                      <a:pt x="1059" y="317"/>
                    </a:cubicBezTo>
                    <a:cubicBezTo>
                      <a:pt x="1058" y="316"/>
                      <a:pt x="1058" y="316"/>
                      <a:pt x="1058" y="316"/>
                    </a:cubicBezTo>
                    <a:cubicBezTo>
                      <a:pt x="1058" y="315"/>
                      <a:pt x="1058" y="315"/>
                      <a:pt x="1058" y="315"/>
                    </a:cubicBezTo>
                    <a:cubicBezTo>
                      <a:pt x="1059" y="315"/>
                      <a:pt x="1059" y="315"/>
                      <a:pt x="1059" y="315"/>
                    </a:cubicBezTo>
                    <a:cubicBezTo>
                      <a:pt x="1059" y="314"/>
                      <a:pt x="1059" y="314"/>
                      <a:pt x="1059" y="314"/>
                    </a:cubicBezTo>
                    <a:cubicBezTo>
                      <a:pt x="1058" y="314"/>
                      <a:pt x="1058" y="314"/>
                      <a:pt x="1058" y="314"/>
                    </a:cubicBezTo>
                    <a:cubicBezTo>
                      <a:pt x="1055" y="314"/>
                      <a:pt x="1055" y="314"/>
                      <a:pt x="1055" y="314"/>
                    </a:cubicBezTo>
                    <a:cubicBezTo>
                      <a:pt x="1053" y="314"/>
                      <a:pt x="1053" y="314"/>
                      <a:pt x="1053" y="314"/>
                    </a:cubicBezTo>
                    <a:cubicBezTo>
                      <a:pt x="1052" y="314"/>
                      <a:pt x="1052" y="314"/>
                      <a:pt x="1052" y="314"/>
                    </a:cubicBezTo>
                    <a:cubicBezTo>
                      <a:pt x="1051" y="313"/>
                      <a:pt x="1051" y="313"/>
                      <a:pt x="1051" y="313"/>
                    </a:cubicBezTo>
                    <a:cubicBezTo>
                      <a:pt x="1051" y="312"/>
                      <a:pt x="1051" y="312"/>
                      <a:pt x="1051" y="312"/>
                    </a:cubicBezTo>
                    <a:cubicBezTo>
                      <a:pt x="1052" y="311"/>
                      <a:pt x="1052" y="311"/>
                      <a:pt x="1052" y="311"/>
                    </a:cubicBezTo>
                    <a:cubicBezTo>
                      <a:pt x="1053" y="312"/>
                      <a:pt x="1053" y="312"/>
                      <a:pt x="1053" y="312"/>
                    </a:cubicBezTo>
                    <a:cubicBezTo>
                      <a:pt x="1054" y="311"/>
                      <a:pt x="1054" y="311"/>
                      <a:pt x="1054" y="311"/>
                    </a:cubicBezTo>
                    <a:cubicBezTo>
                      <a:pt x="1055" y="311"/>
                      <a:pt x="1055" y="311"/>
                      <a:pt x="1055" y="311"/>
                    </a:cubicBezTo>
                    <a:cubicBezTo>
                      <a:pt x="1056" y="312"/>
                      <a:pt x="1056" y="312"/>
                      <a:pt x="1056" y="312"/>
                    </a:cubicBezTo>
                    <a:cubicBezTo>
                      <a:pt x="1057" y="311"/>
                      <a:pt x="1057" y="311"/>
                      <a:pt x="1057" y="311"/>
                    </a:cubicBezTo>
                    <a:cubicBezTo>
                      <a:pt x="1057" y="310"/>
                      <a:pt x="1057" y="310"/>
                      <a:pt x="1057" y="310"/>
                    </a:cubicBezTo>
                    <a:cubicBezTo>
                      <a:pt x="1058" y="310"/>
                      <a:pt x="1058" y="310"/>
                      <a:pt x="1058" y="310"/>
                    </a:cubicBezTo>
                    <a:cubicBezTo>
                      <a:pt x="1058" y="311"/>
                      <a:pt x="1058" y="311"/>
                      <a:pt x="1058" y="311"/>
                    </a:cubicBezTo>
                    <a:cubicBezTo>
                      <a:pt x="1059" y="312"/>
                      <a:pt x="1059" y="312"/>
                      <a:pt x="1059" y="312"/>
                    </a:cubicBezTo>
                    <a:cubicBezTo>
                      <a:pt x="1060" y="311"/>
                      <a:pt x="1060" y="311"/>
                      <a:pt x="1060" y="311"/>
                    </a:cubicBezTo>
                    <a:cubicBezTo>
                      <a:pt x="1062" y="311"/>
                      <a:pt x="1062" y="311"/>
                      <a:pt x="1062" y="311"/>
                    </a:cubicBezTo>
                    <a:cubicBezTo>
                      <a:pt x="1063" y="310"/>
                      <a:pt x="1063" y="310"/>
                      <a:pt x="1063" y="310"/>
                    </a:cubicBezTo>
                    <a:cubicBezTo>
                      <a:pt x="1063" y="309"/>
                      <a:pt x="1063" y="309"/>
                      <a:pt x="1063" y="309"/>
                    </a:cubicBezTo>
                    <a:cubicBezTo>
                      <a:pt x="1062" y="310"/>
                      <a:pt x="1062" y="310"/>
                      <a:pt x="1062" y="310"/>
                    </a:cubicBezTo>
                    <a:cubicBezTo>
                      <a:pt x="1061" y="310"/>
                      <a:pt x="1061" y="310"/>
                      <a:pt x="1061" y="310"/>
                    </a:cubicBezTo>
                    <a:cubicBezTo>
                      <a:pt x="1059" y="310"/>
                      <a:pt x="1059" y="310"/>
                      <a:pt x="1059" y="310"/>
                    </a:cubicBezTo>
                    <a:cubicBezTo>
                      <a:pt x="1059" y="309"/>
                      <a:pt x="1059" y="309"/>
                      <a:pt x="1059" y="309"/>
                    </a:cubicBezTo>
                    <a:cubicBezTo>
                      <a:pt x="1061" y="308"/>
                      <a:pt x="1061" y="308"/>
                      <a:pt x="1061" y="308"/>
                    </a:cubicBezTo>
                    <a:cubicBezTo>
                      <a:pt x="1062" y="308"/>
                      <a:pt x="1062" y="308"/>
                      <a:pt x="1062" y="308"/>
                    </a:cubicBezTo>
                    <a:cubicBezTo>
                      <a:pt x="1063" y="308"/>
                      <a:pt x="1063" y="308"/>
                      <a:pt x="1063" y="308"/>
                    </a:cubicBezTo>
                    <a:cubicBezTo>
                      <a:pt x="1064" y="307"/>
                      <a:pt x="1064" y="307"/>
                      <a:pt x="1064" y="307"/>
                    </a:cubicBezTo>
                    <a:cubicBezTo>
                      <a:pt x="1063" y="307"/>
                      <a:pt x="1063" y="307"/>
                      <a:pt x="1063" y="307"/>
                    </a:cubicBezTo>
                    <a:cubicBezTo>
                      <a:pt x="1062" y="307"/>
                      <a:pt x="1062" y="307"/>
                      <a:pt x="1062" y="307"/>
                    </a:cubicBezTo>
                    <a:cubicBezTo>
                      <a:pt x="1061" y="307"/>
                      <a:pt x="1061" y="307"/>
                      <a:pt x="1061" y="307"/>
                    </a:cubicBezTo>
                    <a:cubicBezTo>
                      <a:pt x="1062" y="306"/>
                      <a:pt x="1062" y="306"/>
                      <a:pt x="1062" y="306"/>
                    </a:cubicBezTo>
                    <a:cubicBezTo>
                      <a:pt x="1062" y="305"/>
                      <a:pt x="1062" y="305"/>
                      <a:pt x="1062" y="305"/>
                    </a:cubicBezTo>
                    <a:cubicBezTo>
                      <a:pt x="1060" y="306"/>
                      <a:pt x="1060" y="306"/>
                      <a:pt x="1060" y="306"/>
                    </a:cubicBezTo>
                    <a:cubicBezTo>
                      <a:pt x="1059" y="306"/>
                      <a:pt x="1059" y="306"/>
                      <a:pt x="1059" y="306"/>
                    </a:cubicBezTo>
                    <a:cubicBezTo>
                      <a:pt x="1058" y="306"/>
                      <a:pt x="1058" y="306"/>
                      <a:pt x="1058" y="306"/>
                    </a:cubicBezTo>
                    <a:cubicBezTo>
                      <a:pt x="1058" y="305"/>
                      <a:pt x="1058" y="305"/>
                      <a:pt x="1058" y="305"/>
                    </a:cubicBezTo>
                    <a:cubicBezTo>
                      <a:pt x="1057" y="306"/>
                      <a:pt x="1057" y="306"/>
                      <a:pt x="1057" y="306"/>
                    </a:cubicBezTo>
                    <a:cubicBezTo>
                      <a:pt x="1056" y="306"/>
                      <a:pt x="1056" y="306"/>
                      <a:pt x="1056" y="306"/>
                    </a:cubicBezTo>
                    <a:cubicBezTo>
                      <a:pt x="1056" y="305"/>
                      <a:pt x="1056" y="305"/>
                      <a:pt x="1056" y="305"/>
                    </a:cubicBezTo>
                    <a:cubicBezTo>
                      <a:pt x="1055" y="306"/>
                      <a:pt x="1055" y="306"/>
                      <a:pt x="1055" y="306"/>
                    </a:cubicBezTo>
                    <a:cubicBezTo>
                      <a:pt x="1054" y="306"/>
                      <a:pt x="1054" y="306"/>
                      <a:pt x="1054" y="306"/>
                    </a:cubicBezTo>
                    <a:cubicBezTo>
                      <a:pt x="1053" y="307"/>
                      <a:pt x="1053" y="307"/>
                      <a:pt x="1053" y="307"/>
                    </a:cubicBezTo>
                    <a:cubicBezTo>
                      <a:pt x="1052" y="307"/>
                      <a:pt x="1052" y="307"/>
                      <a:pt x="1052" y="307"/>
                    </a:cubicBezTo>
                    <a:cubicBezTo>
                      <a:pt x="1051" y="306"/>
                      <a:pt x="1051" y="306"/>
                      <a:pt x="1051" y="306"/>
                    </a:cubicBezTo>
                    <a:cubicBezTo>
                      <a:pt x="1049" y="305"/>
                      <a:pt x="1049" y="305"/>
                      <a:pt x="1049" y="305"/>
                    </a:cubicBezTo>
                    <a:cubicBezTo>
                      <a:pt x="1050" y="304"/>
                      <a:pt x="1050" y="304"/>
                      <a:pt x="1050" y="304"/>
                    </a:cubicBezTo>
                    <a:cubicBezTo>
                      <a:pt x="1051" y="304"/>
                      <a:pt x="1051" y="304"/>
                      <a:pt x="1051" y="304"/>
                    </a:cubicBezTo>
                    <a:cubicBezTo>
                      <a:pt x="1052" y="306"/>
                      <a:pt x="1052" y="306"/>
                      <a:pt x="1052" y="306"/>
                    </a:cubicBezTo>
                    <a:cubicBezTo>
                      <a:pt x="1053" y="306"/>
                      <a:pt x="1053" y="306"/>
                      <a:pt x="1053" y="306"/>
                    </a:cubicBezTo>
                    <a:cubicBezTo>
                      <a:pt x="1052" y="305"/>
                      <a:pt x="1052" y="305"/>
                      <a:pt x="1052" y="305"/>
                    </a:cubicBezTo>
                    <a:cubicBezTo>
                      <a:pt x="1051" y="303"/>
                      <a:pt x="1051" y="303"/>
                      <a:pt x="1051" y="303"/>
                    </a:cubicBezTo>
                    <a:cubicBezTo>
                      <a:pt x="1052" y="303"/>
                      <a:pt x="1052" y="303"/>
                      <a:pt x="1052" y="303"/>
                    </a:cubicBezTo>
                    <a:cubicBezTo>
                      <a:pt x="1054" y="304"/>
                      <a:pt x="1054" y="304"/>
                      <a:pt x="1054" y="304"/>
                    </a:cubicBezTo>
                    <a:cubicBezTo>
                      <a:pt x="1055" y="303"/>
                      <a:pt x="1055" y="303"/>
                      <a:pt x="1055" y="303"/>
                    </a:cubicBezTo>
                    <a:cubicBezTo>
                      <a:pt x="1054" y="303"/>
                      <a:pt x="1054" y="303"/>
                      <a:pt x="1054" y="303"/>
                    </a:cubicBezTo>
                    <a:cubicBezTo>
                      <a:pt x="1053" y="302"/>
                      <a:pt x="1053" y="302"/>
                      <a:pt x="1053" y="302"/>
                    </a:cubicBezTo>
                    <a:cubicBezTo>
                      <a:pt x="1054" y="301"/>
                      <a:pt x="1054" y="301"/>
                      <a:pt x="1054" y="301"/>
                    </a:cubicBezTo>
                    <a:cubicBezTo>
                      <a:pt x="1055" y="302"/>
                      <a:pt x="1055" y="302"/>
                      <a:pt x="1055" y="302"/>
                    </a:cubicBezTo>
                    <a:cubicBezTo>
                      <a:pt x="1055" y="301"/>
                      <a:pt x="1055" y="301"/>
                      <a:pt x="1055" y="301"/>
                    </a:cubicBezTo>
                    <a:cubicBezTo>
                      <a:pt x="1054" y="301"/>
                      <a:pt x="1054" y="301"/>
                      <a:pt x="1054" y="301"/>
                    </a:cubicBezTo>
                    <a:cubicBezTo>
                      <a:pt x="1054" y="300"/>
                      <a:pt x="1054" y="300"/>
                      <a:pt x="1054" y="300"/>
                    </a:cubicBezTo>
                    <a:cubicBezTo>
                      <a:pt x="1054" y="299"/>
                      <a:pt x="1054" y="299"/>
                      <a:pt x="1054" y="299"/>
                    </a:cubicBezTo>
                    <a:cubicBezTo>
                      <a:pt x="1055" y="299"/>
                      <a:pt x="1055" y="299"/>
                      <a:pt x="1055" y="299"/>
                    </a:cubicBezTo>
                    <a:cubicBezTo>
                      <a:pt x="1056" y="298"/>
                      <a:pt x="1056" y="298"/>
                      <a:pt x="1056" y="298"/>
                    </a:cubicBezTo>
                    <a:cubicBezTo>
                      <a:pt x="1057" y="299"/>
                      <a:pt x="1057" y="299"/>
                      <a:pt x="1057" y="299"/>
                    </a:cubicBezTo>
                    <a:cubicBezTo>
                      <a:pt x="1058" y="300"/>
                      <a:pt x="1058" y="300"/>
                      <a:pt x="1058" y="300"/>
                    </a:cubicBezTo>
                    <a:cubicBezTo>
                      <a:pt x="1058" y="301"/>
                      <a:pt x="1058" y="301"/>
                      <a:pt x="1058" y="301"/>
                    </a:cubicBezTo>
                    <a:cubicBezTo>
                      <a:pt x="1059" y="300"/>
                      <a:pt x="1059" y="300"/>
                      <a:pt x="1059" y="300"/>
                    </a:cubicBezTo>
                    <a:cubicBezTo>
                      <a:pt x="1061" y="301"/>
                      <a:pt x="1061" y="301"/>
                      <a:pt x="1061" y="301"/>
                    </a:cubicBezTo>
                    <a:cubicBezTo>
                      <a:pt x="1060" y="299"/>
                      <a:pt x="1060" y="299"/>
                      <a:pt x="1060" y="299"/>
                    </a:cubicBezTo>
                    <a:cubicBezTo>
                      <a:pt x="1059" y="298"/>
                      <a:pt x="1059" y="298"/>
                      <a:pt x="1059" y="298"/>
                    </a:cubicBezTo>
                    <a:cubicBezTo>
                      <a:pt x="1060" y="298"/>
                      <a:pt x="1060" y="298"/>
                      <a:pt x="1060" y="298"/>
                    </a:cubicBezTo>
                    <a:cubicBezTo>
                      <a:pt x="1061" y="298"/>
                      <a:pt x="1061" y="298"/>
                      <a:pt x="1061" y="298"/>
                    </a:cubicBezTo>
                    <a:cubicBezTo>
                      <a:pt x="1061" y="297"/>
                      <a:pt x="1061" y="297"/>
                      <a:pt x="1061" y="297"/>
                    </a:cubicBezTo>
                    <a:cubicBezTo>
                      <a:pt x="1060" y="297"/>
                      <a:pt x="1060" y="297"/>
                      <a:pt x="1060" y="297"/>
                    </a:cubicBezTo>
                    <a:cubicBezTo>
                      <a:pt x="1059" y="297"/>
                      <a:pt x="1059" y="297"/>
                      <a:pt x="1059" y="297"/>
                    </a:cubicBezTo>
                    <a:cubicBezTo>
                      <a:pt x="1058" y="297"/>
                      <a:pt x="1058" y="297"/>
                      <a:pt x="1058" y="297"/>
                    </a:cubicBezTo>
                    <a:cubicBezTo>
                      <a:pt x="1057" y="296"/>
                      <a:pt x="1057" y="296"/>
                      <a:pt x="1057" y="296"/>
                    </a:cubicBezTo>
                    <a:cubicBezTo>
                      <a:pt x="1059" y="296"/>
                      <a:pt x="1059" y="296"/>
                      <a:pt x="1059" y="296"/>
                    </a:cubicBezTo>
                    <a:cubicBezTo>
                      <a:pt x="1060" y="296"/>
                      <a:pt x="1060" y="296"/>
                      <a:pt x="1060" y="296"/>
                    </a:cubicBezTo>
                    <a:cubicBezTo>
                      <a:pt x="1062" y="296"/>
                      <a:pt x="1062" y="296"/>
                      <a:pt x="1062" y="296"/>
                    </a:cubicBezTo>
                    <a:cubicBezTo>
                      <a:pt x="1062" y="297"/>
                      <a:pt x="1062" y="297"/>
                      <a:pt x="1062" y="297"/>
                    </a:cubicBezTo>
                    <a:cubicBezTo>
                      <a:pt x="1062" y="298"/>
                      <a:pt x="1062" y="298"/>
                      <a:pt x="1062" y="298"/>
                    </a:cubicBezTo>
                    <a:cubicBezTo>
                      <a:pt x="1064" y="299"/>
                      <a:pt x="1064" y="299"/>
                      <a:pt x="1064" y="299"/>
                    </a:cubicBezTo>
                    <a:cubicBezTo>
                      <a:pt x="1064" y="300"/>
                      <a:pt x="1064" y="300"/>
                      <a:pt x="1064" y="300"/>
                    </a:cubicBezTo>
                    <a:cubicBezTo>
                      <a:pt x="1065" y="299"/>
                      <a:pt x="1065" y="299"/>
                      <a:pt x="1065" y="299"/>
                    </a:cubicBezTo>
                    <a:cubicBezTo>
                      <a:pt x="1066" y="300"/>
                      <a:pt x="1066" y="300"/>
                      <a:pt x="1066" y="300"/>
                    </a:cubicBezTo>
                    <a:cubicBezTo>
                      <a:pt x="1065" y="301"/>
                      <a:pt x="1065" y="301"/>
                      <a:pt x="1065" y="301"/>
                    </a:cubicBezTo>
                    <a:cubicBezTo>
                      <a:pt x="1066" y="302"/>
                      <a:pt x="1066" y="302"/>
                      <a:pt x="1066" y="302"/>
                    </a:cubicBezTo>
                    <a:cubicBezTo>
                      <a:pt x="1066" y="303"/>
                      <a:pt x="1066" y="303"/>
                      <a:pt x="1066" y="303"/>
                    </a:cubicBezTo>
                    <a:cubicBezTo>
                      <a:pt x="1065" y="304"/>
                      <a:pt x="1065" y="304"/>
                      <a:pt x="1065" y="304"/>
                    </a:cubicBezTo>
                    <a:cubicBezTo>
                      <a:pt x="1065" y="305"/>
                      <a:pt x="1065" y="305"/>
                      <a:pt x="1065" y="305"/>
                    </a:cubicBezTo>
                    <a:cubicBezTo>
                      <a:pt x="1066" y="305"/>
                      <a:pt x="1066" y="305"/>
                      <a:pt x="1066" y="305"/>
                    </a:cubicBezTo>
                    <a:cubicBezTo>
                      <a:pt x="1066" y="306"/>
                      <a:pt x="1066" y="306"/>
                      <a:pt x="1066" y="306"/>
                    </a:cubicBezTo>
                    <a:cubicBezTo>
                      <a:pt x="1065" y="307"/>
                      <a:pt x="1065" y="307"/>
                      <a:pt x="1065" y="307"/>
                    </a:cubicBezTo>
                    <a:cubicBezTo>
                      <a:pt x="1065" y="308"/>
                      <a:pt x="1065" y="308"/>
                      <a:pt x="1065" y="308"/>
                    </a:cubicBezTo>
                    <a:cubicBezTo>
                      <a:pt x="1066" y="308"/>
                      <a:pt x="1066" y="308"/>
                      <a:pt x="1066" y="308"/>
                    </a:cubicBezTo>
                    <a:cubicBezTo>
                      <a:pt x="1067" y="310"/>
                      <a:pt x="1067" y="310"/>
                      <a:pt x="1067" y="310"/>
                    </a:cubicBezTo>
                    <a:cubicBezTo>
                      <a:pt x="1067" y="308"/>
                      <a:pt x="1067" y="308"/>
                      <a:pt x="1067" y="308"/>
                    </a:cubicBezTo>
                    <a:cubicBezTo>
                      <a:pt x="1068" y="308"/>
                      <a:pt x="1068" y="308"/>
                      <a:pt x="1068" y="308"/>
                    </a:cubicBezTo>
                    <a:cubicBezTo>
                      <a:pt x="1068" y="306"/>
                      <a:pt x="1068" y="306"/>
                      <a:pt x="1068" y="306"/>
                    </a:cubicBezTo>
                    <a:cubicBezTo>
                      <a:pt x="1069" y="306"/>
                      <a:pt x="1069" y="306"/>
                      <a:pt x="1069" y="306"/>
                    </a:cubicBezTo>
                    <a:cubicBezTo>
                      <a:pt x="1069" y="307"/>
                      <a:pt x="1069" y="307"/>
                      <a:pt x="1069" y="307"/>
                    </a:cubicBezTo>
                    <a:cubicBezTo>
                      <a:pt x="1070" y="307"/>
                      <a:pt x="1070" y="307"/>
                      <a:pt x="1070" y="307"/>
                    </a:cubicBezTo>
                    <a:cubicBezTo>
                      <a:pt x="1071" y="306"/>
                      <a:pt x="1071" y="306"/>
                      <a:pt x="1071" y="306"/>
                    </a:cubicBezTo>
                    <a:cubicBezTo>
                      <a:pt x="1071" y="304"/>
                      <a:pt x="1071" y="304"/>
                      <a:pt x="1071" y="304"/>
                    </a:cubicBezTo>
                    <a:cubicBezTo>
                      <a:pt x="1071" y="303"/>
                      <a:pt x="1071" y="303"/>
                      <a:pt x="1071" y="303"/>
                    </a:cubicBezTo>
                    <a:cubicBezTo>
                      <a:pt x="1070" y="300"/>
                      <a:pt x="1070" y="300"/>
                      <a:pt x="1070" y="300"/>
                    </a:cubicBezTo>
                    <a:cubicBezTo>
                      <a:pt x="1072" y="299"/>
                      <a:pt x="1072" y="299"/>
                      <a:pt x="1072" y="299"/>
                    </a:cubicBezTo>
                    <a:cubicBezTo>
                      <a:pt x="1073" y="300"/>
                      <a:pt x="1073" y="300"/>
                      <a:pt x="1073" y="300"/>
                    </a:cubicBezTo>
                    <a:cubicBezTo>
                      <a:pt x="1073" y="302"/>
                      <a:pt x="1073" y="302"/>
                      <a:pt x="1073" y="302"/>
                    </a:cubicBezTo>
                    <a:cubicBezTo>
                      <a:pt x="1074" y="303"/>
                      <a:pt x="1074" y="303"/>
                      <a:pt x="1074" y="303"/>
                    </a:cubicBezTo>
                    <a:cubicBezTo>
                      <a:pt x="1074" y="305"/>
                      <a:pt x="1074" y="305"/>
                      <a:pt x="1074" y="305"/>
                    </a:cubicBezTo>
                    <a:cubicBezTo>
                      <a:pt x="1075" y="305"/>
                      <a:pt x="1075" y="305"/>
                      <a:pt x="1075" y="305"/>
                    </a:cubicBezTo>
                    <a:cubicBezTo>
                      <a:pt x="1076" y="303"/>
                      <a:pt x="1076" y="303"/>
                      <a:pt x="1076" y="303"/>
                    </a:cubicBezTo>
                    <a:cubicBezTo>
                      <a:pt x="1076" y="302"/>
                      <a:pt x="1076" y="302"/>
                      <a:pt x="1076" y="302"/>
                    </a:cubicBezTo>
                    <a:cubicBezTo>
                      <a:pt x="1076" y="301"/>
                      <a:pt x="1076" y="301"/>
                      <a:pt x="1076" y="301"/>
                    </a:cubicBezTo>
                    <a:cubicBezTo>
                      <a:pt x="1078" y="299"/>
                      <a:pt x="1078" y="299"/>
                      <a:pt x="1078" y="299"/>
                    </a:cubicBezTo>
                    <a:cubicBezTo>
                      <a:pt x="1080" y="300"/>
                      <a:pt x="1080" y="300"/>
                      <a:pt x="1080" y="300"/>
                    </a:cubicBezTo>
                    <a:cubicBezTo>
                      <a:pt x="1080" y="301"/>
                      <a:pt x="1080" y="301"/>
                      <a:pt x="1080" y="301"/>
                    </a:cubicBezTo>
                    <a:cubicBezTo>
                      <a:pt x="1080" y="302"/>
                      <a:pt x="1080" y="302"/>
                      <a:pt x="1080" y="302"/>
                    </a:cubicBezTo>
                    <a:cubicBezTo>
                      <a:pt x="1080" y="303"/>
                      <a:pt x="1080" y="303"/>
                      <a:pt x="1080" y="303"/>
                    </a:cubicBezTo>
                    <a:cubicBezTo>
                      <a:pt x="1081" y="304"/>
                      <a:pt x="1081" y="304"/>
                      <a:pt x="1081" y="304"/>
                    </a:cubicBezTo>
                    <a:cubicBezTo>
                      <a:pt x="1081" y="307"/>
                      <a:pt x="1081" y="307"/>
                      <a:pt x="1081" y="307"/>
                    </a:cubicBezTo>
                    <a:cubicBezTo>
                      <a:pt x="1082" y="304"/>
                      <a:pt x="1082" y="304"/>
                      <a:pt x="1082" y="304"/>
                    </a:cubicBezTo>
                    <a:cubicBezTo>
                      <a:pt x="1081" y="302"/>
                      <a:pt x="1081" y="302"/>
                      <a:pt x="1081" y="302"/>
                    </a:cubicBezTo>
                    <a:cubicBezTo>
                      <a:pt x="1081" y="300"/>
                      <a:pt x="1081" y="300"/>
                      <a:pt x="1081" y="300"/>
                    </a:cubicBezTo>
                    <a:cubicBezTo>
                      <a:pt x="1082" y="300"/>
                      <a:pt x="1082" y="300"/>
                      <a:pt x="1082" y="300"/>
                    </a:cubicBezTo>
                    <a:cubicBezTo>
                      <a:pt x="1083" y="300"/>
                      <a:pt x="1083" y="300"/>
                      <a:pt x="1083" y="300"/>
                    </a:cubicBezTo>
                    <a:cubicBezTo>
                      <a:pt x="1084" y="300"/>
                      <a:pt x="1084" y="300"/>
                      <a:pt x="1084" y="300"/>
                    </a:cubicBezTo>
                    <a:cubicBezTo>
                      <a:pt x="1085" y="302"/>
                      <a:pt x="1085" y="302"/>
                      <a:pt x="1085" y="302"/>
                    </a:cubicBezTo>
                    <a:cubicBezTo>
                      <a:pt x="1086" y="302"/>
                      <a:pt x="1086" y="302"/>
                      <a:pt x="1086" y="302"/>
                    </a:cubicBezTo>
                    <a:cubicBezTo>
                      <a:pt x="1087" y="300"/>
                      <a:pt x="1087" y="300"/>
                      <a:pt x="1087" y="300"/>
                    </a:cubicBezTo>
                    <a:cubicBezTo>
                      <a:pt x="1087" y="299"/>
                      <a:pt x="1087" y="299"/>
                      <a:pt x="1087" y="299"/>
                    </a:cubicBezTo>
                    <a:cubicBezTo>
                      <a:pt x="1088" y="300"/>
                      <a:pt x="1088" y="300"/>
                      <a:pt x="1088" y="300"/>
                    </a:cubicBezTo>
                    <a:cubicBezTo>
                      <a:pt x="1088" y="301"/>
                      <a:pt x="1088" y="301"/>
                      <a:pt x="1088" y="301"/>
                    </a:cubicBezTo>
                    <a:cubicBezTo>
                      <a:pt x="1089" y="300"/>
                      <a:pt x="1089" y="300"/>
                      <a:pt x="1089" y="300"/>
                    </a:cubicBezTo>
                    <a:cubicBezTo>
                      <a:pt x="1091" y="300"/>
                      <a:pt x="1091" y="300"/>
                      <a:pt x="1091" y="300"/>
                    </a:cubicBezTo>
                    <a:cubicBezTo>
                      <a:pt x="1091" y="299"/>
                      <a:pt x="1091" y="299"/>
                      <a:pt x="1091" y="299"/>
                    </a:cubicBezTo>
                    <a:cubicBezTo>
                      <a:pt x="1091" y="298"/>
                      <a:pt x="1091" y="298"/>
                      <a:pt x="1091" y="298"/>
                    </a:cubicBezTo>
                    <a:cubicBezTo>
                      <a:pt x="1091" y="297"/>
                      <a:pt x="1091" y="297"/>
                      <a:pt x="1091" y="297"/>
                    </a:cubicBezTo>
                    <a:cubicBezTo>
                      <a:pt x="1092" y="297"/>
                      <a:pt x="1092" y="297"/>
                      <a:pt x="1092" y="297"/>
                    </a:cubicBezTo>
                    <a:cubicBezTo>
                      <a:pt x="1093" y="296"/>
                      <a:pt x="1093" y="296"/>
                      <a:pt x="1093" y="296"/>
                    </a:cubicBezTo>
                    <a:cubicBezTo>
                      <a:pt x="1094" y="297"/>
                      <a:pt x="1094" y="297"/>
                      <a:pt x="1094" y="297"/>
                    </a:cubicBezTo>
                    <a:cubicBezTo>
                      <a:pt x="1094" y="298"/>
                      <a:pt x="1094" y="298"/>
                      <a:pt x="1094" y="298"/>
                    </a:cubicBezTo>
                    <a:cubicBezTo>
                      <a:pt x="1095" y="299"/>
                      <a:pt x="1095" y="299"/>
                      <a:pt x="1095" y="299"/>
                    </a:cubicBezTo>
                    <a:cubicBezTo>
                      <a:pt x="1094" y="299"/>
                      <a:pt x="1094" y="299"/>
                      <a:pt x="1094" y="299"/>
                    </a:cubicBezTo>
                    <a:cubicBezTo>
                      <a:pt x="1095" y="301"/>
                      <a:pt x="1095" y="301"/>
                      <a:pt x="1095" y="301"/>
                    </a:cubicBezTo>
                    <a:cubicBezTo>
                      <a:pt x="1096" y="300"/>
                      <a:pt x="1096" y="300"/>
                      <a:pt x="1096" y="300"/>
                    </a:cubicBezTo>
                    <a:cubicBezTo>
                      <a:pt x="1096" y="299"/>
                      <a:pt x="1096" y="299"/>
                      <a:pt x="1096" y="299"/>
                    </a:cubicBezTo>
                    <a:cubicBezTo>
                      <a:pt x="1098" y="297"/>
                      <a:pt x="1098" y="297"/>
                      <a:pt x="1098" y="297"/>
                    </a:cubicBezTo>
                    <a:cubicBezTo>
                      <a:pt x="1099" y="297"/>
                      <a:pt x="1099" y="297"/>
                      <a:pt x="1099" y="297"/>
                    </a:cubicBezTo>
                    <a:cubicBezTo>
                      <a:pt x="1100" y="298"/>
                      <a:pt x="1100" y="298"/>
                      <a:pt x="1100" y="298"/>
                    </a:cubicBezTo>
                    <a:cubicBezTo>
                      <a:pt x="1099" y="298"/>
                      <a:pt x="1099" y="298"/>
                      <a:pt x="1099" y="298"/>
                    </a:cubicBezTo>
                    <a:cubicBezTo>
                      <a:pt x="1099" y="299"/>
                      <a:pt x="1099" y="299"/>
                      <a:pt x="1099" y="299"/>
                    </a:cubicBezTo>
                    <a:cubicBezTo>
                      <a:pt x="1099" y="300"/>
                      <a:pt x="1099" y="300"/>
                      <a:pt x="1099" y="300"/>
                    </a:cubicBezTo>
                    <a:cubicBezTo>
                      <a:pt x="1097" y="300"/>
                      <a:pt x="1097" y="300"/>
                      <a:pt x="1097" y="300"/>
                    </a:cubicBezTo>
                    <a:cubicBezTo>
                      <a:pt x="1098" y="301"/>
                      <a:pt x="1098" y="301"/>
                      <a:pt x="1098" y="301"/>
                    </a:cubicBezTo>
                    <a:cubicBezTo>
                      <a:pt x="1099" y="302"/>
                      <a:pt x="1099" y="302"/>
                      <a:pt x="1099" y="302"/>
                    </a:cubicBezTo>
                    <a:cubicBezTo>
                      <a:pt x="1100" y="301"/>
                      <a:pt x="1100" y="301"/>
                      <a:pt x="1100" y="301"/>
                    </a:cubicBezTo>
                    <a:cubicBezTo>
                      <a:pt x="1101" y="303"/>
                      <a:pt x="1101" y="303"/>
                      <a:pt x="1101" y="303"/>
                    </a:cubicBezTo>
                    <a:cubicBezTo>
                      <a:pt x="1100" y="303"/>
                      <a:pt x="1100" y="303"/>
                      <a:pt x="1100" y="303"/>
                    </a:cubicBezTo>
                    <a:cubicBezTo>
                      <a:pt x="1099" y="304"/>
                      <a:pt x="1099" y="304"/>
                      <a:pt x="1099" y="304"/>
                    </a:cubicBezTo>
                    <a:cubicBezTo>
                      <a:pt x="1099" y="305"/>
                      <a:pt x="1099" y="305"/>
                      <a:pt x="1099" y="305"/>
                    </a:cubicBezTo>
                    <a:cubicBezTo>
                      <a:pt x="1100" y="305"/>
                      <a:pt x="1100" y="305"/>
                      <a:pt x="1100" y="305"/>
                    </a:cubicBezTo>
                    <a:cubicBezTo>
                      <a:pt x="1101" y="305"/>
                      <a:pt x="1101" y="305"/>
                      <a:pt x="1101" y="305"/>
                    </a:cubicBezTo>
                    <a:cubicBezTo>
                      <a:pt x="1101" y="306"/>
                      <a:pt x="1101" y="306"/>
                      <a:pt x="1101" y="306"/>
                    </a:cubicBezTo>
                    <a:cubicBezTo>
                      <a:pt x="1101" y="307"/>
                      <a:pt x="1101" y="307"/>
                      <a:pt x="1101" y="307"/>
                    </a:cubicBezTo>
                    <a:cubicBezTo>
                      <a:pt x="1104" y="307"/>
                      <a:pt x="1104" y="307"/>
                      <a:pt x="1104" y="307"/>
                    </a:cubicBezTo>
                    <a:cubicBezTo>
                      <a:pt x="1105" y="308"/>
                      <a:pt x="1105" y="308"/>
                      <a:pt x="1105" y="308"/>
                    </a:cubicBezTo>
                    <a:cubicBezTo>
                      <a:pt x="1104" y="309"/>
                      <a:pt x="1104" y="309"/>
                      <a:pt x="1104" y="309"/>
                    </a:cubicBezTo>
                    <a:cubicBezTo>
                      <a:pt x="1103" y="309"/>
                      <a:pt x="1103" y="309"/>
                      <a:pt x="1103" y="309"/>
                    </a:cubicBezTo>
                    <a:cubicBezTo>
                      <a:pt x="1102" y="309"/>
                      <a:pt x="1102" y="309"/>
                      <a:pt x="1102" y="309"/>
                    </a:cubicBezTo>
                    <a:cubicBezTo>
                      <a:pt x="1102" y="311"/>
                      <a:pt x="1102" y="311"/>
                      <a:pt x="1102" y="311"/>
                    </a:cubicBezTo>
                    <a:cubicBezTo>
                      <a:pt x="1102" y="312"/>
                      <a:pt x="1102" y="312"/>
                      <a:pt x="1102" y="312"/>
                    </a:cubicBezTo>
                    <a:cubicBezTo>
                      <a:pt x="1103" y="314"/>
                      <a:pt x="1103" y="314"/>
                      <a:pt x="1103" y="314"/>
                    </a:cubicBezTo>
                    <a:cubicBezTo>
                      <a:pt x="1103" y="315"/>
                      <a:pt x="1103" y="315"/>
                      <a:pt x="1103" y="315"/>
                    </a:cubicBezTo>
                    <a:cubicBezTo>
                      <a:pt x="1102" y="316"/>
                      <a:pt x="1102" y="316"/>
                      <a:pt x="1102" y="316"/>
                    </a:cubicBezTo>
                    <a:cubicBezTo>
                      <a:pt x="1101" y="316"/>
                      <a:pt x="1101" y="316"/>
                      <a:pt x="1101" y="316"/>
                    </a:cubicBezTo>
                    <a:cubicBezTo>
                      <a:pt x="1101" y="315"/>
                      <a:pt x="1101" y="315"/>
                      <a:pt x="1101" y="315"/>
                    </a:cubicBezTo>
                    <a:cubicBezTo>
                      <a:pt x="1100" y="314"/>
                      <a:pt x="1100" y="314"/>
                      <a:pt x="1100" y="314"/>
                    </a:cubicBezTo>
                    <a:cubicBezTo>
                      <a:pt x="1100" y="315"/>
                      <a:pt x="1100" y="315"/>
                      <a:pt x="1100" y="315"/>
                    </a:cubicBezTo>
                    <a:cubicBezTo>
                      <a:pt x="1100" y="317"/>
                      <a:pt x="1100" y="317"/>
                      <a:pt x="1100" y="317"/>
                    </a:cubicBezTo>
                    <a:cubicBezTo>
                      <a:pt x="1099" y="318"/>
                      <a:pt x="1099" y="318"/>
                      <a:pt x="1099" y="318"/>
                    </a:cubicBezTo>
                    <a:cubicBezTo>
                      <a:pt x="1100" y="318"/>
                      <a:pt x="1100" y="318"/>
                      <a:pt x="1100" y="318"/>
                    </a:cubicBezTo>
                    <a:cubicBezTo>
                      <a:pt x="1100" y="319"/>
                      <a:pt x="1100" y="319"/>
                      <a:pt x="1100" y="319"/>
                    </a:cubicBezTo>
                    <a:cubicBezTo>
                      <a:pt x="1099" y="320"/>
                      <a:pt x="1099" y="320"/>
                      <a:pt x="1099" y="320"/>
                    </a:cubicBezTo>
                    <a:cubicBezTo>
                      <a:pt x="1097" y="319"/>
                      <a:pt x="1097" y="319"/>
                      <a:pt x="1097" y="319"/>
                    </a:cubicBezTo>
                    <a:cubicBezTo>
                      <a:pt x="1097" y="318"/>
                      <a:pt x="1097" y="318"/>
                      <a:pt x="1097" y="318"/>
                    </a:cubicBezTo>
                    <a:cubicBezTo>
                      <a:pt x="1096" y="318"/>
                      <a:pt x="1096" y="318"/>
                      <a:pt x="1096" y="318"/>
                    </a:cubicBezTo>
                    <a:cubicBezTo>
                      <a:pt x="1096" y="319"/>
                      <a:pt x="1096" y="319"/>
                      <a:pt x="1096" y="319"/>
                    </a:cubicBezTo>
                    <a:cubicBezTo>
                      <a:pt x="1096" y="320"/>
                      <a:pt x="1096" y="320"/>
                      <a:pt x="1096" y="320"/>
                    </a:cubicBezTo>
                    <a:cubicBezTo>
                      <a:pt x="1093" y="321"/>
                      <a:pt x="1093" y="321"/>
                      <a:pt x="1093" y="321"/>
                    </a:cubicBezTo>
                    <a:cubicBezTo>
                      <a:pt x="1092" y="322"/>
                      <a:pt x="1092" y="322"/>
                      <a:pt x="1092" y="322"/>
                    </a:cubicBezTo>
                    <a:cubicBezTo>
                      <a:pt x="1089" y="325"/>
                      <a:pt x="1089" y="325"/>
                      <a:pt x="1089" y="325"/>
                    </a:cubicBezTo>
                    <a:cubicBezTo>
                      <a:pt x="1087" y="325"/>
                      <a:pt x="1087" y="325"/>
                      <a:pt x="1087" y="325"/>
                    </a:cubicBezTo>
                    <a:cubicBezTo>
                      <a:pt x="1086" y="324"/>
                      <a:pt x="1086" y="324"/>
                      <a:pt x="1086" y="324"/>
                    </a:cubicBezTo>
                    <a:cubicBezTo>
                      <a:pt x="1085" y="326"/>
                      <a:pt x="1085" y="326"/>
                      <a:pt x="1085" y="326"/>
                    </a:cubicBezTo>
                    <a:cubicBezTo>
                      <a:pt x="1084" y="326"/>
                      <a:pt x="1084" y="326"/>
                      <a:pt x="1084" y="326"/>
                    </a:cubicBezTo>
                    <a:cubicBezTo>
                      <a:pt x="1084" y="327"/>
                      <a:pt x="1084" y="327"/>
                      <a:pt x="1084" y="327"/>
                    </a:cubicBezTo>
                    <a:cubicBezTo>
                      <a:pt x="1083" y="326"/>
                      <a:pt x="1083" y="326"/>
                      <a:pt x="1083" y="326"/>
                    </a:cubicBezTo>
                    <a:cubicBezTo>
                      <a:pt x="1084" y="325"/>
                      <a:pt x="1084" y="325"/>
                      <a:pt x="1084" y="325"/>
                    </a:cubicBezTo>
                    <a:cubicBezTo>
                      <a:pt x="1082" y="326"/>
                      <a:pt x="1082" y="326"/>
                      <a:pt x="1082" y="326"/>
                    </a:cubicBezTo>
                    <a:cubicBezTo>
                      <a:pt x="1082" y="327"/>
                      <a:pt x="1082" y="327"/>
                      <a:pt x="1082" y="327"/>
                    </a:cubicBezTo>
                    <a:cubicBezTo>
                      <a:pt x="1081" y="328"/>
                      <a:pt x="1081" y="328"/>
                      <a:pt x="1081" y="328"/>
                    </a:cubicBezTo>
                    <a:cubicBezTo>
                      <a:pt x="1080" y="328"/>
                      <a:pt x="1080" y="328"/>
                      <a:pt x="1080" y="328"/>
                    </a:cubicBezTo>
                    <a:cubicBezTo>
                      <a:pt x="1079" y="327"/>
                      <a:pt x="1079" y="327"/>
                      <a:pt x="1079" y="327"/>
                    </a:cubicBezTo>
                    <a:cubicBezTo>
                      <a:pt x="1079" y="328"/>
                      <a:pt x="1079" y="328"/>
                      <a:pt x="1079" y="328"/>
                    </a:cubicBezTo>
                    <a:cubicBezTo>
                      <a:pt x="1079" y="329"/>
                      <a:pt x="1079" y="329"/>
                      <a:pt x="1079" y="329"/>
                    </a:cubicBezTo>
                    <a:cubicBezTo>
                      <a:pt x="1077" y="330"/>
                      <a:pt x="1077" y="330"/>
                      <a:pt x="1077" y="330"/>
                    </a:cubicBezTo>
                    <a:cubicBezTo>
                      <a:pt x="1076" y="329"/>
                      <a:pt x="1076" y="329"/>
                      <a:pt x="1076" y="329"/>
                    </a:cubicBezTo>
                    <a:cubicBezTo>
                      <a:pt x="1074" y="329"/>
                      <a:pt x="1074" y="329"/>
                      <a:pt x="1074" y="329"/>
                    </a:cubicBezTo>
                    <a:cubicBezTo>
                      <a:pt x="1072" y="327"/>
                      <a:pt x="1072" y="327"/>
                      <a:pt x="1072" y="327"/>
                    </a:cubicBezTo>
                    <a:cubicBezTo>
                      <a:pt x="1071" y="327"/>
                      <a:pt x="1071" y="327"/>
                      <a:pt x="1071" y="327"/>
                    </a:cubicBezTo>
                    <a:cubicBezTo>
                      <a:pt x="1070" y="328"/>
                      <a:pt x="1070" y="328"/>
                      <a:pt x="1070" y="328"/>
                    </a:cubicBezTo>
                    <a:cubicBezTo>
                      <a:pt x="1069" y="328"/>
                      <a:pt x="1069" y="328"/>
                      <a:pt x="1069" y="328"/>
                    </a:cubicBezTo>
                    <a:cubicBezTo>
                      <a:pt x="1067" y="326"/>
                      <a:pt x="1067" y="326"/>
                      <a:pt x="1067" y="326"/>
                    </a:cubicBezTo>
                    <a:cubicBezTo>
                      <a:pt x="1067" y="325"/>
                      <a:pt x="1067" y="325"/>
                      <a:pt x="1067" y="325"/>
                    </a:cubicBezTo>
                    <a:close/>
                    <a:moveTo>
                      <a:pt x="1063" y="319"/>
                    </a:moveTo>
                    <a:cubicBezTo>
                      <a:pt x="1064" y="319"/>
                      <a:pt x="1064" y="319"/>
                      <a:pt x="1064" y="319"/>
                    </a:cubicBezTo>
                    <a:cubicBezTo>
                      <a:pt x="1063" y="318"/>
                      <a:pt x="1063" y="318"/>
                      <a:pt x="1063" y="318"/>
                    </a:cubicBezTo>
                    <a:cubicBezTo>
                      <a:pt x="1062" y="319"/>
                      <a:pt x="1062" y="319"/>
                      <a:pt x="1062" y="319"/>
                    </a:cubicBezTo>
                    <a:cubicBezTo>
                      <a:pt x="1063" y="319"/>
                      <a:pt x="1063" y="319"/>
                      <a:pt x="1063" y="319"/>
                    </a:cubicBezTo>
                    <a:close/>
                    <a:moveTo>
                      <a:pt x="1068" y="330"/>
                    </a:moveTo>
                    <a:cubicBezTo>
                      <a:pt x="1069" y="331"/>
                      <a:pt x="1069" y="331"/>
                      <a:pt x="1069" y="331"/>
                    </a:cubicBezTo>
                    <a:cubicBezTo>
                      <a:pt x="1070" y="330"/>
                      <a:pt x="1070" y="330"/>
                      <a:pt x="1070" y="330"/>
                    </a:cubicBezTo>
                    <a:cubicBezTo>
                      <a:pt x="1069" y="329"/>
                      <a:pt x="1069" y="329"/>
                      <a:pt x="1069" y="329"/>
                    </a:cubicBezTo>
                    <a:cubicBezTo>
                      <a:pt x="1068" y="330"/>
                      <a:pt x="1068" y="330"/>
                      <a:pt x="1068" y="330"/>
                    </a:cubicBezTo>
                    <a:close/>
                    <a:moveTo>
                      <a:pt x="207" y="659"/>
                    </a:moveTo>
                    <a:cubicBezTo>
                      <a:pt x="205" y="658"/>
                      <a:pt x="205" y="658"/>
                      <a:pt x="205" y="658"/>
                    </a:cubicBezTo>
                    <a:cubicBezTo>
                      <a:pt x="204" y="658"/>
                      <a:pt x="204" y="658"/>
                      <a:pt x="204" y="658"/>
                    </a:cubicBezTo>
                    <a:cubicBezTo>
                      <a:pt x="204" y="659"/>
                      <a:pt x="204" y="659"/>
                      <a:pt x="204" y="659"/>
                    </a:cubicBezTo>
                    <a:cubicBezTo>
                      <a:pt x="205" y="659"/>
                      <a:pt x="205" y="659"/>
                      <a:pt x="205" y="659"/>
                    </a:cubicBezTo>
                    <a:cubicBezTo>
                      <a:pt x="206" y="660"/>
                      <a:pt x="206" y="660"/>
                      <a:pt x="206" y="660"/>
                    </a:cubicBezTo>
                    <a:cubicBezTo>
                      <a:pt x="207" y="660"/>
                      <a:pt x="207" y="660"/>
                      <a:pt x="207" y="660"/>
                    </a:cubicBezTo>
                    <a:cubicBezTo>
                      <a:pt x="208" y="660"/>
                      <a:pt x="208" y="660"/>
                      <a:pt x="208" y="660"/>
                    </a:cubicBezTo>
                    <a:cubicBezTo>
                      <a:pt x="207" y="659"/>
                      <a:pt x="207" y="659"/>
                      <a:pt x="207" y="659"/>
                    </a:cubicBezTo>
                    <a:close/>
                    <a:moveTo>
                      <a:pt x="213" y="668"/>
                    </a:moveTo>
                    <a:cubicBezTo>
                      <a:pt x="214" y="667"/>
                      <a:pt x="214" y="667"/>
                      <a:pt x="214" y="667"/>
                    </a:cubicBezTo>
                    <a:cubicBezTo>
                      <a:pt x="212" y="665"/>
                      <a:pt x="212" y="665"/>
                      <a:pt x="212" y="665"/>
                    </a:cubicBezTo>
                    <a:cubicBezTo>
                      <a:pt x="211" y="665"/>
                      <a:pt x="211" y="665"/>
                      <a:pt x="211" y="665"/>
                    </a:cubicBezTo>
                    <a:cubicBezTo>
                      <a:pt x="210" y="664"/>
                      <a:pt x="210" y="664"/>
                      <a:pt x="210" y="664"/>
                    </a:cubicBezTo>
                    <a:cubicBezTo>
                      <a:pt x="209" y="663"/>
                      <a:pt x="209" y="663"/>
                      <a:pt x="209" y="663"/>
                    </a:cubicBezTo>
                    <a:cubicBezTo>
                      <a:pt x="208" y="664"/>
                      <a:pt x="208" y="664"/>
                      <a:pt x="208" y="664"/>
                    </a:cubicBezTo>
                    <a:cubicBezTo>
                      <a:pt x="209" y="665"/>
                      <a:pt x="209" y="665"/>
                      <a:pt x="209" y="665"/>
                    </a:cubicBezTo>
                    <a:cubicBezTo>
                      <a:pt x="208" y="666"/>
                      <a:pt x="208" y="666"/>
                      <a:pt x="208" y="666"/>
                    </a:cubicBezTo>
                    <a:cubicBezTo>
                      <a:pt x="208" y="667"/>
                      <a:pt x="208" y="667"/>
                      <a:pt x="208" y="667"/>
                    </a:cubicBezTo>
                    <a:cubicBezTo>
                      <a:pt x="208" y="668"/>
                      <a:pt x="208" y="668"/>
                      <a:pt x="208" y="668"/>
                    </a:cubicBezTo>
                    <a:cubicBezTo>
                      <a:pt x="208" y="670"/>
                      <a:pt x="208" y="670"/>
                      <a:pt x="208" y="670"/>
                    </a:cubicBezTo>
                    <a:cubicBezTo>
                      <a:pt x="208" y="673"/>
                      <a:pt x="208" y="673"/>
                      <a:pt x="208" y="673"/>
                    </a:cubicBezTo>
                    <a:cubicBezTo>
                      <a:pt x="210" y="674"/>
                      <a:pt x="210" y="674"/>
                      <a:pt x="210" y="674"/>
                    </a:cubicBezTo>
                    <a:cubicBezTo>
                      <a:pt x="212" y="671"/>
                      <a:pt x="212" y="671"/>
                      <a:pt x="212" y="671"/>
                    </a:cubicBezTo>
                    <a:cubicBezTo>
                      <a:pt x="214" y="670"/>
                      <a:pt x="214" y="670"/>
                      <a:pt x="214" y="670"/>
                    </a:cubicBezTo>
                    <a:cubicBezTo>
                      <a:pt x="215" y="669"/>
                      <a:pt x="215" y="669"/>
                      <a:pt x="215" y="669"/>
                    </a:cubicBezTo>
                    <a:cubicBezTo>
                      <a:pt x="214" y="668"/>
                      <a:pt x="214" y="668"/>
                      <a:pt x="214" y="668"/>
                    </a:cubicBezTo>
                    <a:cubicBezTo>
                      <a:pt x="213" y="668"/>
                      <a:pt x="213" y="668"/>
                      <a:pt x="213" y="668"/>
                    </a:cubicBezTo>
                    <a:close/>
                    <a:moveTo>
                      <a:pt x="196" y="653"/>
                    </a:moveTo>
                    <a:cubicBezTo>
                      <a:pt x="195" y="653"/>
                      <a:pt x="195" y="653"/>
                      <a:pt x="195" y="653"/>
                    </a:cubicBezTo>
                    <a:cubicBezTo>
                      <a:pt x="195" y="654"/>
                      <a:pt x="195" y="654"/>
                      <a:pt x="195" y="654"/>
                    </a:cubicBezTo>
                    <a:cubicBezTo>
                      <a:pt x="196" y="656"/>
                      <a:pt x="196" y="656"/>
                      <a:pt x="196" y="656"/>
                    </a:cubicBezTo>
                    <a:cubicBezTo>
                      <a:pt x="198" y="656"/>
                      <a:pt x="198" y="656"/>
                      <a:pt x="198" y="656"/>
                    </a:cubicBezTo>
                    <a:cubicBezTo>
                      <a:pt x="198" y="655"/>
                      <a:pt x="198" y="655"/>
                      <a:pt x="198" y="655"/>
                    </a:cubicBezTo>
                    <a:cubicBezTo>
                      <a:pt x="197" y="654"/>
                      <a:pt x="197" y="654"/>
                      <a:pt x="197" y="654"/>
                    </a:cubicBezTo>
                    <a:cubicBezTo>
                      <a:pt x="196" y="653"/>
                      <a:pt x="196" y="653"/>
                      <a:pt x="196" y="653"/>
                    </a:cubicBezTo>
                    <a:close/>
                    <a:moveTo>
                      <a:pt x="181" y="651"/>
                    </a:moveTo>
                    <a:cubicBezTo>
                      <a:pt x="182" y="652"/>
                      <a:pt x="182" y="652"/>
                      <a:pt x="182" y="652"/>
                    </a:cubicBezTo>
                    <a:cubicBezTo>
                      <a:pt x="183" y="651"/>
                      <a:pt x="183" y="651"/>
                      <a:pt x="183" y="651"/>
                    </a:cubicBezTo>
                    <a:cubicBezTo>
                      <a:pt x="182" y="650"/>
                      <a:pt x="182" y="650"/>
                      <a:pt x="182" y="650"/>
                    </a:cubicBezTo>
                    <a:cubicBezTo>
                      <a:pt x="181" y="651"/>
                      <a:pt x="181" y="651"/>
                      <a:pt x="181" y="651"/>
                    </a:cubicBezTo>
                    <a:close/>
                    <a:moveTo>
                      <a:pt x="202" y="657"/>
                    </a:moveTo>
                    <a:cubicBezTo>
                      <a:pt x="203" y="657"/>
                      <a:pt x="203" y="657"/>
                      <a:pt x="203" y="657"/>
                    </a:cubicBezTo>
                    <a:cubicBezTo>
                      <a:pt x="204" y="656"/>
                      <a:pt x="204" y="656"/>
                      <a:pt x="204" y="656"/>
                    </a:cubicBezTo>
                    <a:cubicBezTo>
                      <a:pt x="202" y="657"/>
                      <a:pt x="202" y="657"/>
                      <a:pt x="202" y="657"/>
                    </a:cubicBezTo>
                    <a:close/>
                    <a:moveTo>
                      <a:pt x="186" y="650"/>
                    </a:moveTo>
                    <a:cubicBezTo>
                      <a:pt x="187" y="651"/>
                      <a:pt x="187" y="651"/>
                      <a:pt x="187" y="651"/>
                    </a:cubicBezTo>
                    <a:cubicBezTo>
                      <a:pt x="188" y="651"/>
                      <a:pt x="188" y="651"/>
                      <a:pt x="188" y="651"/>
                    </a:cubicBezTo>
                    <a:cubicBezTo>
                      <a:pt x="188" y="649"/>
                      <a:pt x="188" y="649"/>
                      <a:pt x="188" y="649"/>
                    </a:cubicBezTo>
                    <a:cubicBezTo>
                      <a:pt x="187" y="649"/>
                      <a:pt x="187" y="649"/>
                      <a:pt x="187" y="649"/>
                    </a:cubicBezTo>
                    <a:cubicBezTo>
                      <a:pt x="186" y="650"/>
                      <a:pt x="186" y="650"/>
                      <a:pt x="186" y="650"/>
                    </a:cubicBezTo>
                    <a:close/>
                    <a:moveTo>
                      <a:pt x="608" y="804"/>
                    </a:moveTo>
                    <a:cubicBezTo>
                      <a:pt x="608" y="803"/>
                      <a:pt x="608" y="803"/>
                      <a:pt x="608" y="803"/>
                    </a:cubicBezTo>
                    <a:cubicBezTo>
                      <a:pt x="608" y="801"/>
                      <a:pt x="608" y="801"/>
                      <a:pt x="608" y="801"/>
                    </a:cubicBezTo>
                    <a:cubicBezTo>
                      <a:pt x="607" y="800"/>
                      <a:pt x="607" y="800"/>
                      <a:pt x="607" y="800"/>
                    </a:cubicBezTo>
                    <a:cubicBezTo>
                      <a:pt x="606" y="801"/>
                      <a:pt x="606" y="801"/>
                      <a:pt x="606" y="801"/>
                    </a:cubicBezTo>
                    <a:cubicBezTo>
                      <a:pt x="606" y="802"/>
                      <a:pt x="606" y="802"/>
                      <a:pt x="606" y="802"/>
                    </a:cubicBezTo>
                    <a:cubicBezTo>
                      <a:pt x="607" y="802"/>
                      <a:pt x="607" y="802"/>
                      <a:pt x="607" y="802"/>
                    </a:cubicBezTo>
                    <a:cubicBezTo>
                      <a:pt x="607" y="804"/>
                      <a:pt x="607" y="804"/>
                      <a:pt x="607" y="804"/>
                    </a:cubicBezTo>
                    <a:cubicBezTo>
                      <a:pt x="608" y="806"/>
                      <a:pt x="608" y="806"/>
                      <a:pt x="608" y="806"/>
                    </a:cubicBezTo>
                    <a:cubicBezTo>
                      <a:pt x="607" y="806"/>
                      <a:pt x="607" y="806"/>
                      <a:pt x="607" y="806"/>
                    </a:cubicBezTo>
                    <a:cubicBezTo>
                      <a:pt x="606" y="808"/>
                      <a:pt x="606" y="808"/>
                      <a:pt x="606" y="808"/>
                    </a:cubicBezTo>
                    <a:cubicBezTo>
                      <a:pt x="607" y="808"/>
                      <a:pt x="607" y="808"/>
                      <a:pt x="607" y="808"/>
                    </a:cubicBezTo>
                    <a:cubicBezTo>
                      <a:pt x="609" y="808"/>
                      <a:pt x="609" y="808"/>
                      <a:pt x="609" y="808"/>
                    </a:cubicBezTo>
                    <a:cubicBezTo>
                      <a:pt x="609" y="806"/>
                      <a:pt x="609" y="806"/>
                      <a:pt x="609" y="806"/>
                    </a:cubicBezTo>
                    <a:cubicBezTo>
                      <a:pt x="608" y="805"/>
                      <a:pt x="608" y="805"/>
                      <a:pt x="608" y="805"/>
                    </a:cubicBezTo>
                    <a:cubicBezTo>
                      <a:pt x="608" y="804"/>
                      <a:pt x="608" y="804"/>
                      <a:pt x="608" y="804"/>
                    </a:cubicBezTo>
                    <a:close/>
                    <a:moveTo>
                      <a:pt x="610" y="803"/>
                    </a:moveTo>
                    <a:cubicBezTo>
                      <a:pt x="611" y="803"/>
                      <a:pt x="611" y="803"/>
                      <a:pt x="611" y="803"/>
                    </a:cubicBezTo>
                    <a:cubicBezTo>
                      <a:pt x="610" y="802"/>
                      <a:pt x="610" y="802"/>
                      <a:pt x="610" y="802"/>
                    </a:cubicBezTo>
                    <a:cubicBezTo>
                      <a:pt x="610" y="803"/>
                      <a:pt x="610" y="803"/>
                      <a:pt x="610" y="803"/>
                    </a:cubicBezTo>
                    <a:close/>
                    <a:moveTo>
                      <a:pt x="612" y="805"/>
                    </a:moveTo>
                    <a:cubicBezTo>
                      <a:pt x="613" y="806"/>
                      <a:pt x="613" y="806"/>
                      <a:pt x="613" y="806"/>
                    </a:cubicBezTo>
                    <a:cubicBezTo>
                      <a:pt x="614" y="805"/>
                      <a:pt x="614" y="805"/>
                      <a:pt x="614" y="805"/>
                    </a:cubicBezTo>
                    <a:cubicBezTo>
                      <a:pt x="613" y="805"/>
                      <a:pt x="613" y="805"/>
                      <a:pt x="613" y="805"/>
                    </a:cubicBezTo>
                    <a:cubicBezTo>
                      <a:pt x="612" y="805"/>
                      <a:pt x="612" y="805"/>
                      <a:pt x="612" y="805"/>
                    </a:cubicBezTo>
                    <a:close/>
                    <a:moveTo>
                      <a:pt x="616" y="808"/>
                    </a:moveTo>
                    <a:cubicBezTo>
                      <a:pt x="616" y="809"/>
                      <a:pt x="616" y="809"/>
                      <a:pt x="616" y="809"/>
                    </a:cubicBezTo>
                    <a:cubicBezTo>
                      <a:pt x="618" y="807"/>
                      <a:pt x="618" y="807"/>
                      <a:pt x="618" y="807"/>
                    </a:cubicBezTo>
                    <a:cubicBezTo>
                      <a:pt x="617" y="807"/>
                      <a:pt x="617" y="807"/>
                      <a:pt x="617" y="807"/>
                    </a:cubicBezTo>
                    <a:cubicBezTo>
                      <a:pt x="616" y="808"/>
                      <a:pt x="616" y="808"/>
                      <a:pt x="616" y="808"/>
                    </a:cubicBezTo>
                    <a:close/>
                    <a:moveTo>
                      <a:pt x="606" y="804"/>
                    </a:moveTo>
                    <a:cubicBezTo>
                      <a:pt x="605" y="804"/>
                      <a:pt x="605" y="804"/>
                      <a:pt x="605" y="804"/>
                    </a:cubicBezTo>
                    <a:cubicBezTo>
                      <a:pt x="605" y="805"/>
                      <a:pt x="605" y="805"/>
                      <a:pt x="605" y="805"/>
                    </a:cubicBezTo>
                    <a:cubicBezTo>
                      <a:pt x="606" y="805"/>
                      <a:pt x="606" y="805"/>
                      <a:pt x="606" y="805"/>
                    </a:cubicBezTo>
                    <a:cubicBezTo>
                      <a:pt x="606" y="804"/>
                      <a:pt x="606" y="804"/>
                      <a:pt x="606" y="804"/>
                    </a:cubicBezTo>
                    <a:close/>
                    <a:moveTo>
                      <a:pt x="777" y="684"/>
                    </a:moveTo>
                    <a:cubicBezTo>
                      <a:pt x="775" y="685"/>
                      <a:pt x="775" y="685"/>
                      <a:pt x="775" y="685"/>
                    </a:cubicBezTo>
                    <a:cubicBezTo>
                      <a:pt x="777" y="685"/>
                      <a:pt x="777" y="685"/>
                      <a:pt x="777" y="685"/>
                    </a:cubicBezTo>
                    <a:cubicBezTo>
                      <a:pt x="777" y="684"/>
                      <a:pt x="777" y="684"/>
                      <a:pt x="777" y="684"/>
                    </a:cubicBezTo>
                    <a:close/>
                    <a:moveTo>
                      <a:pt x="788" y="681"/>
                    </a:moveTo>
                    <a:cubicBezTo>
                      <a:pt x="786" y="681"/>
                      <a:pt x="786" y="681"/>
                      <a:pt x="786" y="681"/>
                    </a:cubicBezTo>
                    <a:cubicBezTo>
                      <a:pt x="785" y="682"/>
                      <a:pt x="785" y="682"/>
                      <a:pt x="785" y="682"/>
                    </a:cubicBezTo>
                    <a:cubicBezTo>
                      <a:pt x="785" y="683"/>
                      <a:pt x="785" y="683"/>
                      <a:pt x="785" y="683"/>
                    </a:cubicBezTo>
                    <a:cubicBezTo>
                      <a:pt x="787" y="684"/>
                      <a:pt x="787" y="684"/>
                      <a:pt x="787" y="684"/>
                    </a:cubicBezTo>
                    <a:cubicBezTo>
                      <a:pt x="787" y="683"/>
                      <a:pt x="787" y="683"/>
                      <a:pt x="787" y="683"/>
                    </a:cubicBezTo>
                    <a:cubicBezTo>
                      <a:pt x="788" y="681"/>
                      <a:pt x="788" y="681"/>
                      <a:pt x="788" y="681"/>
                    </a:cubicBezTo>
                    <a:close/>
                    <a:moveTo>
                      <a:pt x="794" y="684"/>
                    </a:moveTo>
                    <a:cubicBezTo>
                      <a:pt x="793" y="685"/>
                      <a:pt x="793" y="685"/>
                      <a:pt x="793" y="685"/>
                    </a:cubicBezTo>
                    <a:cubicBezTo>
                      <a:pt x="794" y="686"/>
                      <a:pt x="794" y="686"/>
                      <a:pt x="794" y="686"/>
                    </a:cubicBezTo>
                    <a:cubicBezTo>
                      <a:pt x="795" y="685"/>
                      <a:pt x="795" y="685"/>
                      <a:pt x="795" y="685"/>
                    </a:cubicBezTo>
                    <a:cubicBezTo>
                      <a:pt x="794" y="684"/>
                      <a:pt x="794" y="684"/>
                      <a:pt x="794" y="684"/>
                    </a:cubicBezTo>
                    <a:close/>
                    <a:moveTo>
                      <a:pt x="789" y="688"/>
                    </a:moveTo>
                    <a:cubicBezTo>
                      <a:pt x="788" y="686"/>
                      <a:pt x="788" y="686"/>
                      <a:pt x="788" y="686"/>
                    </a:cubicBezTo>
                    <a:cubicBezTo>
                      <a:pt x="787" y="687"/>
                      <a:pt x="787" y="687"/>
                      <a:pt x="787" y="687"/>
                    </a:cubicBezTo>
                    <a:cubicBezTo>
                      <a:pt x="788" y="688"/>
                      <a:pt x="788" y="688"/>
                      <a:pt x="788" y="688"/>
                    </a:cubicBezTo>
                    <a:cubicBezTo>
                      <a:pt x="789" y="688"/>
                      <a:pt x="789" y="688"/>
                      <a:pt x="789" y="688"/>
                    </a:cubicBezTo>
                    <a:close/>
                    <a:moveTo>
                      <a:pt x="793" y="689"/>
                    </a:moveTo>
                    <a:cubicBezTo>
                      <a:pt x="794" y="690"/>
                      <a:pt x="794" y="690"/>
                      <a:pt x="794" y="690"/>
                    </a:cubicBezTo>
                    <a:cubicBezTo>
                      <a:pt x="795" y="689"/>
                      <a:pt x="795" y="689"/>
                      <a:pt x="795" y="689"/>
                    </a:cubicBezTo>
                    <a:cubicBezTo>
                      <a:pt x="793" y="688"/>
                      <a:pt x="793" y="688"/>
                      <a:pt x="793" y="688"/>
                    </a:cubicBezTo>
                    <a:cubicBezTo>
                      <a:pt x="793" y="689"/>
                      <a:pt x="793" y="689"/>
                      <a:pt x="793" y="689"/>
                    </a:cubicBezTo>
                    <a:close/>
                    <a:moveTo>
                      <a:pt x="761" y="684"/>
                    </a:moveTo>
                    <a:cubicBezTo>
                      <a:pt x="764" y="684"/>
                      <a:pt x="764" y="684"/>
                      <a:pt x="764" y="684"/>
                    </a:cubicBezTo>
                    <a:cubicBezTo>
                      <a:pt x="765" y="684"/>
                      <a:pt x="765" y="684"/>
                      <a:pt x="765" y="684"/>
                    </a:cubicBezTo>
                    <a:cubicBezTo>
                      <a:pt x="767" y="684"/>
                      <a:pt x="767" y="684"/>
                      <a:pt x="767" y="684"/>
                    </a:cubicBezTo>
                    <a:cubicBezTo>
                      <a:pt x="768" y="684"/>
                      <a:pt x="768" y="684"/>
                      <a:pt x="768" y="684"/>
                    </a:cubicBezTo>
                    <a:cubicBezTo>
                      <a:pt x="770" y="683"/>
                      <a:pt x="770" y="683"/>
                      <a:pt x="770" y="683"/>
                    </a:cubicBezTo>
                    <a:cubicBezTo>
                      <a:pt x="771" y="682"/>
                      <a:pt x="771" y="682"/>
                      <a:pt x="771" y="682"/>
                    </a:cubicBezTo>
                    <a:cubicBezTo>
                      <a:pt x="770" y="681"/>
                      <a:pt x="770" y="681"/>
                      <a:pt x="770" y="681"/>
                    </a:cubicBezTo>
                    <a:cubicBezTo>
                      <a:pt x="770" y="680"/>
                      <a:pt x="770" y="680"/>
                      <a:pt x="770" y="680"/>
                    </a:cubicBezTo>
                    <a:cubicBezTo>
                      <a:pt x="769" y="680"/>
                      <a:pt x="769" y="680"/>
                      <a:pt x="769" y="680"/>
                    </a:cubicBezTo>
                    <a:cubicBezTo>
                      <a:pt x="767" y="680"/>
                      <a:pt x="767" y="680"/>
                      <a:pt x="767" y="680"/>
                    </a:cubicBezTo>
                    <a:cubicBezTo>
                      <a:pt x="762" y="680"/>
                      <a:pt x="762" y="680"/>
                      <a:pt x="762" y="680"/>
                    </a:cubicBezTo>
                    <a:cubicBezTo>
                      <a:pt x="762" y="681"/>
                      <a:pt x="762" y="681"/>
                      <a:pt x="762" y="681"/>
                    </a:cubicBezTo>
                    <a:cubicBezTo>
                      <a:pt x="760" y="681"/>
                      <a:pt x="760" y="681"/>
                      <a:pt x="760" y="681"/>
                    </a:cubicBezTo>
                    <a:cubicBezTo>
                      <a:pt x="761" y="682"/>
                      <a:pt x="761" y="682"/>
                      <a:pt x="761" y="682"/>
                    </a:cubicBezTo>
                    <a:cubicBezTo>
                      <a:pt x="760" y="683"/>
                      <a:pt x="760" y="683"/>
                      <a:pt x="760" y="683"/>
                    </a:cubicBezTo>
                    <a:cubicBezTo>
                      <a:pt x="761" y="684"/>
                      <a:pt x="761" y="684"/>
                      <a:pt x="761" y="684"/>
                    </a:cubicBezTo>
                    <a:close/>
                    <a:moveTo>
                      <a:pt x="772" y="683"/>
                    </a:moveTo>
                    <a:cubicBezTo>
                      <a:pt x="771" y="684"/>
                      <a:pt x="771" y="684"/>
                      <a:pt x="771" y="684"/>
                    </a:cubicBezTo>
                    <a:cubicBezTo>
                      <a:pt x="773" y="683"/>
                      <a:pt x="773" y="683"/>
                      <a:pt x="773" y="683"/>
                    </a:cubicBezTo>
                    <a:cubicBezTo>
                      <a:pt x="772" y="683"/>
                      <a:pt x="772" y="683"/>
                      <a:pt x="772" y="683"/>
                    </a:cubicBezTo>
                    <a:close/>
                    <a:moveTo>
                      <a:pt x="755" y="679"/>
                    </a:moveTo>
                    <a:cubicBezTo>
                      <a:pt x="754" y="678"/>
                      <a:pt x="754" y="678"/>
                      <a:pt x="754" y="678"/>
                    </a:cubicBezTo>
                    <a:cubicBezTo>
                      <a:pt x="752" y="677"/>
                      <a:pt x="752" y="677"/>
                      <a:pt x="752" y="677"/>
                    </a:cubicBezTo>
                    <a:cubicBezTo>
                      <a:pt x="751" y="677"/>
                      <a:pt x="751" y="677"/>
                      <a:pt x="751" y="677"/>
                    </a:cubicBezTo>
                    <a:cubicBezTo>
                      <a:pt x="749" y="676"/>
                      <a:pt x="749" y="676"/>
                      <a:pt x="749" y="676"/>
                    </a:cubicBezTo>
                    <a:cubicBezTo>
                      <a:pt x="748" y="677"/>
                      <a:pt x="748" y="677"/>
                      <a:pt x="748" y="677"/>
                    </a:cubicBezTo>
                    <a:cubicBezTo>
                      <a:pt x="747" y="676"/>
                      <a:pt x="747" y="676"/>
                      <a:pt x="747" y="676"/>
                    </a:cubicBezTo>
                    <a:cubicBezTo>
                      <a:pt x="745" y="675"/>
                      <a:pt x="745" y="675"/>
                      <a:pt x="745" y="675"/>
                    </a:cubicBezTo>
                    <a:cubicBezTo>
                      <a:pt x="744" y="675"/>
                      <a:pt x="744" y="675"/>
                      <a:pt x="744" y="675"/>
                    </a:cubicBezTo>
                    <a:cubicBezTo>
                      <a:pt x="744" y="674"/>
                      <a:pt x="744" y="674"/>
                      <a:pt x="744" y="674"/>
                    </a:cubicBezTo>
                    <a:cubicBezTo>
                      <a:pt x="746" y="675"/>
                      <a:pt x="746" y="675"/>
                      <a:pt x="746" y="675"/>
                    </a:cubicBezTo>
                    <a:cubicBezTo>
                      <a:pt x="749" y="675"/>
                      <a:pt x="749" y="675"/>
                      <a:pt x="749" y="675"/>
                    </a:cubicBezTo>
                    <a:cubicBezTo>
                      <a:pt x="750" y="675"/>
                      <a:pt x="750" y="675"/>
                      <a:pt x="750" y="675"/>
                    </a:cubicBezTo>
                    <a:cubicBezTo>
                      <a:pt x="749" y="674"/>
                      <a:pt x="749" y="674"/>
                      <a:pt x="749" y="674"/>
                    </a:cubicBezTo>
                    <a:cubicBezTo>
                      <a:pt x="748" y="674"/>
                      <a:pt x="748" y="674"/>
                      <a:pt x="748" y="674"/>
                    </a:cubicBezTo>
                    <a:cubicBezTo>
                      <a:pt x="746" y="674"/>
                      <a:pt x="746" y="674"/>
                      <a:pt x="746" y="674"/>
                    </a:cubicBezTo>
                    <a:cubicBezTo>
                      <a:pt x="745" y="672"/>
                      <a:pt x="745" y="672"/>
                      <a:pt x="745" y="672"/>
                    </a:cubicBezTo>
                    <a:cubicBezTo>
                      <a:pt x="744" y="672"/>
                      <a:pt x="744" y="672"/>
                      <a:pt x="744" y="672"/>
                    </a:cubicBezTo>
                    <a:cubicBezTo>
                      <a:pt x="743" y="672"/>
                      <a:pt x="743" y="672"/>
                      <a:pt x="743" y="672"/>
                    </a:cubicBezTo>
                    <a:cubicBezTo>
                      <a:pt x="738" y="670"/>
                      <a:pt x="738" y="670"/>
                      <a:pt x="738" y="670"/>
                    </a:cubicBezTo>
                    <a:cubicBezTo>
                      <a:pt x="737" y="671"/>
                      <a:pt x="737" y="671"/>
                      <a:pt x="737" y="671"/>
                    </a:cubicBezTo>
                    <a:cubicBezTo>
                      <a:pt x="736" y="670"/>
                      <a:pt x="736" y="670"/>
                      <a:pt x="736" y="670"/>
                    </a:cubicBezTo>
                    <a:cubicBezTo>
                      <a:pt x="734" y="671"/>
                      <a:pt x="734" y="671"/>
                      <a:pt x="734" y="671"/>
                    </a:cubicBezTo>
                    <a:cubicBezTo>
                      <a:pt x="733" y="672"/>
                      <a:pt x="733" y="672"/>
                      <a:pt x="733" y="672"/>
                    </a:cubicBezTo>
                    <a:cubicBezTo>
                      <a:pt x="732" y="672"/>
                      <a:pt x="732" y="672"/>
                      <a:pt x="732" y="672"/>
                    </a:cubicBezTo>
                    <a:cubicBezTo>
                      <a:pt x="731" y="672"/>
                      <a:pt x="731" y="672"/>
                      <a:pt x="731" y="672"/>
                    </a:cubicBezTo>
                    <a:cubicBezTo>
                      <a:pt x="730" y="671"/>
                      <a:pt x="730" y="671"/>
                      <a:pt x="730" y="671"/>
                    </a:cubicBezTo>
                    <a:cubicBezTo>
                      <a:pt x="727" y="671"/>
                      <a:pt x="727" y="671"/>
                      <a:pt x="727" y="671"/>
                    </a:cubicBezTo>
                    <a:cubicBezTo>
                      <a:pt x="726" y="671"/>
                      <a:pt x="726" y="671"/>
                      <a:pt x="726" y="671"/>
                    </a:cubicBezTo>
                    <a:cubicBezTo>
                      <a:pt x="725" y="671"/>
                      <a:pt x="725" y="671"/>
                      <a:pt x="725" y="671"/>
                    </a:cubicBezTo>
                    <a:cubicBezTo>
                      <a:pt x="723" y="671"/>
                      <a:pt x="723" y="671"/>
                      <a:pt x="723" y="671"/>
                    </a:cubicBezTo>
                    <a:cubicBezTo>
                      <a:pt x="724" y="672"/>
                      <a:pt x="724" y="672"/>
                      <a:pt x="724" y="672"/>
                    </a:cubicBezTo>
                    <a:cubicBezTo>
                      <a:pt x="727" y="673"/>
                      <a:pt x="727" y="673"/>
                      <a:pt x="727" y="673"/>
                    </a:cubicBezTo>
                    <a:cubicBezTo>
                      <a:pt x="727" y="674"/>
                      <a:pt x="727" y="674"/>
                      <a:pt x="727" y="674"/>
                    </a:cubicBezTo>
                    <a:cubicBezTo>
                      <a:pt x="727" y="675"/>
                      <a:pt x="727" y="675"/>
                      <a:pt x="727" y="675"/>
                    </a:cubicBezTo>
                    <a:cubicBezTo>
                      <a:pt x="727" y="676"/>
                      <a:pt x="727" y="676"/>
                      <a:pt x="727" y="676"/>
                    </a:cubicBezTo>
                    <a:cubicBezTo>
                      <a:pt x="727" y="677"/>
                      <a:pt x="727" y="677"/>
                      <a:pt x="727" y="677"/>
                    </a:cubicBezTo>
                    <a:cubicBezTo>
                      <a:pt x="729" y="678"/>
                      <a:pt x="729" y="678"/>
                      <a:pt x="729" y="678"/>
                    </a:cubicBezTo>
                    <a:cubicBezTo>
                      <a:pt x="730" y="679"/>
                      <a:pt x="730" y="679"/>
                      <a:pt x="730" y="679"/>
                    </a:cubicBezTo>
                    <a:cubicBezTo>
                      <a:pt x="730" y="680"/>
                      <a:pt x="730" y="680"/>
                      <a:pt x="730" y="680"/>
                    </a:cubicBezTo>
                    <a:cubicBezTo>
                      <a:pt x="727" y="680"/>
                      <a:pt x="727" y="680"/>
                      <a:pt x="727" y="680"/>
                    </a:cubicBezTo>
                    <a:cubicBezTo>
                      <a:pt x="725" y="680"/>
                      <a:pt x="725" y="680"/>
                      <a:pt x="725" y="680"/>
                    </a:cubicBezTo>
                    <a:cubicBezTo>
                      <a:pt x="724" y="680"/>
                      <a:pt x="724" y="680"/>
                      <a:pt x="724" y="680"/>
                    </a:cubicBezTo>
                    <a:cubicBezTo>
                      <a:pt x="723" y="679"/>
                      <a:pt x="723" y="679"/>
                      <a:pt x="723" y="679"/>
                    </a:cubicBezTo>
                    <a:cubicBezTo>
                      <a:pt x="721" y="680"/>
                      <a:pt x="721" y="680"/>
                      <a:pt x="721" y="680"/>
                    </a:cubicBezTo>
                    <a:cubicBezTo>
                      <a:pt x="721" y="679"/>
                      <a:pt x="721" y="679"/>
                      <a:pt x="721" y="679"/>
                    </a:cubicBezTo>
                    <a:cubicBezTo>
                      <a:pt x="719" y="680"/>
                      <a:pt x="719" y="680"/>
                      <a:pt x="719" y="680"/>
                    </a:cubicBezTo>
                    <a:cubicBezTo>
                      <a:pt x="718" y="679"/>
                      <a:pt x="718" y="679"/>
                      <a:pt x="718" y="679"/>
                    </a:cubicBezTo>
                    <a:cubicBezTo>
                      <a:pt x="716" y="679"/>
                      <a:pt x="716" y="679"/>
                      <a:pt x="716" y="679"/>
                    </a:cubicBezTo>
                    <a:cubicBezTo>
                      <a:pt x="716" y="680"/>
                      <a:pt x="716" y="680"/>
                      <a:pt x="716" y="680"/>
                    </a:cubicBezTo>
                    <a:cubicBezTo>
                      <a:pt x="716" y="681"/>
                      <a:pt x="716" y="681"/>
                      <a:pt x="716" y="681"/>
                    </a:cubicBezTo>
                    <a:cubicBezTo>
                      <a:pt x="718" y="681"/>
                      <a:pt x="718" y="681"/>
                      <a:pt x="718" y="681"/>
                    </a:cubicBezTo>
                    <a:cubicBezTo>
                      <a:pt x="719" y="683"/>
                      <a:pt x="719" y="683"/>
                      <a:pt x="719" y="683"/>
                    </a:cubicBezTo>
                    <a:cubicBezTo>
                      <a:pt x="720" y="683"/>
                      <a:pt x="720" y="683"/>
                      <a:pt x="720" y="683"/>
                    </a:cubicBezTo>
                    <a:cubicBezTo>
                      <a:pt x="720" y="682"/>
                      <a:pt x="720" y="682"/>
                      <a:pt x="720" y="682"/>
                    </a:cubicBezTo>
                    <a:cubicBezTo>
                      <a:pt x="721" y="682"/>
                      <a:pt x="721" y="682"/>
                      <a:pt x="721" y="682"/>
                    </a:cubicBezTo>
                    <a:cubicBezTo>
                      <a:pt x="723" y="682"/>
                      <a:pt x="723" y="682"/>
                      <a:pt x="723" y="682"/>
                    </a:cubicBezTo>
                    <a:cubicBezTo>
                      <a:pt x="725" y="682"/>
                      <a:pt x="725" y="682"/>
                      <a:pt x="725" y="682"/>
                    </a:cubicBezTo>
                    <a:cubicBezTo>
                      <a:pt x="728" y="682"/>
                      <a:pt x="728" y="682"/>
                      <a:pt x="728" y="682"/>
                    </a:cubicBezTo>
                    <a:cubicBezTo>
                      <a:pt x="729" y="682"/>
                      <a:pt x="729" y="682"/>
                      <a:pt x="729" y="682"/>
                    </a:cubicBezTo>
                    <a:cubicBezTo>
                      <a:pt x="730" y="682"/>
                      <a:pt x="730" y="682"/>
                      <a:pt x="730" y="682"/>
                    </a:cubicBezTo>
                    <a:cubicBezTo>
                      <a:pt x="731" y="683"/>
                      <a:pt x="731" y="683"/>
                      <a:pt x="731" y="683"/>
                    </a:cubicBezTo>
                    <a:cubicBezTo>
                      <a:pt x="732" y="684"/>
                      <a:pt x="732" y="684"/>
                      <a:pt x="732" y="684"/>
                    </a:cubicBezTo>
                    <a:cubicBezTo>
                      <a:pt x="732" y="685"/>
                      <a:pt x="732" y="685"/>
                      <a:pt x="732" y="685"/>
                    </a:cubicBezTo>
                    <a:cubicBezTo>
                      <a:pt x="733" y="685"/>
                      <a:pt x="733" y="685"/>
                      <a:pt x="733" y="685"/>
                    </a:cubicBezTo>
                    <a:cubicBezTo>
                      <a:pt x="733" y="686"/>
                      <a:pt x="733" y="686"/>
                      <a:pt x="733" y="686"/>
                    </a:cubicBezTo>
                    <a:cubicBezTo>
                      <a:pt x="734" y="687"/>
                      <a:pt x="734" y="687"/>
                      <a:pt x="734" y="687"/>
                    </a:cubicBezTo>
                    <a:cubicBezTo>
                      <a:pt x="735" y="685"/>
                      <a:pt x="735" y="685"/>
                      <a:pt x="735" y="685"/>
                    </a:cubicBezTo>
                    <a:cubicBezTo>
                      <a:pt x="736" y="683"/>
                      <a:pt x="736" y="683"/>
                      <a:pt x="736" y="683"/>
                    </a:cubicBezTo>
                    <a:cubicBezTo>
                      <a:pt x="736" y="682"/>
                      <a:pt x="736" y="682"/>
                      <a:pt x="736" y="682"/>
                    </a:cubicBezTo>
                    <a:cubicBezTo>
                      <a:pt x="737" y="681"/>
                      <a:pt x="737" y="681"/>
                      <a:pt x="737" y="681"/>
                    </a:cubicBezTo>
                    <a:cubicBezTo>
                      <a:pt x="737" y="682"/>
                      <a:pt x="737" y="682"/>
                      <a:pt x="737" y="682"/>
                    </a:cubicBezTo>
                    <a:cubicBezTo>
                      <a:pt x="738" y="682"/>
                      <a:pt x="738" y="682"/>
                      <a:pt x="738" y="682"/>
                    </a:cubicBezTo>
                    <a:cubicBezTo>
                      <a:pt x="739" y="680"/>
                      <a:pt x="739" y="680"/>
                      <a:pt x="739" y="680"/>
                    </a:cubicBezTo>
                    <a:cubicBezTo>
                      <a:pt x="740" y="681"/>
                      <a:pt x="740" y="681"/>
                      <a:pt x="740" y="681"/>
                    </a:cubicBezTo>
                    <a:cubicBezTo>
                      <a:pt x="740" y="682"/>
                      <a:pt x="740" y="682"/>
                      <a:pt x="740" y="682"/>
                    </a:cubicBezTo>
                    <a:cubicBezTo>
                      <a:pt x="741" y="683"/>
                      <a:pt x="741" y="683"/>
                      <a:pt x="741" y="683"/>
                    </a:cubicBezTo>
                    <a:cubicBezTo>
                      <a:pt x="742" y="682"/>
                      <a:pt x="742" y="682"/>
                      <a:pt x="742" y="682"/>
                    </a:cubicBezTo>
                    <a:cubicBezTo>
                      <a:pt x="744" y="681"/>
                      <a:pt x="744" y="681"/>
                      <a:pt x="744" y="681"/>
                    </a:cubicBezTo>
                    <a:cubicBezTo>
                      <a:pt x="746" y="680"/>
                      <a:pt x="746" y="680"/>
                      <a:pt x="746" y="680"/>
                    </a:cubicBezTo>
                    <a:cubicBezTo>
                      <a:pt x="748" y="681"/>
                      <a:pt x="748" y="681"/>
                      <a:pt x="748" y="681"/>
                    </a:cubicBezTo>
                    <a:cubicBezTo>
                      <a:pt x="749" y="680"/>
                      <a:pt x="749" y="680"/>
                      <a:pt x="749" y="680"/>
                    </a:cubicBezTo>
                    <a:cubicBezTo>
                      <a:pt x="750" y="681"/>
                      <a:pt x="750" y="681"/>
                      <a:pt x="750" y="681"/>
                    </a:cubicBezTo>
                    <a:cubicBezTo>
                      <a:pt x="751" y="681"/>
                      <a:pt x="751" y="681"/>
                      <a:pt x="751" y="681"/>
                    </a:cubicBezTo>
                    <a:cubicBezTo>
                      <a:pt x="753" y="681"/>
                      <a:pt x="753" y="681"/>
                      <a:pt x="753" y="681"/>
                    </a:cubicBezTo>
                    <a:cubicBezTo>
                      <a:pt x="753" y="680"/>
                      <a:pt x="753" y="680"/>
                      <a:pt x="753" y="680"/>
                    </a:cubicBezTo>
                    <a:cubicBezTo>
                      <a:pt x="754" y="680"/>
                      <a:pt x="754" y="680"/>
                      <a:pt x="754" y="680"/>
                    </a:cubicBezTo>
                    <a:lnTo>
                      <a:pt x="755" y="679"/>
                    </a:lnTo>
                    <a:close/>
                    <a:moveTo>
                      <a:pt x="753" y="682"/>
                    </a:moveTo>
                    <a:cubicBezTo>
                      <a:pt x="752" y="682"/>
                      <a:pt x="752" y="682"/>
                      <a:pt x="752" y="682"/>
                    </a:cubicBezTo>
                    <a:cubicBezTo>
                      <a:pt x="752" y="683"/>
                      <a:pt x="752" y="683"/>
                      <a:pt x="752" y="683"/>
                    </a:cubicBezTo>
                    <a:cubicBezTo>
                      <a:pt x="753" y="683"/>
                      <a:pt x="753" y="683"/>
                      <a:pt x="753" y="683"/>
                    </a:cubicBezTo>
                    <a:cubicBezTo>
                      <a:pt x="754" y="683"/>
                      <a:pt x="754" y="683"/>
                      <a:pt x="754" y="683"/>
                    </a:cubicBezTo>
                    <a:cubicBezTo>
                      <a:pt x="753" y="682"/>
                      <a:pt x="753" y="682"/>
                      <a:pt x="753" y="682"/>
                    </a:cubicBezTo>
                    <a:close/>
                    <a:moveTo>
                      <a:pt x="1104" y="71"/>
                    </a:moveTo>
                    <a:cubicBezTo>
                      <a:pt x="1105" y="72"/>
                      <a:pt x="1105" y="72"/>
                      <a:pt x="1105" y="72"/>
                    </a:cubicBezTo>
                    <a:cubicBezTo>
                      <a:pt x="1106" y="70"/>
                      <a:pt x="1106" y="70"/>
                      <a:pt x="1106" y="70"/>
                    </a:cubicBezTo>
                    <a:cubicBezTo>
                      <a:pt x="1105" y="69"/>
                      <a:pt x="1105" y="69"/>
                      <a:pt x="1105" y="69"/>
                    </a:cubicBezTo>
                    <a:cubicBezTo>
                      <a:pt x="1104" y="70"/>
                      <a:pt x="1104" y="70"/>
                      <a:pt x="1104" y="70"/>
                    </a:cubicBezTo>
                    <a:cubicBezTo>
                      <a:pt x="1104" y="71"/>
                      <a:pt x="1104" y="71"/>
                      <a:pt x="1104" y="71"/>
                    </a:cubicBezTo>
                    <a:close/>
                    <a:moveTo>
                      <a:pt x="869" y="119"/>
                    </a:moveTo>
                    <a:cubicBezTo>
                      <a:pt x="867" y="118"/>
                      <a:pt x="867" y="118"/>
                      <a:pt x="867" y="118"/>
                    </a:cubicBezTo>
                    <a:cubicBezTo>
                      <a:pt x="865" y="117"/>
                      <a:pt x="865" y="117"/>
                      <a:pt x="865" y="117"/>
                    </a:cubicBezTo>
                    <a:cubicBezTo>
                      <a:pt x="864" y="117"/>
                      <a:pt x="864" y="117"/>
                      <a:pt x="864" y="117"/>
                    </a:cubicBezTo>
                    <a:cubicBezTo>
                      <a:pt x="863" y="118"/>
                      <a:pt x="863" y="118"/>
                      <a:pt x="863" y="118"/>
                    </a:cubicBezTo>
                    <a:cubicBezTo>
                      <a:pt x="865" y="119"/>
                      <a:pt x="865" y="119"/>
                      <a:pt x="865" y="119"/>
                    </a:cubicBezTo>
                    <a:cubicBezTo>
                      <a:pt x="866" y="120"/>
                      <a:pt x="866" y="120"/>
                      <a:pt x="866" y="120"/>
                    </a:cubicBezTo>
                    <a:cubicBezTo>
                      <a:pt x="867" y="120"/>
                      <a:pt x="867" y="120"/>
                      <a:pt x="867" y="120"/>
                    </a:cubicBezTo>
                    <a:cubicBezTo>
                      <a:pt x="869" y="119"/>
                      <a:pt x="869" y="119"/>
                      <a:pt x="869" y="119"/>
                    </a:cubicBezTo>
                    <a:close/>
                    <a:moveTo>
                      <a:pt x="1109" y="67"/>
                    </a:moveTo>
                    <a:cubicBezTo>
                      <a:pt x="1109" y="65"/>
                      <a:pt x="1109" y="65"/>
                      <a:pt x="1109" y="65"/>
                    </a:cubicBezTo>
                    <a:cubicBezTo>
                      <a:pt x="1109" y="64"/>
                      <a:pt x="1109" y="64"/>
                      <a:pt x="1109" y="64"/>
                    </a:cubicBezTo>
                    <a:cubicBezTo>
                      <a:pt x="1109" y="63"/>
                      <a:pt x="1109" y="63"/>
                      <a:pt x="1109" y="63"/>
                    </a:cubicBezTo>
                    <a:cubicBezTo>
                      <a:pt x="1108" y="63"/>
                      <a:pt x="1108" y="63"/>
                      <a:pt x="1108" y="63"/>
                    </a:cubicBezTo>
                    <a:cubicBezTo>
                      <a:pt x="1108" y="64"/>
                      <a:pt x="1108" y="64"/>
                      <a:pt x="1108" y="64"/>
                    </a:cubicBezTo>
                    <a:cubicBezTo>
                      <a:pt x="1108" y="65"/>
                      <a:pt x="1108" y="65"/>
                      <a:pt x="1108" y="65"/>
                    </a:cubicBezTo>
                    <a:cubicBezTo>
                      <a:pt x="1108" y="67"/>
                      <a:pt x="1108" y="67"/>
                      <a:pt x="1108" y="67"/>
                    </a:cubicBezTo>
                    <a:cubicBezTo>
                      <a:pt x="1108" y="68"/>
                      <a:pt x="1108" y="68"/>
                      <a:pt x="1108" y="68"/>
                    </a:cubicBezTo>
                    <a:cubicBezTo>
                      <a:pt x="1109" y="68"/>
                      <a:pt x="1109" y="68"/>
                      <a:pt x="1109" y="68"/>
                    </a:cubicBezTo>
                    <a:cubicBezTo>
                      <a:pt x="1109" y="67"/>
                      <a:pt x="1109" y="67"/>
                      <a:pt x="1109" y="67"/>
                    </a:cubicBezTo>
                    <a:close/>
                    <a:moveTo>
                      <a:pt x="1103" y="69"/>
                    </a:moveTo>
                    <a:cubicBezTo>
                      <a:pt x="1104" y="68"/>
                      <a:pt x="1104" y="68"/>
                      <a:pt x="1104" y="68"/>
                    </a:cubicBezTo>
                    <a:cubicBezTo>
                      <a:pt x="1104" y="67"/>
                      <a:pt x="1104" y="67"/>
                      <a:pt x="1104" y="67"/>
                    </a:cubicBezTo>
                    <a:cubicBezTo>
                      <a:pt x="1104" y="65"/>
                      <a:pt x="1104" y="65"/>
                      <a:pt x="1104" y="65"/>
                    </a:cubicBezTo>
                    <a:cubicBezTo>
                      <a:pt x="1103" y="65"/>
                      <a:pt x="1103" y="65"/>
                      <a:pt x="1103" y="65"/>
                    </a:cubicBezTo>
                    <a:cubicBezTo>
                      <a:pt x="1102" y="66"/>
                      <a:pt x="1102" y="66"/>
                      <a:pt x="1102" y="66"/>
                    </a:cubicBezTo>
                    <a:cubicBezTo>
                      <a:pt x="1103" y="67"/>
                      <a:pt x="1103" y="67"/>
                      <a:pt x="1103" y="67"/>
                    </a:cubicBezTo>
                    <a:cubicBezTo>
                      <a:pt x="1102" y="69"/>
                      <a:pt x="1102" y="69"/>
                      <a:pt x="1102" y="69"/>
                    </a:cubicBezTo>
                    <a:cubicBezTo>
                      <a:pt x="1103" y="69"/>
                      <a:pt x="1103" y="69"/>
                      <a:pt x="1103" y="69"/>
                    </a:cubicBezTo>
                    <a:close/>
                    <a:moveTo>
                      <a:pt x="1010" y="34"/>
                    </a:moveTo>
                    <a:cubicBezTo>
                      <a:pt x="1010" y="33"/>
                      <a:pt x="1010" y="33"/>
                      <a:pt x="1010" y="33"/>
                    </a:cubicBezTo>
                    <a:cubicBezTo>
                      <a:pt x="1009" y="32"/>
                      <a:pt x="1009" y="32"/>
                      <a:pt x="1009" y="32"/>
                    </a:cubicBezTo>
                    <a:cubicBezTo>
                      <a:pt x="1008" y="32"/>
                      <a:pt x="1008" y="32"/>
                      <a:pt x="1008" y="32"/>
                    </a:cubicBezTo>
                    <a:cubicBezTo>
                      <a:pt x="1009" y="34"/>
                      <a:pt x="1009" y="34"/>
                      <a:pt x="1009" y="34"/>
                    </a:cubicBezTo>
                    <a:cubicBezTo>
                      <a:pt x="1010" y="34"/>
                      <a:pt x="1010" y="34"/>
                      <a:pt x="1010" y="34"/>
                    </a:cubicBezTo>
                    <a:close/>
                    <a:moveTo>
                      <a:pt x="998" y="43"/>
                    </a:moveTo>
                    <a:cubicBezTo>
                      <a:pt x="998" y="44"/>
                      <a:pt x="998" y="44"/>
                      <a:pt x="998" y="44"/>
                    </a:cubicBezTo>
                    <a:cubicBezTo>
                      <a:pt x="999" y="44"/>
                      <a:pt x="999" y="44"/>
                      <a:pt x="999" y="44"/>
                    </a:cubicBezTo>
                    <a:cubicBezTo>
                      <a:pt x="1000" y="44"/>
                      <a:pt x="1000" y="44"/>
                      <a:pt x="1000" y="44"/>
                    </a:cubicBezTo>
                    <a:cubicBezTo>
                      <a:pt x="1000" y="43"/>
                      <a:pt x="1000" y="43"/>
                      <a:pt x="1000" y="43"/>
                    </a:cubicBezTo>
                    <a:cubicBezTo>
                      <a:pt x="999" y="42"/>
                      <a:pt x="999" y="42"/>
                      <a:pt x="999" y="42"/>
                    </a:cubicBezTo>
                    <a:cubicBezTo>
                      <a:pt x="999" y="40"/>
                      <a:pt x="999" y="40"/>
                      <a:pt x="999" y="40"/>
                    </a:cubicBezTo>
                    <a:cubicBezTo>
                      <a:pt x="998" y="39"/>
                      <a:pt x="998" y="39"/>
                      <a:pt x="998" y="39"/>
                    </a:cubicBezTo>
                    <a:cubicBezTo>
                      <a:pt x="997" y="39"/>
                      <a:pt x="997" y="39"/>
                      <a:pt x="997" y="39"/>
                    </a:cubicBezTo>
                    <a:cubicBezTo>
                      <a:pt x="997" y="40"/>
                      <a:pt x="997" y="40"/>
                      <a:pt x="997" y="40"/>
                    </a:cubicBezTo>
                    <a:cubicBezTo>
                      <a:pt x="998" y="41"/>
                      <a:pt x="998" y="41"/>
                      <a:pt x="998" y="41"/>
                    </a:cubicBezTo>
                    <a:cubicBezTo>
                      <a:pt x="998" y="43"/>
                      <a:pt x="998" y="43"/>
                      <a:pt x="998" y="43"/>
                    </a:cubicBezTo>
                    <a:close/>
                    <a:moveTo>
                      <a:pt x="999" y="52"/>
                    </a:moveTo>
                    <a:cubicBezTo>
                      <a:pt x="999" y="53"/>
                      <a:pt x="999" y="53"/>
                      <a:pt x="999" y="53"/>
                    </a:cubicBezTo>
                    <a:cubicBezTo>
                      <a:pt x="999" y="54"/>
                      <a:pt x="999" y="54"/>
                      <a:pt x="999" y="54"/>
                    </a:cubicBezTo>
                    <a:cubicBezTo>
                      <a:pt x="1000" y="55"/>
                      <a:pt x="1000" y="55"/>
                      <a:pt x="1000" y="55"/>
                    </a:cubicBezTo>
                    <a:cubicBezTo>
                      <a:pt x="1000" y="56"/>
                      <a:pt x="1000" y="56"/>
                      <a:pt x="1000" y="56"/>
                    </a:cubicBezTo>
                    <a:cubicBezTo>
                      <a:pt x="1002" y="56"/>
                      <a:pt x="1002" y="56"/>
                      <a:pt x="1002" y="56"/>
                    </a:cubicBezTo>
                    <a:cubicBezTo>
                      <a:pt x="1002" y="55"/>
                      <a:pt x="1002" y="55"/>
                      <a:pt x="1002" y="55"/>
                    </a:cubicBezTo>
                    <a:cubicBezTo>
                      <a:pt x="1002" y="54"/>
                      <a:pt x="1002" y="54"/>
                      <a:pt x="1002" y="54"/>
                    </a:cubicBezTo>
                    <a:cubicBezTo>
                      <a:pt x="1001" y="53"/>
                      <a:pt x="1001" y="53"/>
                      <a:pt x="1001" y="53"/>
                    </a:cubicBezTo>
                    <a:cubicBezTo>
                      <a:pt x="1001" y="52"/>
                      <a:pt x="1001" y="52"/>
                      <a:pt x="1001" y="52"/>
                    </a:cubicBezTo>
                    <a:cubicBezTo>
                      <a:pt x="999" y="52"/>
                      <a:pt x="999" y="52"/>
                      <a:pt x="999" y="52"/>
                    </a:cubicBezTo>
                    <a:close/>
                    <a:moveTo>
                      <a:pt x="1001" y="57"/>
                    </a:moveTo>
                    <a:cubicBezTo>
                      <a:pt x="1000" y="57"/>
                      <a:pt x="1000" y="57"/>
                      <a:pt x="1000" y="57"/>
                    </a:cubicBezTo>
                    <a:cubicBezTo>
                      <a:pt x="1000" y="58"/>
                      <a:pt x="1000" y="58"/>
                      <a:pt x="1000" y="58"/>
                    </a:cubicBezTo>
                    <a:cubicBezTo>
                      <a:pt x="1000" y="59"/>
                      <a:pt x="1000" y="59"/>
                      <a:pt x="1000" y="59"/>
                    </a:cubicBezTo>
                    <a:cubicBezTo>
                      <a:pt x="1000" y="60"/>
                      <a:pt x="1000" y="60"/>
                      <a:pt x="1000" y="60"/>
                    </a:cubicBezTo>
                    <a:cubicBezTo>
                      <a:pt x="1002" y="62"/>
                      <a:pt x="1002" y="62"/>
                      <a:pt x="1002" y="62"/>
                    </a:cubicBezTo>
                    <a:cubicBezTo>
                      <a:pt x="1003" y="61"/>
                      <a:pt x="1003" y="61"/>
                      <a:pt x="1003" y="61"/>
                    </a:cubicBezTo>
                    <a:cubicBezTo>
                      <a:pt x="1002" y="58"/>
                      <a:pt x="1002" y="58"/>
                      <a:pt x="1002" y="58"/>
                    </a:cubicBezTo>
                    <a:cubicBezTo>
                      <a:pt x="1002" y="57"/>
                      <a:pt x="1002" y="57"/>
                      <a:pt x="1002" y="57"/>
                    </a:cubicBezTo>
                    <a:cubicBezTo>
                      <a:pt x="1001" y="57"/>
                      <a:pt x="1001" y="57"/>
                      <a:pt x="1001" y="57"/>
                    </a:cubicBezTo>
                    <a:close/>
                    <a:moveTo>
                      <a:pt x="1037" y="22"/>
                    </a:moveTo>
                    <a:cubicBezTo>
                      <a:pt x="1038" y="21"/>
                      <a:pt x="1038" y="21"/>
                      <a:pt x="1038" y="21"/>
                    </a:cubicBezTo>
                    <a:cubicBezTo>
                      <a:pt x="1037" y="20"/>
                      <a:pt x="1037" y="20"/>
                      <a:pt x="1037" y="20"/>
                    </a:cubicBezTo>
                    <a:cubicBezTo>
                      <a:pt x="1036" y="20"/>
                      <a:pt x="1036" y="20"/>
                      <a:pt x="1036" y="20"/>
                    </a:cubicBezTo>
                    <a:cubicBezTo>
                      <a:pt x="1036" y="22"/>
                      <a:pt x="1036" y="22"/>
                      <a:pt x="1036" y="22"/>
                    </a:cubicBezTo>
                    <a:cubicBezTo>
                      <a:pt x="1037" y="23"/>
                      <a:pt x="1037" y="23"/>
                      <a:pt x="1037" y="23"/>
                    </a:cubicBezTo>
                    <a:cubicBezTo>
                      <a:pt x="1037" y="22"/>
                      <a:pt x="1037" y="22"/>
                      <a:pt x="1037" y="22"/>
                    </a:cubicBezTo>
                    <a:close/>
                    <a:moveTo>
                      <a:pt x="979" y="47"/>
                    </a:moveTo>
                    <a:cubicBezTo>
                      <a:pt x="980" y="45"/>
                      <a:pt x="980" y="45"/>
                      <a:pt x="980" y="45"/>
                    </a:cubicBezTo>
                    <a:cubicBezTo>
                      <a:pt x="980" y="43"/>
                      <a:pt x="980" y="43"/>
                      <a:pt x="980" y="43"/>
                    </a:cubicBezTo>
                    <a:cubicBezTo>
                      <a:pt x="980" y="42"/>
                      <a:pt x="980" y="42"/>
                      <a:pt x="980" y="42"/>
                    </a:cubicBezTo>
                    <a:cubicBezTo>
                      <a:pt x="980" y="40"/>
                      <a:pt x="980" y="40"/>
                      <a:pt x="980" y="40"/>
                    </a:cubicBezTo>
                    <a:cubicBezTo>
                      <a:pt x="979" y="39"/>
                      <a:pt x="979" y="39"/>
                      <a:pt x="979" y="39"/>
                    </a:cubicBezTo>
                    <a:cubicBezTo>
                      <a:pt x="978" y="40"/>
                      <a:pt x="978" y="40"/>
                      <a:pt x="978" y="40"/>
                    </a:cubicBezTo>
                    <a:cubicBezTo>
                      <a:pt x="978" y="44"/>
                      <a:pt x="978" y="44"/>
                      <a:pt x="978" y="44"/>
                    </a:cubicBezTo>
                    <a:cubicBezTo>
                      <a:pt x="977" y="45"/>
                      <a:pt x="977" y="45"/>
                      <a:pt x="977" y="45"/>
                    </a:cubicBezTo>
                    <a:cubicBezTo>
                      <a:pt x="977" y="46"/>
                      <a:pt x="977" y="46"/>
                      <a:pt x="977" y="46"/>
                    </a:cubicBezTo>
                    <a:cubicBezTo>
                      <a:pt x="979" y="49"/>
                      <a:pt x="979" y="49"/>
                      <a:pt x="979" y="49"/>
                    </a:cubicBezTo>
                    <a:cubicBezTo>
                      <a:pt x="979" y="47"/>
                      <a:pt x="979" y="47"/>
                      <a:pt x="979" y="47"/>
                    </a:cubicBezTo>
                    <a:close/>
                    <a:moveTo>
                      <a:pt x="980" y="53"/>
                    </a:moveTo>
                    <a:cubicBezTo>
                      <a:pt x="981" y="53"/>
                      <a:pt x="981" y="53"/>
                      <a:pt x="981" y="53"/>
                    </a:cubicBezTo>
                    <a:cubicBezTo>
                      <a:pt x="981" y="52"/>
                      <a:pt x="981" y="52"/>
                      <a:pt x="981" y="52"/>
                    </a:cubicBezTo>
                    <a:cubicBezTo>
                      <a:pt x="981" y="51"/>
                      <a:pt x="981" y="51"/>
                      <a:pt x="981" y="51"/>
                    </a:cubicBezTo>
                    <a:cubicBezTo>
                      <a:pt x="979" y="49"/>
                      <a:pt x="979" y="49"/>
                      <a:pt x="979" y="49"/>
                    </a:cubicBezTo>
                    <a:cubicBezTo>
                      <a:pt x="979" y="51"/>
                      <a:pt x="979" y="51"/>
                      <a:pt x="979" y="51"/>
                    </a:cubicBezTo>
                    <a:cubicBezTo>
                      <a:pt x="980" y="53"/>
                      <a:pt x="980" y="53"/>
                      <a:pt x="980" y="53"/>
                    </a:cubicBezTo>
                    <a:close/>
                    <a:moveTo>
                      <a:pt x="983" y="44"/>
                    </a:moveTo>
                    <a:cubicBezTo>
                      <a:pt x="983" y="43"/>
                      <a:pt x="983" y="43"/>
                      <a:pt x="983" y="43"/>
                    </a:cubicBezTo>
                    <a:cubicBezTo>
                      <a:pt x="982" y="43"/>
                      <a:pt x="982" y="43"/>
                      <a:pt x="982" y="43"/>
                    </a:cubicBezTo>
                    <a:cubicBezTo>
                      <a:pt x="982" y="44"/>
                      <a:pt x="982" y="44"/>
                      <a:pt x="982" y="44"/>
                    </a:cubicBezTo>
                    <a:cubicBezTo>
                      <a:pt x="983" y="45"/>
                      <a:pt x="983" y="45"/>
                      <a:pt x="983" y="45"/>
                    </a:cubicBezTo>
                    <a:cubicBezTo>
                      <a:pt x="983" y="44"/>
                      <a:pt x="983" y="44"/>
                      <a:pt x="983" y="44"/>
                    </a:cubicBezTo>
                    <a:close/>
                    <a:moveTo>
                      <a:pt x="1033" y="27"/>
                    </a:moveTo>
                    <a:cubicBezTo>
                      <a:pt x="1034" y="26"/>
                      <a:pt x="1034" y="26"/>
                      <a:pt x="1034" y="26"/>
                    </a:cubicBezTo>
                    <a:cubicBezTo>
                      <a:pt x="1035" y="26"/>
                      <a:pt x="1035" y="26"/>
                      <a:pt x="1035" y="26"/>
                    </a:cubicBezTo>
                    <a:cubicBezTo>
                      <a:pt x="1033" y="24"/>
                      <a:pt x="1033" y="24"/>
                      <a:pt x="1033" y="24"/>
                    </a:cubicBezTo>
                    <a:cubicBezTo>
                      <a:pt x="1033" y="23"/>
                      <a:pt x="1033" y="23"/>
                      <a:pt x="1033" y="23"/>
                    </a:cubicBezTo>
                    <a:cubicBezTo>
                      <a:pt x="1032" y="23"/>
                      <a:pt x="1032" y="23"/>
                      <a:pt x="1032" y="23"/>
                    </a:cubicBezTo>
                    <a:cubicBezTo>
                      <a:pt x="1032" y="24"/>
                      <a:pt x="1032" y="24"/>
                      <a:pt x="1032" y="24"/>
                    </a:cubicBezTo>
                    <a:cubicBezTo>
                      <a:pt x="1031" y="24"/>
                      <a:pt x="1031" y="24"/>
                      <a:pt x="1031" y="24"/>
                    </a:cubicBezTo>
                    <a:cubicBezTo>
                      <a:pt x="1031" y="25"/>
                      <a:pt x="1031" y="25"/>
                      <a:pt x="1031" y="25"/>
                    </a:cubicBezTo>
                    <a:cubicBezTo>
                      <a:pt x="1032" y="26"/>
                      <a:pt x="1032" y="26"/>
                      <a:pt x="1032" y="26"/>
                    </a:cubicBezTo>
                    <a:cubicBezTo>
                      <a:pt x="1033" y="27"/>
                      <a:pt x="1033" y="27"/>
                      <a:pt x="1033" y="27"/>
                    </a:cubicBezTo>
                    <a:close/>
                    <a:moveTo>
                      <a:pt x="1004" y="34"/>
                    </a:moveTo>
                    <a:cubicBezTo>
                      <a:pt x="1005" y="34"/>
                      <a:pt x="1005" y="34"/>
                      <a:pt x="1005" y="34"/>
                    </a:cubicBezTo>
                    <a:cubicBezTo>
                      <a:pt x="1005" y="33"/>
                      <a:pt x="1005" y="33"/>
                      <a:pt x="1005" y="33"/>
                    </a:cubicBezTo>
                    <a:cubicBezTo>
                      <a:pt x="1005" y="32"/>
                      <a:pt x="1005" y="32"/>
                      <a:pt x="1005" y="32"/>
                    </a:cubicBezTo>
                    <a:cubicBezTo>
                      <a:pt x="1004" y="32"/>
                      <a:pt x="1004" y="32"/>
                      <a:pt x="1004" y="32"/>
                    </a:cubicBezTo>
                    <a:cubicBezTo>
                      <a:pt x="1004" y="31"/>
                      <a:pt x="1004" y="31"/>
                      <a:pt x="1004" y="31"/>
                    </a:cubicBezTo>
                    <a:cubicBezTo>
                      <a:pt x="1003" y="31"/>
                      <a:pt x="1003" y="31"/>
                      <a:pt x="1003" y="31"/>
                    </a:cubicBezTo>
                    <a:cubicBezTo>
                      <a:pt x="1002" y="31"/>
                      <a:pt x="1002" y="31"/>
                      <a:pt x="1002" y="31"/>
                    </a:cubicBezTo>
                    <a:cubicBezTo>
                      <a:pt x="1002" y="32"/>
                      <a:pt x="1002" y="32"/>
                      <a:pt x="1002" y="32"/>
                    </a:cubicBezTo>
                    <a:cubicBezTo>
                      <a:pt x="1002" y="33"/>
                      <a:pt x="1002" y="33"/>
                      <a:pt x="1002" y="33"/>
                    </a:cubicBezTo>
                    <a:cubicBezTo>
                      <a:pt x="1004" y="33"/>
                      <a:pt x="1004" y="33"/>
                      <a:pt x="1004" y="33"/>
                    </a:cubicBezTo>
                    <a:cubicBezTo>
                      <a:pt x="1004" y="34"/>
                      <a:pt x="1004" y="34"/>
                      <a:pt x="1004" y="34"/>
                    </a:cubicBezTo>
                    <a:close/>
                    <a:moveTo>
                      <a:pt x="1037" y="25"/>
                    </a:moveTo>
                    <a:cubicBezTo>
                      <a:pt x="1038" y="25"/>
                      <a:pt x="1038" y="25"/>
                      <a:pt x="1038" y="25"/>
                    </a:cubicBezTo>
                    <a:cubicBezTo>
                      <a:pt x="1038" y="24"/>
                      <a:pt x="1038" y="24"/>
                      <a:pt x="1038" y="24"/>
                    </a:cubicBezTo>
                    <a:cubicBezTo>
                      <a:pt x="1038" y="23"/>
                      <a:pt x="1038" y="23"/>
                      <a:pt x="1038" y="23"/>
                    </a:cubicBezTo>
                    <a:cubicBezTo>
                      <a:pt x="1037" y="24"/>
                      <a:pt x="1037" y="24"/>
                      <a:pt x="1037" y="24"/>
                    </a:cubicBezTo>
                    <a:cubicBezTo>
                      <a:pt x="1037" y="25"/>
                      <a:pt x="1037" y="25"/>
                      <a:pt x="1037" y="25"/>
                    </a:cubicBezTo>
                    <a:close/>
                    <a:moveTo>
                      <a:pt x="1028" y="26"/>
                    </a:moveTo>
                    <a:cubicBezTo>
                      <a:pt x="1028" y="27"/>
                      <a:pt x="1028" y="27"/>
                      <a:pt x="1028" y="27"/>
                    </a:cubicBezTo>
                    <a:cubicBezTo>
                      <a:pt x="1029" y="27"/>
                      <a:pt x="1029" y="27"/>
                      <a:pt x="1029" y="27"/>
                    </a:cubicBezTo>
                    <a:cubicBezTo>
                      <a:pt x="1028" y="26"/>
                      <a:pt x="1028" y="26"/>
                      <a:pt x="1028" y="26"/>
                    </a:cubicBezTo>
                    <a:close/>
                    <a:moveTo>
                      <a:pt x="1011" y="33"/>
                    </a:moveTo>
                    <a:cubicBezTo>
                      <a:pt x="1012" y="34"/>
                      <a:pt x="1012" y="34"/>
                      <a:pt x="1012" y="34"/>
                    </a:cubicBezTo>
                    <a:cubicBezTo>
                      <a:pt x="1013" y="35"/>
                      <a:pt x="1013" y="35"/>
                      <a:pt x="1013" y="35"/>
                    </a:cubicBezTo>
                    <a:cubicBezTo>
                      <a:pt x="1014" y="33"/>
                      <a:pt x="1014" y="33"/>
                      <a:pt x="1014" y="33"/>
                    </a:cubicBezTo>
                    <a:cubicBezTo>
                      <a:pt x="1014" y="32"/>
                      <a:pt x="1014" y="32"/>
                      <a:pt x="1014" y="32"/>
                    </a:cubicBezTo>
                    <a:cubicBezTo>
                      <a:pt x="1014" y="31"/>
                      <a:pt x="1014" y="31"/>
                      <a:pt x="1014" y="31"/>
                    </a:cubicBezTo>
                    <a:cubicBezTo>
                      <a:pt x="1013" y="31"/>
                      <a:pt x="1013" y="31"/>
                      <a:pt x="1013" y="31"/>
                    </a:cubicBezTo>
                    <a:cubicBezTo>
                      <a:pt x="1012" y="29"/>
                      <a:pt x="1012" y="29"/>
                      <a:pt x="1012" y="29"/>
                    </a:cubicBezTo>
                    <a:cubicBezTo>
                      <a:pt x="1011" y="29"/>
                      <a:pt x="1011" y="29"/>
                      <a:pt x="1011" y="29"/>
                    </a:cubicBezTo>
                    <a:cubicBezTo>
                      <a:pt x="1011" y="30"/>
                      <a:pt x="1011" y="30"/>
                      <a:pt x="1011" y="30"/>
                    </a:cubicBezTo>
                    <a:cubicBezTo>
                      <a:pt x="1011" y="31"/>
                      <a:pt x="1011" y="31"/>
                      <a:pt x="1011" y="31"/>
                    </a:cubicBezTo>
                    <a:cubicBezTo>
                      <a:pt x="1011" y="32"/>
                      <a:pt x="1011" y="32"/>
                      <a:pt x="1011" y="32"/>
                    </a:cubicBezTo>
                    <a:cubicBezTo>
                      <a:pt x="1010" y="31"/>
                      <a:pt x="1010" y="31"/>
                      <a:pt x="1010" y="31"/>
                    </a:cubicBezTo>
                    <a:cubicBezTo>
                      <a:pt x="1009" y="31"/>
                      <a:pt x="1009" y="31"/>
                      <a:pt x="1009" y="31"/>
                    </a:cubicBezTo>
                    <a:cubicBezTo>
                      <a:pt x="1010" y="32"/>
                      <a:pt x="1010" y="32"/>
                      <a:pt x="1010" y="32"/>
                    </a:cubicBezTo>
                    <a:cubicBezTo>
                      <a:pt x="1011" y="33"/>
                      <a:pt x="1011" y="33"/>
                      <a:pt x="1011" y="33"/>
                    </a:cubicBezTo>
                    <a:close/>
                    <a:moveTo>
                      <a:pt x="914" y="65"/>
                    </a:moveTo>
                    <a:cubicBezTo>
                      <a:pt x="914" y="64"/>
                      <a:pt x="914" y="64"/>
                      <a:pt x="914" y="64"/>
                    </a:cubicBezTo>
                    <a:cubicBezTo>
                      <a:pt x="913" y="63"/>
                      <a:pt x="913" y="63"/>
                      <a:pt x="913" y="63"/>
                    </a:cubicBezTo>
                    <a:cubicBezTo>
                      <a:pt x="912" y="63"/>
                      <a:pt x="912" y="63"/>
                      <a:pt x="912" y="63"/>
                    </a:cubicBezTo>
                    <a:cubicBezTo>
                      <a:pt x="913" y="64"/>
                      <a:pt x="913" y="64"/>
                      <a:pt x="913" y="64"/>
                    </a:cubicBezTo>
                    <a:cubicBezTo>
                      <a:pt x="913" y="65"/>
                      <a:pt x="913" y="65"/>
                      <a:pt x="913" y="65"/>
                    </a:cubicBezTo>
                    <a:cubicBezTo>
                      <a:pt x="914" y="65"/>
                      <a:pt x="914" y="65"/>
                      <a:pt x="914" y="65"/>
                    </a:cubicBezTo>
                    <a:close/>
                    <a:moveTo>
                      <a:pt x="952" y="336"/>
                    </a:moveTo>
                    <a:cubicBezTo>
                      <a:pt x="951" y="336"/>
                      <a:pt x="951" y="336"/>
                      <a:pt x="951" y="336"/>
                    </a:cubicBezTo>
                    <a:cubicBezTo>
                      <a:pt x="952" y="337"/>
                      <a:pt x="952" y="337"/>
                      <a:pt x="952" y="337"/>
                    </a:cubicBezTo>
                    <a:cubicBezTo>
                      <a:pt x="952" y="336"/>
                      <a:pt x="952" y="336"/>
                      <a:pt x="952" y="336"/>
                    </a:cubicBezTo>
                    <a:close/>
                    <a:moveTo>
                      <a:pt x="884" y="146"/>
                    </a:moveTo>
                    <a:cubicBezTo>
                      <a:pt x="884" y="146"/>
                      <a:pt x="884" y="146"/>
                      <a:pt x="884" y="147"/>
                    </a:cubicBezTo>
                    <a:cubicBezTo>
                      <a:pt x="884" y="147"/>
                      <a:pt x="884" y="147"/>
                      <a:pt x="885" y="147"/>
                    </a:cubicBezTo>
                    <a:cubicBezTo>
                      <a:pt x="885" y="147"/>
                      <a:pt x="885" y="147"/>
                      <a:pt x="886" y="147"/>
                    </a:cubicBezTo>
                    <a:cubicBezTo>
                      <a:pt x="886" y="147"/>
                      <a:pt x="886" y="147"/>
                      <a:pt x="886" y="145"/>
                    </a:cubicBezTo>
                    <a:cubicBezTo>
                      <a:pt x="886" y="145"/>
                      <a:pt x="886" y="145"/>
                      <a:pt x="886" y="144"/>
                    </a:cubicBezTo>
                    <a:cubicBezTo>
                      <a:pt x="886" y="144"/>
                      <a:pt x="886" y="144"/>
                      <a:pt x="885" y="144"/>
                    </a:cubicBezTo>
                    <a:cubicBezTo>
                      <a:pt x="885" y="144"/>
                      <a:pt x="885" y="144"/>
                      <a:pt x="884" y="146"/>
                    </a:cubicBezTo>
                    <a:close/>
                    <a:moveTo>
                      <a:pt x="913" y="196"/>
                    </a:moveTo>
                    <a:cubicBezTo>
                      <a:pt x="913" y="197"/>
                      <a:pt x="913" y="197"/>
                      <a:pt x="913" y="197"/>
                    </a:cubicBezTo>
                    <a:cubicBezTo>
                      <a:pt x="914" y="197"/>
                      <a:pt x="914" y="197"/>
                      <a:pt x="914" y="197"/>
                    </a:cubicBezTo>
                    <a:cubicBezTo>
                      <a:pt x="914" y="196"/>
                      <a:pt x="914" y="196"/>
                      <a:pt x="914" y="196"/>
                    </a:cubicBezTo>
                    <a:cubicBezTo>
                      <a:pt x="913" y="196"/>
                      <a:pt x="913" y="196"/>
                      <a:pt x="913" y="196"/>
                    </a:cubicBezTo>
                    <a:close/>
                    <a:moveTo>
                      <a:pt x="1095" y="102"/>
                    </a:moveTo>
                    <a:cubicBezTo>
                      <a:pt x="1096" y="103"/>
                      <a:pt x="1096" y="103"/>
                      <a:pt x="1096" y="103"/>
                    </a:cubicBezTo>
                    <a:cubicBezTo>
                      <a:pt x="1098" y="103"/>
                      <a:pt x="1098" y="103"/>
                      <a:pt x="1098" y="103"/>
                    </a:cubicBezTo>
                    <a:cubicBezTo>
                      <a:pt x="1099" y="102"/>
                      <a:pt x="1099" y="102"/>
                      <a:pt x="1099" y="102"/>
                    </a:cubicBezTo>
                    <a:cubicBezTo>
                      <a:pt x="1099" y="100"/>
                      <a:pt x="1099" y="100"/>
                      <a:pt x="1099" y="100"/>
                    </a:cubicBezTo>
                    <a:cubicBezTo>
                      <a:pt x="1098" y="99"/>
                      <a:pt x="1098" y="99"/>
                      <a:pt x="1098" y="99"/>
                    </a:cubicBezTo>
                    <a:cubicBezTo>
                      <a:pt x="1096" y="100"/>
                      <a:pt x="1096" y="100"/>
                      <a:pt x="1096" y="100"/>
                    </a:cubicBezTo>
                    <a:cubicBezTo>
                      <a:pt x="1095" y="102"/>
                      <a:pt x="1095" y="102"/>
                      <a:pt x="1095" y="102"/>
                    </a:cubicBezTo>
                    <a:close/>
                    <a:moveTo>
                      <a:pt x="912" y="206"/>
                    </a:moveTo>
                    <a:cubicBezTo>
                      <a:pt x="912" y="207"/>
                      <a:pt x="912" y="207"/>
                      <a:pt x="912" y="207"/>
                    </a:cubicBezTo>
                    <a:cubicBezTo>
                      <a:pt x="913" y="206"/>
                      <a:pt x="913" y="206"/>
                      <a:pt x="913" y="206"/>
                    </a:cubicBezTo>
                    <a:cubicBezTo>
                      <a:pt x="912" y="206"/>
                      <a:pt x="912" y="206"/>
                      <a:pt x="912" y="206"/>
                    </a:cubicBezTo>
                    <a:close/>
                    <a:moveTo>
                      <a:pt x="903" y="282"/>
                    </a:moveTo>
                    <a:cubicBezTo>
                      <a:pt x="904" y="282"/>
                      <a:pt x="904" y="282"/>
                      <a:pt x="904" y="282"/>
                    </a:cubicBezTo>
                    <a:cubicBezTo>
                      <a:pt x="904" y="281"/>
                      <a:pt x="904" y="281"/>
                      <a:pt x="904" y="281"/>
                    </a:cubicBezTo>
                    <a:cubicBezTo>
                      <a:pt x="903" y="282"/>
                      <a:pt x="903" y="282"/>
                      <a:pt x="903" y="282"/>
                    </a:cubicBezTo>
                    <a:close/>
                    <a:moveTo>
                      <a:pt x="1094" y="135"/>
                    </a:moveTo>
                    <a:cubicBezTo>
                      <a:pt x="1093" y="135"/>
                      <a:pt x="1093" y="135"/>
                      <a:pt x="1093" y="135"/>
                    </a:cubicBezTo>
                    <a:cubicBezTo>
                      <a:pt x="1094" y="136"/>
                      <a:pt x="1094" y="136"/>
                      <a:pt x="1094" y="136"/>
                    </a:cubicBezTo>
                    <a:cubicBezTo>
                      <a:pt x="1094" y="135"/>
                      <a:pt x="1094" y="135"/>
                      <a:pt x="1094" y="135"/>
                    </a:cubicBezTo>
                    <a:close/>
                    <a:moveTo>
                      <a:pt x="912" y="210"/>
                    </a:moveTo>
                    <a:cubicBezTo>
                      <a:pt x="911" y="210"/>
                      <a:pt x="911" y="210"/>
                      <a:pt x="911" y="210"/>
                    </a:cubicBezTo>
                    <a:cubicBezTo>
                      <a:pt x="911" y="211"/>
                      <a:pt x="911" y="211"/>
                      <a:pt x="911" y="211"/>
                    </a:cubicBezTo>
                    <a:cubicBezTo>
                      <a:pt x="910" y="211"/>
                      <a:pt x="910" y="211"/>
                      <a:pt x="910" y="211"/>
                    </a:cubicBezTo>
                    <a:cubicBezTo>
                      <a:pt x="910" y="212"/>
                      <a:pt x="910" y="212"/>
                      <a:pt x="910" y="212"/>
                    </a:cubicBezTo>
                    <a:cubicBezTo>
                      <a:pt x="911" y="212"/>
                      <a:pt x="911" y="212"/>
                      <a:pt x="911" y="212"/>
                    </a:cubicBezTo>
                    <a:cubicBezTo>
                      <a:pt x="912" y="211"/>
                      <a:pt x="912" y="211"/>
                      <a:pt x="912" y="211"/>
                    </a:cubicBezTo>
                    <a:cubicBezTo>
                      <a:pt x="913" y="210"/>
                      <a:pt x="913" y="210"/>
                      <a:pt x="913" y="210"/>
                    </a:cubicBezTo>
                    <a:cubicBezTo>
                      <a:pt x="914" y="210"/>
                      <a:pt x="914" y="210"/>
                      <a:pt x="914" y="210"/>
                    </a:cubicBezTo>
                    <a:cubicBezTo>
                      <a:pt x="913" y="209"/>
                      <a:pt x="913" y="209"/>
                      <a:pt x="913" y="209"/>
                    </a:cubicBezTo>
                    <a:cubicBezTo>
                      <a:pt x="912" y="210"/>
                      <a:pt x="912" y="210"/>
                      <a:pt x="912" y="210"/>
                    </a:cubicBezTo>
                    <a:close/>
                    <a:moveTo>
                      <a:pt x="905" y="280"/>
                    </a:moveTo>
                    <a:cubicBezTo>
                      <a:pt x="904" y="280"/>
                      <a:pt x="904" y="280"/>
                      <a:pt x="904" y="280"/>
                    </a:cubicBezTo>
                    <a:cubicBezTo>
                      <a:pt x="903" y="280"/>
                      <a:pt x="903" y="280"/>
                      <a:pt x="903" y="280"/>
                    </a:cubicBezTo>
                    <a:cubicBezTo>
                      <a:pt x="904" y="281"/>
                      <a:pt x="904" y="281"/>
                      <a:pt x="904" y="281"/>
                    </a:cubicBezTo>
                    <a:cubicBezTo>
                      <a:pt x="905" y="281"/>
                      <a:pt x="905" y="281"/>
                      <a:pt x="905" y="281"/>
                    </a:cubicBezTo>
                    <a:cubicBezTo>
                      <a:pt x="905" y="280"/>
                      <a:pt x="905" y="280"/>
                      <a:pt x="905" y="280"/>
                    </a:cubicBezTo>
                    <a:close/>
                    <a:moveTo>
                      <a:pt x="919" y="227"/>
                    </a:moveTo>
                    <a:cubicBezTo>
                      <a:pt x="920" y="227"/>
                      <a:pt x="920" y="227"/>
                      <a:pt x="920" y="227"/>
                    </a:cubicBezTo>
                    <a:cubicBezTo>
                      <a:pt x="921" y="227"/>
                      <a:pt x="921" y="227"/>
                      <a:pt x="921" y="227"/>
                    </a:cubicBezTo>
                    <a:cubicBezTo>
                      <a:pt x="922" y="226"/>
                      <a:pt x="922" y="226"/>
                      <a:pt x="922" y="226"/>
                    </a:cubicBezTo>
                    <a:cubicBezTo>
                      <a:pt x="922" y="225"/>
                      <a:pt x="922" y="225"/>
                      <a:pt x="922" y="225"/>
                    </a:cubicBezTo>
                    <a:cubicBezTo>
                      <a:pt x="921" y="224"/>
                      <a:pt x="921" y="224"/>
                      <a:pt x="921" y="224"/>
                    </a:cubicBezTo>
                    <a:cubicBezTo>
                      <a:pt x="920" y="225"/>
                      <a:pt x="920" y="225"/>
                      <a:pt x="920" y="225"/>
                    </a:cubicBezTo>
                    <a:cubicBezTo>
                      <a:pt x="919" y="227"/>
                      <a:pt x="919" y="227"/>
                      <a:pt x="919" y="227"/>
                    </a:cubicBezTo>
                    <a:close/>
                    <a:moveTo>
                      <a:pt x="905" y="268"/>
                    </a:moveTo>
                    <a:cubicBezTo>
                      <a:pt x="904" y="269"/>
                      <a:pt x="904" y="269"/>
                      <a:pt x="904" y="269"/>
                    </a:cubicBezTo>
                    <a:cubicBezTo>
                      <a:pt x="904" y="270"/>
                      <a:pt x="904" y="270"/>
                      <a:pt x="904" y="270"/>
                    </a:cubicBezTo>
                    <a:cubicBezTo>
                      <a:pt x="905" y="270"/>
                      <a:pt x="905" y="270"/>
                      <a:pt x="905" y="270"/>
                    </a:cubicBezTo>
                    <a:cubicBezTo>
                      <a:pt x="906" y="269"/>
                      <a:pt x="906" y="269"/>
                      <a:pt x="906" y="269"/>
                    </a:cubicBezTo>
                    <a:cubicBezTo>
                      <a:pt x="906" y="268"/>
                      <a:pt x="906" y="268"/>
                      <a:pt x="906" y="268"/>
                    </a:cubicBezTo>
                    <a:cubicBezTo>
                      <a:pt x="905" y="268"/>
                      <a:pt x="905" y="268"/>
                      <a:pt x="905" y="268"/>
                    </a:cubicBezTo>
                    <a:close/>
                    <a:moveTo>
                      <a:pt x="1044" y="242"/>
                    </a:moveTo>
                    <a:cubicBezTo>
                      <a:pt x="1043" y="243"/>
                      <a:pt x="1043" y="243"/>
                      <a:pt x="1043" y="243"/>
                    </a:cubicBezTo>
                    <a:cubicBezTo>
                      <a:pt x="1042" y="244"/>
                      <a:pt x="1042" y="244"/>
                      <a:pt x="1042" y="244"/>
                    </a:cubicBezTo>
                    <a:cubicBezTo>
                      <a:pt x="1041" y="245"/>
                      <a:pt x="1041" y="245"/>
                      <a:pt x="1041" y="245"/>
                    </a:cubicBezTo>
                    <a:cubicBezTo>
                      <a:pt x="1040" y="245"/>
                      <a:pt x="1040" y="245"/>
                      <a:pt x="1040" y="245"/>
                    </a:cubicBezTo>
                    <a:cubicBezTo>
                      <a:pt x="1039" y="246"/>
                      <a:pt x="1039" y="246"/>
                      <a:pt x="1039" y="246"/>
                    </a:cubicBezTo>
                    <a:cubicBezTo>
                      <a:pt x="1039" y="247"/>
                      <a:pt x="1039" y="247"/>
                      <a:pt x="1039" y="247"/>
                    </a:cubicBezTo>
                    <a:cubicBezTo>
                      <a:pt x="1039" y="248"/>
                      <a:pt x="1039" y="248"/>
                      <a:pt x="1039" y="248"/>
                    </a:cubicBezTo>
                    <a:cubicBezTo>
                      <a:pt x="1041" y="248"/>
                      <a:pt x="1041" y="248"/>
                      <a:pt x="1041" y="248"/>
                    </a:cubicBezTo>
                    <a:cubicBezTo>
                      <a:pt x="1043" y="247"/>
                      <a:pt x="1043" y="247"/>
                      <a:pt x="1043" y="247"/>
                    </a:cubicBezTo>
                    <a:cubicBezTo>
                      <a:pt x="1046" y="248"/>
                      <a:pt x="1046" y="248"/>
                      <a:pt x="1046" y="248"/>
                    </a:cubicBezTo>
                    <a:cubicBezTo>
                      <a:pt x="1047" y="247"/>
                      <a:pt x="1047" y="247"/>
                      <a:pt x="1047" y="247"/>
                    </a:cubicBezTo>
                    <a:cubicBezTo>
                      <a:pt x="1048" y="246"/>
                      <a:pt x="1048" y="246"/>
                      <a:pt x="1048" y="246"/>
                    </a:cubicBezTo>
                    <a:cubicBezTo>
                      <a:pt x="1050" y="247"/>
                      <a:pt x="1050" y="247"/>
                      <a:pt x="1050" y="247"/>
                    </a:cubicBezTo>
                    <a:cubicBezTo>
                      <a:pt x="1051" y="247"/>
                      <a:pt x="1051" y="247"/>
                      <a:pt x="1051" y="247"/>
                    </a:cubicBezTo>
                    <a:cubicBezTo>
                      <a:pt x="1052" y="247"/>
                      <a:pt x="1052" y="247"/>
                      <a:pt x="1052" y="247"/>
                    </a:cubicBezTo>
                    <a:cubicBezTo>
                      <a:pt x="1053" y="246"/>
                      <a:pt x="1053" y="246"/>
                      <a:pt x="1053" y="246"/>
                    </a:cubicBezTo>
                    <a:cubicBezTo>
                      <a:pt x="1053" y="242"/>
                      <a:pt x="1053" y="242"/>
                      <a:pt x="1053" y="242"/>
                    </a:cubicBezTo>
                    <a:cubicBezTo>
                      <a:pt x="1052" y="242"/>
                      <a:pt x="1052" y="242"/>
                      <a:pt x="1052" y="242"/>
                    </a:cubicBezTo>
                    <a:cubicBezTo>
                      <a:pt x="1052" y="240"/>
                      <a:pt x="1052" y="240"/>
                      <a:pt x="1052" y="240"/>
                    </a:cubicBezTo>
                    <a:cubicBezTo>
                      <a:pt x="1051" y="240"/>
                      <a:pt x="1051" y="240"/>
                      <a:pt x="1051" y="240"/>
                    </a:cubicBezTo>
                    <a:cubicBezTo>
                      <a:pt x="1047" y="242"/>
                      <a:pt x="1047" y="242"/>
                      <a:pt x="1047" y="242"/>
                    </a:cubicBezTo>
                    <a:cubicBezTo>
                      <a:pt x="1044" y="242"/>
                      <a:pt x="1044" y="242"/>
                      <a:pt x="1044" y="242"/>
                    </a:cubicBezTo>
                    <a:close/>
                    <a:moveTo>
                      <a:pt x="1091" y="143"/>
                    </a:moveTo>
                    <a:cubicBezTo>
                      <a:pt x="1090" y="143"/>
                      <a:pt x="1090" y="143"/>
                      <a:pt x="1090" y="143"/>
                    </a:cubicBezTo>
                    <a:cubicBezTo>
                      <a:pt x="1090" y="144"/>
                      <a:pt x="1090" y="144"/>
                      <a:pt x="1090" y="144"/>
                    </a:cubicBezTo>
                    <a:cubicBezTo>
                      <a:pt x="1091" y="144"/>
                      <a:pt x="1091" y="144"/>
                      <a:pt x="1091" y="144"/>
                    </a:cubicBezTo>
                    <a:cubicBezTo>
                      <a:pt x="1091" y="143"/>
                      <a:pt x="1091" y="143"/>
                      <a:pt x="1091" y="143"/>
                    </a:cubicBezTo>
                    <a:close/>
                    <a:moveTo>
                      <a:pt x="1057" y="217"/>
                    </a:moveTo>
                    <a:cubicBezTo>
                      <a:pt x="1058" y="216"/>
                      <a:pt x="1058" y="216"/>
                      <a:pt x="1058" y="216"/>
                    </a:cubicBezTo>
                    <a:cubicBezTo>
                      <a:pt x="1058" y="215"/>
                      <a:pt x="1058" y="215"/>
                      <a:pt x="1058" y="215"/>
                    </a:cubicBezTo>
                    <a:cubicBezTo>
                      <a:pt x="1057" y="215"/>
                      <a:pt x="1057" y="215"/>
                      <a:pt x="1057" y="215"/>
                    </a:cubicBezTo>
                    <a:cubicBezTo>
                      <a:pt x="1057" y="216"/>
                      <a:pt x="1057" y="216"/>
                      <a:pt x="1057" y="216"/>
                    </a:cubicBezTo>
                    <a:cubicBezTo>
                      <a:pt x="1057" y="217"/>
                      <a:pt x="1057" y="217"/>
                      <a:pt x="1057" y="217"/>
                    </a:cubicBezTo>
                    <a:close/>
                    <a:moveTo>
                      <a:pt x="1060" y="259"/>
                    </a:moveTo>
                    <a:cubicBezTo>
                      <a:pt x="1061" y="259"/>
                      <a:pt x="1061" y="259"/>
                      <a:pt x="1061" y="259"/>
                    </a:cubicBezTo>
                    <a:cubicBezTo>
                      <a:pt x="1061" y="258"/>
                      <a:pt x="1061" y="258"/>
                      <a:pt x="1061" y="258"/>
                    </a:cubicBezTo>
                    <a:cubicBezTo>
                      <a:pt x="1060" y="258"/>
                      <a:pt x="1060" y="258"/>
                      <a:pt x="1060" y="258"/>
                    </a:cubicBezTo>
                    <a:cubicBezTo>
                      <a:pt x="1060" y="259"/>
                      <a:pt x="1060" y="259"/>
                      <a:pt x="1060" y="259"/>
                    </a:cubicBezTo>
                    <a:close/>
                    <a:moveTo>
                      <a:pt x="1043" y="243"/>
                    </a:moveTo>
                    <a:cubicBezTo>
                      <a:pt x="1043" y="242"/>
                      <a:pt x="1043" y="242"/>
                      <a:pt x="1043" y="242"/>
                    </a:cubicBezTo>
                    <a:cubicBezTo>
                      <a:pt x="1042" y="242"/>
                      <a:pt x="1042" y="242"/>
                      <a:pt x="1042" y="242"/>
                    </a:cubicBezTo>
                    <a:cubicBezTo>
                      <a:pt x="1041" y="243"/>
                      <a:pt x="1041" y="243"/>
                      <a:pt x="1041" y="243"/>
                    </a:cubicBezTo>
                    <a:cubicBezTo>
                      <a:pt x="1042" y="243"/>
                      <a:pt x="1042" y="243"/>
                      <a:pt x="1042" y="243"/>
                    </a:cubicBezTo>
                    <a:cubicBezTo>
                      <a:pt x="1043" y="243"/>
                      <a:pt x="1043" y="243"/>
                      <a:pt x="1043" y="243"/>
                    </a:cubicBezTo>
                    <a:close/>
                    <a:moveTo>
                      <a:pt x="1084" y="190"/>
                    </a:moveTo>
                    <a:cubicBezTo>
                      <a:pt x="1084" y="189"/>
                      <a:pt x="1084" y="189"/>
                      <a:pt x="1084" y="189"/>
                    </a:cubicBezTo>
                    <a:cubicBezTo>
                      <a:pt x="1084" y="188"/>
                      <a:pt x="1084" y="188"/>
                      <a:pt x="1084" y="188"/>
                    </a:cubicBezTo>
                    <a:cubicBezTo>
                      <a:pt x="1084" y="187"/>
                      <a:pt x="1084" y="187"/>
                      <a:pt x="1084" y="187"/>
                    </a:cubicBezTo>
                    <a:cubicBezTo>
                      <a:pt x="1083" y="186"/>
                      <a:pt x="1083" y="186"/>
                      <a:pt x="1083" y="186"/>
                    </a:cubicBezTo>
                    <a:cubicBezTo>
                      <a:pt x="1082" y="186"/>
                      <a:pt x="1082" y="186"/>
                      <a:pt x="1082" y="186"/>
                    </a:cubicBezTo>
                    <a:cubicBezTo>
                      <a:pt x="1082" y="187"/>
                      <a:pt x="1082" y="187"/>
                      <a:pt x="1082" y="187"/>
                    </a:cubicBezTo>
                    <a:cubicBezTo>
                      <a:pt x="1082" y="189"/>
                      <a:pt x="1082" y="189"/>
                      <a:pt x="1082" y="189"/>
                    </a:cubicBezTo>
                    <a:cubicBezTo>
                      <a:pt x="1082" y="190"/>
                      <a:pt x="1082" y="190"/>
                      <a:pt x="1082" y="190"/>
                    </a:cubicBezTo>
                    <a:cubicBezTo>
                      <a:pt x="1083" y="190"/>
                      <a:pt x="1083" y="190"/>
                      <a:pt x="1083" y="190"/>
                    </a:cubicBezTo>
                    <a:cubicBezTo>
                      <a:pt x="1084" y="190"/>
                      <a:pt x="1084" y="190"/>
                      <a:pt x="1084" y="190"/>
                    </a:cubicBezTo>
                    <a:close/>
                    <a:moveTo>
                      <a:pt x="1091" y="163"/>
                    </a:moveTo>
                    <a:cubicBezTo>
                      <a:pt x="1091" y="164"/>
                      <a:pt x="1091" y="164"/>
                      <a:pt x="1091" y="164"/>
                    </a:cubicBezTo>
                    <a:cubicBezTo>
                      <a:pt x="1091" y="165"/>
                      <a:pt x="1091" y="165"/>
                      <a:pt x="1091" y="165"/>
                    </a:cubicBezTo>
                    <a:cubicBezTo>
                      <a:pt x="1091" y="166"/>
                      <a:pt x="1091" y="166"/>
                      <a:pt x="1091" y="166"/>
                    </a:cubicBezTo>
                    <a:cubicBezTo>
                      <a:pt x="1092" y="168"/>
                      <a:pt x="1092" y="168"/>
                      <a:pt x="1092" y="168"/>
                    </a:cubicBezTo>
                    <a:cubicBezTo>
                      <a:pt x="1092" y="170"/>
                      <a:pt x="1092" y="170"/>
                      <a:pt x="1092" y="170"/>
                    </a:cubicBezTo>
                    <a:cubicBezTo>
                      <a:pt x="1091" y="171"/>
                      <a:pt x="1091" y="171"/>
                      <a:pt x="1091" y="171"/>
                    </a:cubicBezTo>
                    <a:cubicBezTo>
                      <a:pt x="1091" y="172"/>
                      <a:pt x="1091" y="172"/>
                      <a:pt x="1091" y="172"/>
                    </a:cubicBezTo>
                    <a:cubicBezTo>
                      <a:pt x="1092" y="173"/>
                      <a:pt x="1092" y="173"/>
                      <a:pt x="1092" y="173"/>
                    </a:cubicBezTo>
                    <a:cubicBezTo>
                      <a:pt x="1092" y="172"/>
                      <a:pt x="1092" y="172"/>
                      <a:pt x="1092" y="172"/>
                    </a:cubicBezTo>
                    <a:cubicBezTo>
                      <a:pt x="1092" y="171"/>
                      <a:pt x="1092" y="171"/>
                      <a:pt x="1092" y="171"/>
                    </a:cubicBezTo>
                    <a:cubicBezTo>
                      <a:pt x="1093" y="170"/>
                      <a:pt x="1093" y="170"/>
                      <a:pt x="1093" y="170"/>
                    </a:cubicBezTo>
                    <a:cubicBezTo>
                      <a:pt x="1093" y="168"/>
                      <a:pt x="1093" y="168"/>
                      <a:pt x="1093" y="168"/>
                    </a:cubicBezTo>
                    <a:cubicBezTo>
                      <a:pt x="1092" y="167"/>
                      <a:pt x="1092" y="167"/>
                      <a:pt x="1092" y="167"/>
                    </a:cubicBezTo>
                    <a:cubicBezTo>
                      <a:pt x="1092" y="164"/>
                      <a:pt x="1092" y="164"/>
                      <a:pt x="1092" y="164"/>
                    </a:cubicBezTo>
                    <a:cubicBezTo>
                      <a:pt x="1092" y="163"/>
                      <a:pt x="1092" y="163"/>
                      <a:pt x="1092" y="163"/>
                    </a:cubicBezTo>
                    <a:cubicBezTo>
                      <a:pt x="1092" y="162"/>
                      <a:pt x="1092" y="162"/>
                      <a:pt x="1092" y="162"/>
                    </a:cubicBezTo>
                    <a:cubicBezTo>
                      <a:pt x="1091" y="161"/>
                      <a:pt x="1091" y="161"/>
                      <a:pt x="1091" y="161"/>
                    </a:cubicBezTo>
                    <a:cubicBezTo>
                      <a:pt x="1090" y="162"/>
                      <a:pt x="1090" y="162"/>
                      <a:pt x="1090" y="162"/>
                    </a:cubicBezTo>
                    <a:cubicBezTo>
                      <a:pt x="1091" y="163"/>
                      <a:pt x="1091" y="163"/>
                      <a:pt x="1091" y="163"/>
                    </a:cubicBezTo>
                    <a:close/>
                    <a:moveTo>
                      <a:pt x="1048" y="248"/>
                    </a:moveTo>
                    <a:cubicBezTo>
                      <a:pt x="1047" y="247"/>
                      <a:pt x="1047" y="247"/>
                      <a:pt x="1047" y="247"/>
                    </a:cubicBezTo>
                    <a:cubicBezTo>
                      <a:pt x="1047" y="248"/>
                      <a:pt x="1047" y="248"/>
                      <a:pt x="1047" y="248"/>
                    </a:cubicBezTo>
                    <a:cubicBezTo>
                      <a:pt x="1048" y="248"/>
                      <a:pt x="1048" y="248"/>
                      <a:pt x="1048" y="248"/>
                    </a:cubicBezTo>
                    <a:close/>
                    <a:moveTo>
                      <a:pt x="1088" y="193"/>
                    </a:moveTo>
                    <a:cubicBezTo>
                      <a:pt x="1089" y="192"/>
                      <a:pt x="1089" y="192"/>
                      <a:pt x="1089" y="192"/>
                    </a:cubicBezTo>
                    <a:cubicBezTo>
                      <a:pt x="1088" y="192"/>
                      <a:pt x="1088" y="192"/>
                      <a:pt x="1088" y="192"/>
                    </a:cubicBezTo>
                    <a:cubicBezTo>
                      <a:pt x="1087" y="192"/>
                      <a:pt x="1087" y="192"/>
                      <a:pt x="1087" y="192"/>
                    </a:cubicBezTo>
                    <a:cubicBezTo>
                      <a:pt x="1087" y="193"/>
                      <a:pt x="1087" y="193"/>
                      <a:pt x="1087" y="193"/>
                    </a:cubicBezTo>
                    <a:cubicBezTo>
                      <a:pt x="1088" y="193"/>
                      <a:pt x="1088" y="193"/>
                      <a:pt x="1088" y="193"/>
                    </a:cubicBezTo>
                    <a:close/>
                    <a:moveTo>
                      <a:pt x="923" y="348"/>
                    </a:moveTo>
                    <a:cubicBezTo>
                      <a:pt x="924" y="348"/>
                      <a:pt x="924" y="348"/>
                      <a:pt x="924" y="348"/>
                    </a:cubicBezTo>
                    <a:cubicBezTo>
                      <a:pt x="924" y="347"/>
                      <a:pt x="924" y="347"/>
                      <a:pt x="924" y="347"/>
                    </a:cubicBezTo>
                    <a:cubicBezTo>
                      <a:pt x="923" y="347"/>
                      <a:pt x="923" y="347"/>
                      <a:pt x="923" y="347"/>
                    </a:cubicBezTo>
                    <a:cubicBezTo>
                      <a:pt x="923" y="348"/>
                      <a:pt x="923" y="348"/>
                      <a:pt x="923" y="348"/>
                    </a:cubicBezTo>
                    <a:close/>
                    <a:moveTo>
                      <a:pt x="940" y="358"/>
                    </a:moveTo>
                    <a:cubicBezTo>
                      <a:pt x="941" y="357"/>
                      <a:pt x="941" y="357"/>
                      <a:pt x="941" y="357"/>
                    </a:cubicBezTo>
                    <a:cubicBezTo>
                      <a:pt x="939" y="356"/>
                      <a:pt x="939" y="356"/>
                      <a:pt x="939" y="356"/>
                    </a:cubicBezTo>
                    <a:cubicBezTo>
                      <a:pt x="938" y="356"/>
                      <a:pt x="938" y="356"/>
                      <a:pt x="938" y="356"/>
                    </a:cubicBezTo>
                    <a:cubicBezTo>
                      <a:pt x="939" y="358"/>
                      <a:pt x="939" y="358"/>
                      <a:pt x="939" y="358"/>
                    </a:cubicBezTo>
                    <a:cubicBezTo>
                      <a:pt x="940" y="358"/>
                      <a:pt x="940" y="358"/>
                      <a:pt x="940" y="358"/>
                    </a:cubicBezTo>
                    <a:close/>
                    <a:moveTo>
                      <a:pt x="965" y="309"/>
                    </a:moveTo>
                    <a:cubicBezTo>
                      <a:pt x="965" y="310"/>
                      <a:pt x="965" y="310"/>
                      <a:pt x="965" y="310"/>
                    </a:cubicBezTo>
                    <a:cubicBezTo>
                      <a:pt x="965" y="311"/>
                      <a:pt x="965" y="311"/>
                      <a:pt x="965" y="311"/>
                    </a:cubicBezTo>
                    <a:cubicBezTo>
                      <a:pt x="966" y="311"/>
                      <a:pt x="966" y="311"/>
                      <a:pt x="966" y="311"/>
                    </a:cubicBezTo>
                    <a:cubicBezTo>
                      <a:pt x="966" y="310"/>
                      <a:pt x="966" y="310"/>
                      <a:pt x="966" y="310"/>
                    </a:cubicBezTo>
                    <a:cubicBezTo>
                      <a:pt x="966" y="309"/>
                      <a:pt x="966" y="309"/>
                      <a:pt x="966" y="309"/>
                    </a:cubicBezTo>
                    <a:cubicBezTo>
                      <a:pt x="965" y="308"/>
                      <a:pt x="965" y="308"/>
                      <a:pt x="965" y="308"/>
                    </a:cubicBezTo>
                    <a:cubicBezTo>
                      <a:pt x="965" y="309"/>
                      <a:pt x="965" y="309"/>
                      <a:pt x="965" y="309"/>
                    </a:cubicBezTo>
                    <a:close/>
                    <a:moveTo>
                      <a:pt x="964" y="307"/>
                    </a:moveTo>
                    <a:cubicBezTo>
                      <a:pt x="965" y="308"/>
                      <a:pt x="965" y="308"/>
                      <a:pt x="965" y="308"/>
                    </a:cubicBezTo>
                    <a:cubicBezTo>
                      <a:pt x="965" y="307"/>
                      <a:pt x="965" y="307"/>
                      <a:pt x="965" y="307"/>
                    </a:cubicBezTo>
                    <a:cubicBezTo>
                      <a:pt x="964" y="307"/>
                      <a:pt x="964" y="307"/>
                      <a:pt x="964" y="307"/>
                    </a:cubicBezTo>
                    <a:close/>
                    <a:moveTo>
                      <a:pt x="937" y="360"/>
                    </a:moveTo>
                    <a:cubicBezTo>
                      <a:pt x="937" y="360"/>
                      <a:pt x="937" y="360"/>
                      <a:pt x="938" y="360"/>
                    </a:cubicBezTo>
                    <a:cubicBezTo>
                      <a:pt x="938" y="360"/>
                      <a:pt x="938" y="360"/>
                      <a:pt x="939" y="360"/>
                    </a:cubicBezTo>
                    <a:cubicBezTo>
                      <a:pt x="939" y="360"/>
                      <a:pt x="939" y="360"/>
                      <a:pt x="939" y="359"/>
                    </a:cubicBezTo>
                    <a:cubicBezTo>
                      <a:pt x="939" y="359"/>
                      <a:pt x="939" y="359"/>
                      <a:pt x="938" y="359"/>
                    </a:cubicBezTo>
                    <a:cubicBezTo>
                      <a:pt x="938" y="359"/>
                      <a:pt x="938" y="359"/>
                      <a:pt x="937" y="360"/>
                    </a:cubicBezTo>
                    <a:close/>
                    <a:moveTo>
                      <a:pt x="903" y="296"/>
                    </a:moveTo>
                    <a:cubicBezTo>
                      <a:pt x="903" y="295"/>
                      <a:pt x="903" y="295"/>
                      <a:pt x="903" y="295"/>
                    </a:cubicBezTo>
                    <a:cubicBezTo>
                      <a:pt x="902" y="296"/>
                      <a:pt x="902" y="296"/>
                      <a:pt x="902" y="296"/>
                    </a:cubicBezTo>
                    <a:cubicBezTo>
                      <a:pt x="903" y="296"/>
                      <a:pt x="903" y="296"/>
                      <a:pt x="903" y="296"/>
                    </a:cubicBezTo>
                    <a:close/>
                    <a:moveTo>
                      <a:pt x="913" y="310"/>
                    </a:moveTo>
                    <a:cubicBezTo>
                      <a:pt x="913" y="310"/>
                      <a:pt x="913" y="310"/>
                      <a:pt x="912" y="309"/>
                    </a:cubicBezTo>
                    <a:cubicBezTo>
                      <a:pt x="912" y="309"/>
                      <a:pt x="912" y="309"/>
                      <a:pt x="911" y="309"/>
                    </a:cubicBezTo>
                    <a:cubicBezTo>
                      <a:pt x="911" y="309"/>
                      <a:pt x="911" y="309"/>
                      <a:pt x="910" y="310"/>
                    </a:cubicBezTo>
                    <a:cubicBezTo>
                      <a:pt x="910" y="310"/>
                      <a:pt x="910" y="310"/>
                      <a:pt x="909" y="311"/>
                    </a:cubicBezTo>
                    <a:cubicBezTo>
                      <a:pt x="909" y="311"/>
                      <a:pt x="909" y="311"/>
                      <a:pt x="911" y="311"/>
                    </a:cubicBezTo>
                    <a:cubicBezTo>
                      <a:pt x="911" y="311"/>
                      <a:pt x="911" y="311"/>
                      <a:pt x="912" y="310"/>
                    </a:cubicBezTo>
                    <a:cubicBezTo>
                      <a:pt x="912" y="310"/>
                      <a:pt x="912" y="310"/>
                      <a:pt x="913" y="310"/>
                    </a:cubicBezTo>
                    <a:close/>
                    <a:moveTo>
                      <a:pt x="902" y="294"/>
                    </a:moveTo>
                    <a:cubicBezTo>
                      <a:pt x="902" y="295"/>
                      <a:pt x="902" y="295"/>
                      <a:pt x="902" y="295"/>
                    </a:cubicBezTo>
                    <a:cubicBezTo>
                      <a:pt x="903" y="295"/>
                      <a:pt x="903" y="295"/>
                      <a:pt x="903" y="295"/>
                    </a:cubicBezTo>
                    <a:cubicBezTo>
                      <a:pt x="903" y="294"/>
                      <a:pt x="903" y="294"/>
                      <a:pt x="903" y="294"/>
                    </a:cubicBezTo>
                    <a:cubicBezTo>
                      <a:pt x="902" y="294"/>
                      <a:pt x="902" y="294"/>
                      <a:pt x="902" y="294"/>
                    </a:cubicBezTo>
                    <a:close/>
                    <a:moveTo>
                      <a:pt x="971" y="303"/>
                    </a:moveTo>
                    <a:cubicBezTo>
                      <a:pt x="970" y="303"/>
                      <a:pt x="970" y="303"/>
                      <a:pt x="970" y="303"/>
                    </a:cubicBezTo>
                    <a:cubicBezTo>
                      <a:pt x="970" y="304"/>
                      <a:pt x="970" y="304"/>
                      <a:pt x="970" y="304"/>
                    </a:cubicBezTo>
                    <a:cubicBezTo>
                      <a:pt x="971" y="304"/>
                      <a:pt x="971" y="304"/>
                      <a:pt x="971" y="304"/>
                    </a:cubicBezTo>
                    <a:cubicBezTo>
                      <a:pt x="971" y="303"/>
                      <a:pt x="971" y="303"/>
                      <a:pt x="971" y="303"/>
                    </a:cubicBezTo>
                    <a:close/>
                    <a:moveTo>
                      <a:pt x="918" y="348"/>
                    </a:moveTo>
                    <a:cubicBezTo>
                      <a:pt x="917" y="348"/>
                      <a:pt x="917" y="348"/>
                      <a:pt x="917" y="348"/>
                    </a:cubicBezTo>
                    <a:cubicBezTo>
                      <a:pt x="917" y="349"/>
                      <a:pt x="917" y="349"/>
                      <a:pt x="917" y="349"/>
                    </a:cubicBezTo>
                    <a:cubicBezTo>
                      <a:pt x="918" y="349"/>
                      <a:pt x="918" y="349"/>
                      <a:pt x="918" y="349"/>
                    </a:cubicBezTo>
                    <a:cubicBezTo>
                      <a:pt x="918" y="348"/>
                      <a:pt x="918" y="348"/>
                      <a:pt x="918" y="348"/>
                    </a:cubicBezTo>
                    <a:close/>
                    <a:moveTo>
                      <a:pt x="927" y="347"/>
                    </a:moveTo>
                    <a:cubicBezTo>
                      <a:pt x="926" y="347"/>
                      <a:pt x="926" y="347"/>
                      <a:pt x="926" y="347"/>
                    </a:cubicBezTo>
                    <a:cubicBezTo>
                      <a:pt x="926" y="348"/>
                      <a:pt x="926" y="348"/>
                      <a:pt x="926" y="348"/>
                    </a:cubicBezTo>
                    <a:cubicBezTo>
                      <a:pt x="927" y="348"/>
                      <a:pt x="927" y="348"/>
                      <a:pt x="927" y="348"/>
                    </a:cubicBezTo>
                    <a:cubicBezTo>
                      <a:pt x="927" y="347"/>
                      <a:pt x="927" y="347"/>
                      <a:pt x="927" y="347"/>
                    </a:cubicBezTo>
                    <a:close/>
                    <a:moveTo>
                      <a:pt x="930" y="355"/>
                    </a:moveTo>
                    <a:cubicBezTo>
                      <a:pt x="930" y="356"/>
                      <a:pt x="930" y="356"/>
                      <a:pt x="930" y="356"/>
                    </a:cubicBezTo>
                    <a:cubicBezTo>
                      <a:pt x="931" y="356"/>
                      <a:pt x="931" y="356"/>
                      <a:pt x="931" y="356"/>
                    </a:cubicBezTo>
                    <a:cubicBezTo>
                      <a:pt x="931" y="355"/>
                      <a:pt x="931" y="355"/>
                      <a:pt x="931" y="355"/>
                    </a:cubicBezTo>
                    <a:cubicBezTo>
                      <a:pt x="932" y="355"/>
                      <a:pt x="932" y="355"/>
                      <a:pt x="932" y="355"/>
                    </a:cubicBezTo>
                    <a:cubicBezTo>
                      <a:pt x="931" y="354"/>
                      <a:pt x="931" y="354"/>
                      <a:pt x="931" y="354"/>
                    </a:cubicBezTo>
                    <a:cubicBezTo>
                      <a:pt x="930" y="355"/>
                      <a:pt x="930" y="355"/>
                      <a:pt x="930" y="355"/>
                    </a:cubicBezTo>
                    <a:close/>
                    <a:moveTo>
                      <a:pt x="1065" y="217"/>
                    </a:moveTo>
                    <a:cubicBezTo>
                      <a:pt x="1064" y="216"/>
                      <a:pt x="1064" y="216"/>
                      <a:pt x="1064" y="216"/>
                    </a:cubicBezTo>
                    <a:cubicBezTo>
                      <a:pt x="1063" y="216"/>
                      <a:pt x="1063" y="216"/>
                      <a:pt x="1063" y="216"/>
                    </a:cubicBezTo>
                    <a:cubicBezTo>
                      <a:pt x="1062" y="216"/>
                      <a:pt x="1062" y="216"/>
                      <a:pt x="1062" y="216"/>
                    </a:cubicBezTo>
                    <a:cubicBezTo>
                      <a:pt x="1061" y="215"/>
                      <a:pt x="1061" y="215"/>
                      <a:pt x="1061" y="215"/>
                    </a:cubicBezTo>
                    <a:cubicBezTo>
                      <a:pt x="1060" y="216"/>
                      <a:pt x="1060" y="216"/>
                      <a:pt x="1060" y="216"/>
                    </a:cubicBezTo>
                    <a:cubicBezTo>
                      <a:pt x="1060" y="217"/>
                      <a:pt x="1060" y="217"/>
                      <a:pt x="1060" y="217"/>
                    </a:cubicBezTo>
                    <a:cubicBezTo>
                      <a:pt x="1061" y="217"/>
                      <a:pt x="1061" y="217"/>
                      <a:pt x="1061" y="217"/>
                    </a:cubicBezTo>
                    <a:cubicBezTo>
                      <a:pt x="1061" y="218"/>
                      <a:pt x="1061" y="218"/>
                      <a:pt x="1061" y="218"/>
                    </a:cubicBezTo>
                    <a:cubicBezTo>
                      <a:pt x="1061" y="220"/>
                      <a:pt x="1061" y="220"/>
                      <a:pt x="1061" y="220"/>
                    </a:cubicBezTo>
                    <a:cubicBezTo>
                      <a:pt x="1062" y="221"/>
                      <a:pt x="1062" y="221"/>
                      <a:pt x="1062" y="221"/>
                    </a:cubicBezTo>
                    <a:cubicBezTo>
                      <a:pt x="1064" y="221"/>
                      <a:pt x="1064" y="221"/>
                      <a:pt x="1064" y="221"/>
                    </a:cubicBezTo>
                    <a:cubicBezTo>
                      <a:pt x="1065" y="223"/>
                      <a:pt x="1065" y="223"/>
                      <a:pt x="1065" y="223"/>
                    </a:cubicBezTo>
                    <a:cubicBezTo>
                      <a:pt x="1066" y="224"/>
                      <a:pt x="1066" y="224"/>
                      <a:pt x="1066" y="224"/>
                    </a:cubicBezTo>
                    <a:cubicBezTo>
                      <a:pt x="1067" y="224"/>
                      <a:pt x="1067" y="224"/>
                      <a:pt x="1067" y="224"/>
                    </a:cubicBezTo>
                    <a:cubicBezTo>
                      <a:pt x="1068" y="225"/>
                      <a:pt x="1068" y="225"/>
                      <a:pt x="1068" y="225"/>
                    </a:cubicBezTo>
                    <a:cubicBezTo>
                      <a:pt x="1069" y="226"/>
                      <a:pt x="1069" y="226"/>
                      <a:pt x="1069" y="226"/>
                    </a:cubicBezTo>
                    <a:cubicBezTo>
                      <a:pt x="1070" y="225"/>
                      <a:pt x="1070" y="225"/>
                      <a:pt x="1070" y="225"/>
                    </a:cubicBezTo>
                    <a:cubicBezTo>
                      <a:pt x="1070" y="224"/>
                      <a:pt x="1070" y="224"/>
                      <a:pt x="1070" y="224"/>
                    </a:cubicBezTo>
                    <a:cubicBezTo>
                      <a:pt x="1069" y="223"/>
                      <a:pt x="1069" y="223"/>
                      <a:pt x="1069" y="223"/>
                    </a:cubicBezTo>
                    <a:cubicBezTo>
                      <a:pt x="1068" y="222"/>
                      <a:pt x="1068" y="222"/>
                      <a:pt x="1068" y="222"/>
                    </a:cubicBezTo>
                    <a:cubicBezTo>
                      <a:pt x="1067" y="221"/>
                      <a:pt x="1067" y="221"/>
                      <a:pt x="1067" y="221"/>
                    </a:cubicBezTo>
                    <a:cubicBezTo>
                      <a:pt x="1068" y="220"/>
                      <a:pt x="1068" y="220"/>
                      <a:pt x="1068" y="220"/>
                    </a:cubicBezTo>
                    <a:cubicBezTo>
                      <a:pt x="1068" y="221"/>
                      <a:pt x="1068" y="221"/>
                      <a:pt x="1068" y="221"/>
                    </a:cubicBezTo>
                    <a:cubicBezTo>
                      <a:pt x="1069" y="221"/>
                      <a:pt x="1069" y="221"/>
                      <a:pt x="1069" y="221"/>
                    </a:cubicBezTo>
                    <a:cubicBezTo>
                      <a:pt x="1071" y="222"/>
                      <a:pt x="1071" y="222"/>
                      <a:pt x="1071" y="222"/>
                    </a:cubicBezTo>
                    <a:cubicBezTo>
                      <a:pt x="1071" y="220"/>
                      <a:pt x="1071" y="220"/>
                      <a:pt x="1071" y="220"/>
                    </a:cubicBezTo>
                    <a:cubicBezTo>
                      <a:pt x="1068" y="219"/>
                      <a:pt x="1068" y="219"/>
                      <a:pt x="1068" y="219"/>
                    </a:cubicBezTo>
                    <a:cubicBezTo>
                      <a:pt x="1067" y="217"/>
                      <a:pt x="1067" y="217"/>
                      <a:pt x="1067" y="217"/>
                    </a:cubicBezTo>
                    <a:cubicBezTo>
                      <a:pt x="1066" y="217"/>
                      <a:pt x="1066" y="217"/>
                      <a:pt x="1066" y="217"/>
                    </a:cubicBezTo>
                    <a:cubicBezTo>
                      <a:pt x="1065" y="217"/>
                      <a:pt x="1065" y="217"/>
                      <a:pt x="1065" y="217"/>
                    </a:cubicBezTo>
                    <a:close/>
                    <a:moveTo>
                      <a:pt x="932" y="352"/>
                    </a:moveTo>
                    <a:cubicBezTo>
                      <a:pt x="932" y="352"/>
                      <a:pt x="932" y="352"/>
                      <a:pt x="932" y="353"/>
                    </a:cubicBezTo>
                    <a:cubicBezTo>
                      <a:pt x="932" y="353"/>
                      <a:pt x="932" y="353"/>
                      <a:pt x="933" y="352"/>
                    </a:cubicBezTo>
                    <a:cubicBezTo>
                      <a:pt x="933" y="352"/>
                      <a:pt x="933" y="352"/>
                      <a:pt x="933" y="351"/>
                    </a:cubicBezTo>
                    <a:cubicBezTo>
                      <a:pt x="933" y="351"/>
                      <a:pt x="933" y="351"/>
                      <a:pt x="932" y="351"/>
                    </a:cubicBezTo>
                    <a:cubicBezTo>
                      <a:pt x="932" y="351"/>
                      <a:pt x="932" y="351"/>
                      <a:pt x="932" y="352"/>
                    </a:cubicBezTo>
                    <a:close/>
                    <a:moveTo>
                      <a:pt x="909" y="317"/>
                    </a:moveTo>
                    <a:cubicBezTo>
                      <a:pt x="909" y="317"/>
                      <a:pt x="909" y="317"/>
                      <a:pt x="908" y="316"/>
                    </a:cubicBezTo>
                    <a:cubicBezTo>
                      <a:pt x="908" y="316"/>
                      <a:pt x="908" y="316"/>
                      <a:pt x="908" y="317"/>
                    </a:cubicBezTo>
                    <a:cubicBezTo>
                      <a:pt x="908" y="317"/>
                      <a:pt x="908" y="317"/>
                      <a:pt x="909" y="317"/>
                    </a:cubicBezTo>
                    <a:close/>
                    <a:moveTo>
                      <a:pt x="952" y="330"/>
                    </a:moveTo>
                    <a:cubicBezTo>
                      <a:pt x="952" y="331"/>
                      <a:pt x="952" y="331"/>
                      <a:pt x="952" y="331"/>
                    </a:cubicBezTo>
                    <a:cubicBezTo>
                      <a:pt x="953" y="331"/>
                      <a:pt x="953" y="331"/>
                      <a:pt x="953" y="331"/>
                    </a:cubicBezTo>
                    <a:cubicBezTo>
                      <a:pt x="954" y="331"/>
                      <a:pt x="954" y="331"/>
                      <a:pt x="954" y="331"/>
                    </a:cubicBezTo>
                    <a:cubicBezTo>
                      <a:pt x="954" y="330"/>
                      <a:pt x="954" y="330"/>
                      <a:pt x="954" y="330"/>
                    </a:cubicBezTo>
                    <a:cubicBezTo>
                      <a:pt x="953" y="330"/>
                      <a:pt x="953" y="330"/>
                      <a:pt x="953" y="330"/>
                    </a:cubicBezTo>
                    <a:cubicBezTo>
                      <a:pt x="952" y="330"/>
                      <a:pt x="952" y="330"/>
                      <a:pt x="952" y="330"/>
                    </a:cubicBezTo>
                    <a:close/>
                    <a:moveTo>
                      <a:pt x="955" y="326"/>
                    </a:moveTo>
                    <a:cubicBezTo>
                      <a:pt x="955" y="326"/>
                      <a:pt x="955" y="326"/>
                      <a:pt x="956" y="326"/>
                    </a:cubicBezTo>
                    <a:cubicBezTo>
                      <a:pt x="956" y="326"/>
                      <a:pt x="956" y="326"/>
                      <a:pt x="957" y="326"/>
                    </a:cubicBezTo>
                    <a:cubicBezTo>
                      <a:pt x="957" y="326"/>
                      <a:pt x="957" y="326"/>
                      <a:pt x="957" y="325"/>
                    </a:cubicBezTo>
                    <a:cubicBezTo>
                      <a:pt x="957" y="325"/>
                      <a:pt x="957" y="325"/>
                      <a:pt x="956" y="325"/>
                    </a:cubicBezTo>
                    <a:cubicBezTo>
                      <a:pt x="956" y="325"/>
                      <a:pt x="956" y="325"/>
                      <a:pt x="955" y="324"/>
                    </a:cubicBezTo>
                    <a:cubicBezTo>
                      <a:pt x="955" y="324"/>
                      <a:pt x="955" y="324"/>
                      <a:pt x="954" y="324"/>
                    </a:cubicBezTo>
                    <a:cubicBezTo>
                      <a:pt x="954" y="324"/>
                      <a:pt x="954" y="324"/>
                      <a:pt x="954" y="325"/>
                    </a:cubicBezTo>
                    <a:cubicBezTo>
                      <a:pt x="954" y="325"/>
                      <a:pt x="954" y="325"/>
                      <a:pt x="955" y="326"/>
                    </a:cubicBezTo>
                    <a:close/>
                    <a:moveTo>
                      <a:pt x="934" y="357"/>
                    </a:moveTo>
                    <a:cubicBezTo>
                      <a:pt x="934" y="357"/>
                      <a:pt x="934" y="357"/>
                      <a:pt x="935" y="357"/>
                    </a:cubicBezTo>
                    <a:cubicBezTo>
                      <a:pt x="935" y="357"/>
                      <a:pt x="935" y="357"/>
                      <a:pt x="935" y="356"/>
                    </a:cubicBezTo>
                    <a:cubicBezTo>
                      <a:pt x="935" y="356"/>
                      <a:pt x="935" y="356"/>
                      <a:pt x="935" y="355"/>
                    </a:cubicBezTo>
                    <a:cubicBezTo>
                      <a:pt x="935" y="355"/>
                      <a:pt x="935" y="355"/>
                      <a:pt x="934" y="356"/>
                    </a:cubicBezTo>
                    <a:cubicBezTo>
                      <a:pt x="934" y="356"/>
                      <a:pt x="934" y="356"/>
                      <a:pt x="934" y="357"/>
                    </a:cubicBezTo>
                    <a:close/>
                    <a:moveTo>
                      <a:pt x="985" y="300"/>
                    </a:moveTo>
                    <a:cubicBezTo>
                      <a:pt x="986" y="301"/>
                      <a:pt x="986" y="301"/>
                      <a:pt x="986" y="301"/>
                    </a:cubicBezTo>
                    <a:cubicBezTo>
                      <a:pt x="986" y="300"/>
                      <a:pt x="986" y="300"/>
                      <a:pt x="986" y="300"/>
                    </a:cubicBezTo>
                    <a:cubicBezTo>
                      <a:pt x="986" y="299"/>
                      <a:pt x="986" y="299"/>
                      <a:pt x="986" y="299"/>
                    </a:cubicBezTo>
                    <a:cubicBezTo>
                      <a:pt x="985" y="299"/>
                      <a:pt x="985" y="299"/>
                      <a:pt x="985" y="299"/>
                    </a:cubicBezTo>
                    <a:cubicBezTo>
                      <a:pt x="985" y="300"/>
                      <a:pt x="985" y="300"/>
                      <a:pt x="985" y="300"/>
                    </a:cubicBezTo>
                    <a:close/>
                    <a:moveTo>
                      <a:pt x="982" y="297"/>
                    </a:moveTo>
                    <a:cubicBezTo>
                      <a:pt x="981" y="298"/>
                      <a:pt x="981" y="298"/>
                      <a:pt x="981" y="298"/>
                    </a:cubicBezTo>
                    <a:cubicBezTo>
                      <a:pt x="981" y="299"/>
                      <a:pt x="981" y="299"/>
                      <a:pt x="981" y="299"/>
                    </a:cubicBezTo>
                    <a:cubicBezTo>
                      <a:pt x="980" y="300"/>
                      <a:pt x="980" y="300"/>
                      <a:pt x="980" y="300"/>
                    </a:cubicBezTo>
                    <a:cubicBezTo>
                      <a:pt x="981" y="300"/>
                      <a:pt x="981" y="300"/>
                      <a:pt x="981" y="300"/>
                    </a:cubicBezTo>
                    <a:cubicBezTo>
                      <a:pt x="981" y="301"/>
                      <a:pt x="981" y="301"/>
                      <a:pt x="981" y="301"/>
                    </a:cubicBezTo>
                    <a:cubicBezTo>
                      <a:pt x="982" y="301"/>
                      <a:pt x="982" y="301"/>
                      <a:pt x="982" y="301"/>
                    </a:cubicBezTo>
                    <a:cubicBezTo>
                      <a:pt x="983" y="300"/>
                      <a:pt x="983" y="300"/>
                      <a:pt x="983" y="300"/>
                    </a:cubicBezTo>
                    <a:cubicBezTo>
                      <a:pt x="984" y="300"/>
                      <a:pt x="984" y="300"/>
                      <a:pt x="984" y="300"/>
                    </a:cubicBezTo>
                    <a:cubicBezTo>
                      <a:pt x="983" y="298"/>
                      <a:pt x="983" y="298"/>
                      <a:pt x="983" y="298"/>
                    </a:cubicBezTo>
                    <a:cubicBezTo>
                      <a:pt x="982" y="297"/>
                      <a:pt x="982" y="297"/>
                      <a:pt x="982" y="297"/>
                    </a:cubicBezTo>
                    <a:close/>
                    <a:moveTo>
                      <a:pt x="947" y="349"/>
                    </a:moveTo>
                    <a:cubicBezTo>
                      <a:pt x="946" y="348"/>
                      <a:pt x="946" y="348"/>
                      <a:pt x="946" y="348"/>
                    </a:cubicBezTo>
                    <a:cubicBezTo>
                      <a:pt x="946" y="349"/>
                      <a:pt x="946" y="349"/>
                      <a:pt x="946" y="349"/>
                    </a:cubicBezTo>
                    <a:cubicBezTo>
                      <a:pt x="947" y="349"/>
                      <a:pt x="947" y="349"/>
                      <a:pt x="947" y="349"/>
                    </a:cubicBezTo>
                    <a:close/>
                    <a:moveTo>
                      <a:pt x="874" y="120"/>
                    </a:moveTo>
                    <a:cubicBezTo>
                      <a:pt x="873" y="119"/>
                      <a:pt x="873" y="119"/>
                      <a:pt x="873" y="119"/>
                    </a:cubicBezTo>
                    <a:cubicBezTo>
                      <a:pt x="872" y="119"/>
                      <a:pt x="872" y="119"/>
                      <a:pt x="872" y="119"/>
                    </a:cubicBezTo>
                    <a:cubicBezTo>
                      <a:pt x="873" y="120"/>
                      <a:pt x="873" y="120"/>
                      <a:pt x="873" y="120"/>
                    </a:cubicBezTo>
                    <a:cubicBezTo>
                      <a:pt x="874" y="120"/>
                      <a:pt x="874" y="120"/>
                      <a:pt x="874" y="120"/>
                    </a:cubicBezTo>
                    <a:close/>
                    <a:moveTo>
                      <a:pt x="912" y="170"/>
                    </a:moveTo>
                    <a:cubicBezTo>
                      <a:pt x="911" y="170"/>
                      <a:pt x="911" y="170"/>
                      <a:pt x="911" y="170"/>
                    </a:cubicBezTo>
                    <a:cubicBezTo>
                      <a:pt x="911" y="171"/>
                      <a:pt x="911" y="171"/>
                      <a:pt x="911" y="171"/>
                    </a:cubicBezTo>
                    <a:cubicBezTo>
                      <a:pt x="912" y="171"/>
                      <a:pt x="912" y="171"/>
                      <a:pt x="912" y="171"/>
                    </a:cubicBezTo>
                    <a:cubicBezTo>
                      <a:pt x="912" y="170"/>
                      <a:pt x="912" y="170"/>
                      <a:pt x="912" y="170"/>
                    </a:cubicBezTo>
                    <a:close/>
                    <a:moveTo>
                      <a:pt x="1100" y="119"/>
                    </a:moveTo>
                    <a:cubicBezTo>
                      <a:pt x="1100" y="120"/>
                      <a:pt x="1100" y="120"/>
                      <a:pt x="1100" y="120"/>
                    </a:cubicBezTo>
                    <a:cubicBezTo>
                      <a:pt x="1099" y="121"/>
                      <a:pt x="1099" y="121"/>
                      <a:pt x="1099" y="121"/>
                    </a:cubicBezTo>
                    <a:cubicBezTo>
                      <a:pt x="1100" y="123"/>
                      <a:pt x="1100" y="123"/>
                      <a:pt x="1100" y="123"/>
                    </a:cubicBezTo>
                    <a:cubicBezTo>
                      <a:pt x="1101" y="122"/>
                      <a:pt x="1101" y="122"/>
                      <a:pt x="1101" y="122"/>
                    </a:cubicBezTo>
                    <a:cubicBezTo>
                      <a:pt x="1101" y="121"/>
                      <a:pt x="1101" y="121"/>
                      <a:pt x="1101" y="121"/>
                    </a:cubicBezTo>
                    <a:cubicBezTo>
                      <a:pt x="1101" y="119"/>
                      <a:pt x="1101" y="119"/>
                      <a:pt x="1101" y="119"/>
                    </a:cubicBezTo>
                    <a:cubicBezTo>
                      <a:pt x="1102" y="118"/>
                      <a:pt x="1102" y="118"/>
                      <a:pt x="1102" y="118"/>
                    </a:cubicBezTo>
                    <a:cubicBezTo>
                      <a:pt x="1101" y="118"/>
                      <a:pt x="1101" y="118"/>
                      <a:pt x="1101" y="118"/>
                    </a:cubicBezTo>
                    <a:cubicBezTo>
                      <a:pt x="1100" y="119"/>
                      <a:pt x="1100" y="119"/>
                      <a:pt x="1100" y="119"/>
                    </a:cubicBezTo>
                    <a:close/>
                    <a:moveTo>
                      <a:pt x="914" y="177"/>
                    </a:moveTo>
                    <a:cubicBezTo>
                      <a:pt x="913" y="177"/>
                      <a:pt x="913" y="177"/>
                      <a:pt x="913" y="177"/>
                    </a:cubicBezTo>
                    <a:cubicBezTo>
                      <a:pt x="913" y="178"/>
                      <a:pt x="913" y="178"/>
                      <a:pt x="913" y="178"/>
                    </a:cubicBezTo>
                    <a:cubicBezTo>
                      <a:pt x="914" y="178"/>
                      <a:pt x="914" y="178"/>
                      <a:pt x="914" y="178"/>
                    </a:cubicBezTo>
                    <a:cubicBezTo>
                      <a:pt x="914" y="177"/>
                      <a:pt x="914" y="177"/>
                      <a:pt x="914" y="177"/>
                    </a:cubicBezTo>
                    <a:close/>
                    <a:moveTo>
                      <a:pt x="869" y="118"/>
                    </a:moveTo>
                    <a:cubicBezTo>
                      <a:pt x="870" y="119"/>
                      <a:pt x="870" y="119"/>
                      <a:pt x="870" y="119"/>
                    </a:cubicBezTo>
                    <a:cubicBezTo>
                      <a:pt x="872" y="119"/>
                      <a:pt x="872" y="119"/>
                      <a:pt x="872" y="119"/>
                    </a:cubicBezTo>
                    <a:cubicBezTo>
                      <a:pt x="871" y="117"/>
                      <a:pt x="871" y="117"/>
                      <a:pt x="871" y="117"/>
                    </a:cubicBezTo>
                    <a:cubicBezTo>
                      <a:pt x="870" y="118"/>
                      <a:pt x="870" y="118"/>
                      <a:pt x="870" y="118"/>
                    </a:cubicBezTo>
                    <a:cubicBezTo>
                      <a:pt x="870" y="117"/>
                      <a:pt x="870" y="117"/>
                      <a:pt x="870" y="117"/>
                    </a:cubicBezTo>
                    <a:cubicBezTo>
                      <a:pt x="869" y="118"/>
                      <a:pt x="869" y="118"/>
                      <a:pt x="869" y="118"/>
                    </a:cubicBezTo>
                    <a:close/>
                    <a:moveTo>
                      <a:pt x="911" y="203"/>
                    </a:moveTo>
                    <a:cubicBezTo>
                      <a:pt x="912" y="203"/>
                      <a:pt x="912" y="203"/>
                      <a:pt x="912" y="203"/>
                    </a:cubicBezTo>
                    <a:cubicBezTo>
                      <a:pt x="912" y="202"/>
                      <a:pt x="912" y="202"/>
                      <a:pt x="912" y="202"/>
                    </a:cubicBezTo>
                    <a:cubicBezTo>
                      <a:pt x="911" y="202"/>
                      <a:pt x="911" y="202"/>
                      <a:pt x="911" y="202"/>
                    </a:cubicBezTo>
                    <a:cubicBezTo>
                      <a:pt x="911" y="203"/>
                      <a:pt x="911" y="203"/>
                      <a:pt x="911" y="203"/>
                    </a:cubicBezTo>
                    <a:close/>
                    <a:moveTo>
                      <a:pt x="912" y="205"/>
                    </a:moveTo>
                    <a:cubicBezTo>
                      <a:pt x="913" y="205"/>
                      <a:pt x="913" y="205"/>
                      <a:pt x="913" y="205"/>
                    </a:cubicBezTo>
                    <a:cubicBezTo>
                      <a:pt x="915" y="204"/>
                      <a:pt x="915" y="204"/>
                      <a:pt x="915" y="204"/>
                    </a:cubicBezTo>
                    <a:cubicBezTo>
                      <a:pt x="916" y="203"/>
                      <a:pt x="916" y="203"/>
                      <a:pt x="916" y="203"/>
                    </a:cubicBezTo>
                    <a:cubicBezTo>
                      <a:pt x="916" y="202"/>
                      <a:pt x="916" y="202"/>
                      <a:pt x="916" y="202"/>
                    </a:cubicBezTo>
                    <a:cubicBezTo>
                      <a:pt x="915" y="202"/>
                      <a:pt x="915" y="202"/>
                      <a:pt x="915" y="202"/>
                    </a:cubicBezTo>
                    <a:cubicBezTo>
                      <a:pt x="914" y="203"/>
                      <a:pt x="914" y="203"/>
                      <a:pt x="914" y="203"/>
                    </a:cubicBezTo>
                    <a:cubicBezTo>
                      <a:pt x="913" y="203"/>
                      <a:pt x="913" y="203"/>
                      <a:pt x="913" y="203"/>
                    </a:cubicBezTo>
                    <a:cubicBezTo>
                      <a:pt x="913" y="204"/>
                      <a:pt x="913" y="204"/>
                      <a:pt x="913" y="204"/>
                    </a:cubicBezTo>
                    <a:cubicBezTo>
                      <a:pt x="912" y="204"/>
                      <a:pt x="912" y="204"/>
                      <a:pt x="912" y="204"/>
                    </a:cubicBezTo>
                    <a:cubicBezTo>
                      <a:pt x="912" y="205"/>
                      <a:pt x="912" y="205"/>
                      <a:pt x="912" y="205"/>
                    </a:cubicBezTo>
                    <a:close/>
                    <a:moveTo>
                      <a:pt x="916" y="205"/>
                    </a:moveTo>
                    <a:cubicBezTo>
                      <a:pt x="916" y="204"/>
                      <a:pt x="916" y="204"/>
                      <a:pt x="916" y="204"/>
                    </a:cubicBezTo>
                    <a:cubicBezTo>
                      <a:pt x="915" y="205"/>
                      <a:pt x="915" y="205"/>
                      <a:pt x="915" y="205"/>
                    </a:cubicBezTo>
                    <a:cubicBezTo>
                      <a:pt x="916" y="205"/>
                      <a:pt x="916" y="205"/>
                      <a:pt x="916" y="205"/>
                    </a:cubicBezTo>
                    <a:close/>
                    <a:moveTo>
                      <a:pt x="915" y="206"/>
                    </a:moveTo>
                    <a:cubicBezTo>
                      <a:pt x="915" y="205"/>
                      <a:pt x="915" y="205"/>
                      <a:pt x="915" y="205"/>
                    </a:cubicBezTo>
                    <a:cubicBezTo>
                      <a:pt x="914" y="206"/>
                      <a:pt x="914" y="206"/>
                      <a:pt x="914" y="206"/>
                    </a:cubicBezTo>
                    <a:cubicBezTo>
                      <a:pt x="915" y="206"/>
                      <a:pt x="915" y="206"/>
                      <a:pt x="915" y="206"/>
                    </a:cubicBezTo>
                    <a:close/>
                    <a:moveTo>
                      <a:pt x="916" y="199"/>
                    </a:moveTo>
                    <a:cubicBezTo>
                      <a:pt x="915" y="199"/>
                      <a:pt x="915" y="199"/>
                      <a:pt x="915" y="199"/>
                    </a:cubicBezTo>
                    <a:cubicBezTo>
                      <a:pt x="914" y="200"/>
                      <a:pt x="914" y="200"/>
                      <a:pt x="914" y="200"/>
                    </a:cubicBezTo>
                    <a:cubicBezTo>
                      <a:pt x="915" y="200"/>
                      <a:pt x="915" y="200"/>
                      <a:pt x="915" y="200"/>
                    </a:cubicBezTo>
                    <a:cubicBezTo>
                      <a:pt x="916" y="199"/>
                      <a:pt x="916" y="199"/>
                      <a:pt x="916" y="199"/>
                    </a:cubicBezTo>
                    <a:close/>
                    <a:moveTo>
                      <a:pt x="1076" y="213"/>
                    </a:moveTo>
                    <a:cubicBezTo>
                      <a:pt x="1076" y="212"/>
                      <a:pt x="1076" y="212"/>
                      <a:pt x="1076" y="212"/>
                    </a:cubicBezTo>
                    <a:cubicBezTo>
                      <a:pt x="1075" y="213"/>
                      <a:pt x="1075" y="213"/>
                      <a:pt x="1075" y="213"/>
                    </a:cubicBezTo>
                    <a:cubicBezTo>
                      <a:pt x="1076" y="213"/>
                      <a:pt x="1076" y="213"/>
                      <a:pt x="1076" y="213"/>
                    </a:cubicBezTo>
                    <a:close/>
                    <a:moveTo>
                      <a:pt x="1053" y="241"/>
                    </a:moveTo>
                    <a:cubicBezTo>
                      <a:pt x="1054" y="241"/>
                      <a:pt x="1054" y="241"/>
                      <a:pt x="1054" y="241"/>
                    </a:cubicBezTo>
                    <a:cubicBezTo>
                      <a:pt x="1053" y="240"/>
                      <a:pt x="1053" y="240"/>
                      <a:pt x="1053" y="240"/>
                    </a:cubicBezTo>
                    <a:cubicBezTo>
                      <a:pt x="1053" y="241"/>
                      <a:pt x="1053" y="241"/>
                      <a:pt x="1053" y="241"/>
                    </a:cubicBezTo>
                    <a:close/>
                    <a:moveTo>
                      <a:pt x="1079" y="194"/>
                    </a:moveTo>
                    <a:cubicBezTo>
                      <a:pt x="1077" y="194"/>
                      <a:pt x="1077" y="194"/>
                      <a:pt x="1077" y="194"/>
                    </a:cubicBezTo>
                    <a:cubicBezTo>
                      <a:pt x="1076" y="194"/>
                      <a:pt x="1076" y="194"/>
                      <a:pt x="1076" y="194"/>
                    </a:cubicBezTo>
                    <a:cubicBezTo>
                      <a:pt x="1075" y="196"/>
                      <a:pt x="1075" y="196"/>
                      <a:pt x="1075" y="196"/>
                    </a:cubicBezTo>
                    <a:cubicBezTo>
                      <a:pt x="1075" y="197"/>
                      <a:pt x="1075" y="197"/>
                      <a:pt x="1075" y="197"/>
                    </a:cubicBezTo>
                    <a:cubicBezTo>
                      <a:pt x="1075" y="198"/>
                      <a:pt x="1075" y="198"/>
                      <a:pt x="1075" y="198"/>
                    </a:cubicBezTo>
                    <a:cubicBezTo>
                      <a:pt x="1076" y="198"/>
                      <a:pt x="1076" y="198"/>
                      <a:pt x="1076" y="198"/>
                    </a:cubicBezTo>
                    <a:cubicBezTo>
                      <a:pt x="1078" y="199"/>
                      <a:pt x="1078" y="199"/>
                      <a:pt x="1078" y="199"/>
                    </a:cubicBezTo>
                    <a:cubicBezTo>
                      <a:pt x="1080" y="199"/>
                      <a:pt x="1080" y="199"/>
                      <a:pt x="1080" y="199"/>
                    </a:cubicBezTo>
                    <a:cubicBezTo>
                      <a:pt x="1081" y="199"/>
                      <a:pt x="1081" y="199"/>
                      <a:pt x="1081" y="199"/>
                    </a:cubicBezTo>
                    <a:cubicBezTo>
                      <a:pt x="1081" y="197"/>
                      <a:pt x="1081" y="197"/>
                      <a:pt x="1081" y="197"/>
                    </a:cubicBezTo>
                    <a:cubicBezTo>
                      <a:pt x="1082" y="197"/>
                      <a:pt x="1082" y="197"/>
                      <a:pt x="1082" y="197"/>
                    </a:cubicBezTo>
                    <a:cubicBezTo>
                      <a:pt x="1081" y="195"/>
                      <a:pt x="1081" y="195"/>
                      <a:pt x="1081" y="195"/>
                    </a:cubicBezTo>
                    <a:cubicBezTo>
                      <a:pt x="1079" y="194"/>
                      <a:pt x="1079" y="194"/>
                      <a:pt x="1079" y="194"/>
                    </a:cubicBezTo>
                    <a:close/>
                    <a:moveTo>
                      <a:pt x="1097" y="146"/>
                    </a:moveTo>
                    <a:cubicBezTo>
                      <a:pt x="1097" y="147"/>
                      <a:pt x="1097" y="147"/>
                      <a:pt x="1097" y="147"/>
                    </a:cubicBezTo>
                    <a:cubicBezTo>
                      <a:pt x="1098" y="147"/>
                      <a:pt x="1098" y="147"/>
                      <a:pt x="1098" y="147"/>
                    </a:cubicBezTo>
                    <a:cubicBezTo>
                      <a:pt x="1098" y="146"/>
                      <a:pt x="1098" y="146"/>
                      <a:pt x="1098" y="146"/>
                    </a:cubicBezTo>
                    <a:cubicBezTo>
                      <a:pt x="1098" y="145"/>
                      <a:pt x="1098" y="145"/>
                      <a:pt x="1098" y="145"/>
                    </a:cubicBezTo>
                    <a:cubicBezTo>
                      <a:pt x="1099" y="144"/>
                      <a:pt x="1099" y="144"/>
                      <a:pt x="1099" y="144"/>
                    </a:cubicBezTo>
                    <a:cubicBezTo>
                      <a:pt x="1099" y="143"/>
                      <a:pt x="1099" y="143"/>
                      <a:pt x="1099" y="143"/>
                    </a:cubicBezTo>
                    <a:cubicBezTo>
                      <a:pt x="1097" y="144"/>
                      <a:pt x="1097" y="144"/>
                      <a:pt x="1097" y="144"/>
                    </a:cubicBezTo>
                    <a:cubicBezTo>
                      <a:pt x="1097" y="146"/>
                      <a:pt x="1097" y="146"/>
                      <a:pt x="1097" y="146"/>
                    </a:cubicBezTo>
                    <a:close/>
                    <a:moveTo>
                      <a:pt x="1056" y="211"/>
                    </a:moveTo>
                    <a:cubicBezTo>
                      <a:pt x="1058" y="211"/>
                      <a:pt x="1058" y="211"/>
                      <a:pt x="1058" y="211"/>
                    </a:cubicBezTo>
                    <a:cubicBezTo>
                      <a:pt x="1059" y="212"/>
                      <a:pt x="1059" y="212"/>
                      <a:pt x="1059" y="212"/>
                    </a:cubicBezTo>
                    <a:cubicBezTo>
                      <a:pt x="1061" y="213"/>
                      <a:pt x="1061" y="213"/>
                      <a:pt x="1061" y="213"/>
                    </a:cubicBezTo>
                    <a:cubicBezTo>
                      <a:pt x="1063" y="213"/>
                      <a:pt x="1063" y="213"/>
                      <a:pt x="1063" y="213"/>
                    </a:cubicBezTo>
                    <a:cubicBezTo>
                      <a:pt x="1067" y="213"/>
                      <a:pt x="1067" y="213"/>
                      <a:pt x="1067" y="213"/>
                    </a:cubicBezTo>
                    <a:cubicBezTo>
                      <a:pt x="1065" y="214"/>
                      <a:pt x="1065" y="214"/>
                      <a:pt x="1065" y="214"/>
                    </a:cubicBezTo>
                    <a:cubicBezTo>
                      <a:pt x="1064" y="214"/>
                      <a:pt x="1064" y="214"/>
                      <a:pt x="1064" y="214"/>
                    </a:cubicBezTo>
                    <a:cubicBezTo>
                      <a:pt x="1062" y="214"/>
                      <a:pt x="1062" y="214"/>
                      <a:pt x="1062" y="214"/>
                    </a:cubicBezTo>
                    <a:cubicBezTo>
                      <a:pt x="1061" y="214"/>
                      <a:pt x="1061" y="214"/>
                      <a:pt x="1061" y="214"/>
                    </a:cubicBezTo>
                    <a:cubicBezTo>
                      <a:pt x="1060" y="214"/>
                      <a:pt x="1060" y="214"/>
                      <a:pt x="1060" y="214"/>
                    </a:cubicBezTo>
                    <a:cubicBezTo>
                      <a:pt x="1061" y="215"/>
                      <a:pt x="1061" y="215"/>
                      <a:pt x="1061" y="215"/>
                    </a:cubicBezTo>
                    <a:cubicBezTo>
                      <a:pt x="1063" y="215"/>
                      <a:pt x="1063" y="215"/>
                      <a:pt x="1063" y="215"/>
                    </a:cubicBezTo>
                    <a:cubicBezTo>
                      <a:pt x="1064" y="216"/>
                      <a:pt x="1064" y="216"/>
                      <a:pt x="1064" y="216"/>
                    </a:cubicBezTo>
                    <a:cubicBezTo>
                      <a:pt x="1066" y="216"/>
                      <a:pt x="1066" y="216"/>
                      <a:pt x="1066" y="216"/>
                    </a:cubicBezTo>
                    <a:cubicBezTo>
                      <a:pt x="1067" y="217"/>
                      <a:pt x="1067" y="217"/>
                      <a:pt x="1067" y="217"/>
                    </a:cubicBezTo>
                    <a:cubicBezTo>
                      <a:pt x="1068" y="217"/>
                      <a:pt x="1068" y="217"/>
                      <a:pt x="1068" y="217"/>
                    </a:cubicBezTo>
                    <a:cubicBezTo>
                      <a:pt x="1069" y="217"/>
                      <a:pt x="1069" y="217"/>
                      <a:pt x="1069" y="217"/>
                    </a:cubicBezTo>
                    <a:cubicBezTo>
                      <a:pt x="1069" y="218"/>
                      <a:pt x="1069" y="218"/>
                      <a:pt x="1069" y="218"/>
                    </a:cubicBezTo>
                    <a:cubicBezTo>
                      <a:pt x="1070" y="218"/>
                      <a:pt x="1070" y="218"/>
                      <a:pt x="1070" y="218"/>
                    </a:cubicBezTo>
                    <a:cubicBezTo>
                      <a:pt x="1071" y="218"/>
                      <a:pt x="1071" y="218"/>
                      <a:pt x="1071" y="218"/>
                    </a:cubicBezTo>
                    <a:cubicBezTo>
                      <a:pt x="1072" y="218"/>
                      <a:pt x="1072" y="218"/>
                      <a:pt x="1072" y="218"/>
                    </a:cubicBezTo>
                    <a:cubicBezTo>
                      <a:pt x="1072" y="217"/>
                      <a:pt x="1072" y="217"/>
                      <a:pt x="1072" y="217"/>
                    </a:cubicBezTo>
                    <a:cubicBezTo>
                      <a:pt x="1072" y="216"/>
                      <a:pt x="1072" y="216"/>
                      <a:pt x="1072" y="216"/>
                    </a:cubicBezTo>
                    <a:cubicBezTo>
                      <a:pt x="1073" y="216"/>
                      <a:pt x="1073" y="216"/>
                      <a:pt x="1073" y="216"/>
                    </a:cubicBezTo>
                    <a:cubicBezTo>
                      <a:pt x="1071" y="215"/>
                      <a:pt x="1071" y="215"/>
                      <a:pt x="1071" y="215"/>
                    </a:cubicBezTo>
                    <a:cubicBezTo>
                      <a:pt x="1070" y="214"/>
                      <a:pt x="1070" y="214"/>
                      <a:pt x="1070" y="214"/>
                    </a:cubicBezTo>
                    <a:cubicBezTo>
                      <a:pt x="1068" y="213"/>
                      <a:pt x="1068" y="213"/>
                      <a:pt x="1068" y="213"/>
                    </a:cubicBezTo>
                    <a:cubicBezTo>
                      <a:pt x="1068" y="212"/>
                      <a:pt x="1068" y="212"/>
                      <a:pt x="1068" y="212"/>
                    </a:cubicBezTo>
                    <a:cubicBezTo>
                      <a:pt x="1067" y="212"/>
                      <a:pt x="1067" y="212"/>
                      <a:pt x="1067" y="212"/>
                    </a:cubicBezTo>
                    <a:cubicBezTo>
                      <a:pt x="1064" y="212"/>
                      <a:pt x="1064" y="212"/>
                      <a:pt x="1064" y="212"/>
                    </a:cubicBezTo>
                    <a:cubicBezTo>
                      <a:pt x="1063" y="212"/>
                      <a:pt x="1063" y="212"/>
                      <a:pt x="1063" y="212"/>
                    </a:cubicBezTo>
                    <a:cubicBezTo>
                      <a:pt x="1061" y="211"/>
                      <a:pt x="1061" y="211"/>
                      <a:pt x="1061" y="211"/>
                    </a:cubicBezTo>
                    <a:cubicBezTo>
                      <a:pt x="1060" y="210"/>
                      <a:pt x="1060" y="210"/>
                      <a:pt x="1060" y="210"/>
                    </a:cubicBezTo>
                    <a:cubicBezTo>
                      <a:pt x="1059" y="210"/>
                      <a:pt x="1059" y="210"/>
                      <a:pt x="1059" y="210"/>
                    </a:cubicBezTo>
                    <a:cubicBezTo>
                      <a:pt x="1060" y="209"/>
                      <a:pt x="1060" y="209"/>
                      <a:pt x="1060" y="209"/>
                    </a:cubicBezTo>
                    <a:cubicBezTo>
                      <a:pt x="1061" y="209"/>
                      <a:pt x="1061" y="209"/>
                      <a:pt x="1061" y="209"/>
                    </a:cubicBezTo>
                    <a:cubicBezTo>
                      <a:pt x="1063" y="211"/>
                      <a:pt x="1063" y="211"/>
                      <a:pt x="1063" y="211"/>
                    </a:cubicBezTo>
                    <a:cubicBezTo>
                      <a:pt x="1065" y="211"/>
                      <a:pt x="1065" y="211"/>
                      <a:pt x="1065" y="211"/>
                    </a:cubicBezTo>
                    <a:cubicBezTo>
                      <a:pt x="1066" y="211"/>
                      <a:pt x="1066" y="211"/>
                      <a:pt x="1066" y="211"/>
                    </a:cubicBezTo>
                    <a:cubicBezTo>
                      <a:pt x="1065" y="210"/>
                      <a:pt x="1065" y="210"/>
                      <a:pt x="1065" y="210"/>
                    </a:cubicBezTo>
                    <a:cubicBezTo>
                      <a:pt x="1062" y="208"/>
                      <a:pt x="1062" y="208"/>
                      <a:pt x="1062" y="208"/>
                    </a:cubicBezTo>
                    <a:cubicBezTo>
                      <a:pt x="1059" y="208"/>
                      <a:pt x="1059" y="208"/>
                      <a:pt x="1059" y="208"/>
                    </a:cubicBezTo>
                    <a:cubicBezTo>
                      <a:pt x="1058" y="208"/>
                      <a:pt x="1058" y="208"/>
                      <a:pt x="1058" y="208"/>
                    </a:cubicBezTo>
                    <a:cubicBezTo>
                      <a:pt x="1058" y="209"/>
                      <a:pt x="1058" y="209"/>
                      <a:pt x="1058" y="209"/>
                    </a:cubicBezTo>
                    <a:cubicBezTo>
                      <a:pt x="1056" y="209"/>
                      <a:pt x="1056" y="209"/>
                      <a:pt x="1056" y="209"/>
                    </a:cubicBezTo>
                    <a:cubicBezTo>
                      <a:pt x="1055" y="210"/>
                      <a:pt x="1055" y="210"/>
                      <a:pt x="1055" y="210"/>
                    </a:cubicBezTo>
                    <a:cubicBezTo>
                      <a:pt x="1056" y="211"/>
                      <a:pt x="1056" y="211"/>
                      <a:pt x="1056" y="211"/>
                    </a:cubicBezTo>
                    <a:close/>
                    <a:moveTo>
                      <a:pt x="1093" y="140"/>
                    </a:moveTo>
                    <a:cubicBezTo>
                      <a:pt x="1094" y="139"/>
                      <a:pt x="1094" y="139"/>
                      <a:pt x="1094" y="139"/>
                    </a:cubicBezTo>
                    <a:cubicBezTo>
                      <a:pt x="1094" y="138"/>
                      <a:pt x="1094" y="138"/>
                      <a:pt x="1094" y="138"/>
                    </a:cubicBezTo>
                    <a:cubicBezTo>
                      <a:pt x="1093" y="139"/>
                      <a:pt x="1093" y="139"/>
                      <a:pt x="1093" y="139"/>
                    </a:cubicBezTo>
                    <a:cubicBezTo>
                      <a:pt x="1093" y="140"/>
                      <a:pt x="1093" y="140"/>
                      <a:pt x="1093" y="140"/>
                    </a:cubicBezTo>
                    <a:close/>
                    <a:moveTo>
                      <a:pt x="1095" y="188"/>
                    </a:moveTo>
                    <a:cubicBezTo>
                      <a:pt x="1096" y="187"/>
                      <a:pt x="1096" y="187"/>
                      <a:pt x="1096" y="187"/>
                    </a:cubicBezTo>
                    <a:cubicBezTo>
                      <a:pt x="1096" y="186"/>
                      <a:pt x="1096" y="186"/>
                      <a:pt x="1096" y="186"/>
                    </a:cubicBezTo>
                    <a:cubicBezTo>
                      <a:pt x="1096" y="185"/>
                      <a:pt x="1096" y="185"/>
                      <a:pt x="1096" y="185"/>
                    </a:cubicBezTo>
                    <a:cubicBezTo>
                      <a:pt x="1095" y="184"/>
                      <a:pt x="1095" y="184"/>
                      <a:pt x="1095" y="184"/>
                    </a:cubicBezTo>
                    <a:cubicBezTo>
                      <a:pt x="1095" y="185"/>
                      <a:pt x="1095" y="185"/>
                      <a:pt x="1095" y="185"/>
                    </a:cubicBezTo>
                    <a:cubicBezTo>
                      <a:pt x="1095" y="186"/>
                      <a:pt x="1095" y="186"/>
                      <a:pt x="1095" y="186"/>
                    </a:cubicBezTo>
                    <a:cubicBezTo>
                      <a:pt x="1094" y="185"/>
                      <a:pt x="1094" y="185"/>
                      <a:pt x="1094" y="185"/>
                    </a:cubicBezTo>
                    <a:cubicBezTo>
                      <a:pt x="1094" y="184"/>
                      <a:pt x="1094" y="184"/>
                      <a:pt x="1094" y="184"/>
                    </a:cubicBezTo>
                    <a:cubicBezTo>
                      <a:pt x="1094" y="183"/>
                      <a:pt x="1094" y="183"/>
                      <a:pt x="1094" y="183"/>
                    </a:cubicBezTo>
                    <a:cubicBezTo>
                      <a:pt x="1093" y="182"/>
                      <a:pt x="1093" y="182"/>
                      <a:pt x="1093" y="182"/>
                    </a:cubicBezTo>
                    <a:cubicBezTo>
                      <a:pt x="1094" y="182"/>
                      <a:pt x="1094" y="182"/>
                      <a:pt x="1094" y="182"/>
                    </a:cubicBezTo>
                    <a:cubicBezTo>
                      <a:pt x="1094" y="181"/>
                      <a:pt x="1094" y="181"/>
                      <a:pt x="1094" y="181"/>
                    </a:cubicBezTo>
                    <a:cubicBezTo>
                      <a:pt x="1093" y="180"/>
                      <a:pt x="1093" y="180"/>
                      <a:pt x="1093" y="180"/>
                    </a:cubicBezTo>
                    <a:cubicBezTo>
                      <a:pt x="1092" y="181"/>
                      <a:pt x="1092" y="181"/>
                      <a:pt x="1092" y="181"/>
                    </a:cubicBezTo>
                    <a:cubicBezTo>
                      <a:pt x="1091" y="181"/>
                      <a:pt x="1091" y="181"/>
                      <a:pt x="1091" y="181"/>
                    </a:cubicBezTo>
                    <a:cubicBezTo>
                      <a:pt x="1090" y="181"/>
                      <a:pt x="1090" y="181"/>
                      <a:pt x="1090" y="181"/>
                    </a:cubicBezTo>
                    <a:cubicBezTo>
                      <a:pt x="1090" y="184"/>
                      <a:pt x="1090" y="184"/>
                      <a:pt x="1090" y="184"/>
                    </a:cubicBezTo>
                    <a:cubicBezTo>
                      <a:pt x="1089" y="185"/>
                      <a:pt x="1089" y="185"/>
                      <a:pt x="1089" y="185"/>
                    </a:cubicBezTo>
                    <a:cubicBezTo>
                      <a:pt x="1090" y="186"/>
                      <a:pt x="1090" y="186"/>
                      <a:pt x="1090" y="186"/>
                    </a:cubicBezTo>
                    <a:cubicBezTo>
                      <a:pt x="1091" y="187"/>
                      <a:pt x="1091" y="187"/>
                      <a:pt x="1091" y="187"/>
                    </a:cubicBezTo>
                    <a:cubicBezTo>
                      <a:pt x="1092" y="187"/>
                      <a:pt x="1092" y="187"/>
                      <a:pt x="1092" y="187"/>
                    </a:cubicBezTo>
                    <a:cubicBezTo>
                      <a:pt x="1093" y="187"/>
                      <a:pt x="1093" y="187"/>
                      <a:pt x="1093" y="187"/>
                    </a:cubicBezTo>
                    <a:cubicBezTo>
                      <a:pt x="1094" y="187"/>
                      <a:pt x="1094" y="187"/>
                      <a:pt x="1094" y="187"/>
                    </a:cubicBezTo>
                    <a:cubicBezTo>
                      <a:pt x="1094" y="188"/>
                      <a:pt x="1094" y="188"/>
                      <a:pt x="1094" y="188"/>
                    </a:cubicBezTo>
                    <a:cubicBezTo>
                      <a:pt x="1095" y="188"/>
                      <a:pt x="1095" y="188"/>
                      <a:pt x="1095" y="188"/>
                    </a:cubicBezTo>
                    <a:close/>
                    <a:moveTo>
                      <a:pt x="1081" y="162"/>
                    </a:moveTo>
                    <a:cubicBezTo>
                      <a:pt x="1080" y="162"/>
                      <a:pt x="1080" y="162"/>
                      <a:pt x="1080" y="162"/>
                    </a:cubicBezTo>
                    <a:cubicBezTo>
                      <a:pt x="1081" y="163"/>
                      <a:pt x="1081" y="163"/>
                      <a:pt x="1081" y="163"/>
                    </a:cubicBezTo>
                    <a:cubicBezTo>
                      <a:pt x="1082" y="163"/>
                      <a:pt x="1082" y="163"/>
                      <a:pt x="1082" y="163"/>
                    </a:cubicBezTo>
                    <a:cubicBezTo>
                      <a:pt x="1081" y="162"/>
                      <a:pt x="1081" y="162"/>
                      <a:pt x="1081" y="162"/>
                    </a:cubicBezTo>
                    <a:close/>
                    <a:moveTo>
                      <a:pt x="1084" y="165"/>
                    </a:moveTo>
                    <a:cubicBezTo>
                      <a:pt x="1084" y="164"/>
                      <a:pt x="1084" y="164"/>
                      <a:pt x="1084" y="164"/>
                    </a:cubicBezTo>
                    <a:cubicBezTo>
                      <a:pt x="1082" y="164"/>
                      <a:pt x="1082" y="164"/>
                      <a:pt x="1082" y="164"/>
                    </a:cubicBezTo>
                    <a:cubicBezTo>
                      <a:pt x="1082" y="165"/>
                      <a:pt x="1082" y="165"/>
                      <a:pt x="1082" y="165"/>
                    </a:cubicBezTo>
                    <a:cubicBezTo>
                      <a:pt x="1082" y="166"/>
                      <a:pt x="1082" y="166"/>
                      <a:pt x="1082" y="166"/>
                    </a:cubicBezTo>
                    <a:cubicBezTo>
                      <a:pt x="1083" y="166"/>
                      <a:pt x="1083" y="166"/>
                      <a:pt x="1083" y="166"/>
                    </a:cubicBezTo>
                    <a:cubicBezTo>
                      <a:pt x="1084" y="165"/>
                      <a:pt x="1084" y="165"/>
                      <a:pt x="1084" y="165"/>
                    </a:cubicBezTo>
                    <a:close/>
                    <a:moveTo>
                      <a:pt x="917" y="227"/>
                    </a:moveTo>
                    <a:cubicBezTo>
                      <a:pt x="917" y="226"/>
                      <a:pt x="917" y="226"/>
                      <a:pt x="917" y="226"/>
                    </a:cubicBezTo>
                    <a:cubicBezTo>
                      <a:pt x="917" y="224"/>
                      <a:pt x="917" y="224"/>
                      <a:pt x="917" y="224"/>
                    </a:cubicBezTo>
                    <a:cubicBezTo>
                      <a:pt x="916" y="225"/>
                      <a:pt x="916" y="225"/>
                      <a:pt x="916" y="225"/>
                    </a:cubicBezTo>
                    <a:cubicBezTo>
                      <a:pt x="915" y="226"/>
                      <a:pt x="915" y="226"/>
                      <a:pt x="915" y="226"/>
                    </a:cubicBezTo>
                    <a:cubicBezTo>
                      <a:pt x="915" y="227"/>
                      <a:pt x="915" y="227"/>
                      <a:pt x="915" y="227"/>
                    </a:cubicBezTo>
                    <a:cubicBezTo>
                      <a:pt x="916" y="228"/>
                      <a:pt x="916" y="228"/>
                      <a:pt x="916" y="228"/>
                    </a:cubicBezTo>
                    <a:cubicBezTo>
                      <a:pt x="917" y="227"/>
                      <a:pt x="917" y="227"/>
                      <a:pt x="917" y="227"/>
                    </a:cubicBezTo>
                    <a:close/>
                    <a:moveTo>
                      <a:pt x="907" y="246"/>
                    </a:moveTo>
                    <a:cubicBezTo>
                      <a:pt x="909" y="247"/>
                      <a:pt x="909" y="247"/>
                      <a:pt x="909" y="247"/>
                    </a:cubicBezTo>
                    <a:cubicBezTo>
                      <a:pt x="910" y="248"/>
                      <a:pt x="910" y="248"/>
                      <a:pt x="910" y="248"/>
                    </a:cubicBezTo>
                    <a:cubicBezTo>
                      <a:pt x="909" y="248"/>
                      <a:pt x="909" y="248"/>
                      <a:pt x="909" y="248"/>
                    </a:cubicBezTo>
                    <a:cubicBezTo>
                      <a:pt x="908" y="248"/>
                      <a:pt x="908" y="248"/>
                      <a:pt x="908" y="248"/>
                    </a:cubicBezTo>
                    <a:cubicBezTo>
                      <a:pt x="908" y="249"/>
                      <a:pt x="908" y="249"/>
                      <a:pt x="908" y="249"/>
                    </a:cubicBezTo>
                    <a:cubicBezTo>
                      <a:pt x="908" y="250"/>
                      <a:pt x="908" y="250"/>
                      <a:pt x="908" y="250"/>
                    </a:cubicBezTo>
                    <a:cubicBezTo>
                      <a:pt x="910" y="250"/>
                      <a:pt x="910" y="250"/>
                      <a:pt x="910" y="250"/>
                    </a:cubicBezTo>
                    <a:cubicBezTo>
                      <a:pt x="911" y="251"/>
                      <a:pt x="911" y="251"/>
                      <a:pt x="911" y="251"/>
                    </a:cubicBezTo>
                    <a:cubicBezTo>
                      <a:pt x="912" y="251"/>
                      <a:pt x="912" y="251"/>
                      <a:pt x="912" y="251"/>
                    </a:cubicBezTo>
                    <a:cubicBezTo>
                      <a:pt x="912" y="250"/>
                      <a:pt x="912" y="250"/>
                      <a:pt x="912" y="250"/>
                    </a:cubicBezTo>
                    <a:cubicBezTo>
                      <a:pt x="916" y="250"/>
                      <a:pt x="916" y="250"/>
                      <a:pt x="916" y="250"/>
                    </a:cubicBezTo>
                    <a:cubicBezTo>
                      <a:pt x="918" y="250"/>
                      <a:pt x="918" y="250"/>
                      <a:pt x="918" y="250"/>
                    </a:cubicBezTo>
                    <a:cubicBezTo>
                      <a:pt x="920" y="248"/>
                      <a:pt x="920" y="248"/>
                      <a:pt x="920" y="248"/>
                    </a:cubicBezTo>
                    <a:cubicBezTo>
                      <a:pt x="919" y="246"/>
                      <a:pt x="919" y="246"/>
                      <a:pt x="919" y="246"/>
                    </a:cubicBezTo>
                    <a:cubicBezTo>
                      <a:pt x="919" y="244"/>
                      <a:pt x="919" y="244"/>
                      <a:pt x="919" y="244"/>
                    </a:cubicBezTo>
                    <a:cubicBezTo>
                      <a:pt x="918" y="244"/>
                      <a:pt x="918" y="244"/>
                      <a:pt x="918" y="244"/>
                    </a:cubicBezTo>
                    <a:cubicBezTo>
                      <a:pt x="916" y="244"/>
                      <a:pt x="916" y="244"/>
                      <a:pt x="916" y="244"/>
                    </a:cubicBezTo>
                    <a:cubicBezTo>
                      <a:pt x="916" y="241"/>
                      <a:pt x="916" y="241"/>
                      <a:pt x="916" y="241"/>
                    </a:cubicBezTo>
                    <a:cubicBezTo>
                      <a:pt x="914" y="239"/>
                      <a:pt x="914" y="239"/>
                      <a:pt x="914" y="239"/>
                    </a:cubicBezTo>
                    <a:cubicBezTo>
                      <a:pt x="912" y="238"/>
                      <a:pt x="912" y="238"/>
                      <a:pt x="912" y="238"/>
                    </a:cubicBezTo>
                    <a:cubicBezTo>
                      <a:pt x="911" y="237"/>
                      <a:pt x="911" y="237"/>
                      <a:pt x="911" y="237"/>
                    </a:cubicBezTo>
                    <a:cubicBezTo>
                      <a:pt x="909" y="237"/>
                      <a:pt x="909" y="237"/>
                      <a:pt x="909" y="237"/>
                    </a:cubicBezTo>
                    <a:cubicBezTo>
                      <a:pt x="908" y="236"/>
                      <a:pt x="908" y="236"/>
                      <a:pt x="908" y="236"/>
                    </a:cubicBezTo>
                    <a:cubicBezTo>
                      <a:pt x="908" y="237"/>
                      <a:pt x="908" y="237"/>
                      <a:pt x="908" y="237"/>
                    </a:cubicBezTo>
                    <a:cubicBezTo>
                      <a:pt x="907" y="238"/>
                      <a:pt x="907" y="238"/>
                      <a:pt x="907" y="238"/>
                    </a:cubicBezTo>
                    <a:cubicBezTo>
                      <a:pt x="907" y="240"/>
                      <a:pt x="907" y="240"/>
                      <a:pt x="907" y="240"/>
                    </a:cubicBezTo>
                    <a:cubicBezTo>
                      <a:pt x="908" y="241"/>
                      <a:pt x="908" y="241"/>
                      <a:pt x="908" y="241"/>
                    </a:cubicBezTo>
                    <a:cubicBezTo>
                      <a:pt x="908" y="242"/>
                      <a:pt x="908" y="242"/>
                      <a:pt x="908" y="242"/>
                    </a:cubicBezTo>
                    <a:cubicBezTo>
                      <a:pt x="907" y="241"/>
                      <a:pt x="907" y="241"/>
                      <a:pt x="907" y="241"/>
                    </a:cubicBezTo>
                    <a:cubicBezTo>
                      <a:pt x="906" y="242"/>
                      <a:pt x="906" y="242"/>
                      <a:pt x="906" y="242"/>
                    </a:cubicBezTo>
                    <a:cubicBezTo>
                      <a:pt x="906" y="243"/>
                      <a:pt x="906" y="243"/>
                      <a:pt x="906" y="243"/>
                    </a:cubicBezTo>
                    <a:cubicBezTo>
                      <a:pt x="906" y="244"/>
                      <a:pt x="906" y="244"/>
                      <a:pt x="906" y="244"/>
                    </a:cubicBezTo>
                    <a:cubicBezTo>
                      <a:pt x="907" y="244"/>
                      <a:pt x="907" y="244"/>
                      <a:pt x="907" y="244"/>
                    </a:cubicBezTo>
                    <a:cubicBezTo>
                      <a:pt x="906" y="245"/>
                      <a:pt x="906" y="245"/>
                      <a:pt x="906" y="245"/>
                    </a:cubicBezTo>
                    <a:cubicBezTo>
                      <a:pt x="907" y="246"/>
                      <a:pt x="907" y="246"/>
                      <a:pt x="907" y="246"/>
                    </a:cubicBezTo>
                    <a:close/>
                    <a:moveTo>
                      <a:pt x="901" y="280"/>
                    </a:moveTo>
                    <a:cubicBezTo>
                      <a:pt x="901" y="281"/>
                      <a:pt x="901" y="281"/>
                      <a:pt x="901" y="281"/>
                    </a:cubicBezTo>
                    <a:cubicBezTo>
                      <a:pt x="902" y="280"/>
                      <a:pt x="902" y="280"/>
                      <a:pt x="902" y="280"/>
                    </a:cubicBezTo>
                    <a:cubicBezTo>
                      <a:pt x="901" y="280"/>
                      <a:pt x="901" y="280"/>
                      <a:pt x="901" y="280"/>
                    </a:cubicBezTo>
                    <a:close/>
                    <a:moveTo>
                      <a:pt x="909" y="235"/>
                    </a:moveTo>
                    <a:cubicBezTo>
                      <a:pt x="909" y="234"/>
                      <a:pt x="909" y="234"/>
                      <a:pt x="909" y="234"/>
                    </a:cubicBezTo>
                    <a:cubicBezTo>
                      <a:pt x="908" y="233"/>
                      <a:pt x="908" y="233"/>
                      <a:pt x="908" y="233"/>
                    </a:cubicBezTo>
                    <a:cubicBezTo>
                      <a:pt x="907" y="234"/>
                      <a:pt x="907" y="234"/>
                      <a:pt x="907" y="234"/>
                    </a:cubicBezTo>
                    <a:cubicBezTo>
                      <a:pt x="908" y="235"/>
                      <a:pt x="908" y="235"/>
                      <a:pt x="908" y="235"/>
                    </a:cubicBezTo>
                    <a:cubicBezTo>
                      <a:pt x="909" y="235"/>
                      <a:pt x="909" y="235"/>
                      <a:pt x="909" y="235"/>
                    </a:cubicBezTo>
                    <a:close/>
                    <a:moveTo>
                      <a:pt x="914" y="257"/>
                    </a:moveTo>
                    <a:cubicBezTo>
                      <a:pt x="913" y="257"/>
                      <a:pt x="913" y="257"/>
                      <a:pt x="913" y="257"/>
                    </a:cubicBezTo>
                    <a:cubicBezTo>
                      <a:pt x="912" y="258"/>
                      <a:pt x="912" y="258"/>
                      <a:pt x="912" y="258"/>
                    </a:cubicBezTo>
                    <a:cubicBezTo>
                      <a:pt x="914" y="259"/>
                      <a:pt x="914" y="259"/>
                      <a:pt x="914" y="259"/>
                    </a:cubicBezTo>
                    <a:cubicBezTo>
                      <a:pt x="915" y="258"/>
                      <a:pt x="915" y="258"/>
                      <a:pt x="915" y="258"/>
                    </a:cubicBezTo>
                    <a:cubicBezTo>
                      <a:pt x="916" y="258"/>
                      <a:pt x="916" y="258"/>
                      <a:pt x="916" y="258"/>
                    </a:cubicBezTo>
                    <a:cubicBezTo>
                      <a:pt x="915" y="257"/>
                      <a:pt x="915" y="257"/>
                      <a:pt x="915" y="257"/>
                    </a:cubicBezTo>
                    <a:cubicBezTo>
                      <a:pt x="914" y="257"/>
                      <a:pt x="914" y="257"/>
                      <a:pt x="914" y="257"/>
                    </a:cubicBezTo>
                    <a:close/>
                    <a:moveTo>
                      <a:pt x="916" y="259"/>
                    </a:moveTo>
                    <a:cubicBezTo>
                      <a:pt x="917" y="259"/>
                      <a:pt x="917" y="259"/>
                      <a:pt x="917" y="259"/>
                    </a:cubicBezTo>
                    <a:cubicBezTo>
                      <a:pt x="916" y="258"/>
                      <a:pt x="916" y="258"/>
                      <a:pt x="916" y="258"/>
                    </a:cubicBezTo>
                    <a:cubicBezTo>
                      <a:pt x="915" y="259"/>
                      <a:pt x="915" y="259"/>
                      <a:pt x="915" y="259"/>
                    </a:cubicBezTo>
                    <a:cubicBezTo>
                      <a:pt x="916" y="259"/>
                      <a:pt x="916" y="259"/>
                      <a:pt x="916" y="259"/>
                    </a:cubicBezTo>
                    <a:close/>
                    <a:moveTo>
                      <a:pt x="910" y="259"/>
                    </a:moveTo>
                    <a:cubicBezTo>
                      <a:pt x="910" y="260"/>
                      <a:pt x="910" y="260"/>
                      <a:pt x="910" y="260"/>
                    </a:cubicBezTo>
                    <a:cubicBezTo>
                      <a:pt x="911" y="260"/>
                      <a:pt x="911" y="260"/>
                      <a:pt x="911" y="260"/>
                    </a:cubicBezTo>
                    <a:cubicBezTo>
                      <a:pt x="912" y="260"/>
                      <a:pt x="912" y="260"/>
                      <a:pt x="912" y="260"/>
                    </a:cubicBezTo>
                    <a:cubicBezTo>
                      <a:pt x="912" y="259"/>
                      <a:pt x="912" y="259"/>
                      <a:pt x="912" y="259"/>
                    </a:cubicBezTo>
                    <a:cubicBezTo>
                      <a:pt x="911" y="259"/>
                      <a:pt x="911" y="259"/>
                      <a:pt x="911" y="259"/>
                    </a:cubicBezTo>
                    <a:cubicBezTo>
                      <a:pt x="910" y="259"/>
                      <a:pt x="910" y="259"/>
                      <a:pt x="910" y="259"/>
                    </a:cubicBezTo>
                    <a:close/>
                    <a:moveTo>
                      <a:pt x="1048" y="265"/>
                    </a:moveTo>
                    <a:cubicBezTo>
                      <a:pt x="1049" y="266"/>
                      <a:pt x="1049" y="266"/>
                      <a:pt x="1049" y="266"/>
                    </a:cubicBezTo>
                    <a:cubicBezTo>
                      <a:pt x="1048" y="267"/>
                      <a:pt x="1048" y="267"/>
                      <a:pt x="1048" y="267"/>
                    </a:cubicBezTo>
                    <a:cubicBezTo>
                      <a:pt x="1047" y="267"/>
                      <a:pt x="1047" y="267"/>
                      <a:pt x="1047" y="267"/>
                    </a:cubicBezTo>
                    <a:cubicBezTo>
                      <a:pt x="1045" y="268"/>
                      <a:pt x="1045" y="268"/>
                      <a:pt x="1045" y="268"/>
                    </a:cubicBezTo>
                    <a:cubicBezTo>
                      <a:pt x="1044" y="269"/>
                      <a:pt x="1044" y="269"/>
                      <a:pt x="1044" y="269"/>
                    </a:cubicBezTo>
                    <a:cubicBezTo>
                      <a:pt x="1043" y="268"/>
                      <a:pt x="1043" y="268"/>
                      <a:pt x="1043" y="268"/>
                    </a:cubicBezTo>
                    <a:cubicBezTo>
                      <a:pt x="1042" y="269"/>
                      <a:pt x="1042" y="269"/>
                      <a:pt x="1042" y="269"/>
                    </a:cubicBezTo>
                    <a:cubicBezTo>
                      <a:pt x="1041" y="269"/>
                      <a:pt x="1041" y="269"/>
                      <a:pt x="1041" y="269"/>
                    </a:cubicBezTo>
                    <a:cubicBezTo>
                      <a:pt x="1040" y="269"/>
                      <a:pt x="1040" y="269"/>
                      <a:pt x="1040" y="269"/>
                    </a:cubicBezTo>
                    <a:cubicBezTo>
                      <a:pt x="1040" y="270"/>
                      <a:pt x="1040" y="270"/>
                      <a:pt x="1040" y="270"/>
                    </a:cubicBezTo>
                    <a:cubicBezTo>
                      <a:pt x="1039" y="270"/>
                      <a:pt x="1039" y="270"/>
                      <a:pt x="1039" y="270"/>
                    </a:cubicBezTo>
                    <a:cubicBezTo>
                      <a:pt x="1038" y="269"/>
                      <a:pt x="1038" y="269"/>
                      <a:pt x="1038" y="269"/>
                    </a:cubicBezTo>
                    <a:cubicBezTo>
                      <a:pt x="1037" y="271"/>
                      <a:pt x="1037" y="271"/>
                      <a:pt x="1037" y="271"/>
                    </a:cubicBezTo>
                    <a:cubicBezTo>
                      <a:pt x="1037" y="270"/>
                      <a:pt x="1037" y="270"/>
                      <a:pt x="1037" y="270"/>
                    </a:cubicBezTo>
                    <a:cubicBezTo>
                      <a:pt x="1036" y="270"/>
                      <a:pt x="1036" y="270"/>
                      <a:pt x="1036" y="270"/>
                    </a:cubicBezTo>
                    <a:cubicBezTo>
                      <a:pt x="1035" y="271"/>
                      <a:pt x="1035" y="271"/>
                      <a:pt x="1035" y="271"/>
                    </a:cubicBezTo>
                    <a:cubicBezTo>
                      <a:pt x="1034" y="271"/>
                      <a:pt x="1034" y="271"/>
                      <a:pt x="1034" y="271"/>
                    </a:cubicBezTo>
                    <a:cubicBezTo>
                      <a:pt x="1033" y="271"/>
                      <a:pt x="1033" y="271"/>
                      <a:pt x="1033" y="271"/>
                    </a:cubicBezTo>
                    <a:cubicBezTo>
                      <a:pt x="1032" y="271"/>
                      <a:pt x="1032" y="271"/>
                      <a:pt x="1032" y="271"/>
                    </a:cubicBezTo>
                    <a:cubicBezTo>
                      <a:pt x="1032" y="272"/>
                      <a:pt x="1032" y="272"/>
                      <a:pt x="1032" y="272"/>
                    </a:cubicBezTo>
                    <a:cubicBezTo>
                      <a:pt x="1031" y="272"/>
                      <a:pt x="1031" y="272"/>
                      <a:pt x="1031" y="272"/>
                    </a:cubicBezTo>
                    <a:cubicBezTo>
                      <a:pt x="1030" y="272"/>
                      <a:pt x="1030" y="272"/>
                      <a:pt x="1030" y="272"/>
                    </a:cubicBezTo>
                    <a:cubicBezTo>
                      <a:pt x="1030" y="273"/>
                      <a:pt x="1030" y="273"/>
                      <a:pt x="1030" y="273"/>
                    </a:cubicBezTo>
                    <a:cubicBezTo>
                      <a:pt x="1029" y="272"/>
                      <a:pt x="1029" y="272"/>
                      <a:pt x="1029" y="272"/>
                    </a:cubicBezTo>
                    <a:cubicBezTo>
                      <a:pt x="1029" y="273"/>
                      <a:pt x="1029" y="273"/>
                      <a:pt x="1029" y="273"/>
                    </a:cubicBezTo>
                    <a:cubicBezTo>
                      <a:pt x="1028" y="274"/>
                      <a:pt x="1028" y="274"/>
                      <a:pt x="1028" y="274"/>
                    </a:cubicBezTo>
                    <a:cubicBezTo>
                      <a:pt x="1027" y="274"/>
                      <a:pt x="1027" y="274"/>
                      <a:pt x="1027" y="274"/>
                    </a:cubicBezTo>
                    <a:cubicBezTo>
                      <a:pt x="1026" y="272"/>
                      <a:pt x="1026" y="272"/>
                      <a:pt x="1026" y="272"/>
                    </a:cubicBezTo>
                    <a:cubicBezTo>
                      <a:pt x="1025" y="272"/>
                      <a:pt x="1025" y="272"/>
                      <a:pt x="1025" y="272"/>
                    </a:cubicBezTo>
                    <a:cubicBezTo>
                      <a:pt x="1024" y="272"/>
                      <a:pt x="1024" y="272"/>
                      <a:pt x="1024" y="272"/>
                    </a:cubicBezTo>
                    <a:cubicBezTo>
                      <a:pt x="1024" y="273"/>
                      <a:pt x="1024" y="273"/>
                      <a:pt x="1024" y="273"/>
                    </a:cubicBezTo>
                    <a:cubicBezTo>
                      <a:pt x="1024" y="274"/>
                      <a:pt x="1024" y="274"/>
                      <a:pt x="1024" y="274"/>
                    </a:cubicBezTo>
                    <a:cubicBezTo>
                      <a:pt x="1023" y="274"/>
                      <a:pt x="1023" y="274"/>
                      <a:pt x="1023" y="274"/>
                    </a:cubicBezTo>
                    <a:cubicBezTo>
                      <a:pt x="1022" y="274"/>
                      <a:pt x="1022" y="274"/>
                      <a:pt x="1022" y="274"/>
                    </a:cubicBezTo>
                    <a:cubicBezTo>
                      <a:pt x="1021" y="274"/>
                      <a:pt x="1021" y="274"/>
                      <a:pt x="1021" y="274"/>
                    </a:cubicBezTo>
                    <a:cubicBezTo>
                      <a:pt x="1020" y="275"/>
                      <a:pt x="1020" y="275"/>
                      <a:pt x="1020" y="275"/>
                    </a:cubicBezTo>
                    <a:cubicBezTo>
                      <a:pt x="1020" y="274"/>
                      <a:pt x="1020" y="274"/>
                      <a:pt x="1020" y="274"/>
                    </a:cubicBezTo>
                    <a:cubicBezTo>
                      <a:pt x="1019" y="274"/>
                      <a:pt x="1019" y="274"/>
                      <a:pt x="1019" y="274"/>
                    </a:cubicBezTo>
                    <a:cubicBezTo>
                      <a:pt x="1018" y="274"/>
                      <a:pt x="1018" y="274"/>
                      <a:pt x="1018" y="274"/>
                    </a:cubicBezTo>
                    <a:cubicBezTo>
                      <a:pt x="1018" y="275"/>
                      <a:pt x="1018" y="275"/>
                      <a:pt x="1018" y="275"/>
                    </a:cubicBezTo>
                    <a:cubicBezTo>
                      <a:pt x="1017" y="275"/>
                      <a:pt x="1017" y="275"/>
                      <a:pt x="1017" y="275"/>
                    </a:cubicBezTo>
                    <a:cubicBezTo>
                      <a:pt x="1016" y="274"/>
                      <a:pt x="1016" y="274"/>
                      <a:pt x="1016" y="274"/>
                    </a:cubicBezTo>
                    <a:cubicBezTo>
                      <a:pt x="1016" y="273"/>
                      <a:pt x="1016" y="273"/>
                      <a:pt x="1016" y="273"/>
                    </a:cubicBezTo>
                    <a:cubicBezTo>
                      <a:pt x="1016" y="272"/>
                      <a:pt x="1016" y="272"/>
                      <a:pt x="1016" y="272"/>
                    </a:cubicBezTo>
                    <a:cubicBezTo>
                      <a:pt x="1015" y="272"/>
                      <a:pt x="1015" y="272"/>
                      <a:pt x="1015" y="272"/>
                    </a:cubicBezTo>
                    <a:cubicBezTo>
                      <a:pt x="1014" y="270"/>
                      <a:pt x="1014" y="270"/>
                      <a:pt x="1014" y="270"/>
                    </a:cubicBezTo>
                    <a:cubicBezTo>
                      <a:pt x="1014" y="269"/>
                      <a:pt x="1014" y="269"/>
                      <a:pt x="1014" y="269"/>
                    </a:cubicBezTo>
                    <a:cubicBezTo>
                      <a:pt x="1014" y="267"/>
                      <a:pt x="1014" y="267"/>
                      <a:pt x="1014" y="267"/>
                    </a:cubicBezTo>
                    <a:cubicBezTo>
                      <a:pt x="1013" y="267"/>
                      <a:pt x="1013" y="267"/>
                      <a:pt x="1013" y="267"/>
                    </a:cubicBezTo>
                    <a:cubicBezTo>
                      <a:pt x="1013" y="268"/>
                      <a:pt x="1013" y="268"/>
                      <a:pt x="1013" y="268"/>
                    </a:cubicBezTo>
                    <a:cubicBezTo>
                      <a:pt x="1013" y="269"/>
                      <a:pt x="1013" y="269"/>
                      <a:pt x="1013" y="269"/>
                    </a:cubicBezTo>
                    <a:cubicBezTo>
                      <a:pt x="1013" y="270"/>
                      <a:pt x="1013" y="270"/>
                      <a:pt x="1013" y="270"/>
                    </a:cubicBezTo>
                    <a:cubicBezTo>
                      <a:pt x="1014" y="270"/>
                      <a:pt x="1014" y="270"/>
                      <a:pt x="1014" y="270"/>
                    </a:cubicBezTo>
                    <a:cubicBezTo>
                      <a:pt x="1014" y="271"/>
                      <a:pt x="1014" y="271"/>
                      <a:pt x="1014" y="271"/>
                    </a:cubicBezTo>
                    <a:cubicBezTo>
                      <a:pt x="1014" y="272"/>
                      <a:pt x="1014" y="272"/>
                      <a:pt x="1014" y="272"/>
                    </a:cubicBezTo>
                    <a:cubicBezTo>
                      <a:pt x="1014" y="273"/>
                      <a:pt x="1014" y="273"/>
                      <a:pt x="1014" y="273"/>
                    </a:cubicBezTo>
                    <a:cubicBezTo>
                      <a:pt x="1015" y="273"/>
                      <a:pt x="1015" y="273"/>
                      <a:pt x="1015" y="273"/>
                    </a:cubicBezTo>
                    <a:cubicBezTo>
                      <a:pt x="1015" y="275"/>
                      <a:pt x="1015" y="275"/>
                      <a:pt x="1015" y="275"/>
                    </a:cubicBezTo>
                    <a:cubicBezTo>
                      <a:pt x="1015" y="276"/>
                      <a:pt x="1015" y="276"/>
                      <a:pt x="1015" y="276"/>
                    </a:cubicBezTo>
                    <a:cubicBezTo>
                      <a:pt x="1014" y="277"/>
                      <a:pt x="1014" y="277"/>
                      <a:pt x="1014" y="277"/>
                    </a:cubicBezTo>
                    <a:cubicBezTo>
                      <a:pt x="1013" y="277"/>
                      <a:pt x="1013" y="277"/>
                      <a:pt x="1013" y="277"/>
                    </a:cubicBezTo>
                    <a:cubicBezTo>
                      <a:pt x="1012" y="277"/>
                      <a:pt x="1012" y="277"/>
                      <a:pt x="1012" y="277"/>
                    </a:cubicBezTo>
                    <a:cubicBezTo>
                      <a:pt x="1011" y="279"/>
                      <a:pt x="1011" y="279"/>
                      <a:pt x="1011" y="279"/>
                    </a:cubicBezTo>
                    <a:cubicBezTo>
                      <a:pt x="1010" y="279"/>
                      <a:pt x="1010" y="279"/>
                      <a:pt x="1010" y="279"/>
                    </a:cubicBezTo>
                    <a:cubicBezTo>
                      <a:pt x="1009" y="279"/>
                      <a:pt x="1009" y="279"/>
                      <a:pt x="1009" y="279"/>
                    </a:cubicBezTo>
                    <a:cubicBezTo>
                      <a:pt x="1009" y="280"/>
                      <a:pt x="1009" y="280"/>
                      <a:pt x="1009" y="280"/>
                    </a:cubicBezTo>
                    <a:cubicBezTo>
                      <a:pt x="1008" y="281"/>
                      <a:pt x="1008" y="281"/>
                      <a:pt x="1008" y="281"/>
                    </a:cubicBezTo>
                    <a:cubicBezTo>
                      <a:pt x="1007" y="281"/>
                      <a:pt x="1007" y="281"/>
                      <a:pt x="1007" y="281"/>
                    </a:cubicBezTo>
                    <a:cubicBezTo>
                      <a:pt x="1007" y="282"/>
                      <a:pt x="1007" y="282"/>
                      <a:pt x="1007" y="282"/>
                    </a:cubicBezTo>
                    <a:cubicBezTo>
                      <a:pt x="1007" y="283"/>
                      <a:pt x="1007" y="283"/>
                      <a:pt x="1007" y="283"/>
                    </a:cubicBezTo>
                    <a:cubicBezTo>
                      <a:pt x="1007" y="284"/>
                      <a:pt x="1007" y="284"/>
                      <a:pt x="1007" y="284"/>
                    </a:cubicBezTo>
                    <a:cubicBezTo>
                      <a:pt x="1006" y="284"/>
                      <a:pt x="1006" y="284"/>
                      <a:pt x="1006" y="284"/>
                    </a:cubicBezTo>
                    <a:cubicBezTo>
                      <a:pt x="1006" y="283"/>
                      <a:pt x="1006" y="283"/>
                      <a:pt x="1006" y="283"/>
                    </a:cubicBezTo>
                    <a:cubicBezTo>
                      <a:pt x="1005" y="283"/>
                      <a:pt x="1005" y="283"/>
                      <a:pt x="1005" y="283"/>
                    </a:cubicBezTo>
                    <a:cubicBezTo>
                      <a:pt x="1005" y="284"/>
                      <a:pt x="1005" y="284"/>
                      <a:pt x="1005" y="284"/>
                    </a:cubicBezTo>
                    <a:cubicBezTo>
                      <a:pt x="1005" y="285"/>
                      <a:pt x="1005" y="285"/>
                      <a:pt x="1005" y="285"/>
                    </a:cubicBezTo>
                    <a:cubicBezTo>
                      <a:pt x="1004" y="286"/>
                      <a:pt x="1004" y="286"/>
                      <a:pt x="1004" y="286"/>
                    </a:cubicBezTo>
                    <a:cubicBezTo>
                      <a:pt x="1002" y="287"/>
                      <a:pt x="1002" y="287"/>
                      <a:pt x="1002" y="287"/>
                    </a:cubicBezTo>
                    <a:cubicBezTo>
                      <a:pt x="1002" y="288"/>
                      <a:pt x="1002" y="288"/>
                      <a:pt x="1002" y="288"/>
                    </a:cubicBezTo>
                    <a:cubicBezTo>
                      <a:pt x="1002" y="289"/>
                      <a:pt x="1002" y="289"/>
                      <a:pt x="1002" y="289"/>
                    </a:cubicBezTo>
                    <a:cubicBezTo>
                      <a:pt x="1002" y="290"/>
                      <a:pt x="1002" y="290"/>
                      <a:pt x="1002" y="290"/>
                    </a:cubicBezTo>
                    <a:cubicBezTo>
                      <a:pt x="1001" y="291"/>
                      <a:pt x="1001" y="291"/>
                      <a:pt x="1001" y="291"/>
                    </a:cubicBezTo>
                    <a:cubicBezTo>
                      <a:pt x="1000" y="291"/>
                      <a:pt x="1000" y="291"/>
                      <a:pt x="1000" y="291"/>
                    </a:cubicBezTo>
                    <a:cubicBezTo>
                      <a:pt x="1000" y="290"/>
                      <a:pt x="1000" y="290"/>
                      <a:pt x="1000" y="290"/>
                    </a:cubicBezTo>
                    <a:cubicBezTo>
                      <a:pt x="999" y="291"/>
                      <a:pt x="999" y="291"/>
                      <a:pt x="999" y="291"/>
                    </a:cubicBezTo>
                    <a:cubicBezTo>
                      <a:pt x="999" y="292"/>
                      <a:pt x="999" y="292"/>
                      <a:pt x="999" y="292"/>
                    </a:cubicBezTo>
                    <a:cubicBezTo>
                      <a:pt x="997" y="294"/>
                      <a:pt x="997" y="294"/>
                      <a:pt x="997" y="294"/>
                    </a:cubicBezTo>
                    <a:cubicBezTo>
                      <a:pt x="996" y="294"/>
                      <a:pt x="996" y="294"/>
                      <a:pt x="996" y="294"/>
                    </a:cubicBezTo>
                    <a:cubicBezTo>
                      <a:pt x="996" y="293"/>
                      <a:pt x="996" y="293"/>
                      <a:pt x="996" y="293"/>
                    </a:cubicBezTo>
                    <a:cubicBezTo>
                      <a:pt x="995" y="293"/>
                      <a:pt x="995" y="293"/>
                      <a:pt x="995" y="293"/>
                    </a:cubicBezTo>
                    <a:cubicBezTo>
                      <a:pt x="994" y="293"/>
                      <a:pt x="994" y="293"/>
                      <a:pt x="994" y="293"/>
                    </a:cubicBezTo>
                    <a:cubicBezTo>
                      <a:pt x="993" y="292"/>
                      <a:pt x="993" y="292"/>
                      <a:pt x="993" y="292"/>
                    </a:cubicBezTo>
                    <a:cubicBezTo>
                      <a:pt x="993" y="293"/>
                      <a:pt x="993" y="293"/>
                      <a:pt x="993" y="293"/>
                    </a:cubicBezTo>
                    <a:cubicBezTo>
                      <a:pt x="994" y="293"/>
                      <a:pt x="994" y="293"/>
                      <a:pt x="994" y="293"/>
                    </a:cubicBezTo>
                    <a:cubicBezTo>
                      <a:pt x="994" y="294"/>
                      <a:pt x="994" y="294"/>
                      <a:pt x="994" y="294"/>
                    </a:cubicBezTo>
                    <a:cubicBezTo>
                      <a:pt x="994" y="295"/>
                      <a:pt x="994" y="295"/>
                      <a:pt x="994" y="295"/>
                    </a:cubicBezTo>
                    <a:cubicBezTo>
                      <a:pt x="993" y="295"/>
                      <a:pt x="993" y="295"/>
                      <a:pt x="993" y="295"/>
                    </a:cubicBezTo>
                    <a:cubicBezTo>
                      <a:pt x="991" y="296"/>
                      <a:pt x="991" y="296"/>
                      <a:pt x="991" y="296"/>
                    </a:cubicBezTo>
                    <a:cubicBezTo>
                      <a:pt x="990" y="297"/>
                      <a:pt x="990" y="297"/>
                      <a:pt x="990" y="297"/>
                    </a:cubicBezTo>
                    <a:cubicBezTo>
                      <a:pt x="990" y="298"/>
                      <a:pt x="990" y="298"/>
                      <a:pt x="990" y="298"/>
                    </a:cubicBezTo>
                    <a:cubicBezTo>
                      <a:pt x="989" y="297"/>
                      <a:pt x="989" y="297"/>
                      <a:pt x="989" y="297"/>
                    </a:cubicBezTo>
                    <a:cubicBezTo>
                      <a:pt x="989" y="296"/>
                      <a:pt x="989" y="296"/>
                      <a:pt x="989" y="296"/>
                    </a:cubicBezTo>
                    <a:cubicBezTo>
                      <a:pt x="988" y="296"/>
                      <a:pt x="988" y="296"/>
                      <a:pt x="988" y="296"/>
                    </a:cubicBezTo>
                    <a:cubicBezTo>
                      <a:pt x="988" y="297"/>
                      <a:pt x="988" y="297"/>
                      <a:pt x="988" y="297"/>
                    </a:cubicBezTo>
                    <a:cubicBezTo>
                      <a:pt x="988" y="298"/>
                      <a:pt x="988" y="298"/>
                      <a:pt x="988" y="298"/>
                    </a:cubicBezTo>
                    <a:cubicBezTo>
                      <a:pt x="987" y="298"/>
                      <a:pt x="987" y="298"/>
                      <a:pt x="987" y="298"/>
                    </a:cubicBezTo>
                    <a:cubicBezTo>
                      <a:pt x="986" y="298"/>
                      <a:pt x="986" y="298"/>
                      <a:pt x="986" y="298"/>
                    </a:cubicBezTo>
                    <a:cubicBezTo>
                      <a:pt x="985" y="297"/>
                      <a:pt x="985" y="297"/>
                      <a:pt x="985" y="297"/>
                    </a:cubicBezTo>
                    <a:cubicBezTo>
                      <a:pt x="985" y="296"/>
                      <a:pt x="985" y="296"/>
                      <a:pt x="985" y="296"/>
                    </a:cubicBezTo>
                    <a:cubicBezTo>
                      <a:pt x="984" y="297"/>
                      <a:pt x="984" y="297"/>
                      <a:pt x="984" y="297"/>
                    </a:cubicBezTo>
                    <a:cubicBezTo>
                      <a:pt x="984" y="298"/>
                      <a:pt x="984" y="298"/>
                      <a:pt x="984" y="298"/>
                    </a:cubicBezTo>
                    <a:cubicBezTo>
                      <a:pt x="982" y="296"/>
                      <a:pt x="982" y="296"/>
                      <a:pt x="982" y="296"/>
                    </a:cubicBezTo>
                    <a:cubicBezTo>
                      <a:pt x="982" y="295"/>
                      <a:pt x="982" y="295"/>
                      <a:pt x="982" y="295"/>
                    </a:cubicBezTo>
                    <a:cubicBezTo>
                      <a:pt x="983" y="294"/>
                      <a:pt x="983" y="294"/>
                      <a:pt x="983" y="294"/>
                    </a:cubicBezTo>
                    <a:cubicBezTo>
                      <a:pt x="983" y="293"/>
                      <a:pt x="983" y="293"/>
                      <a:pt x="983" y="293"/>
                    </a:cubicBezTo>
                    <a:cubicBezTo>
                      <a:pt x="984" y="293"/>
                      <a:pt x="984" y="293"/>
                      <a:pt x="984" y="293"/>
                    </a:cubicBezTo>
                    <a:cubicBezTo>
                      <a:pt x="984" y="292"/>
                      <a:pt x="984" y="292"/>
                      <a:pt x="984" y="292"/>
                    </a:cubicBezTo>
                    <a:cubicBezTo>
                      <a:pt x="983" y="292"/>
                      <a:pt x="983" y="292"/>
                      <a:pt x="983" y="292"/>
                    </a:cubicBezTo>
                    <a:cubicBezTo>
                      <a:pt x="982" y="291"/>
                      <a:pt x="982" y="291"/>
                      <a:pt x="982" y="291"/>
                    </a:cubicBezTo>
                    <a:cubicBezTo>
                      <a:pt x="981" y="291"/>
                      <a:pt x="981" y="291"/>
                      <a:pt x="981" y="291"/>
                    </a:cubicBezTo>
                    <a:cubicBezTo>
                      <a:pt x="981" y="292"/>
                      <a:pt x="981" y="292"/>
                      <a:pt x="981" y="292"/>
                    </a:cubicBezTo>
                    <a:cubicBezTo>
                      <a:pt x="982" y="293"/>
                      <a:pt x="982" y="293"/>
                      <a:pt x="982" y="293"/>
                    </a:cubicBezTo>
                    <a:cubicBezTo>
                      <a:pt x="981" y="294"/>
                      <a:pt x="981" y="294"/>
                      <a:pt x="981" y="294"/>
                    </a:cubicBezTo>
                    <a:cubicBezTo>
                      <a:pt x="981" y="295"/>
                      <a:pt x="981" y="295"/>
                      <a:pt x="981" y="295"/>
                    </a:cubicBezTo>
                    <a:cubicBezTo>
                      <a:pt x="980" y="296"/>
                      <a:pt x="980" y="296"/>
                      <a:pt x="980" y="296"/>
                    </a:cubicBezTo>
                    <a:cubicBezTo>
                      <a:pt x="979" y="296"/>
                      <a:pt x="979" y="296"/>
                      <a:pt x="979" y="296"/>
                    </a:cubicBezTo>
                    <a:cubicBezTo>
                      <a:pt x="979" y="295"/>
                      <a:pt x="979" y="295"/>
                      <a:pt x="979" y="295"/>
                    </a:cubicBezTo>
                    <a:cubicBezTo>
                      <a:pt x="978" y="296"/>
                      <a:pt x="978" y="296"/>
                      <a:pt x="978" y="296"/>
                    </a:cubicBezTo>
                    <a:cubicBezTo>
                      <a:pt x="979" y="298"/>
                      <a:pt x="979" y="298"/>
                      <a:pt x="979" y="298"/>
                    </a:cubicBezTo>
                    <a:cubicBezTo>
                      <a:pt x="979" y="299"/>
                      <a:pt x="979" y="299"/>
                      <a:pt x="979" y="299"/>
                    </a:cubicBezTo>
                    <a:cubicBezTo>
                      <a:pt x="979" y="300"/>
                      <a:pt x="979" y="300"/>
                      <a:pt x="979" y="300"/>
                    </a:cubicBezTo>
                    <a:cubicBezTo>
                      <a:pt x="978" y="300"/>
                      <a:pt x="978" y="300"/>
                      <a:pt x="978" y="300"/>
                    </a:cubicBezTo>
                    <a:cubicBezTo>
                      <a:pt x="977" y="300"/>
                      <a:pt x="977" y="300"/>
                      <a:pt x="977" y="300"/>
                    </a:cubicBezTo>
                    <a:cubicBezTo>
                      <a:pt x="976" y="300"/>
                      <a:pt x="976" y="300"/>
                      <a:pt x="976" y="300"/>
                    </a:cubicBezTo>
                    <a:cubicBezTo>
                      <a:pt x="976" y="301"/>
                      <a:pt x="976" y="301"/>
                      <a:pt x="976" y="301"/>
                    </a:cubicBezTo>
                    <a:cubicBezTo>
                      <a:pt x="975" y="301"/>
                      <a:pt x="975" y="301"/>
                      <a:pt x="975" y="301"/>
                    </a:cubicBezTo>
                    <a:cubicBezTo>
                      <a:pt x="974" y="301"/>
                      <a:pt x="974" y="301"/>
                      <a:pt x="974" y="301"/>
                    </a:cubicBezTo>
                    <a:cubicBezTo>
                      <a:pt x="974" y="300"/>
                      <a:pt x="974" y="300"/>
                      <a:pt x="974" y="300"/>
                    </a:cubicBezTo>
                    <a:cubicBezTo>
                      <a:pt x="973" y="299"/>
                      <a:pt x="973" y="299"/>
                      <a:pt x="973" y="299"/>
                    </a:cubicBezTo>
                    <a:cubicBezTo>
                      <a:pt x="973" y="300"/>
                      <a:pt x="973" y="300"/>
                      <a:pt x="973" y="300"/>
                    </a:cubicBezTo>
                    <a:cubicBezTo>
                      <a:pt x="972" y="301"/>
                      <a:pt x="972" y="301"/>
                      <a:pt x="972" y="301"/>
                    </a:cubicBezTo>
                    <a:cubicBezTo>
                      <a:pt x="971" y="300"/>
                      <a:pt x="971" y="300"/>
                      <a:pt x="971" y="300"/>
                    </a:cubicBezTo>
                    <a:cubicBezTo>
                      <a:pt x="971" y="299"/>
                      <a:pt x="971" y="299"/>
                      <a:pt x="971" y="299"/>
                    </a:cubicBezTo>
                    <a:cubicBezTo>
                      <a:pt x="970" y="299"/>
                      <a:pt x="970" y="299"/>
                      <a:pt x="970" y="299"/>
                    </a:cubicBezTo>
                    <a:cubicBezTo>
                      <a:pt x="970" y="300"/>
                      <a:pt x="970" y="300"/>
                      <a:pt x="970" y="300"/>
                    </a:cubicBezTo>
                    <a:cubicBezTo>
                      <a:pt x="969" y="300"/>
                      <a:pt x="969" y="300"/>
                      <a:pt x="969" y="300"/>
                    </a:cubicBezTo>
                    <a:cubicBezTo>
                      <a:pt x="969" y="301"/>
                      <a:pt x="969" y="301"/>
                      <a:pt x="969" y="301"/>
                    </a:cubicBezTo>
                    <a:cubicBezTo>
                      <a:pt x="969" y="302"/>
                      <a:pt x="969" y="302"/>
                      <a:pt x="969" y="302"/>
                    </a:cubicBezTo>
                    <a:cubicBezTo>
                      <a:pt x="969" y="303"/>
                      <a:pt x="969" y="303"/>
                      <a:pt x="969" y="303"/>
                    </a:cubicBezTo>
                    <a:cubicBezTo>
                      <a:pt x="969" y="304"/>
                      <a:pt x="969" y="304"/>
                      <a:pt x="969" y="304"/>
                    </a:cubicBezTo>
                    <a:cubicBezTo>
                      <a:pt x="968" y="306"/>
                      <a:pt x="968" y="306"/>
                      <a:pt x="968" y="306"/>
                    </a:cubicBezTo>
                    <a:cubicBezTo>
                      <a:pt x="967" y="306"/>
                      <a:pt x="967" y="306"/>
                      <a:pt x="967" y="306"/>
                    </a:cubicBezTo>
                    <a:cubicBezTo>
                      <a:pt x="966" y="305"/>
                      <a:pt x="966" y="305"/>
                      <a:pt x="966" y="305"/>
                    </a:cubicBezTo>
                    <a:cubicBezTo>
                      <a:pt x="966" y="304"/>
                      <a:pt x="966" y="304"/>
                      <a:pt x="966" y="304"/>
                    </a:cubicBezTo>
                    <a:cubicBezTo>
                      <a:pt x="965" y="304"/>
                      <a:pt x="965" y="304"/>
                      <a:pt x="965" y="304"/>
                    </a:cubicBezTo>
                    <a:cubicBezTo>
                      <a:pt x="965" y="305"/>
                      <a:pt x="965" y="305"/>
                      <a:pt x="965" y="305"/>
                    </a:cubicBezTo>
                    <a:cubicBezTo>
                      <a:pt x="964" y="304"/>
                      <a:pt x="964" y="304"/>
                      <a:pt x="964" y="304"/>
                    </a:cubicBezTo>
                    <a:cubicBezTo>
                      <a:pt x="964" y="303"/>
                      <a:pt x="964" y="303"/>
                      <a:pt x="964" y="303"/>
                    </a:cubicBezTo>
                    <a:cubicBezTo>
                      <a:pt x="963" y="303"/>
                      <a:pt x="963" y="303"/>
                      <a:pt x="963" y="303"/>
                    </a:cubicBezTo>
                    <a:cubicBezTo>
                      <a:pt x="963" y="304"/>
                      <a:pt x="963" y="304"/>
                      <a:pt x="963" y="304"/>
                    </a:cubicBezTo>
                    <a:cubicBezTo>
                      <a:pt x="963" y="305"/>
                      <a:pt x="963" y="305"/>
                      <a:pt x="963" y="305"/>
                    </a:cubicBezTo>
                    <a:cubicBezTo>
                      <a:pt x="963" y="306"/>
                      <a:pt x="963" y="306"/>
                      <a:pt x="963" y="306"/>
                    </a:cubicBezTo>
                    <a:cubicBezTo>
                      <a:pt x="963" y="307"/>
                      <a:pt x="963" y="307"/>
                      <a:pt x="963" y="307"/>
                    </a:cubicBezTo>
                    <a:cubicBezTo>
                      <a:pt x="964" y="308"/>
                      <a:pt x="964" y="308"/>
                      <a:pt x="964" y="308"/>
                    </a:cubicBezTo>
                    <a:cubicBezTo>
                      <a:pt x="964" y="309"/>
                      <a:pt x="964" y="309"/>
                      <a:pt x="964" y="309"/>
                    </a:cubicBezTo>
                    <a:cubicBezTo>
                      <a:pt x="964" y="311"/>
                      <a:pt x="964" y="311"/>
                      <a:pt x="964" y="311"/>
                    </a:cubicBezTo>
                    <a:cubicBezTo>
                      <a:pt x="964" y="312"/>
                      <a:pt x="964" y="312"/>
                      <a:pt x="964" y="312"/>
                    </a:cubicBezTo>
                    <a:cubicBezTo>
                      <a:pt x="963" y="311"/>
                      <a:pt x="963" y="311"/>
                      <a:pt x="963" y="311"/>
                    </a:cubicBezTo>
                    <a:cubicBezTo>
                      <a:pt x="963" y="312"/>
                      <a:pt x="963" y="312"/>
                      <a:pt x="963" y="312"/>
                    </a:cubicBezTo>
                    <a:cubicBezTo>
                      <a:pt x="962" y="312"/>
                      <a:pt x="962" y="312"/>
                      <a:pt x="962" y="312"/>
                    </a:cubicBezTo>
                    <a:cubicBezTo>
                      <a:pt x="960" y="312"/>
                      <a:pt x="960" y="312"/>
                      <a:pt x="960" y="312"/>
                    </a:cubicBezTo>
                    <a:cubicBezTo>
                      <a:pt x="959" y="312"/>
                      <a:pt x="959" y="312"/>
                      <a:pt x="959" y="312"/>
                    </a:cubicBezTo>
                    <a:cubicBezTo>
                      <a:pt x="959" y="313"/>
                      <a:pt x="959" y="313"/>
                      <a:pt x="959" y="313"/>
                    </a:cubicBezTo>
                    <a:cubicBezTo>
                      <a:pt x="960" y="314"/>
                      <a:pt x="960" y="314"/>
                      <a:pt x="960" y="314"/>
                    </a:cubicBezTo>
                    <a:cubicBezTo>
                      <a:pt x="961" y="314"/>
                      <a:pt x="961" y="314"/>
                      <a:pt x="961" y="314"/>
                    </a:cubicBezTo>
                    <a:cubicBezTo>
                      <a:pt x="962" y="314"/>
                      <a:pt x="962" y="314"/>
                      <a:pt x="962" y="314"/>
                    </a:cubicBezTo>
                    <a:cubicBezTo>
                      <a:pt x="962" y="315"/>
                      <a:pt x="962" y="315"/>
                      <a:pt x="962" y="315"/>
                    </a:cubicBezTo>
                    <a:cubicBezTo>
                      <a:pt x="963" y="315"/>
                      <a:pt x="963" y="315"/>
                      <a:pt x="963" y="315"/>
                    </a:cubicBezTo>
                    <a:cubicBezTo>
                      <a:pt x="964" y="315"/>
                      <a:pt x="964" y="315"/>
                      <a:pt x="964" y="315"/>
                    </a:cubicBezTo>
                    <a:cubicBezTo>
                      <a:pt x="963" y="316"/>
                      <a:pt x="963" y="316"/>
                      <a:pt x="963" y="316"/>
                    </a:cubicBezTo>
                    <a:cubicBezTo>
                      <a:pt x="962" y="316"/>
                      <a:pt x="962" y="316"/>
                      <a:pt x="962" y="316"/>
                    </a:cubicBezTo>
                    <a:cubicBezTo>
                      <a:pt x="962" y="317"/>
                      <a:pt x="962" y="317"/>
                      <a:pt x="962" y="317"/>
                    </a:cubicBezTo>
                    <a:cubicBezTo>
                      <a:pt x="963" y="317"/>
                      <a:pt x="963" y="317"/>
                      <a:pt x="963" y="317"/>
                    </a:cubicBezTo>
                    <a:cubicBezTo>
                      <a:pt x="963" y="318"/>
                      <a:pt x="963" y="318"/>
                      <a:pt x="963" y="318"/>
                    </a:cubicBezTo>
                    <a:cubicBezTo>
                      <a:pt x="963" y="319"/>
                      <a:pt x="963" y="319"/>
                      <a:pt x="963" y="319"/>
                    </a:cubicBezTo>
                    <a:cubicBezTo>
                      <a:pt x="962" y="320"/>
                      <a:pt x="962" y="320"/>
                      <a:pt x="962" y="320"/>
                    </a:cubicBezTo>
                    <a:cubicBezTo>
                      <a:pt x="961" y="319"/>
                      <a:pt x="961" y="319"/>
                      <a:pt x="961" y="319"/>
                    </a:cubicBezTo>
                    <a:cubicBezTo>
                      <a:pt x="960" y="318"/>
                      <a:pt x="960" y="318"/>
                      <a:pt x="960" y="318"/>
                    </a:cubicBezTo>
                    <a:cubicBezTo>
                      <a:pt x="959" y="318"/>
                      <a:pt x="959" y="318"/>
                      <a:pt x="959" y="318"/>
                    </a:cubicBezTo>
                    <a:cubicBezTo>
                      <a:pt x="959" y="317"/>
                      <a:pt x="959" y="317"/>
                      <a:pt x="959" y="317"/>
                    </a:cubicBezTo>
                    <a:cubicBezTo>
                      <a:pt x="958" y="317"/>
                      <a:pt x="958" y="317"/>
                      <a:pt x="958" y="317"/>
                    </a:cubicBezTo>
                    <a:cubicBezTo>
                      <a:pt x="958" y="318"/>
                      <a:pt x="958" y="318"/>
                      <a:pt x="958" y="318"/>
                    </a:cubicBezTo>
                    <a:cubicBezTo>
                      <a:pt x="959" y="319"/>
                      <a:pt x="959" y="319"/>
                      <a:pt x="959" y="319"/>
                    </a:cubicBezTo>
                    <a:cubicBezTo>
                      <a:pt x="960" y="319"/>
                      <a:pt x="960" y="319"/>
                      <a:pt x="960" y="319"/>
                    </a:cubicBezTo>
                    <a:cubicBezTo>
                      <a:pt x="961" y="320"/>
                      <a:pt x="961" y="320"/>
                      <a:pt x="961" y="320"/>
                    </a:cubicBezTo>
                    <a:cubicBezTo>
                      <a:pt x="962" y="320"/>
                      <a:pt x="962" y="320"/>
                      <a:pt x="962" y="320"/>
                    </a:cubicBezTo>
                    <a:cubicBezTo>
                      <a:pt x="962" y="321"/>
                      <a:pt x="962" y="321"/>
                      <a:pt x="962" y="321"/>
                    </a:cubicBezTo>
                    <a:cubicBezTo>
                      <a:pt x="961" y="322"/>
                      <a:pt x="961" y="322"/>
                      <a:pt x="961" y="322"/>
                    </a:cubicBezTo>
                    <a:cubicBezTo>
                      <a:pt x="960" y="322"/>
                      <a:pt x="960" y="322"/>
                      <a:pt x="960" y="322"/>
                    </a:cubicBezTo>
                    <a:cubicBezTo>
                      <a:pt x="959" y="322"/>
                      <a:pt x="959" y="322"/>
                      <a:pt x="959" y="322"/>
                    </a:cubicBezTo>
                    <a:cubicBezTo>
                      <a:pt x="957" y="321"/>
                      <a:pt x="957" y="321"/>
                      <a:pt x="957" y="321"/>
                    </a:cubicBezTo>
                    <a:cubicBezTo>
                      <a:pt x="957" y="320"/>
                      <a:pt x="957" y="320"/>
                      <a:pt x="957" y="320"/>
                    </a:cubicBezTo>
                    <a:cubicBezTo>
                      <a:pt x="956" y="320"/>
                      <a:pt x="956" y="320"/>
                      <a:pt x="956" y="320"/>
                    </a:cubicBezTo>
                    <a:cubicBezTo>
                      <a:pt x="956" y="321"/>
                      <a:pt x="956" y="321"/>
                      <a:pt x="956" y="321"/>
                    </a:cubicBezTo>
                    <a:cubicBezTo>
                      <a:pt x="956" y="321"/>
                      <a:pt x="956" y="321"/>
                      <a:pt x="957" y="321"/>
                    </a:cubicBezTo>
                    <a:cubicBezTo>
                      <a:pt x="957" y="321"/>
                      <a:pt x="957" y="321"/>
                      <a:pt x="957" y="322"/>
                    </a:cubicBezTo>
                    <a:cubicBezTo>
                      <a:pt x="957" y="322"/>
                      <a:pt x="957" y="322"/>
                      <a:pt x="959" y="323"/>
                    </a:cubicBezTo>
                    <a:cubicBezTo>
                      <a:pt x="959" y="323"/>
                      <a:pt x="959" y="323"/>
                      <a:pt x="958" y="323"/>
                    </a:cubicBezTo>
                    <a:cubicBezTo>
                      <a:pt x="958" y="324"/>
                      <a:pt x="958" y="324"/>
                      <a:pt x="958" y="324"/>
                    </a:cubicBezTo>
                    <a:cubicBezTo>
                      <a:pt x="958" y="325"/>
                      <a:pt x="958" y="325"/>
                      <a:pt x="958" y="325"/>
                    </a:cubicBezTo>
                    <a:cubicBezTo>
                      <a:pt x="957" y="324"/>
                      <a:pt x="957" y="324"/>
                      <a:pt x="957" y="324"/>
                    </a:cubicBezTo>
                    <a:cubicBezTo>
                      <a:pt x="956" y="324"/>
                      <a:pt x="956" y="324"/>
                      <a:pt x="956" y="324"/>
                    </a:cubicBezTo>
                    <a:cubicBezTo>
                      <a:pt x="955" y="323"/>
                      <a:pt x="955" y="323"/>
                      <a:pt x="955" y="323"/>
                    </a:cubicBezTo>
                    <a:cubicBezTo>
                      <a:pt x="954" y="323"/>
                      <a:pt x="954" y="323"/>
                      <a:pt x="954" y="323"/>
                    </a:cubicBezTo>
                    <a:cubicBezTo>
                      <a:pt x="954" y="324"/>
                      <a:pt x="954" y="324"/>
                      <a:pt x="954" y="324"/>
                    </a:cubicBezTo>
                    <a:cubicBezTo>
                      <a:pt x="953" y="324"/>
                      <a:pt x="953" y="324"/>
                      <a:pt x="953" y="324"/>
                    </a:cubicBezTo>
                    <a:cubicBezTo>
                      <a:pt x="953" y="325"/>
                      <a:pt x="953" y="325"/>
                      <a:pt x="953" y="325"/>
                    </a:cubicBezTo>
                    <a:cubicBezTo>
                      <a:pt x="953" y="326"/>
                      <a:pt x="953" y="326"/>
                      <a:pt x="953" y="326"/>
                    </a:cubicBezTo>
                    <a:cubicBezTo>
                      <a:pt x="953" y="327"/>
                      <a:pt x="953" y="327"/>
                      <a:pt x="953" y="327"/>
                    </a:cubicBezTo>
                    <a:cubicBezTo>
                      <a:pt x="954" y="327"/>
                      <a:pt x="954" y="327"/>
                      <a:pt x="954" y="327"/>
                    </a:cubicBezTo>
                    <a:cubicBezTo>
                      <a:pt x="955" y="327"/>
                      <a:pt x="955" y="327"/>
                      <a:pt x="955" y="327"/>
                    </a:cubicBezTo>
                    <a:cubicBezTo>
                      <a:pt x="956" y="327"/>
                      <a:pt x="956" y="327"/>
                      <a:pt x="956" y="327"/>
                    </a:cubicBezTo>
                    <a:cubicBezTo>
                      <a:pt x="956" y="328"/>
                      <a:pt x="956" y="328"/>
                      <a:pt x="956" y="328"/>
                    </a:cubicBezTo>
                    <a:cubicBezTo>
                      <a:pt x="956" y="329"/>
                      <a:pt x="956" y="329"/>
                      <a:pt x="956" y="329"/>
                    </a:cubicBezTo>
                    <a:cubicBezTo>
                      <a:pt x="955" y="329"/>
                      <a:pt x="955" y="329"/>
                      <a:pt x="955" y="329"/>
                    </a:cubicBezTo>
                    <a:cubicBezTo>
                      <a:pt x="954" y="330"/>
                      <a:pt x="954" y="330"/>
                      <a:pt x="954" y="330"/>
                    </a:cubicBezTo>
                    <a:cubicBezTo>
                      <a:pt x="954" y="329"/>
                      <a:pt x="954" y="329"/>
                      <a:pt x="954" y="329"/>
                    </a:cubicBezTo>
                    <a:cubicBezTo>
                      <a:pt x="953" y="329"/>
                      <a:pt x="953" y="329"/>
                      <a:pt x="953" y="329"/>
                    </a:cubicBezTo>
                    <a:cubicBezTo>
                      <a:pt x="952" y="329"/>
                      <a:pt x="952" y="329"/>
                      <a:pt x="952" y="329"/>
                    </a:cubicBezTo>
                    <a:cubicBezTo>
                      <a:pt x="952" y="328"/>
                      <a:pt x="952" y="328"/>
                      <a:pt x="952" y="328"/>
                    </a:cubicBezTo>
                    <a:cubicBezTo>
                      <a:pt x="951" y="327"/>
                      <a:pt x="951" y="327"/>
                      <a:pt x="951" y="327"/>
                    </a:cubicBezTo>
                    <a:cubicBezTo>
                      <a:pt x="951" y="328"/>
                      <a:pt x="951" y="328"/>
                      <a:pt x="951" y="328"/>
                    </a:cubicBezTo>
                    <a:cubicBezTo>
                      <a:pt x="951" y="329"/>
                      <a:pt x="951" y="329"/>
                      <a:pt x="951" y="329"/>
                    </a:cubicBezTo>
                    <a:cubicBezTo>
                      <a:pt x="950" y="330"/>
                      <a:pt x="950" y="330"/>
                      <a:pt x="950" y="330"/>
                    </a:cubicBezTo>
                    <a:cubicBezTo>
                      <a:pt x="949" y="330"/>
                      <a:pt x="949" y="330"/>
                      <a:pt x="949" y="330"/>
                    </a:cubicBezTo>
                    <a:cubicBezTo>
                      <a:pt x="949" y="329"/>
                      <a:pt x="949" y="329"/>
                      <a:pt x="949" y="329"/>
                    </a:cubicBezTo>
                    <a:cubicBezTo>
                      <a:pt x="948" y="329"/>
                      <a:pt x="948" y="329"/>
                      <a:pt x="948" y="329"/>
                    </a:cubicBezTo>
                    <a:cubicBezTo>
                      <a:pt x="948" y="330"/>
                      <a:pt x="948" y="330"/>
                      <a:pt x="948" y="330"/>
                    </a:cubicBezTo>
                    <a:cubicBezTo>
                      <a:pt x="950" y="331"/>
                      <a:pt x="950" y="331"/>
                      <a:pt x="950" y="331"/>
                    </a:cubicBezTo>
                    <a:cubicBezTo>
                      <a:pt x="951" y="331"/>
                      <a:pt x="951" y="331"/>
                      <a:pt x="951" y="331"/>
                    </a:cubicBezTo>
                    <a:cubicBezTo>
                      <a:pt x="952" y="332"/>
                      <a:pt x="952" y="332"/>
                      <a:pt x="952" y="332"/>
                    </a:cubicBezTo>
                    <a:cubicBezTo>
                      <a:pt x="952" y="334"/>
                      <a:pt x="952" y="334"/>
                      <a:pt x="952" y="334"/>
                    </a:cubicBezTo>
                    <a:cubicBezTo>
                      <a:pt x="951" y="334"/>
                      <a:pt x="951" y="334"/>
                      <a:pt x="951" y="334"/>
                    </a:cubicBezTo>
                    <a:cubicBezTo>
                      <a:pt x="950" y="333"/>
                      <a:pt x="950" y="333"/>
                      <a:pt x="950" y="333"/>
                    </a:cubicBezTo>
                    <a:cubicBezTo>
                      <a:pt x="949" y="332"/>
                      <a:pt x="949" y="332"/>
                      <a:pt x="949" y="332"/>
                    </a:cubicBezTo>
                    <a:cubicBezTo>
                      <a:pt x="948" y="332"/>
                      <a:pt x="948" y="332"/>
                      <a:pt x="948" y="332"/>
                    </a:cubicBezTo>
                    <a:cubicBezTo>
                      <a:pt x="947" y="332"/>
                      <a:pt x="947" y="332"/>
                      <a:pt x="947" y="332"/>
                    </a:cubicBezTo>
                    <a:cubicBezTo>
                      <a:pt x="948" y="333"/>
                      <a:pt x="948" y="333"/>
                      <a:pt x="948" y="333"/>
                    </a:cubicBezTo>
                    <a:cubicBezTo>
                      <a:pt x="949" y="333"/>
                      <a:pt x="949" y="333"/>
                      <a:pt x="949" y="333"/>
                    </a:cubicBezTo>
                    <a:cubicBezTo>
                      <a:pt x="950" y="334"/>
                      <a:pt x="950" y="334"/>
                      <a:pt x="950" y="334"/>
                    </a:cubicBezTo>
                    <a:cubicBezTo>
                      <a:pt x="951" y="335"/>
                      <a:pt x="951" y="335"/>
                      <a:pt x="951" y="335"/>
                    </a:cubicBezTo>
                    <a:cubicBezTo>
                      <a:pt x="951" y="336"/>
                      <a:pt x="951" y="336"/>
                      <a:pt x="951" y="336"/>
                    </a:cubicBezTo>
                    <a:cubicBezTo>
                      <a:pt x="951" y="337"/>
                      <a:pt x="951" y="337"/>
                      <a:pt x="951" y="337"/>
                    </a:cubicBezTo>
                    <a:cubicBezTo>
                      <a:pt x="951" y="338"/>
                      <a:pt x="951" y="338"/>
                      <a:pt x="951" y="338"/>
                    </a:cubicBezTo>
                    <a:cubicBezTo>
                      <a:pt x="950" y="338"/>
                      <a:pt x="950" y="338"/>
                      <a:pt x="950" y="338"/>
                    </a:cubicBezTo>
                    <a:cubicBezTo>
                      <a:pt x="950" y="339"/>
                      <a:pt x="950" y="339"/>
                      <a:pt x="950" y="339"/>
                    </a:cubicBezTo>
                    <a:cubicBezTo>
                      <a:pt x="950" y="340"/>
                      <a:pt x="950" y="340"/>
                      <a:pt x="950" y="340"/>
                    </a:cubicBezTo>
                    <a:cubicBezTo>
                      <a:pt x="949" y="340"/>
                      <a:pt x="949" y="340"/>
                      <a:pt x="949" y="340"/>
                    </a:cubicBezTo>
                    <a:cubicBezTo>
                      <a:pt x="949" y="339"/>
                      <a:pt x="949" y="339"/>
                      <a:pt x="949" y="339"/>
                    </a:cubicBezTo>
                    <a:cubicBezTo>
                      <a:pt x="948" y="339"/>
                      <a:pt x="948" y="339"/>
                      <a:pt x="948" y="339"/>
                    </a:cubicBezTo>
                    <a:cubicBezTo>
                      <a:pt x="947" y="339"/>
                      <a:pt x="947" y="339"/>
                      <a:pt x="947" y="339"/>
                    </a:cubicBezTo>
                    <a:cubicBezTo>
                      <a:pt x="948" y="340"/>
                      <a:pt x="948" y="340"/>
                      <a:pt x="948" y="340"/>
                    </a:cubicBezTo>
                    <a:cubicBezTo>
                      <a:pt x="949" y="340"/>
                      <a:pt x="949" y="340"/>
                      <a:pt x="949" y="340"/>
                    </a:cubicBezTo>
                    <a:cubicBezTo>
                      <a:pt x="948" y="341"/>
                      <a:pt x="948" y="341"/>
                      <a:pt x="948" y="341"/>
                    </a:cubicBezTo>
                    <a:cubicBezTo>
                      <a:pt x="947" y="341"/>
                      <a:pt x="947" y="341"/>
                      <a:pt x="947" y="341"/>
                    </a:cubicBezTo>
                    <a:cubicBezTo>
                      <a:pt x="947" y="342"/>
                      <a:pt x="947" y="342"/>
                      <a:pt x="947" y="342"/>
                    </a:cubicBezTo>
                    <a:cubicBezTo>
                      <a:pt x="948" y="342"/>
                      <a:pt x="948" y="342"/>
                      <a:pt x="948" y="342"/>
                    </a:cubicBezTo>
                    <a:cubicBezTo>
                      <a:pt x="947" y="343"/>
                      <a:pt x="947" y="343"/>
                      <a:pt x="947" y="343"/>
                    </a:cubicBezTo>
                    <a:cubicBezTo>
                      <a:pt x="946" y="343"/>
                      <a:pt x="946" y="343"/>
                      <a:pt x="946" y="343"/>
                    </a:cubicBezTo>
                    <a:cubicBezTo>
                      <a:pt x="945" y="343"/>
                      <a:pt x="945" y="343"/>
                      <a:pt x="945" y="343"/>
                    </a:cubicBezTo>
                    <a:cubicBezTo>
                      <a:pt x="946" y="344"/>
                      <a:pt x="946" y="344"/>
                      <a:pt x="946" y="344"/>
                    </a:cubicBezTo>
                    <a:cubicBezTo>
                      <a:pt x="947" y="344"/>
                      <a:pt x="947" y="344"/>
                      <a:pt x="947" y="344"/>
                    </a:cubicBezTo>
                    <a:cubicBezTo>
                      <a:pt x="946" y="345"/>
                      <a:pt x="946" y="345"/>
                      <a:pt x="946" y="345"/>
                    </a:cubicBezTo>
                    <a:cubicBezTo>
                      <a:pt x="944" y="345"/>
                      <a:pt x="944" y="345"/>
                      <a:pt x="944" y="345"/>
                    </a:cubicBezTo>
                    <a:cubicBezTo>
                      <a:pt x="943" y="345"/>
                      <a:pt x="943" y="345"/>
                      <a:pt x="943" y="345"/>
                    </a:cubicBezTo>
                    <a:cubicBezTo>
                      <a:pt x="944" y="346"/>
                      <a:pt x="944" y="346"/>
                      <a:pt x="944" y="346"/>
                    </a:cubicBezTo>
                    <a:cubicBezTo>
                      <a:pt x="946" y="346"/>
                      <a:pt x="946" y="346"/>
                      <a:pt x="946" y="346"/>
                    </a:cubicBezTo>
                    <a:cubicBezTo>
                      <a:pt x="947" y="346"/>
                      <a:pt x="947" y="346"/>
                      <a:pt x="947" y="346"/>
                    </a:cubicBezTo>
                    <a:cubicBezTo>
                      <a:pt x="947" y="347"/>
                      <a:pt x="947" y="347"/>
                      <a:pt x="947" y="347"/>
                    </a:cubicBezTo>
                    <a:cubicBezTo>
                      <a:pt x="946" y="348"/>
                      <a:pt x="946" y="348"/>
                      <a:pt x="946" y="348"/>
                    </a:cubicBezTo>
                    <a:cubicBezTo>
                      <a:pt x="945" y="348"/>
                      <a:pt x="945" y="348"/>
                      <a:pt x="945" y="348"/>
                    </a:cubicBezTo>
                    <a:cubicBezTo>
                      <a:pt x="944" y="348"/>
                      <a:pt x="944" y="348"/>
                      <a:pt x="944" y="348"/>
                    </a:cubicBezTo>
                    <a:cubicBezTo>
                      <a:pt x="944" y="349"/>
                      <a:pt x="944" y="349"/>
                      <a:pt x="944" y="349"/>
                    </a:cubicBezTo>
                    <a:cubicBezTo>
                      <a:pt x="943" y="349"/>
                      <a:pt x="943" y="349"/>
                      <a:pt x="943" y="349"/>
                    </a:cubicBezTo>
                    <a:cubicBezTo>
                      <a:pt x="944" y="350"/>
                      <a:pt x="944" y="350"/>
                      <a:pt x="944" y="350"/>
                    </a:cubicBezTo>
                    <a:cubicBezTo>
                      <a:pt x="945" y="350"/>
                      <a:pt x="945" y="350"/>
                      <a:pt x="945" y="350"/>
                    </a:cubicBezTo>
                    <a:cubicBezTo>
                      <a:pt x="945" y="351"/>
                      <a:pt x="945" y="351"/>
                      <a:pt x="945" y="351"/>
                    </a:cubicBezTo>
                    <a:cubicBezTo>
                      <a:pt x="944" y="351"/>
                      <a:pt x="944" y="351"/>
                      <a:pt x="944" y="351"/>
                    </a:cubicBezTo>
                    <a:cubicBezTo>
                      <a:pt x="943" y="351"/>
                      <a:pt x="943" y="351"/>
                      <a:pt x="943" y="351"/>
                    </a:cubicBezTo>
                    <a:cubicBezTo>
                      <a:pt x="944" y="352"/>
                      <a:pt x="944" y="352"/>
                      <a:pt x="944" y="352"/>
                    </a:cubicBezTo>
                    <a:cubicBezTo>
                      <a:pt x="945" y="351"/>
                      <a:pt x="945" y="351"/>
                      <a:pt x="945" y="351"/>
                    </a:cubicBezTo>
                    <a:cubicBezTo>
                      <a:pt x="946" y="352"/>
                      <a:pt x="946" y="352"/>
                      <a:pt x="946" y="352"/>
                    </a:cubicBezTo>
                    <a:cubicBezTo>
                      <a:pt x="945" y="352"/>
                      <a:pt x="945" y="352"/>
                      <a:pt x="945" y="352"/>
                    </a:cubicBezTo>
                    <a:cubicBezTo>
                      <a:pt x="945" y="353"/>
                      <a:pt x="945" y="353"/>
                      <a:pt x="945" y="353"/>
                    </a:cubicBezTo>
                    <a:cubicBezTo>
                      <a:pt x="944" y="353"/>
                      <a:pt x="944" y="353"/>
                      <a:pt x="944" y="353"/>
                    </a:cubicBezTo>
                    <a:cubicBezTo>
                      <a:pt x="943" y="353"/>
                      <a:pt x="943" y="353"/>
                      <a:pt x="943" y="353"/>
                    </a:cubicBezTo>
                    <a:cubicBezTo>
                      <a:pt x="942" y="352"/>
                      <a:pt x="942" y="352"/>
                      <a:pt x="942" y="352"/>
                    </a:cubicBezTo>
                    <a:cubicBezTo>
                      <a:pt x="941" y="352"/>
                      <a:pt x="941" y="352"/>
                      <a:pt x="941" y="352"/>
                    </a:cubicBezTo>
                    <a:cubicBezTo>
                      <a:pt x="941" y="351"/>
                      <a:pt x="941" y="351"/>
                      <a:pt x="941" y="351"/>
                    </a:cubicBezTo>
                    <a:cubicBezTo>
                      <a:pt x="940" y="351"/>
                      <a:pt x="940" y="351"/>
                      <a:pt x="940" y="351"/>
                    </a:cubicBezTo>
                    <a:cubicBezTo>
                      <a:pt x="939" y="351"/>
                      <a:pt x="939" y="351"/>
                      <a:pt x="939" y="351"/>
                    </a:cubicBezTo>
                    <a:cubicBezTo>
                      <a:pt x="939" y="352"/>
                      <a:pt x="939" y="352"/>
                      <a:pt x="939" y="352"/>
                    </a:cubicBezTo>
                    <a:cubicBezTo>
                      <a:pt x="941" y="353"/>
                      <a:pt x="941" y="353"/>
                      <a:pt x="941" y="353"/>
                    </a:cubicBezTo>
                    <a:cubicBezTo>
                      <a:pt x="942" y="353"/>
                      <a:pt x="942" y="353"/>
                      <a:pt x="942" y="353"/>
                    </a:cubicBezTo>
                    <a:cubicBezTo>
                      <a:pt x="942" y="354"/>
                      <a:pt x="942" y="354"/>
                      <a:pt x="942" y="354"/>
                    </a:cubicBezTo>
                    <a:cubicBezTo>
                      <a:pt x="942" y="355"/>
                      <a:pt x="942" y="355"/>
                      <a:pt x="942" y="355"/>
                    </a:cubicBezTo>
                    <a:cubicBezTo>
                      <a:pt x="943" y="355"/>
                      <a:pt x="943" y="355"/>
                      <a:pt x="943" y="355"/>
                    </a:cubicBezTo>
                    <a:cubicBezTo>
                      <a:pt x="944" y="355"/>
                      <a:pt x="944" y="355"/>
                      <a:pt x="944" y="355"/>
                    </a:cubicBezTo>
                    <a:cubicBezTo>
                      <a:pt x="944" y="356"/>
                      <a:pt x="944" y="356"/>
                      <a:pt x="944" y="356"/>
                    </a:cubicBezTo>
                    <a:cubicBezTo>
                      <a:pt x="943" y="356"/>
                      <a:pt x="943" y="356"/>
                      <a:pt x="943" y="356"/>
                    </a:cubicBezTo>
                    <a:cubicBezTo>
                      <a:pt x="943" y="357"/>
                      <a:pt x="943" y="357"/>
                      <a:pt x="943" y="357"/>
                    </a:cubicBezTo>
                    <a:cubicBezTo>
                      <a:pt x="942" y="357"/>
                      <a:pt x="942" y="357"/>
                      <a:pt x="942" y="357"/>
                    </a:cubicBezTo>
                    <a:cubicBezTo>
                      <a:pt x="939" y="355"/>
                      <a:pt x="939" y="355"/>
                      <a:pt x="939" y="355"/>
                    </a:cubicBezTo>
                    <a:cubicBezTo>
                      <a:pt x="938" y="355"/>
                      <a:pt x="938" y="355"/>
                      <a:pt x="938" y="355"/>
                    </a:cubicBezTo>
                    <a:cubicBezTo>
                      <a:pt x="938" y="354"/>
                      <a:pt x="938" y="354"/>
                      <a:pt x="938" y="354"/>
                    </a:cubicBezTo>
                    <a:cubicBezTo>
                      <a:pt x="938" y="353"/>
                      <a:pt x="938" y="353"/>
                      <a:pt x="938" y="353"/>
                    </a:cubicBezTo>
                    <a:cubicBezTo>
                      <a:pt x="937" y="354"/>
                      <a:pt x="937" y="354"/>
                      <a:pt x="937" y="354"/>
                    </a:cubicBezTo>
                    <a:cubicBezTo>
                      <a:pt x="937" y="355"/>
                      <a:pt x="937" y="355"/>
                      <a:pt x="937" y="355"/>
                    </a:cubicBezTo>
                    <a:cubicBezTo>
                      <a:pt x="936" y="355"/>
                      <a:pt x="936" y="355"/>
                      <a:pt x="936" y="355"/>
                    </a:cubicBezTo>
                    <a:cubicBezTo>
                      <a:pt x="935" y="355"/>
                      <a:pt x="935" y="355"/>
                      <a:pt x="935" y="355"/>
                    </a:cubicBezTo>
                    <a:cubicBezTo>
                      <a:pt x="935" y="354"/>
                      <a:pt x="935" y="354"/>
                      <a:pt x="935" y="354"/>
                    </a:cubicBezTo>
                    <a:cubicBezTo>
                      <a:pt x="936" y="352"/>
                      <a:pt x="936" y="352"/>
                      <a:pt x="936" y="352"/>
                    </a:cubicBezTo>
                    <a:cubicBezTo>
                      <a:pt x="935" y="353"/>
                      <a:pt x="935" y="353"/>
                      <a:pt x="935" y="353"/>
                    </a:cubicBezTo>
                    <a:cubicBezTo>
                      <a:pt x="934" y="355"/>
                      <a:pt x="934" y="355"/>
                      <a:pt x="934" y="355"/>
                    </a:cubicBezTo>
                    <a:cubicBezTo>
                      <a:pt x="933" y="356"/>
                      <a:pt x="933" y="356"/>
                      <a:pt x="933" y="356"/>
                    </a:cubicBezTo>
                    <a:cubicBezTo>
                      <a:pt x="932" y="355"/>
                      <a:pt x="932" y="355"/>
                      <a:pt x="932" y="355"/>
                    </a:cubicBezTo>
                    <a:cubicBezTo>
                      <a:pt x="933" y="355"/>
                      <a:pt x="933" y="355"/>
                      <a:pt x="933" y="355"/>
                    </a:cubicBezTo>
                    <a:cubicBezTo>
                      <a:pt x="934" y="354"/>
                      <a:pt x="934" y="354"/>
                      <a:pt x="934" y="354"/>
                    </a:cubicBezTo>
                    <a:cubicBezTo>
                      <a:pt x="934" y="352"/>
                      <a:pt x="934" y="352"/>
                      <a:pt x="934" y="352"/>
                    </a:cubicBezTo>
                    <a:cubicBezTo>
                      <a:pt x="935" y="351"/>
                      <a:pt x="935" y="351"/>
                      <a:pt x="935" y="351"/>
                    </a:cubicBezTo>
                    <a:cubicBezTo>
                      <a:pt x="934" y="351"/>
                      <a:pt x="934" y="351"/>
                      <a:pt x="934" y="351"/>
                    </a:cubicBezTo>
                    <a:cubicBezTo>
                      <a:pt x="933" y="351"/>
                      <a:pt x="933" y="351"/>
                      <a:pt x="933" y="351"/>
                    </a:cubicBezTo>
                    <a:cubicBezTo>
                      <a:pt x="933" y="350"/>
                      <a:pt x="933" y="350"/>
                      <a:pt x="933" y="350"/>
                    </a:cubicBezTo>
                    <a:cubicBezTo>
                      <a:pt x="932" y="350"/>
                      <a:pt x="932" y="350"/>
                      <a:pt x="932" y="350"/>
                    </a:cubicBezTo>
                    <a:cubicBezTo>
                      <a:pt x="932" y="351"/>
                      <a:pt x="932" y="351"/>
                      <a:pt x="932" y="351"/>
                    </a:cubicBezTo>
                    <a:cubicBezTo>
                      <a:pt x="931" y="352"/>
                      <a:pt x="931" y="352"/>
                      <a:pt x="931" y="352"/>
                    </a:cubicBezTo>
                    <a:cubicBezTo>
                      <a:pt x="930" y="351"/>
                      <a:pt x="930" y="351"/>
                      <a:pt x="930" y="351"/>
                    </a:cubicBezTo>
                    <a:cubicBezTo>
                      <a:pt x="929" y="351"/>
                      <a:pt x="929" y="351"/>
                      <a:pt x="929" y="351"/>
                    </a:cubicBezTo>
                    <a:cubicBezTo>
                      <a:pt x="931" y="350"/>
                      <a:pt x="931" y="350"/>
                      <a:pt x="931" y="350"/>
                    </a:cubicBezTo>
                    <a:cubicBezTo>
                      <a:pt x="931" y="349"/>
                      <a:pt x="931" y="349"/>
                      <a:pt x="931" y="349"/>
                    </a:cubicBezTo>
                    <a:cubicBezTo>
                      <a:pt x="932" y="348"/>
                      <a:pt x="932" y="348"/>
                      <a:pt x="932" y="348"/>
                    </a:cubicBezTo>
                    <a:cubicBezTo>
                      <a:pt x="933" y="347"/>
                      <a:pt x="933" y="347"/>
                      <a:pt x="933" y="347"/>
                    </a:cubicBezTo>
                    <a:cubicBezTo>
                      <a:pt x="931" y="348"/>
                      <a:pt x="931" y="348"/>
                      <a:pt x="931" y="348"/>
                    </a:cubicBezTo>
                    <a:cubicBezTo>
                      <a:pt x="932" y="347"/>
                      <a:pt x="932" y="347"/>
                      <a:pt x="932" y="347"/>
                    </a:cubicBezTo>
                    <a:cubicBezTo>
                      <a:pt x="933" y="346"/>
                      <a:pt x="933" y="346"/>
                      <a:pt x="933" y="346"/>
                    </a:cubicBezTo>
                    <a:cubicBezTo>
                      <a:pt x="934" y="346"/>
                      <a:pt x="934" y="346"/>
                      <a:pt x="934" y="346"/>
                    </a:cubicBezTo>
                    <a:cubicBezTo>
                      <a:pt x="934" y="345"/>
                      <a:pt x="934" y="345"/>
                      <a:pt x="934" y="345"/>
                    </a:cubicBezTo>
                    <a:cubicBezTo>
                      <a:pt x="934" y="344"/>
                      <a:pt x="934" y="344"/>
                      <a:pt x="934" y="344"/>
                    </a:cubicBezTo>
                    <a:cubicBezTo>
                      <a:pt x="933" y="344"/>
                      <a:pt x="933" y="344"/>
                      <a:pt x="933" y="344"/>
                    </a:cubicBezTo>
                    <a:cubicBezTo>
                      <a:pt x="932" y="346"/>
                      <a:pt x="932" y="346"/>
                      <a:pt x="932" y="346"/>
                    </a:cubicBezTo>
                    <a:cubicBezTo>
                      <a:pt x="930" y="347"/>
                      <a:pt x="930" y="347"/>
                      <a:pt x="930" y="347"/>
                    </a:cubicBezTo>
                    <a:cubicBezTo>
                      <a:pt x="929" y="347"/>
                      <a:pt x="929" y="347"/>
                      <a:pt x="929" y="347"/>
                    </a:cubicBezTo>
                    <a:cubicBezTo>
                      <a:pt x="929" y="346"/>
                      <a:pt x="929" y="346"/>
                      <a:pt x="929" y="346"/>
                    </a:cubicBezTo>
                    <a:cubicBezTo>
                      <a:pt x="930" y="346"/>
                      <a:pt x="930" y="346"/>
                      <a:pt x="930" y="346"/>
                    </a:cubicBezTo>
                    <a:cubicBezTo>
                      <a:pt x="931" y="345"/>
                      <a:pt x="931" y="345"/>
                      <a:pt x="931" y="345"/>
                    </a:cubicBezTo>
                    <a:cubicBezTo>
                      <a:pt x="931" y="344"/>
                      <a:pt x="931" y="344"/>
                      <a:pt x="931" y="344"/>
                    </a:cubicBezTo>
                    <a:cubicBezTo>
                      <a:pt x="930" y="343"/>
                      <a:pt x="930" y="343"/>
                      <a:pt x="930" y="343"/>
                    </a:cubicBezTo>
                    <a:cubicBezTo>
                      <a:pt x="929" y="343"/>
                      <a:pt x="929" y="343"/>
                      <a:pt x="929" y="343"/>
                    </a:cubicBezTo>
                    <a:cubicBezTo>
                      <a:pt x="929" y="344"/>
                      <a:pt x="929" y="344"/>
                      <a:pt x="929" y="344"/>
                    </a:cubicBezTo>
                    <a:cubicBezTo>
                      <a:pt x="930" y="344"/>
                      <a:pt x="930" y="344"/>
                      <a:pt x="930" y="344"/>
                    </a:cubicBezTo>
                    <a:cubicBezTo>
                      <a:pt x="930" y="345"/>
                      <a:pt x="930" y="345"/>
                      <a:pt x="930" y="345"/>
                    </a:cubicBezTo>
                    <a:cubicBezTo>
                      <a:pt x="929" y="345"/>
                      <a:pt x="929" y="345"/>
                      <a:pt x="929" y="345"/>
                    </a:cubicBezTo>
                    <a:cubicBezTo>
                      <a:pt x="928" y="345"/>
                      <a:pt x="928" y="345"/>
                      <a:pt x="928" y="345"/>
                    </a:cubicBezTo>
                    <a:cubicBezTo>
                      <a:pt x="927" y="345"/>
                      <a:pt x="927" y="345"/>
                      <a:pt x="927" y="345"/>
                    </a:cubicBezTo>
                    <a:cubicBezTo>
                      <a:pt x="926" y="346"/>
                      <a:pt x="926" y="346"/>
                      <a:pt x="926" y="346"/>
                    </a:cubicBezTo>
                    <a:cubicBezTo>
                      <a:pt x="925" y="347"/>
                      <a:pt x="925" y="347"/>
                      <a:pt x="925" y="347"/>
                    </a:cubicBezTo>
                    <a:cubicBezTo>
                      <a:pt x="924" y="347"/>
                      <a:pt x="924" y="347"/>
                      <a:pt x="924" y="347"/>
                    </a:cubicBezTo>
                    <a:cubicBezTo>
                      <a:pt x="924" y="346"/>
                      <a:pt x="924" y="346"/>
                      <a:pt x="924" y="346"/>
                    </a:cubicBezTo>
                    <a:cubicBezTo>
                      <a:pt x="923" y="346"/>
                      <a:pt x="923" y="346"/>
                      <a:pt x="923" y="346"/>
                    </a:cubicBezTo>
                    <a:cubicBezTo>
                      <a:pt x="922" y="347"/>
                      <a:pt x="922" y="347"/>
                      <a:pt x="922" y="347"/>
                    </a:cubicBezTo>
                    <a:cubicBezTo>
                      <a:pt x="921" y="347"/>
                      <a:pt x="921" y="347"/>
                      <a:pt x="921" y="347"/>
                    </a:cubicBezTo>
                    <a:cubicBezTo>
                      <a:pt x="921" y="348"/>
                      <a:pt x="921" y="348"/>
                      <a:pt x="921" y="348"/>
                    </a:cubicBezTo>
                    <a:cubicBezTo>
                      <a:pt x="920" y="348"/>
                      <a:pt x="920" y="348"/>
                      <a:pt x="920" y="348"/>
                    </a:cubicBezTo>
                    <a:cubicBezTo>
                      <a:pt x="919" y="348"/>
                      <a:pt x="919" y="348"/>
                      <a:pt x="919" y="348"/>
                    </a:cubicBezTo>
                    <a:cubicBezTo>
                      <a:pt x="918" y="347"/>
                      <a:pt x="918" y="347"/>
                      <a:pt x="918" y="347"/>
                    </a:cubicBezTo>
                    <a:cubicBezTo>
                      <a:pt x="919" y="346"/>
                      <a:pt x="919" y="346"/>
                      <a:pt x="919" y="346"/>
                    </a:cubicBezTo>
                    <a:cubicBezTo>
                      <a:pt x="920" y="346"/>
                      <a:pt x="920" y="346"/>
                      <a:pt x="920" y="346"/>
                    </a:cubicBezTo>
                    <a:cubicBezTo>
                      <a:pt x="921" y="346"/>
                      <a:pt x="921" y="346"/>
                      <a:pt x="921" y="346"/>
                    </a:cubicBezTo>
                    <a:cubicBezTo>
                      <a:pt x="920" y="345"/>
                      <a:pt x="920" y="345"/>
                      <a:pt x="920" y="345"/>
                    </a:cubicBezTo>
                    <a:cubicBezTo>
                      <a:pt x="919" y="345"/>
                      <a:pt x="919" y="345"/>
                      <a:pt x="919" y="345"/>
                    </a:cubicBezTo>
                    <a:cubicBezTo>
                      <a:pt x="919" y="344"/>
                      <a:pt x="919" y="344"/>
                      <a:pt x="919" y="344"/>
                    </a:cubicBezTo>
                    <a:cubicBezTo>
                      <a:pt x="919" y="343"/>
                      <a:pt x="919" y="343"/>
                      <a:pt x="919" y="343"/>
                    </a:cubicBezTo>
                    <a:cubicBezTo>
                      <a:pt x="918" y="342"/>
                      <a:pt x="918" y="342"/>
                      <a:pt x="918" y="342"/>
                    </a:cubicBezTo>
                    <a:cubicBezTo>
                      <a:pt x="918" y="343"/>
                      <a:pt x="918" y="343"/>
                      <a:pt x="918" y="343"/>
                    </a:cubicBezTo>
                    <a:cubicBezTo>
                      <a:pt x="916" y="344"/>
                      <a:pt x="916" y="344"/>
                      <a:pt x="916" y="344"/>
                    </a:cubicBezTo>
                    <a:cubicBezTo>
                      <a:pt x="915" y="344"/>
                      <a:pt x="915" y="344"/>
                      <a:pt x="915" y="344"/>
                    </a:cubicBezTo>
                    <a:cubicBezTo>
                      <a:pt x="915" y="343"/>
                      <a:pt x="915" y="343"/>
                      <a:pt x="915" y="343"/>
                    </a:cubicBezTo>
                    <a:cubicBezTo>
                      <a:pt x="916" y="342"/>
                      <a:pt x="916" y="342"/>
                      <a:pt x="916" y="342"/>
                    </a:cubicBezTo>
                    <a:cubicBezTo>
                      <a:pt x="915" y="341"/>
                      <a:pt x="915" y="341"/>
                      <a:pt x="915" y="341"/>
                    </a:cubicBezTo>
                    <a:cubicBezTo>
                      <a:pt x="916" y="340"/>
                      <a:pt x="916" y="340"/>
                      <a:pt x="916" y="340"/>
                    </a:cubicBezTo>
                    <a:cubicBezTo>
                      <a:pt x="917" y="340"/>
                      <a:pt x="917" y="340"/>
                      <a:pt x="917" y="340"/>
                    </a:cubicBezTo>
                    <a:cubicBezTo>
                      <a:pt x="917" y="339"/>
                      <a:pt x="917" y="339"/>
                      <a:pt x="917" y="339"/>
                    </a:cubicBezTo>
                    <a:cubicBezTo>
                      <a:pt x="916" y="339"/>
                      <a:pt x="916" y="339"/>
                      <a:pt x="916" y="339"/>
                    </a:cubicBezTo>
                    <a:cubicBezTo>
                      <a:pt x="915" y="339"/>
                      <a:pt x="915" y="339"/>
                      <a:pt x="915" y="339"/>
                    </a:cubicBezTo>
                    <a:cubicBezTo>
                      <a:pt x="914" y="340"/>
                      <a:pt x="914" y="340"/>
                      <a:pt x="914" y="340"/>
                    </a:cubicBezTo>
                    <a:cubicBezTo>
                      <a:pt x="913" y="340"/>
                      <a:pt x="913" y="340"/>
                      <a:pt x="913" y="340"/>
                    </a:cubicBezTo>
                    <a:cubicBezTo>
                      <a:pt x="912" y="340"/>
                      <a:pt x="912" y="340"/>
                      <a:pt x="912" y="340"/>
                    </a:cubicBezTo>
                    <a:cubicBezTo>
                      <a:pt x="912" y="339"/>
                      <a:pt x="912" y="339"/>
                      <a:pt x="912" y="339"/>
                    </a:cubicBezTo>
                    <a:cubicBezTo>
                      <a:pt x="913" y="339"/>
                      <a:pt x="913" y="339"/>
                      <a:pt x="913" y="339"/>
                    </a:cubicBezTo>
                    <a:cubicBezTo>
                      <a:pt x="914" y="338"/>
                      <a:pt x="914" y="338"/>
                      <a:pt x="914" y="338"/>
                    </a:cubicBezTo>
                    <a:cubicBezTo>
                      <a:pt x="914" y="337"/>
                      <a:pt x="914" y="337"/>
                      <a:pt x="914" y="337"/>
                    </a:cubicBezTo>
                    <a:cubicBezTo>
                      <a:pt x="915" y="337"/>
                      <a:pt x="915" y="337"/>
                      <a:pt x="915" y="337"/>
                    </a:cubicBezTo>
                    <a:cubicBezTo>
                      <a:pt x="915" y="336"/>
                      <a:pt x="915" y="336"/>
                      <a:pt x="915" y="336"/>
                    </a:cubicBezTo>
                    <a:cubicBezTo>
                      <a:pt x="914" y="336"/>
                      <a:pt x="914" y="336"/>
                      <a:pt x="914" y="336"/>
                    </a:cubicBezTo>
                    <a:cubicBezTo>
                      <a:pt x="913" y="336"/>
                      <a:pt x="913" y="336"/>
                      <a:pt x="913" y="336"/>
                    </a:cubicBezTo>
                    <a:cubicBezTo>
                      <a:pt x="912" y="337"/>
                      <a:pt x="912" y="337"/>
                      <a:pt x="912" y="337"/>
                    </a:cubicBezTo>
                    <a:cubicBezTo>
                      <a:pt x="912" y="336"/>
                      <a:pt x="912" y="336"/>
                      <a:pt x="912" y="336"/>
                    </a:cubicBezTo>
                    <a:cubicBezTo>
                      <a:pt x="912" y="335"/>
                      <a:pt x="912" y="335"/>
                      <a:pt x="912" y="335"/>
                    </a:cubicBezTo>
                    <a:cubicBezTo>
                      <a:pt x="913" y="335"/>
                      <a:pt x="913" y="335"/>
                      <a:pt x="913" y="335"/>
                    </a:cubicBezTo>
                    <a:cubicBezTo>
                      <a:pt x="914" y="335"/>
                      <a:pt x="914" y="335"/>
                      <a:pt x="914" y="335"/>
                    </a:cubicBezTo>
                    <a:cubicBezTo>
                      <a:pt x="915" y="334"/>
                      <a:pt x="915" y="334"/>
                      <a:pt x="915" y="334"/>
                    </a:cubicBezTo>
                    <a:cubicBezTo>
                      <a:pt x="915" y="333"/>
                      <a:pt x="915" y="333"/>
                      <a:pt x="915" y="333"/>
                    </a:cubicBezTo>
                    <a:cubicBezTo>
                      <a:pt x="914" y="333"/>
                      <a:pt x="914" y="333"/>
                      <a:pt x="914" y="333"/>
                    </a:cubicBezTo>
                    <a:cubicBezTo>
                      <a:pt x="913" y="334"/>
                      <a:pt x="913" y="334"/>
                      <a:pt x="913" y="334"/>
                    </a:cubicBezTo>
                    <a:cubicBezTo>
                      <a:pt x="912" y="334"/>
                      <a:pt x="912" y="334"/>
                      <a:pt x="912" y="334"/>
                    </a:cubicBezTo>
                    <a:cubicBezTo>
                      <a:pt x="913" y="333"/>
                      <a:pt x="913" y="333"/>
                      <a:pt x="913" y="333"/>
                    </a:cubicBezTo>
                    <a:cubicBezTo>
                      <a:pt x="912" y="332"/>
                      <a:pt x="912" y="332"/>
                      <a:pt x="912" y="332"/>
                    </a:cubicBezTo>
                    <a:cubicBezTo>
                      <a:pt x="913" y="332"/>
                      <a:pt x="913" y="332"/>
                      <a:pt x="913" y="332"/>
                    </a:cubicBezTo>
                    <a:cubicBezTo>
                      <a:pt x="913" y="331"/>
                      <a:pt x="913" y="331"/>
                      <a:pt x="913" y="331"/>
                    </a:cubicBezTo>
                    <a:cubicBezTo>
                      <a:pt x="912" y="331"/>
                      <a:pt x="912" y="331"/>
                      <a:pt x="912" y="331"/>
                    </a:cubicBezTo>
                    <a:cubicBezTo>
                      <a:pt x="912" y="330"/>
                      <a:pt x="912" y="330"/>
                      <a:pt x="912" y="330"/>
                    </a:cubicBezTo>
                    <a:cubicBezTo>
                      <a:pt x="912" y="329"/>
                      <a:pt x="912" y="329"/>
                      <a:pt x="912" y="329"/>
                    </a:cubicBezTo>
                    <a:cubicBezTo>
                      <a:pt x="911" y="329"/>
                      <a:pt x="911" y="329"/>
                      <a:pt x="911" y="329"/>
                    </a:cubicBezTo>
                    <a:cubicBezTo>
                      <a:pt x="910" y="330"/>
                      <a:pt x="910" y="330"/>
                      <a:pt x="910" y="330"/>
                    </a:cubicBezTo>
                    <a:cubicBezTo>
                      <a:pt x="910" y="329"/>
                      <a:pt x="910" y="329"/>
                      <a:pt x="910" y="329"/>
                    </a:cubicBezTo>
                    <a:cubicBezTo>
                      <a:pt x="910" y="328"/>
                      <a:pt x="910" y="328"/>
                      <a:pt x="910" y="328"/>
                    </a:cubicBezTo>
                    <a:cubicBezTo>
                      <a:pt x="911" y="327"/>
                      <a:pt x="911" y="327"/>
                      <a:pt x="911" y="327"/>
                    </a:cubicBezTo>
                    <a:cubicBezTo>
                      <a:pt x="912" y="326"/>
                      <a:pt x="912" y="326"/>
                      <a:pt x="912" y="326"/>
                    </a:cubicBezTo>
                    <a:cubicBezTo>
                      <a:pt x="912" y="325"/>
                      <a:pt x="912" y="325"/>
                      <a:pt x="912" y="325"/>
                    </a:cubicBezTo>
                    <a:cubicBezTo>
                      <a:pt x="912" y="324"/>
                      <a:pt x="912" y="324"/>
                      <a:pt x="912" y="324"/>
                    </a:cubicBezTo>
                    <a:cubicBezTo>
                      <a:pt x="911" y="325"/>
                      <a:pt x="911" y="325"/>
                      <a:pt x="911" y="325"/>
                    </a:cubicBezTo>
                    <a:cubicBezTo>
                      <a:pt x="911" y="324"/>
                      <a:pt x="911" y="324"/>
                      <a:pt x="911" y="324"/>
                    </a:cubicBezTo>
                    <a:cubicBezTo>
                      <a:pt x="910" y="324"/>
                      <a:pt x="910" y="324"/>
                      <a:pt x="910" y="324"/>
                    </a:cubicBezTo>
                    <a:cubicBezTo>
                      <a:pt x="909" y="324"/>
                      <a:pt x="909" y="324"/>
                      <a:pt x="909" y="324"/>
                    </a:cubicBezTo>
                    <a:cubicBezTo>
                      <a:pt x="909" y="323"/>
                      <a:pt x="909" y="323"/>
                      <a:pt x="909" y="323"/>
                    </a:cubicBezTo>
                    <a:cubicBezTo>
                      <a:pt x="909" y="322"/>
                      <a:pt x="909" y="322"/>
                      <a:pt x="909" y="322"/>
                    </a:cubicBezTo>
                    <a:cubicBezTo>
                      <a:pt x="911" y="322"/>
                      <a:pt x="911" y="322"/>
                      <a:pt x="911" y="322"/>
                    </a:cubicBezTo>
                    <a:cubicBezTo>
                      <a:pt x="911" y="321"/>
                      <a:pt x="911" y="321"/>
                      <a:pt x="911" y="321"/>
                    </a:cubicBezTo>
                    <a:cubicBezTo>
                      <a:pt x="910" y="321"/>
                      <a:pt x="910" y="321"/>
                      <a:pt x="910" y="321"/>
                    </a:cubicBezTo>
                    <a:cubicBezTo>
                      <a:pt x="909" y="321"/>
                      <a:pt x="909" y="321"/>
                      <a:pt x="909" y="321"/>
                    </a:cubicBezTo>
                    <a:cubicBezTo>
                      <a:pt x="908" y="321"/>
                      <a:pt x="908" y="321"/>
                      <a:pt x="908" y="321"/>
                    </a:cubicBezTo>
                    <a:cubicBezTo>
                      <a:pt x="907" y="321"/>
                      <a:pt x="907" y="321"/>
                      <a:pt x="907" y="321"/>
                    </a:cubicBezTo>
                    <a:cubicBezTo>
                      <a:pt x="907" y="320"/>
                      <a:pt x="907" y="320"/>
                      <a:pt x="907" y="320"/>
                    </a:cubicBezTo>
                    <a:cubicBezTo>
                      <a:pt x="908" y="320"/>
                      <a:pt x="908" y="320"/>
                      <a:pt x="908" y="320"/>
                    </a:cubicBezTo>
                    <a:cubicBezTo>
                      <a:pt x="909" y="320"/>
                      <a:pt x="909" y="320"/>
                      <a:pt x="909" y="320"/>
                    </a:cubicBezTo>
                    <a:cubicBezTo>
                      <a:pt x="911" y="320"/>
                      <a:pt x="911" y="320"/>
                      <a:pt x="911" y="320"/>
                    </a:cubicBezTo>
                    <a:cubicBezTo>
                      <a:pt x="911" y="319"/>
                      <a:pt x="911" y="319"/>
                      <a:pt x="911" y="319"/>
                    </a:cubicBezTo>
                    <a:cubicBezTo>
                      <a:pt x="910" y="319"/>
                      <a:pt x="910" y="319"/>
                      <a:pt x="910" y="319"/>
                    </a:cubicBezTo>
                    <a:cubicBezTo>
                      <a:pt x="909" y="319"/>
                      <a:pt x="909" y="319"/>
                      <a:pt x="909" y="319"/>
                    </a:cubicBezTo>
                    <a:cubicBezTo>
                      <a:pt x="908" y="319"/>
                      <a:pt x="908" y="319"/>
                      <a:pt x="908" y="319"/>
                    </a:cubicBezTo>
                    <a:cubicBezTo>
                      <a:pt x="907" y="319"/>
                      <a:pt x="907" y="319"/>
                      <a:pt x="907" y="319"/>
                    </a:cubicBezTo>
                    <a:cubicBezTo>
                      <a:pt x="908" y="318"/>
                      <a:pt x="908" y="318"/>
                      <a:pt x="908" y="318"/>
                    </a:cubicBezTo>
                    <a:cubicBezTo>
                      <a:pt x="909" y="318"/>
                      <a:pt x="909" y="318"/>
                      <a:pt x="909" y="318"/>
                    </a:cubicBezTo>
                    <a:cubicBezTo>
                      <a:pt x="910" y="317"/>
                      <a:pt x="910" y="317"/>
                      <a:pt x="910" y="317"/>
                    </a:cubicBezTo>
                    <a:cubicBezTo>
                      <a:pt x="911" y="316"/>
                      <a:pt x="911" y="316"/>
                      <a:pt x="911" y="316"/>
                    </a:cubicBezTo>
                    <a:cubicBezTo>
                      <a:pt x="910" y="316"/>
                      <a:pt x="910" y="316"/>
                      <a:pt x="910" y="316"/>
                    </a:cubicBezTo>
                    <a:cubicBezTo>
                      <a:pt x="909" y="316"/>
                      <a:pt x="909" y="316"/>
                      <a:pt x="909" y="316"/>
                    </a:cubicBezTo>
                    <a:cubicBezTo>
                      <a:pt x="908" y="316"/>
                      <a:pt x="908" y="316"/>
                      <a:pt x="908" y="316"/>
                    </a:cubicBezTo>
                    <a:cubicBezTo>
                      <a:pt x="907" y="317"/>
                      <a:pt x="907" y="317"/>
                      <a:pt x="907" y="317"/>
                    </a:cubicBezTo>
                    <a:cubicBezTo>
                      <a:pt x="906" y="316"/>
                      <a:pt x="906" y="316"/>
                      <a:pt x="906" y="316"/>
                    </a:cubicBezTo>
                    <a:cubicBezTo>
                      <a:pt x="906" y="315"/>
                      <a:pt x="906" y="315"/>
                      <a:pt x="906" y="315"/>
                    </a:cubicBezTo>
                    <a:cubicBezTo>
                      <a:pt x="908" y="315"/>
                      <a:pt x="908" y="315"/>
                      <a:pt x="908" y="315"/>
                    </a:cubicBezTo>
                    <a:cubicBezTo>
                      <a:pt x="909" y="314"/>
                      <a:pt x="909" y="314"/>
                      <a:pt x="909" y="314"/>
                    </a:cubicBezTo>
                    <a:cubicBezTo>
                      <a:pt x="908" y="314"/>
                      <a:pt x="908" y="314"/>
                      <a:pt x="908" y="314"/>
                    </a:cubicBezTo>
                    <a:cubicBezTo>
                      <a:pt x="907" y="314"/>
                      <a:pt x="907" y="314"/>
                      <a:pt x="907" y="314"/>
                    </a:cubicBezTo>
                    <a:cubicBezTo>
                      <a:pt x="906" y="314"/>
                      <a:pt x="906" y="314"/>
                      <a:pt x="906" y="314"/>
                    </a:cubicBezTo>
                    <a:cubicBezTo>
                      <a:pt x="906" y="313"/>
                      <a:pt x="906" y="313"/>
                      <a:pt x="906" y="313"/>
                    </a:cubicBezTo>
                    <a:cubicBezTo>
                      <a:pt x="906" y="312"/>
                      <a:pt x="906" y="312"/>
                      <a:pt x="906" y="312"/>
                    </a:cubicBezTo>
                    <a:cubicBezTo>
                      <a:pt x="907" y="312"/>
                      <a:pt x="907" y="312"/>
                      <a:pt x="907" y="312"/>
                    </a:cubicBezTo>
                    <a:cubicBezTo>
                      <a:pt x="910" y="312"/>
                      <a:pt x="910" y="312"/>
                      <a:pt x="910" y="312"/>
                    </a:cubicBezTo>
                    <a:cubicBezTo>
                      <a:pt x="911" y="311"/>
                      <a:pt x="911" y="311"/>
                      <a:pt x="911" y="311"/>
                    </a:cubicBezTo>
                    <a:cubicBezTo>
                      <a:pt x="913" y="311"/>
                      <a:pt x="913" y="311"/>
                      <a:pt x="913" y="311"/>
                    </a:cubicBezTo>
                    <a:cubicBezTo>
                      <a:pt x="914" y="311"/>
                      <a:pt x="914" y="311"/>
                      <a:pt x="914" y="311"/>
                    </a:cubicBezTo>
                    <a:cubicBezTo>
                      <a:pt x="914" y="310"/>
                      <a:pt x="914" y="310"/>
                      <a:pt x="914" y="310"/>
                    </a:cubicBezTo>
                    <a:cubicBezTo>
                      <a:pt x="914" y="309"/>
                      <a:pt x="914" y="309"/>
                      <a:pt x="914" y="309"/>
                    </a:cubicBezTo>
                    <a:cubicBezTo>
                      <a:pt x="913" y="309"/>
                      <a:pt x="913" y="309"/>
                      <a:pt x="913" y="309"/>
                    </a:cubicBezTo>
                    <a:cubicBezTo>
                      <a:pt x="912" y="308"/>
                      <a:pt x="912" y="308"/>
                      <a:pt x="912" y="308"/>
                    </a:cubicBezTo>
                    <a:cubicBezTo>
                      <a:pt x="911" y="307"/>
                      <a:pt x="911" y="307"/>
                      <a:pt x="911" y="307"/>
                    </a:cubicBezTo>
                    <a:cubicBezTo>
                      <a:pt x="912" y="307"/>
                      <a:pt x="912" y="307"/>
                      <a:pt x="912" y="307"/>
                    </a:cubicBezTo>
                    <a:cubicBezTo>
                      <a:pt x="913" y="306"/>
                      <a:pt x="913" y="306"/>
                      <a:pt x="913" y="306"/>
                    </a:cubicBezTo>
                    <a:cubicBezTo>
                      <a:pt x="913" y="307"/>
                      <a:pt x="913" y="307"/>
                      <a:pt x="913" y="307"/>
                    </a:cubicBezTo>
                    <a:cubicBezTo>
                      <a:pt x="914" y="307"/>
                      <a:pt x="914" y="307"/>
                      <a:pt x="914" y="307"/>
                    </a:cubicBezTo>
                    <a:cubicBezTo>
                      <a:pt x="915" y="309"/>
                      <a:pt x="915" y="309"/>
                      <a:pt x="915" y="309"/>
                    </a:cubicBezTo>
                    <a:cubicBezTo>
                      <a:pt x="916" y="309"/>
                      <a:pt x="916" y="309"/>
                      <a:pt x="916" y="309"/>
                    </a:cubicBezTo>
                    <a:cubicBezTo>
                      <a:pt x="915" y="308"/>
                      <a:pt x="915" y="308"/>
                      <a:pt x="915" y="308"/>
                    </a:cubicBezTo>
                    <a:cubicBezTo>
                      <a:pt x="915" y="307"/>
                      <a:pt x="915" y="307"/>
                      <a:pt x="915" y="307"/>
                    </a:cubicBezTo>
                    <a:cubicBezTo>
                      <a:pt x="915" y="305"/>
                      <a:pt x="915" y="305"/>
                      <a:pt x="915" y="305"/>
                    </a:cubicBezTo>
                    <a:cubicBezTo>
                      <a:pt x="915" y="304"/>
                      <a:pt x="915" y="304"/>
                      <a:pt x="915" y="304"/>
                    </a:cubicBezTo>
                    <a:cubicBezTo>
                      <a:pt x="914" y="305"/>
                      <a:pt x="914" y="305"/>
                      <a:pt x="914" y="305"/>
                    </a:cubicBezTo>
                    <a:cubicBezTo>
                      <a:pt x="913" y="305"/>
                      <a:pt x="913" y="305"/>
                      <a:pt x="913" y="305"/>
                    </a:cubicBezTo>
                    <a:cubicBezTo>
                      <a:pt x="913" y="304"/>
                      <a:pt x="913" y="304"/>
                      <a:pt x="913" y="304"/>
                    </a:cubicBezTo>
                    <a:cubicBezTo>
                      <a:pt x="912" y="305"/>
                      <a:pt x="912" y="305"/>
                      <a:pt x="912" y="305"/>
                    </a:cubicBezTo>
                    <a:cubicBezTo>
                      <a:pt x="911" y="306"/>
                      <a:pt x="911" y="306"/>
                      <a:pt x="911" y="306"/>
                    </a:cubicBezTo>
                    <a:cubicBezTo>
                      <a:pt x="910" y="306"/>
                      <a:pt x="910" y="306"/>
                      <a:pt x="910" y="306"/>
                    </a:cubicBezTo>
                    <a:cubicBezTo>
                      <a:pt x="910" y="305"/>
                      <a:pt x="910" y="305"/>
                      <a:pt x="910" y="305"/>
                    </a:cubicBezTo>
                    <a:cubicBezTo>
                      <a:pt x="909" y="306"/>
                      <a:pt x="909" y="306"/>
                      <a:pt x="909" y="306"/>
                    </a:cubicBezTo>
                    <a:cubicBezTo>
                      <a:pt x="907" y="308"/>
                      <a:pt x="907" y="308"/>
                      <a:pt x="907" y="308"/>
                    </a:cubicBezTo>
                    <a:cubicBezTo>
                      <a:pt x="906" y="309"/>
                      <a:pt x="906" y="309"/>
                      <a:pt x="906" y="309"/>
                    </a:cubicBezTo>
                    <a:cubicBezTo>
                      <a:pt x="905" y="309"/>
                      <a:pt x="905" y="309"/>
                      <a:pt x="905" y="309"/>
                    </a:cubicBezTo>
                    <a:cubicBezTo>
                      <a:pt x="905" y="308"/>
                      <a:pt x="905" y="308"/>
                      <a:pt x="905" y="308"/>
                    </a:cubicBezTo>
                    <a:cubicBezTo>
                      <a:pt x="905" y="307"/>
                      <a:pt x="905" y="307"/>
                      <a:pt x="905" y="307"/>
                    </a:cubicBezTo>
                    <a:cubicBezTo>
                      <a:pt x="905" y="306"/>
                      <a:pt x="905" y="306"/>
                      <a:pt x="905" y="306"/>
                    </a:cubicBezTo>
                    <a:cubicBezTo>
                      <a:pt x="905" y="305"/>
                      <a:pt x="905" y="305"/>
                      <a:pt x="905" y="305"/>
                    </a:cubicBezTo>
                    <a:cubicBezTo>
                      <a:pt x="905" y="304"/>
                      <a:pt x="905" y="304"/>
                      <a:pt x="905" y="304"/>
                    </a:cubicBezTo>
                    <a:cubicBezTo>
                      <a:pt x="906" y="304"/>
                      <a:pt x="906" y="304"/>
                      <a:pt x="906" y="304"/>
                    </a:cubicBezTo>
                    <a:cubicBezTo>
                      <a:pt x="908" y="303"/>
                      <a:pt x="908" y="303"/>
                      <a:pt x="908" y="303"/>
                    </a:cubicBezTo>
                    <a:cubicBezTo>
                      <a:pt x="909" y="302"/>
                      <a:pt x="909" y="302"/>
                      <a:pt x="909" y="302"/>
                    </a:cubicBezTo>
                    <a:cubicBezTo>
                      <a:pt x="910" y="302"/>
                      <a:pt x="910" y="302"/>
                      <a:pt x="910" y="302"/>
                    </a:cubicBezTo>
                    <a:cubicBezTo>
                      <a:pt x="909" y="301"/>
                      <a:pt x="909" y="301"/>
                      <a:pt x="909" y="301"/>
                    </a:cubicBezTo>
                    <a:cubicBezTo>
                      <a:pt x="908" y="302"/>
                      <a:pt x="908" y="302"/>
                      <a:pt x="908" y="302"/>
                    </a:cubicBezTo>
                    <a:cubicBezTo>
                      <a:pt x="907" y="302"/>
                      <a:pt x="907" y="302"/>
                      <a:pt x="907" y="302"/>
                    </a:cubicBezTo>
                    <a:cubicBezTo>
                      <a:pt x="907" y="303"/>
                      <a:pt x="907" y="303"/>
                      <a:pt x="907" y="303"/>
                    </a:cubicBezTo>
                    <a:cubicBezTo>
                      <a:pt x="906" y="303"/>
                      <a:pt x="906" y="303"/>
                      <a:pt x="906" y="303"/>
                    </a:cubicBezTo>
                    <a:cubicBezTo>
                      <a:pt x="905" y="303"/>
                      <a:pt x="905" y="303"/>
                      <a:pt x="905" y="303"/>
                    </a:cubicBezTo>
                    <a:cubicBezTo>
                      <a:pt x="905" y="302"/>
                      <a:pt x="905" y="302"/>
                      <a:pt x="905" y="302"/>
                    </a:cubicBezTo>
                    <a:cubicBezTo>
                      <a:pt x="905" y="301"/>
                      <a:pt x="905" y="301"/>
                      <a:pt x="905" y="301"/>
                    </a:cubicBezTo>
                    <a:cubicBezTo>
                      <a:pt x="906" y="300"/>
                      <a:pt x="906" y="300"/>
                      <a:pt x="906" y="300"/>
                    </a:cubicBezTo>
                    <a:cubicBezTo>
                      <a:pt x="906" y="299"/>
                      <a:pt x="906" y="299"/>
                      <a:pt x="906" y="299"/>
                    </a:cubicBezTo>
                    <a:cubicBezTo>
                      <a:pt x="905" y="298"/>
                      <a:pt x="905" y="298"/>
                      <a:pt x="905" y="298"/>
                    </a:cubicBezTo>
                    <a:cubicBezTo>
                      <a:pt x="904" y="299"/>
                      <a:pt x="904" y="299"/>
                      <a:pt x="904" y="299"/>
                    </a:cubicBezTo>
                    <a:cubicBezTo>
                      <a:pt x="904" y="298"/>
                      <a:pt x="904" y="298"/>
                      <a:pt x="904" y="298"/>
                    </a:cubicBezTo>
                    <a:cubicBezTo>
                      <a:pt x="904" y="297"/>
                      <a:pt x="904" y="297"/>
                      <a:pt x="904" y="297"/>
                    </a:cubicBezTo>
                    <a:cubicBezTo>
                      <a:pt x="906" y="297"/>
                      <a:pt x="906" y="297"/>
                      <a:pt x="906" y="297"/>
                    </a:cubicBezTo>
                    <a:cubicBezTo>
                      <a:pt x="906" y="296"/>
                      <a:pt x="906" y="296"/>
                      <a:pt x="906" y="296"/>
                    </a:cubicBezTo>
                    <a:cubicBezTo>
                      <a:pt x="908" y="296"/>
                      <a:pt x="908" y="296"/>
                      <a:pt x="908" y="296"/>
                    </a:cubicBezTo>
                    <a:cubicBezTo>
                      <a:pt x="908" y="295"/>
                      <a:pt x="908" y="295"/>
                      <a:pt x="908" y="295"/>
                    </a:cubicBezTo>
                    <a:cubicBezTo>
                      <a:pt x="909" y="295"/>
                      <a:pt x="909" y="295"/>
                      <a:pt x="909" y="295"/>
                    </a:cubicBezTo>
                    <a:cubicBezTo>
                      <a:pt x="909" y="294"/>
                      <a:pt x="909" y="294"/>
                      <a:pt x="909" y="294"/>
                    </a:cubicBezTo>
                    <a:cubicBezTo>
                      <a:pt x="910" y="294"/>
                      <a:pt x="910" y="294"/>
                      <a:pt x="910" y="294"/>
                    </a:cubicBezTo>
                    <a:cubicBezTo>
                      <a:pt x="911" y="294"/>
                      <a:pt x="911" y="294"/>
                      <a:pt x="911" y="294"/>
                    </a:cubicBezTo>
                    <a:cubicBezTo>
                      <a:pt x="913" y="294"/>
                      <a:pt x="913" y="294"/>
                      <a:pt x="913" y="294"/>
                    </a:cubicBezTo>
                    <a:cubicBezTo>
                      <a:pt x="914" y="294"/>
                      <a:pt x="914" y="294"/>
                      <a:pt x="914" y="294"/>
                    </a:cubicBezTo>
                    <a:cubicBezTo>
                      <a:pt x="914" y="293"/>
                      <a:pt x="914" y="293"/>
                      <a:pt x="914" y="293"/>
                    </a:cubicBezTo>
                    <a:cubicBezTo>
                      <a:pt x="913" y="293"/>
                      <a:pt x="913" y="293"/>
                      <a:pt x="913" y="293"/>
                    </a:cubicBezTo>
                    <a:cubicBezTo>
                      <a:pt x="913" y="292"/>
                      <a:pt x="913" y="292"/>
                      <a:pt x="913" y="292"/>
                    </a:cubicBezTo>
                    <a:cubicBezTo>
                      <a:pt x="912" y="292"/>
                      <a:pt x="912" y="292"/>
                      <a:pt x="912" y="292"/>
                    </a:cubicBezTo>
                    <a:cubicBezTo>
                      <a:pt x="909" y="294"/>
                      <a:pt x="909" y="294"/>
                      <a:pt x="909" y="294"/>
                    </a:cubicBezTo>
                    <a:cubicBezTo>
                      <a:pt x="908" y="294"/>
                      <a:pt x="908" y="294"/>
                      <a:pt x="908" y="294"/>
                    </a:cubicBezTo>
                    <a:cubicBezTo>
                      <a:pt x="908" y="295"/>
                      <a:pt x="908" y="295"/>
                      <a:pt x="908" y="295"/>
                    </a:cubicBezTo>
                    <a:cubicBezTo>
                      <a:pt x="907" y="295"/>
                      <a:pt x="907" y="295"/>
                      <a:pt x="907" y="295"/>
                    </a:cubicBezTo>
                    <a:cubicBezTo>
                      <a:pt x="906" y="296"/>
                      <a:pt x="906" y="296"/>
                      <a:pt x="906" y="296"/>
                    </a:cubicBezTo>
                    <a:cubicBezTo>
                      <a:pt x="905" y="296"/>
                      <a:pt x="905" y="296"/>
                      <a:pt x="905" y="296"/>
                    </a:cubicBezTo>
                    <a:cubicBezTo>
                      <a:pt x="905" y="295"/>
                      <a:pt x="905" y="295"/>
                      <a:pt x="905" y="295"/>
                    </a:cubicBezTo>
                    <a:cubicBezTo>
                      <a:pt x="904" y="295"/>
                      <a:pt x="904" y="295"/>
                      <a:pt x="904" y="295"/>
                    </a:cubicBezTo>
                    <a:cubicBezTo>
                      <a:pt x="905" y="294"/>
                      <a:pt x="905" y="294"/>
                      <a:pt x="905" y="294"/>
                    </a:cubicBezTo>
                    <a:cubicBezTo>
                      <a:pt x="904" y="293"/>
                      <a:pt x="904" y="293"/>
                      <a:pt x="904" y="293"/>
                    </a:cubicBezTo>
                    <a:cubicBezTo>
                      <a:pt x="903" y="293"/>
                      <a:pt x="903" y="293"/>
                      <a:pt x="903" y="293"/>
                    </a:cubicBezTo>
                    <a:cubicBezTo>
                      <a:pt x="903" y="292"/>
                      <a:pt x="903" y="292"/>
                      <a:pt x="903" y="292"/>
                    </a:cubicBezTo>
                    <a:cubicBezTo>
                      <a:pt x="904" y="291"/>
                      <a:pt x="904" y="291"/>
                      <a:pt x="904" y="291"/>
                    </a:cubicBezTo>
                    <a:cubicBezTo>
                      <a:pt x="905" y="291"/>
                      <a:pt x="905" y="291"/>
                      <a:pt x="905" y="291"/>
                    </a:cubicBezTo>
                    <a:cubicBezTo>
                      <a:pt x="906" y="291"/>
                      <a:pt x="906" y="291"/>
                      <a:pt x="906" y="291"/>
                    </a:cubicBezTo>
                    <a:cubicBezTo>
                      <a:pt x="907" y="291"/>
                      <a:pt x="907" y="291"/>
                      <a:pt x="907" y="291"/>
                    </a:cubicBezTo>
                    <a:cubicBezTo>
                      <a:pt x="908" y="291"/>
                      <a:pt x="908" y="291"/>
                      <a:pt x="908" y="291"/>
                    </a:cubicBezTo>
                    <a:cubicBezTo>
                      <a:pt x="909" y="290"/>
                      <a:pt x="909" y="290"/>
                      <a:pt x="909" y="290"/>
                    </a:cubicBezTo>
                    <a:cubicBezTo>
                      <a:pt x="910" y="290"/>
                      <a:pt x="910" y="290"/>
                      <a:pt x="910" y="290"/>
                    </a:cubicBezTo>
                    <a:cubicBezTo>
                      <a:pt x="910" y="289"/>
                      <a:pt x="910" y="289"/>
                      <a:pt x="910" y="289"/>
                    </a:cubicBezTo>
                    <a:cubicBezTo>
                      <a:pt x="909" y="289"/>
                      <a:pt x="909" y="289"/>
                      <a:pt x="909" y="289"/>
                    </a:cubicBezTo>
                    <a:cubicBezTo>
                      <a:pt x="908" y="290"/>
                      <a:pt x="908" y="290"/>
                      <a:pt x="908" y="290"/>
                    </a:cubicBezTo>
                    <a:cubicBezTo>
                      <a:pt x="907" y="290"/>
                      <a:pt x="907" y="290"/>
                      <a:pt x="907" y="290"/>
                    </a:cubicBezTo>
                    <a:cubicBezTo>
                      <a:pt x="906" y="290"/>
                      <a:pt x="906" y="290"/>
                      <a:pt x="906" y="290"/>
                    </a:cubicBezTo>
                    <a:cubicBezTo>
                      <a:pt x="905" y="289"/>
                      <a:pt x="905" y="289"/>
                      <a:pt x="905" y="289"/>
                    </a:cubicBezTo>
                    <a:cubicBezTo>
                      <a:pt x="904" y="290"/>
                      <a:pt x="904" y="290"/>
                      <a:pt x="904" y="290"/>
                    </a:cubicBezTo>
                    <a:cubicBezTo>
                      <a:pt x="903" y="291"/>
                      <a:pt x="903" y="291"/>
                      <a:pt x="903" y="291"/>
                    </a:cubicBezTo>
                    <a:cubicBezTo>
                      <a:pt x="903" y="290"/>
                      <a:pt x="903" y="290"/>
                      <a:pt x="903" y="290"/>
                    </a:cubicBezTo>
                    <a:cubicBezTo>
                      <a:pt x="902" y="290"/>
                      <a:pt x="902" y="290"/>
                      <a:pt x="902" y="290"/>
                    </a:cubicBezTo>
                    <a:cubicBezTo>
                      <a:pt x="902" y="289"/>
                      <a:pt x="902" y="289"/>
                      <a:pt x="902" y="289"/>
                    </a:cubicBezTo>
                    <a:cubicBezTo>
                      <a:pt x="904" y="289"/>
                      <a:pt x="904" y="289"/>
                      <a:pt x="904" y="289"/>
                    </a:cubicBezTo>
                    <a:cubicBezTo>
                      <a:pt x="906" y="288"/>
                      <a:pt x="906" y="288"/>
                      <a:pt x="906" y="288"/>
                    </a:cubicBezTo>
                    <a:cubicBezTo>
                      <a:pt x="907" y="287"/>
                      <a:pt x="907" y="287"/>
                      <a:pt x="907" y="287"/>
                    </a:cubicBezTo>
                    <a:cubicBezTo>
                      <a:pt x="908" y="287"/>
                      <a:pt x="908" y="287"/>
                      <a:pt x="908" y="287"/>
                    </a:cubicBezTo>
                    <a:cubicBezTo>
                      <a:pt x="909" y="286"/>
                      <a:pt x="909" y="286"/>
                      <a:pt x="909" y="286"/>
                    </a:cubicBezTo>
                    <a:cubicBezTo>
                      <a:pt x="911" y="284"/>
                      <a:pt x="911" y="284"/>
                      <a:pt x="911" y="284"/>
                    </a:cubicBezTo>
                    <a:cubicBezTo>
                      <a:pt x="913" y="283"/>
                      <a:pt x="913" y="283"/>
                      <a:pt x="913" y="283"/>
                    </a:cubicBezTo>
                    <a:cubicBezTo>
                      <a:pt x="915" y="282"/>
                      <a:pt x="915" y="282"/>
                      <a:pt x="915" y="282"/>
                    </a:cubicBezTo>
                    <a:cubicBezTo>
                      <a:pt x="916" y="282"/>
                      <a:pt x="916" y="282"/>
                      <a:pt x="916" y="282"/>
                    </a:cubicBezTo>
                    <a:cubicBezTo>
                      <a:pt x="916" y="281"/>
                      <a:pt x="916" y="281"/>
                      <a:pt x="916" y="281"/>
                    </a:cubicBezTo>
                    <a:cubicBezTo>
                      <a:pt x="915" y="281"/>
                      <a:pt x="915" y="281"/>
                      <a:pt x="915" y="281"/>
                    </a:cubicBezTo>
                    <a:cubicBezTo>
                      <a:pt x="914" y="282"/>
                      <a:pt x="914" y="282"/>
                      <a:pt x="914" y="282"/>
                    </a:cubicBezTo>
                    <a:cubicBezTo>
                      <a:pt x="911" y="283"/>
                      <a:pt x="911" y="283"/>
                      <a:pt x="911" y="283"/>
                    </a:cubicBezTo>
                    <a:cubicBezTo>
                      <a:pt x="909" y="284"/>
                      <a:pt x="909" y="284"/>
                      <a:pt x="909" y="284"/>
                    </a:cubicBezTo>
                    <a:cubicBezTo>
                      <a:pt x="908" y="286"/>
                      <a:pt x="908" y="286"/>
                      <a:pt x="908" y="286"/>
                    </a:cubicBezTo>
                    <a:cubicBezTo>
                      <a:pt x="907" y="286"/>
                      <a:pt x="907" y="286"/>
                      <a:pt x="907" y="286"/>
                    </a:cubicBezTo>
                    <a:cubicBezTo>
                      <a:pt x="905" y="287"/>
                      <a:pt x="905" y="287"/>
                      <a:pt x="905" y="287"/>
                    </a:cubicBezTo>
                    <a:cubicBezTo>
                      <a:pt x="904" y="287"/>
                      <a:pt x="904" y="287"/>
                      <a:pt x="904" y="287"/>
                    </a:cubicBezTo>
                    <a:cubicBezTo>
                      <a:pt x="902" y="288"/>
                      <a:pt x="902" y="288"/>
                      <a:pt x="902" y="288"/>
                    </a:cubicBezTo>
                    <a:cubicBezTo>
                      <a:pt x="901" y="288"/>
                      <a:pt x="901" y="288"/>
                      <a:pt x="901" y="288"/>
                    </a:cubicBezTo>
                    <a:cubicBezTo>
                      <a:pt x="901" y="287"/>
                      <a:pt x="901" y="287"/>
                      <a:pt x="901" y="287"/>
                    </a:cubicBezTo>
                    <a:cubicBezTo>
                      <a:pt x="901" y="285"/>
                      <a:pt x="901" y="285"/>
                      <a:pt x="901" y="285"/>
                    </a:cubicBezTo>
                    <a:cubicBezTo>
                      <a:pt x="902" y="284"/>
                      <a:pt x="902" y="284"/>
                      <a:pt x="902" y="284"/>
                    </a:cubicBezTo>
                    <a:cubicBezTo>
                      <a:pt x="903" y="284"/>
                      <a:pt x="903" y="284"/>
                      <a:pt x="903" y="284"/>
                    </a:cubicBezTo>
                    <a:cubicBezTo>
                      <a:pt x="904" y="285"/>
                      <a:pt x="904" y="285"/>
                      <a:pt x="904" y="285"/>
                    </a:cubicBezTo>
                    <a:cubicBezTo>
                      <a:pt x="906" y="285"/>
                      <a:pt x="906" y="285"/>
                      <a:pt x="906" y="285"/>
                    </a:cubicBezTo>
                    <a:cubicBezTo>
                      <a:pt x="907" y="285"/>
                      <a:pt x="907" y="285"/>
                      <a:pt x="907" y="285"/>
                    </a:cubicBezTo>
                    <a:cubicBezTo>
                      <a:pt x="906" y="284"/>
                      <a:pt x="906" y="284"/>
                      <a:pt x="906" y="284"/>
                    </a:cubicBezTo>
                    <a:cubicBezTo>
                      <a:pt x="905" y="284"/>
                      <a:pt x="905" y="284"/>
                      <a:pt x="905" y="284"/>
                    </a:cubicBezTo>
                    <a:cubicBezTo>
                      <a:pt x="904" y="284"/>
                      <a:pt x="904" y="284"/>
                      <a:pt x="904" y="284"/>
                    </a:cubicBezTo>
                    <a:cubicBezTo>
                      <a:pt x="903" y="284"/>
                      <a:pt x="903" y="284"/>
                      <a:pt x="903" y="284"/>
                    </a:cubicBezTo>
                    <a:cubicBezTo>
                      <a:pt x="903" y="283"/>
                      <a:pt x="903" y="283"/>
                      <a:pt x="903" y="283"/>
                    </a:cubicBezTo>
                    <a:cubicBezTo>
                      <a:pt x="904" y="282"/>
                      <a:pt x="904" y="282"/>
                      <a:pt x="904" y="282"/>
                    </a:cubicBezTo>
                    <a:cubicBezTo>
                      <a:pt x="905" y="283"/>
                      <a:pt x="905" y="283"/>
                      <a:pt x="905" y="283"/>
                    </a:cubicBezTo>
                    <a:cubicBezTo>
                      <a:pt x="906" y="283"/>
                      <a:pt x="906" y="283"/>
                      <a:pt x="906" y="283"/>
                    </a:cubicBezTo>
                    <a:cubicBezTo>
                      <a:pt x="907" y="283"/>
                      <a:pt x="907" y="283"/>
                      <a:pt x="907" y="283"/>
                    </a:cubicBezTo>
                    <a:cubicBezTo>
                      <a:pt x="907" y="282"/>
                      <a:pt x="907" y="282"/>
                      <a:pt x="907" y="282"/>
                    </a:cubicBezTo>
                    <a:cubicBezTo>
                      <a:pt x="906" y="282"/>
                      <a:pt x="906" y="282"/>
                      <a:pt x="906" y="282"/>
                    </a:cubicBezTo>
                    <a:cubicBezTo>
                      <a:pt x="905" y="282"/>
                      <a:pt x="905" y="282"/>
                      <a:pt x="905" y="282"/>
                    </a:cubicBezTo>
                    <a:cubicBezTo>
                      <a:pt x="906" y="281"/>
                      <a:pt x="906" y="281"/>
                      <a:pt x="906" y="281"/>
                    </a:cubicBezTo>
                    <a:cubicBezTo>
                      <a:pt x="907" y="281"/>
                      <a:pt x="907" y="281"/>
                      <a:pt x="907" y="281"/>
                    </a:cubicBezTo>
                    <a:cubicBezTo>
                      <a:pt x="908" y="281"/>
                      <a:pt x="908" y="281"/>
                      <a:pt x="908" y="281"/>
                    </a:cubicBezTo>
                    <a:cubicBezTo>
                      <a:pt x="909" y="281"/>
                      <a:pt x="909" y="281"/>
                      <a:pt x="909" y="281"/>
                    </a:cubicBezTo>
                    <a:cubicBezTo>
                      <a:pt x="909" y="280"/>
                      <a:pt x="909" y="280"/>
                      <a:pt x="909" y="280"/>
                    </a:cubicBezTo>
                    <a:cubicBezTo>
                      <a:pt x="909" y="279"/>
                      <a:pt x="909" y="279"/>
                      <a:pt x="909" y="279"/>
                    </a:cubicBezTo>
                    <a:cubicBezTo>
                      <a:pt x="908" y="279"/>
                      <a:pt x="908" y="279"/>
                      <a:pt x="908" y="279"/>
                    </a:cubicBezTo>
                    <a:cubicBezTo>
                      <a:pt x="907" y="280"/>
                      <a:pt x="907" y="280"/>
                      <a:pt x="907" y="280"/>
                    </a:cubicBezTo>
                    <a:cubicBezTo>
                      <a:pt x="906" y="280"/>
                      <a:pt x="906" y="280"/>
                      <a:pt x="906" y="280"/>
                    </a:cubicBezTo>
                    <a:cubicBezTo>
                      <a:pt x="904" y="279"/>
                      <a:pt x="904" y="279"/>
                      <a:pt x="904" y="279"/>
                    </a:cubicBezTo>
                    <a:cubicBezTo>
                      <a:pt x="902" y="279"/>
                      <a:pt x="902" y="279"/>
                      <a:pt x="902" y="279"/>
                    </a:cubicBezTo>
                    <a:cubicBezTo>
                      <a:pt x="902" y="278"/>
                      <a:pt x="902" y="278"/>
                      <a:pt x="902" y="278"/>
                    </a:cubicBezTo>
                    <a:cubicBezTo>
                      <a:pt x="903" y="278"/>
                      <a:pt x="903" y="278"/>
                      <a:pt x="903" y="278"/>
                    </a:cubicBezTo>
                    <a:cubicBezTo>
                      <a:pt x="904" y="278"/>
                      <a:pt x="904" y="278"/>
                      <a:pt x="904" y="278"/>
                    </a:cubicBezTo>
                    <a:cubicBezTo>
                      <a:pt x="904" y="277"/>
                      <a:pt x="904" y="277"/>
                      <a:pt x="904" y="277"/>
                    </a:cubicBezTo>
                    <a:cubicBezTo>
                      <a:pt x="903" y="277"/>
                      <a:pt x="903" y="277"/>
                      <a:pt x="903" y="277"/>
                    </a:cubicBezTo>
                    <a:cubicBezTo>
                      <a:pt x="903" y="276"/>
                      <a:pt x="903" y="276"/>
                      <a:pt x="903" y="276"/>
                    </a:cubicBezTo>
                    <a:cubicBezTo>
                      <a:pt x="904" y="276"/>
                      <a:pt x="904" y="276"/>
                      <a:pt x="904" y="276"/>
                    </a:cubicBezTo>
                    <a:cubicBezTo>
                      <a:pt x="905" y="276"/>
                      <a:pt x="905" y="276"/>
                      <a:pt x="905" y="276"/>
                    </a:cubicBezTo>
                    <a:cubicBezTo>
                      <a:pt x="906" y="276"/>
                      <a:pt x="906" y="276"/>
                      <a:pt x="906" y="276"/>
                    </a:cubicBezTo>
                    <a:cubicBezTo>
                      <a:pt x="910" y="276"/>
                      <a:pt x="910" y="276"/>
                      <a:pt x="910" y="276"/>
                    </a:cubicBezTo>
                    <a:cubicBezTo>
                      <a:pt x="911" y="276"/>
                      <a:pt x="911" y="276"/>
                      <a:pt x="911" y="276"/>
                    </a:cubicBezTo>
                    <a:cubicBezTo>
                      <a:pt x="912" y="276"/>
                      <a:pt x="912" y="276"/>
                      <a:pt x="912" y="276"/>
                    </a:cubicBezTo>
                    <a:cubicBezTo>
                      <a:pt x="913" y="276"/>
                      <a:pt x="913" y="276"/>
                      <a:pt x="913" y="276"/>
                    </a:cubicBezTo>
                    <a:cubicBezTo>
                      <a:pt x="913" y="275"/>
                      <a:pt x="913" y="275"/>
                      <a:pt x="913" y="275"/>
                    </a:cubicBezTo>
                    <a:cubicBezTo>
                      <a:pt x="911" y="275"/>
                      <a:pt x="911" y="275"/>
                      <a:pt x="911" y="275"/>
                    </a:cubicBezTo>
                    <a:cubicBezTo>
                      <a:pt x="909" y="275"/>
                      <a:pt x="909" y="275"/>
                      <a:pt x="909" y="275"/>
                    </a:cubicBezTo>
                    <a:cubicBezTo>
                      <a:pt x="907" y="275"/>
                      <a:pt x="907" y="275"/>
                      <a:pt x="907" y="275"/>
                    </a:cubicBezTo>
                    <a:cubicBezTo>
                      <a:pt x="906" y="275"/>
                      <a:pt x="906" y="275"/>
                      <a:pt x="906" y="275"/>
                    </a:cubicBezTo>
                    <a:cubicBezTo>
                      <a:pt x="905" y="275"/>
                      <a:pt x="905" y="275"/>
                      <a:pt x="905" y="275"/>
                    </a:cubicBezTo>
                    <a:cubicBezTo>
                      <a:pt x="904" y="275"/>
                      <a:pt x="904" y="275"/>
                      <a:pt x="904" y="275"/>
                    </a:cubicBezTo>
                    <a:cubicBezTo>
                      <a:pt x="903" y="276"/>
                      <a:pt x="903" y="276"/>
                      <a:pt x="903" y="276"/>
                    </a:cubicBezTo>
                    <a:cubicBezTo>
                      <a:pt x="903" y="275"/>
                      <a:pt x="903" y="275"/>
                      <a:pt x="903" y="275"/>
                    </a:cubicBezTo>
                    <a:cubicBezTo>
                      <a:pt x="904" y="274"/>
                      <a:pt x="904" y="274"/>
                      <a:pt x="904" y="274"/>
                    </a:cubicBezTo>
                    <a:cubicBezTo>
                      <a:pt x="905" y="273"/>
                      <a:pt x="905" y="273"/>
                      <a:pt x="905" y="273"/>
                    </a:cubicBezTo>
                    <a:cubicBezTo>
                      <a:pt x="906" y="273"/>
                      <a:pt x="906" y="273"/>
                      <a:pt x="906" y="273"/>
                    </a:cubicBezTo>
                    <a:cubicBezTo>
                      <a:pt x="907" y="272"/>
                      <a:pt x="907" y="272"/>
                      <a:pt x="907" y="272"/>
                    </a:cubicBezTo>
                    <a:cubicBezTo>
                      <a:pt x="907" y="271"/>
                      <a:pt x="907" y="271"/>
                      <a:pt x="907" y="271"/>
                    </a:cubicBezTo>
                    <a:cubicBezTo>
                      <a:pt x="908" y="270"/>
                      <a:pt x="908" y="270"/>
                      <a:pt x="908" y="270"/>
                    </a:cubicBezTo>
                    <a:cubicBezTo>
                      <a:pt x="909" y="270"/>
                      <a:pt x="909" y="270"/>
                      <a:pt x="909" y="270"/>
                    </a:cubicBezTo>
                    <a:cubicBezTo>
                      <a:pt x="909" y="271"/>
                      <a:pt x="909" y="271"/>
                      <a:pt x="909" y="271"/>
                    </a:cubicBezTo>
                    <a:cubicBezTo>
                      <a:pt x="910" y="271"/>
                      <a:pt x="910" y="271"/>
                      <a:pt x="910" y="271"/>
                    </a:cubicBezTo>
                    <a:cubicBezTo>
                      <a:pt x="911" y="270"/>
                      <a:pt x="911" y="270"/>
                      <a:pt x="911" y="270"/>
                    </a:cubicBezTo>
                    <a:cubicBezTo>
                      <a:pt x="912" y="270"/>
                      <a:pt x="912" y="270"/>
                      <a:pt x="912" y="270"/>
                    </a:cubicBezTo>
                    <a:cubicBezTo>
                      <a:pt x="912" y="271"/>
                      <a:pt x="912" y="271"/>
                      <a:pt x="912" y="271"/>
                    </a:cubicBezTo>
                    <a:cubicBezTo>
                      <a:pt x="913" y="271"/>
                      <a:pt x="913" y="271"/>
                      <a:pt x="913" y="271"/>
                    </a:cubicBezTo>
                    <a:cubicBezTo>
                      <a:pt x="914" y="272"/>
                      <a:pt x="914" y="272"/>
                      <a:pt x="914" y="272"/>
                    </a:cubicBezTo>
                    <a:cubicBezTo>
                      <a:pt x="916" y="272"/>
                      <a:pt x="916" y="272"/>
                      <a:pt x="916" y="272"/>
                    </a:cubicBezTo>
                    <a:cubicBezTo>
                      <a:pt x="917" y="272"/>
                      <a:pt x="917" y="272"/>
                      <a:pt x="917" y="272"/>
                    </a:cubicBezTo>
                    <a:cubicBezTo>
                      <a:pt x="918" y="274"/>
                      <a:pt x="918" y="274"/>
                      <a:pt x="918" y="274"/>
                    </a:cubicBezTo>
                    <a:cubicBezTo>
                      <a:pt x="919" y="275"/>
                      <a:pt x="919" y="275"/>
                      <a:pt x="919" y="275"/>
                    </a:cubicBezTo>
                    <a:cubicBezTo>
                      <a:pt x="921" y="275"/>
                      <a:pt x="921" y="275"/>
                      <a:pt x="921" y="275"/>
                    </a:cubicBezTo>
                    <a:cubicBezTo>
                      <a:pt x="922" y="275"/>
                      <a:pt x="922" y="275"/>
                      <a:pt x="922" y="275"/>
                    </a:cubicBezTo>
                    <a:cubicBezTo>
                      <a:pt x="923" y="274"/>
                      <a:pt x="923" y="274"/>
                      <a:pt x="923" y="274"/>
                    </a:cubicBezTo>
                    <a:cubicBezTo>
                      <a:pt x="922" y="274"/>
                      <a:pt x="922" y="274"/>
                      <a:pt x="922" y="274"/>
                    </a:cubicBezTo>
                    <a:cubicBezTo>
                      <a:pt x="921" y="274"/>
                      <a:pt x="921" y="274"/>
                      <a:pt x="921" y="274"/>
                    </a:cubicBezTo>
                    <a:cubicBezTo>
                      <a:pt x="920" y="274"/>
                      <a:pt x="920" y="274"/>
                      <a:pt x="920" y="274"/>
                    </a:cubicBezTo>
                    <a:cubicBezTo>
                      <a:pt x="919" y="273"/>
                      <a:pt x="919" y="273"/>
                      <a:pt x="919" y="273"/>
                    </a:cubicBezTo>
                    <a:cubicBezTo>
                      <a:pt x="918" y="272"/>
                      <a:pt x="918" y="272"/>
                      <a:pt x="918" y="272"/>
                    </a:cubicBezTo>
                    <a:cubicBezTo>
                      <a:pt x="918" y="271"/>
                      <a:pt x="918" y="271"/>
                      <a:pt x="918" y="271"/>
                    </a:cubicBezTo>
                    <a:cubicBezTo>
                      <a:pt x="920" y="271"/>
                      <a:pt x="920" y="271"/>
                      <a:pt x="920" y="271"/>
                    </a:cubicBezTo>
                    <a:cubicBezTo>
                      <a:pt x="922" y="271"/>
                      <a:pt x="922" y="271"/>
                      <a:pt x="922" y="271"/>
                    </a:cubicBezTo>
                    <a:cubicBezTo>
                      <a:pt x="922" y="270"/>
                      <a:pt x="922" y="270"/>
                      <a:pt x="922" y="270"/>
                    </a:cubicBezTo>
                    <a:cubicBezTo>
                      <a:pt x="922" y="269"/>
                      <a:pt x="922" y="269"/>
                      <a:pt x="922" y="269"/>
                    </a:cubicBezTo>
                    <a:cubicBezTo>
                      <a:pt x="921" y="269"/>
                      <a:pt x="921" y="269"/>
                      <a:pt x="921" y="269"/>
                    </a:cubicBezTo>
                    <a:cubicBezTo>
                      <a:pt x="920" y="269"/>
                      <a:pt x="920" y="269"/>
                      <a:pt x="920" y="269"/>
                    </a:cubicBezTo>
                    <a:cubicBezTo>
                      <a:pt x="920" y="270"/>
                      <a:pt x="920" y="270"/>
                      <a:pt x="920" y="270"/>
                    </a:cubicBezTo>
                    <a:cubicBezTo>
                      <a:pt x="918" y="270"/>
                      <a:pt x="918" y="270"/>
                      <a:pt x="918" y="270"/>
                    </a:cubicBezTo>
                    <a:cubicBezTo>
                      <a:pt x="917" y="269"/>
                      <a:pt x="917" y="269"/>
                      <a:pt x="917" y="269"/>
                    </a:cubicBezTo>
                    <a:cubicBezTo>
                      <a:pt x="918" y="269"/>
                      <a:pt x="918" y="269"/>
                      <a:pt x="918" y="269"/>
                    </a:cubicBezTo>
                    <a:cubicBezTo>
                      <a:pt x="919" y="269"/>
                      <a:pt x="919" y="269"/>
                      <a:pt x="919" y="269"/>
                    </a:cubicBezTo>
                    <a:cubicBezTo>
                      <a:pt x="918" y="268"/>
                      <a:pt x="918" y="268"/>
                      <a:pt x="918" y="268"/>
                    </a:cubicBezTo>
                    <a:cubicBezTo>
                      <a:pt x="917" y="268"/>
                      <a:pt x="917" y="268"/>
                      <a:pt x="917" y="268"/>
                    </a:cubicBezTo>
                    <a:cubicBezTo>
                      <a:pt x="916" y="268"/>
                      <a:pt x="916" y="268"/>
                      <a:pt x="916" y="268"/>
                    </a:cubicBezTo>
                    <a:cubicBezTo>
                      <a:pt x="916" y="269"/>
                      <a:pt x="916" y="269"/>
                      <a:pt x="916" y="269"/>
                    </a:cubicBezTo>
                    <a:cubicBezTo>
                      <a:pt x="917" y="269"/>
                      <a:pt x="917" y="269"/>
                      <a:pt x="917" y="269"/>
                    </a:cubicBezTo>
                    <a:cubicBezTo>
                      <a:pt x="917" y="270"/>
                      <a:pt x="917" y="270"/>
                      <a:pt x="917" y="270"/>
                    </a:cubicBezTo>
                    <a:cubicBezTo>
                      <a:pt x="916" y="271"/>
                      <a:pt x="916" y="271"/>
                      <a:pt x="916" y="271"/>
                    </a:cubicBezTo>
                    <a:cubicBezTo>
                      <a:pt x="915" y="271"/>
                      <a:pt x="915" y="271"/>
                      <a:pt x="915" y="271"/>
                    </a:cubicBezTo>
                    <a:cubicBezTo>
                      <a:pt x="914" y="271"/>
                      <a:pt x="914" y="271"/>
                      <a:pt x="914" y="271"/>
                    </a:cubicBezTo>
                    <a:cubicBezTo>
                      <a:pt x="913" y="270"/>
                      <a:pt x="913" y="270"/>
                      <a:pt x="913" y="270"/>
                    </a:cubicBezTo>
                    <a:cubicBezTo>
                      <a:pt x="912" y="270"/>
                      <a:pt x="912" y="270"/>
                      <a:pt x="912" y="270"/>
                    </a:cubicBezTo>
                    <a:cubicBezTo>
                      <a:pt x="912" y="269"/>
                      <a:pt x="912" y="269"/>
                      <a:pt x="912" y="269"/>
                    </a:cubicBezTo>
                    <a:cubicBezTo>
                      <a:pt x="911" y="269"/>
                      <a:pt x="911" y="269"/>
                      <a:pt x="911" y="269"/>
                    </a:cubicBezTo>
                    <a:cubicBezTo>
                      <a:pt x="910" y="269"/>
                      <a:pt x="910" y="269"/>
                      <a:pt x="910" y="269"/>
                    </a:cubicBezTo>
                    <a:cubicBezTo>
                      <a:pt x="909" y="269"/>
                      <a:pt x="909" y="269"/>
                      <a:pt x="909" y="269"/>
                    </a:cubicBezTo>
                    <a:cubicBezTo>
                      <a:pt x="908" y="269"/>
                      <a:pt x="908" y="269"/>
                      <a:pt x="908" y="269"/>
                    </a:cubicBezTo>
                    <a:cubicBezTo>
                      <a:pt x="907" y="270"/>
                      <a:pt x="907" y="270"/>
                      <a:pt x="907" y="270"/>
                    </a:cubicBezTo>
                    <a:cubicBezTo>
                      <a:pt x="906" y="271"/>
                      <a:pt x="906" y="271"/>
                      <a:pt x="906" y="271"/>
                    </a:cubicBezTo>
                    <a:cubicBezTo>
                      <a:pt x="905" y="272"/>
                      <a:pt x="905" y="272"/>
                      <a:pt x="905" y="272"/>
                    </a:cubicBezTo>
                    <a:cubicBezTo>
                      <a:pt x="905" y="271"/>
                      <a:pt x="905" y="271"/>
                      <a:pt x="905" y="271"/>
                    </a:cubicBezTo>
                    <a:cubicBezTo>
                      <a:pt x="906" y="269"/>
                      <a:pt x="906" y="269"/>
                      <a:pt x="906" y="269"/>
                    </a:cubicBezTo>
                    <a:cubicBezTo>
                      <a:pt x="907" y="269"/>
                      <a:pt x="907" y="269"/>
                      <a:pt x="907" y="269"/>
                    </a:cubicBezTo>
                    <a:cubicBezTo>
                      <a:pt x="907" y="268"/>
                      <a:pt x="907" y="268"/>
                      <a:pt x="907" y="268"/>
                    </a:cubicBezTo>
                    <a:cubicBezTo>
                      <a:pt x="908" y="267"/>
                      <a:pt x="908" y="267"/>
                      <a:pt x="908" y="267"/>
                    </a:cubicBezTo>
                    <a:cubicBezTo>
                      <a:pt x="909" y="266"/>
                      <a:pt x="909" y="266"/>
                      <a:pt x="909" y="266"/>
                    </a:cubicBezTo>
                    <a:cubicBezTo>
                      <a:pt x="910" y="267"/>
                      <a:pt x="910" y="267"/>
                      <a:pt x="910" y="267"/>
                    </a:cubicBezTo>
                    <a:cubicBezTo>
                      <a:pt x="911" y="267"/>
                      <a:pt x="911" y="267"/>
                      <a:pt x="911" y="267"/>
                    </a:cubicBezTo>
                    <a:cubicBezTo>
                      <a:pt x="911" y="266"/>
                      <a:pt x="911" y="266"/>
                      <a:pt x="911" y="266"/>
                    </a:cubicBezTo>
                    <a:cubicBezTo>
                      <a:pt x="909" y="265"/>
                      <a:pt x="909" y="265"/>
                      <a:pt x="909" y="265"/>
                    </a:cubicBezTo>
                    <a:cubicBezTo>
                      <a:pt x="909" y="264"/>
                      <a:pt x="909" y="264"/>
                      <a:pt x="909" y="264"/>
                    </a:cubicBezTo>
                    <a:cubicBezTo>
                      <a:pt x="908" y="264"/>
                      <a:pt x="908" y="264"/>
                      <a:pt x="908" y="264"/>
                    </a:cubicBezTo>
                    <a:cubicBezTo>
                      <a:pt x="908" y="263"/>
                      <a:pt x="908" y="263"/>
                      <a:pt x="908" y="263"/>
                    </a:cubicBezTo>
                    <a:cubicBezTo>
                      <a:pt x="909" y="263"/>
                      <a:pt x="909" y="263"/>
                      <a:pt x="909" y="263"/>
                    </a:cubicBezTo>
                    <a:cubicBezTo>
                      <a:pt x="910" y="263"/>
                      <a:pt x="910" y="263"/>
                      <a:pt x="910" y="263"/>
                    </a:cubicBezTo>
                    <a:cubicBezTo>
                      <a:pt x="911" y="265"/>
                      <a:pt x="911" y="265"/>
                      <a:pt x="911" y="265"/>
                    </a:cubicBezTo>
                    <a:cubicBezTo>
                      <a:pt x="912" y="266"/>
                      <a:pt x="912" y="266"/>
                      <a:pt x="912" y="266"/>
                    </a:cubicBezTo>
                    <a:cubicBezTo>
                      <a:pt x="912" y="265"/>
                      <a:pt x="912" y="265"/>
                      <a:pt x="912" y="265"/>
                    </a:cubicBezTo>
                    <a:cubicBezTo>
                      <a:pt x="912" y="264"/>
                      <a:pt x="912" y="264"/>
                      <a:pt x="912" y="264"/>
                    </a:cubicBezTo>
                    <a:cubicBezTo>
                      <a:pt x="913" y="265"/>
                      <a:pt x="913" y="265"/>
                      <a:pt x="913" y="265"/>
                    </a:cubicBezTo>
                    <a:cubicBezTo>
                      <a:pt x="915" y="267"/>
                      <a:pt x="915" y="267"/>
                      <a:pt x="915" y="267"/>
                    </a:cubicBezTo>
                    <a:cubicBezTo>
                      <a:pt x="916" y="267"/>
                      <a:pt x="916" y="267"/>
                      <a:pt x="916" y="267"/>
                    </a:cubicBezTo>
                    <a:cubicBezTo>
                      <a:pt x="917" y="266"/>
                      <a:pt x="917" y="266"/>
                      <a:pt x="917" y="266"/>
                    </a:cubicBezTo>
                    <a:cubicBezTo>
                      <a:pt x="918" y="266"/>
                      <a:pt x="918" y="266"/>
                      <a:pt x="918" y="266"/>
                    </a:cubicBezTo>
                    <a:cubicBezTo>
                      <a:pt x="918" y="267"/>
                      <a:pt x="918" y="267"/>
                      <a:pt x="918" y="267"/>
                    </a:cubicBezTo>
                    <a:cubicBezTo>
                      <a:pt x="920" y="268"/>
                      <a:pt x="920" y="268"/>
                      <a:pt x="920" y="268"/>
                    </a:cubicBezTo>
                    <a:cubicBezTo>
                      <a:pt x="921" y="268"/>
                      <a:pt x="921" y="268"/>
                      <a:pt x="921" y="268"/>
                    </a:cubicBezTo>
                    <a:cubicBezTo>
                      <a:pt x="922" y="268"/>
                      <a:pt x="922" y="268"/>
                      <a:pt x="922" y="268"/>
                    </a:cubicBezTo>
                    <a:cubicBezTo>
                      <a:pt x="921" y="267"/>
                      <a:pt x="921" y="267"/>
                      <a:pt x="921" y="267"/>
                    </a:cubicBezTo>
                    <a:cubicBezTo>
                      <a:pt x="918" y="265"/>
                      <a:pt x="918" y="265"/>
                      <a:pt x="918" y="265"/>
                    </a:cubicBezTo>
                    <a:cubicBezTo>
                      <a:pt x="918" y="264"/>
                      <a:pt x="918" y="264"/>
                      <a:pt x="918" y="264"/>
                    </a:cubicBezTo>
                    <a:cubicBezTo>
                      <a:pt x="919" y="263"/>
                      <a:pt x="919" y="263"/>
                      <a:pt x="919" y="263"/>
                    </a:cubicBezTo>
                    <a:cubicBezTo>
                      <a:pt x="920" y="263"/>
                      <a:pt x="920" y="263"/>
                      <a:pt x="920" y="263"/>
                    </a:cubicBezTo>
                    <a:cubicBezTo>
                      <a:pt x="920" y="262"/>
                      <a:pt x="920" y="262"/>
                      <a:pt x="920" y="262"/>
                    </a:cubicBezTo>
                    <a:cubicBezTo>
                      <a:pt x="920" y="261"/>
                      <a:pt x="920" y="261"/>
                      <a:pt x="920" y="261"/>
                    </a:cubicBezTo>
                    <a:cubicBezTo>
                      <a:pt x="919" y="262"/>
                      <a:pt x="919" y="262"/>
                      <a:pt x="919" y="262"/>
                    </a:cubicBezTo>
                    <a:cubicBezTo>
                      <a:pt x="917" y="262"/>
                      <a:pt x="917" y="262"/>
                      <a:pt x="917" y="262"/>
                    </a:cubicBezTo>
                    <a:cubicBezTo>
                      <a:pt x="918" y="263"/>
                      <a:pt x="918" y="263"/>
                      <a:pt x="918" y="263"/>
                    </a:cubicBezTo>
                    <a:cubicBezTo>
                      <a:pt x="916" y="263"/>
                      <a:pt x="916" y="263"/>
                      <a:pt x="916" y="263"/>
                    </a:cubicBezTo>
                    <a:cubicBezTo>
                      <a:pt x="916" y="264"/>
                      <a:pt x="916" y="264"/>
                      <a:pt x="916" y="264"/>
                    </a:cubicBezTo>
                    <a:cubicBezTo>
                      <a:pt x="915" y="263"/>
                      <a:pt x="915" y="263"/>
                      <a:pt x="915" y="263"/>
                    </a:cubicBezTo>
                    <a:cubicBezTo>
                      <a:pt x="914" y="264"/>
                      <a:pt x="914" y="264"/>
                      <a:pt x="914" y="264"/>
                    </a:cubicBezTo>
                    <a:cubicBezTo>
                      <a:pt x="913" y="263"/>
                      <a:pt x="913" y="263"/>
                      <a:pt x="913" y="263"/>
                    </a:cubicBezTo>
                    <a:cubicBezTo>
                      <a:pt x="912" y="263"/>
                      <a:pt x="912" y="263"/>
                      <a:pt x="912" y="263"/>
                    </a:cubicBezTo>
                    <a:cubicBezTo>
                      <a:pt x="912" y="262"/>
                      <a:pt x="912" y="262"/>
                      <a:pt x="912" y="262"/>
                    </a:cubicBezTo>
                    <a:cubicBezTo>
                      <a:pt x="913" y="261"/>
                      <a:pt x="913" y="261"/>
                      <a:pt x="913" y="261"/>
                    </a:cubicBezTo>
                    <a:cubicBezTo>
                      <a:pt x="912" y="261"/>
                      <a:pt x="912" y="261"/>
                      <a:pt x="912" y="261"/>
                    </a:cubicBezTo>
                    <a:cubicBezTo>
                      <a:pt x="914" y="260"/>
                      <a:pt x="914" y="260"/>
                      <a:pt x="914" y="260"/>
                    </a:cubicBezTo>
                    <a:cubicBezTo>
                      <a:pt x="915" y="260"/>
                      <a:pt x="915" y="260"/>
                      <a:pt x="915" y="260"/>
                    </a:cubicBezTo>
                    <a:cubicBezTo>
                      <a:pt x="916" y="260"/>
                      <a:pt x="916" y="260"/>
                      <a:pt x="916" y="260"/>
                    </a:cubicBezTo>
                    <a:cubicBezTo>
                      <a:pt x="917" y="260"/>
                      <a:pt x="917" y="260"/>
                      <a:pt x="917" y="260"/>
                    </a:cubicBezTo>
                    <a:cubicBezTo>
                      <a:pt x="918" y="260"/>
                      <a:pt x="918" y="260"/>
                      <a:pt x="918" y="260"/>
                    </a:cubicBezTo>
                    <a:cubicBezTo>
                      <a:pt x="919" y="260"/>
                      <a:pt x="919" y="260"/>
                      <a:pt x="919" y="260"/>
                    </a:cubicBezTo>
                    <a:cubicBezTo>
                      <a:pt x="920" y="260"/>
                      <a:pt x="920" y="260"/>
                      <a:pt x="920" y="260"/>
                    </a:cubicBezTo>
                    <a:cubicBezTo>
                      <a:pt x="920" y="259"/>
                      <a:pt x="920" y="259"/>
                      <a:pt x="920" y="259"/>
                    </a:cubicBezTo>
                    <a:cubicBezTo>
                      <a:pt x="921" y="259"/>
                      <a:pt x="921" y="259"/>
                      <a:pt x="921" y="259"/>
                    </a:cubicBezTo>
                    <a:cubicBezTo>
                      <a:pt x="922" y="258"/>
                      <a:pt x="922" y="258"/>
                      <a:pt x="922" y="258"/>
                    </a:cubicBezTo>
                    <a:cubicBezTo>
                      <a:pt x="922" y="257"/>
                      <a:pt x="922" y="257"/>
                      <a:pt x="922" y="257"/>
                    </a:cubicBezTo>
                    <a:cubicBezTo>
                      <a:pt x="921" y="258"/>
                      <a:pt x="921" y="258"/>
                      <a:pt x="921" y="258"/>
                    </a:cubicBezTo>
                    <a:cubicBezTo>
                      <a:pt x="920" y="258"/>
                      <a:pt x="920" y="258"/>
                      <a:pt x="920" y="258"/>
                    </a:cubicBezTo>
                    <a:cubicBezTo>
                      <a:pt x="920" y="257"/>
                      <a:pt x="920" y="257"/>
                      <a:pt x="920" y="257"/>
                    </a:cubicBezTo>
                    <a:cubicBezTo>
                      <a:pt x="921" y="256"/>
                      <a:pt x="921" y="256"/>
                      <a:pt x="921" y="256"/>
                    </a:cubicBezTo>
                    <a:cubicBezTo>
                      <a:pt x="922" y="254"/>
                      <a:pt x="922" y="254"/>
                      <a:pt x="922" y="254"/>
                    </a:cubicBezTo>
                    <a:cubicBezTo>
                      <a:pt x="921" y="253"/>
                      <a:pt x="921" y="253"/>
                      <a:pt x="921" y="253"/>
                    </a:cubicBezTo>
                    <a:cubicBezTo>
                      <a:pt x="922" y="253"/>
                      <a:pt x="922" y="253"/>
                      <a:pt x="922" y="253"/>
                    </a:cubicBezTo>
                    <a:cubicBezTo>
                      <a:pt x="923" y="254"/>
                      <a:pt x="923" y="254"/>
                      <a:pt x="923" y="254"/>
                    </a:cubicBezTo>
                    <a:cubicBezTo>
                      <a:pt x="923" y="255"/>
                      <a:pt x="923" y="255"/>
                      <a:pt x="923" y="255"/>
                    </a:cubicBezTo>
                    <a:cubicBezTo>
                      <a:pt x="924" y="255"/>
                      <a:pt x="924" y="255"/>
                      <a:pt x="924" y="255"/>
                    </a:cubicBezTo>
                    <a:cubicBezTo>
                      <a:pt x="925" y="255"/>
                      <a:pt x="925" y="255"/>
                      <a:pt x="925" y="255"/>
                    </a:cubicBezTo>
                    <a:cubicBezTo>
                      <a:pt x="925" y="256"/>
                      <a:pt x="925" y="256"/>
                      <a:pt x="925" y="256"/>
                    </a:cubicBezTo>
                    <a:cubicBezTo>
                      <a:pt x="926" y="256"/>
                      <a:pt x="926" y="256"/>
                      <a:pt x="926" y="256"/>
                    </a:cubicBezTo>
                    <a:cubicBezTo>
                      <a:pt x="927" y="256"/>
                      <a:pt x="927" y="256"/>
                      <a:pt x="927" y="256"/>
                    </a:cubicBezTo>
                    <a:cubicBezTo>
                      <a:pt x="927" y="255"/>
                      <a:pt x="927" y="255"/>
                      <a:pt x="927" y="255"/>
                    </a:cubicBezTo>
                    <a:cubicBezTo>
                      <a:pt x="926" y="255"/>
                      <a:pt x="926" y="255"/>
                      <a:pt x="926" y="255"/>
                    </a:cubicBezTo>
                    <a:cubicBezTo>
                      <a:pt x="925" y="254"/>
                      <a:pt x="925" y="254"/>
                      <a:pt x="925" y="254"/>
                    </a:cubicBezTo>
                    <a:cubicBezTo>
                      <a:pt x="926" y="254"/>
                      <a:pt x="926" y="254"/>
                      <a:pt x="926" y="254"/>
                    </a:cubicBezTo>
                    <a:cubicBezTo>
                      <a:pt x="927" y="254"/>
                      <a:pt x="927" y="254"/>
                      <a:pt x="927" y="254"/>
                    </a:cubicBezTo>
                    <a:cubicBezTo>
                      <a:pt x="927" y="253"/>
                      <a:pt x="927" y="253"/>
                      <a:pt x="927" y="253"/>
                    </a:cubicBezTo>
                    <a:cubicBezTo>
                      <a:pt x="926" y="253"/>
                      <a:pt x="926" y="253"/>
                      <a:pt x="926" y="253"/>
                    </a:cubicBezTo>
                    <a:cubicBezTo>
                      <a:pt x="925" y="252"/>
                      <a:pt x="925" y="252"/>
                      <a:pt x="925" y="252"/>
                    </a:cubicBezTo>
                    <a:cubicBezTo>
                      <a:pt x="924" y="252"/>
                      <a:pt x="924" y="252"/>
                      <a:pt x="924" y="252"/>
                    </a:cubicBezTo>
                    <a:cubicBezTo>
                      <a:pt x="923" y="252"/>
                      <a:pt x="923" y="252"/>
                      <a:pt x="923" y="252"/>
                    </a:cubicBezTo>
                    <a:cubicBezTo>
                      <a:pt x="923" y="251"/>
                      <a:pt x="923" y="251"/>
                      <a:pt x="923" y="251"/>
                    </a:cubicBezTo>
                    <a:cubicBezTo>
                      <a:pt x="924" y="251"/>
                      <a:pt x="924" y="251"/>
                      <a:pt x="924" y="251"/>
                    </a:cubicBezTo>
                    <a:cubicBezTo>
                      <a:pt x="925" y="250"/>
                      <a:pt x="925" y="250"/>
                      <a:pt x="925" y="250"/>
                    </a:cubicBezTo>
                    <a:cubicBezTo>
                      <a:pt x="925" y="249"/>
                      <a:pt x="925" y="249"/>
                      <a:pt x="925" y="249"/>
                    </a:cubicBezTo>
                    <a:cubicBezTo>
                      <a:pt x="926" y="249"/>
                      <a:pt x="926" y="249"/>
                      <a:pt x="926" y="249"/>
                    </a:cubicBezTo>
                    <a:cubicBezTo>
                      <a:pt x="927" y="249"/>
                      <a:pt x="927" y="249"/>
                      <a:pt x="927" y="249"/>
                    </a:cubicBezTo>
                    <a:cubicBezTo>
                      <a:pt x="926" y="248"/>
                      <a:pt x="926" y="248"/>
                      <a:pt x="926" y="248"/>
                    </a:cubicBezTo>
                    <a:cubicBezTo>
                      <a:pt x="925" y="248"/>
                      <a:pt x="925" y="248"/>
                      <a:pt x="925" y="248"/>
                    </a:cubicBezTo>
                    <a:cubicBezTo>
                      <a:pt x="925" y="247"/>
                      <a:pt x="925" y="247"/>
                      <a:pt x="925" y="247"/>
                    </a:cubicBezTo>
                    <a:cubicBezTo>
                      <a:pt x="927" y="247"/>
                      <a:pt x="927" y="247"/>
                      <a:pt x="927" y="247"/>
                    </a:cubicBezTo>
                    <a:cubicBezTo>
                      <a:pt x="927" y="246"/>
                      <a:pt x="927" y="246"/>
                      <a:pt x="927" y="246"/>
                    </a:cubicBezTo>
                    <a:cubicBezTo>
                      <a:pt x="928" y="246"/>
                      <a:pt x="928" y="246"/>
                      <a:pt x="928" y="246"/>
                    </a:cubicBezTo>
                    <a:cubicBezTo>
                      <a:pt x="929" y="245"/>
                      <a:pt x="929" y="245"/>
                      <a:pt x="929" y="245"/>
                    </a:cubicBezTo>
                    <a:cubicBezTo>
                      <a:pt x="928" y="244"/>
                      <a:pt x="928" y="244"/>
                      <a:pt x="928" y="244"/>
                    </a:cubicBezTo>
                    <a:cubicBezTo>
                      <a:pt x="929" y="244"/>
                      <a:pt x="929" y="244"/>
                      <a:pt x="929" y="244"/>
                    </a:cubicBezTo>
                    <a:cubicBezTo>
                      <a:pt x="929" y="243"/>
                      <a:pt x="929" y="243"/>
                      <a:pt x="929" y="243"/>
                    </a:cubicBezTo>
                    <a:cubicBezTo>
                      <a:pt x="928" y="242"/>
                      <a:pt x="928" y="242"/>
                      <a:pt x="928" y="242"/>
                    </a:cubicBezTo>
                    <a:cubicBezTo>
                      <a:pt x="927" y="243"/>
                      <a:pt x="927" y="243"/>
                      <a:pt x="927" y="243"/>
                    </a:cubicBezTo>
                    <a:cubicBezTo>
                      <a:pt x="926" y="243"/>
                      <a:pt x="926" y="243"/>
                      <a:pt x="926" y="243"/>
                    </a:cubicBezTo>
                    <a:cubicBezTo>
                      <a:pt x="925" y="243"/>
                      <a:pt x="925" y="243"/>
                      <a:pt x="925" y="243"/>
                    </a:cubicBezTo>
                    <a:cubicBezTo>
                      <a:pt x="924" y="243"/>
                      <a:pt x="924" y="243"/>
                      <a:pt x="924" y="243"/>
                    </a:cubicBezTo>
                    <a:cubicBezTo>
                      <a:pt x="923" y="243"/>
                      <a:pt x="923" y="243"/>
                      <a:pt x="923" y="243"/>
                    </a:cubicBezTo>
                    <a:cubicBezTo>
                      <a:pt x="922" y="242"/>
                      <a:pt x="922" y="242"/>
                      <a:pt x="922" y="242"/>
                    </a:cubicBezTo>
                    <a:cubicBezTo>
                      <a:pt x="922" y="243"/>
                      <a:pt x="922" y="243"/>
                      <a:pt x="922" y="243"/>
                    </a:cubicBezTo>
                    <a:cubicBezTo>
                      <a:pt x="921" y="242"/>
                      <a:pt x="921" y="242"/>
                      <a:pt x="921" y="242"/>
                    </a:cubicBezTo>
                    <a:cubicBezTo>
                      <a:pt x="920" y="241"/>
                      <a:pt x="920" y="241"/>
                      <a:pt x="920" y="241"/>
                    </a:cubicBezTo>
                    <a:cubicBezTo>
                      <a:pt x="919" y="241"/>
                      <a:pt x="919" y="241"/>
                      <a:pt x="919" y="241"/>
                    </a:cubicBezTo>
                    <a:cubicBezTo>
                      <a:pt x="918" y="241"/>
                      <a:pt x="918" y="241"/>
                      <a:pt x="918" y="241"/>
                    </a:cubicBezTo>
                    <a:cubicBezTo>
                      <a:pt x="918" y="240"/>
                      <a:pt x="918" y="240"/>
                      <a:pt x="918" y="240"/>
                    </a:cubicBezTo>
                    <a:cubicBezTo>
                      <a:pt x="918" y="239"/>
                      <a:pt x="918" y="239"/>
                      <a:pt x="918" y="239"/>
                    </a:cubicBezTo>
                    <a:cubicBezTo>
                      <a:pt x="916" y="238"/>
                      <a:pt x="916" y="238"/>
                      <a:pt x="916" y="238"/>
                    </a:cubicBezTo>
                    <a:cubicBezTo>
                      <a:pt x="914" y="237"/>
                      <a:pt x="914" y="237"/>
                      <a:pt x="914" y="237"/>
                    </a:cubicBezTo>
                    <a:cubicBezTo>
                      <a:pt x="912" y="237"/>
                      <a:pt x="912" y="237"/>
                      <a:pt x="912" y="237"/>
                    </a:cubicBezTo>
                    <a:cubicBezTo>
                      <a:pt x="911" y="236"/>
                      <a:pt x="911" y="236"/>
                      <a:pt x="911" y="236"/>
                    </a:cubicBezTo>
                    <a:cubicBezTo>
                      <a:pt x="911" y="235"/>
                      <a:pt x="911" y="235"/>
                      <a:pt x="911" y="235"/>
                    </a:cubicBezTo>
                    <a:cubicBezTo>
                      <a:pt x="911" y="233"/>
                      <a:pt x="911" y="233"/>
                      <a:pt x="911" y="233"/>
                    </a:cubicBezTo>
                    <a:cubicBezTo>
                      <a:pt x="910" y="233"/>
                      <a:pt x="910" y="233"/>
                      <a:pt x="910" y="233"/>
                    </a:cubicBezTo>
                    <a:cubicBezTo>
                      <a:pt x="910" y="232"/>
                      <a:pt x="910" y="232"/>
                      <a:pt x="910" y="232"/>
                    </a:cubicBezTo>
                    <a:cubicBezTo>
                      <a:pt x="910" y="231"/>
                      <a:pt x="910" y="231"/>
                      <a:pt x="910" y="231"/>
                    </a:cubicBezTo>
                    <a:cubicBezTo>
                      <a:pt x="911" y="230"/>
                      <a:pt x="911" y="230"/>
                      <a:pt x="911" y="230"/>
                    </a:cubicBezTo>
                    <a:cubicBezTo>
                      <a:pt x="912" y="230"/>
                      <a:pt x="912" y="230"/>
                      <a:pt x="912" y="230"/>
                    </a:cubicBezTo>
                    <a:cubicBezTo>
                      <a:pt x="913" y="230"/>
                      <a:pt x="913" y="230"/>
                      <a:pt x="913" y="230"/>
                    </a:cubicBezTo>
                    <a:cubicBezTo>
                      <a:pt x="915" y="230"/>
                      <a:pt x="915" y="230"/>
                      <a:pt x="915" y="230"/>
                    </a:cubicBezTo>
                    <a:cubicBezTo>
                      <a:pt x="916" y="231"/>
                      <a:pt x="916" y="231"/>
                      <a:pt x="916" y="231"/>
                    </a:cubicBezTo>
                    <a:cubicBezTo>
                      <a:pt x="917" y="231"/>
                      <a:pt x="917" y="231"/>
                      <a:pt x="917" y="231"/>
                    </a:cubicBezTo>
                    <a:cubicBezTo>
                      <a:pt x="918" y="232"/>
                      <a:pt x="918" y="232"/>
                      <a:pt x="918" y="232"/>
                    </a:cubicBezTo>
                    <a:cubicBezTo>
                      <a:pt x="919" y="232"/>
                      <a:pt x="919" y="232"/>
                      <a:pt x="919" y="232"/>
                    </a:cubicBezTo>
                    <a:cubicBezTo>
                      <a:pt x="920" y="232"/>
                      <a:pt x="920" y="232"/>
                      <a:pt x="920" y="232"/>
                    </a:cubicBezTo>
                    <a:cubicBezTo>
                      <a:pt x="921" y="233"/>
                      <a:pt x="921" y="233"/>
                      <a:pt x="921" y="233"/>
                    </a:cubicBezTo>
                    <a:cubicBezTo>
                      <a:pt x="922" y="233"/>
                      <a:pt x="922" y="233"/>
                      <a:pt x="922" y="233"/>
                    </a:cubicBezTo>
                    <a:cubicBezTo>
                      <a:pt x="922" y="234"/>
                      <a:pt x="922" y="234"/>
                      <a:pt x="922" y="234"/>
                    </a:cubicBezTo>
                    <a:cubicBezTo>
                      <a:pt x="923" y="236"/>
                      <a:pt x="923" y="236"/>
                      <a:pt x="923" y="236"/>
                    </a:cubicBezTo>
                    <a:cubicBezTo>
                      <a:pt x="924" y="237"/>
                      <a:pt x="924" y="237"/>
                      <a:pt x="924" y="237"/>
                    </a:cubicBezTo>
                    <a:cubicBezTo>
                      <a:pt x="925" y="238"/>
                      <a:pt x="925" y="238"/>
                      <a:pt x="925" y="238"/>
                    </a:cubicBezTo>
                    <a:cubicBezTo>
                      <a:pt x="926" y="239"/>
                      <a:pt x="926" y="239"/>
                      <a:pt x="926" y="239"/>
                    </a:cubicBezTo>
                    <a:cubicBezTo>
                      <a:pt x="927" y="239"/>
                      <a:pt x="927" y="239"/>
                      <a:pt x="927" y="239"/>
                    </a:cubicBezTo>
                    <a:cubicBezTo>
                      <a:pt x="928" y="239"/>
                      <a:pt x="928" y="239"/>
                      <a:pt x="928" y="239"/>
                    </a:cubicBezTo>
                    <a:cubicBezTo>
                      <a:pt x="928" y="238"/>
                      <a:pt x="928" y="238"/>
                      <a:pt x="928" y="238"/>
                    </a:cubicBezTo>
                    <a:cubicBezTo>
                      <a:pt x="927" y="238"/>
                      <a:pt x="927" y="238"/>
                      <a:pt x="927" y="238"/>
                    </a:cubicBezTo>
                    <a:cubicBezTo>
                      <a:pt x="926" y="238"/>
                      <a:pt x="926" y="238"/>
                      <a:pt x="926" y="238"/>
                    </a:cubicBezTo>
                    <a:cubicBezTo>
                      <a:pt x="925" y="236"/>
                      <a:pt x="925" y="236"/>
                      <a:pt x="925" y="236"/>
                    </a:cubicBezTo>
                    <a:cubicBezTo>
                      <a:pt x="926" y="237"/>
                      <a:pt x="926" y="237"/>
                      <a:pt x="926" y="237"/>
                    </a:cubicBezTo>
                    <a:cubicBezTo>
                      <a:pt x="927" y="237"/>
                      <a:pt x="927" y="237"/>
                      <a:pt x="927" y="237"/>
                    </a:cubicBezTo>
                    <a:cubicBezTo>
                      <a:pt x="927" y="236"/>
                      <a:pt x="927" y="236"/>
                      <a:pt x="927" y="236"/>
                    </a:cubicBezTo>
                    <a:cubicBezTo>
                      <a:pt x="928" y="236"/>
                      <a:pt x="928" y="236"/>
                      <a:pt x="928" y="236"/>
                    </a:cubicBezTo>
                    <a:cubicBezTo>
                      <a:pt x="926" y="235"/>
                      <a:pt x="926" y="235"/>
                      <a:pt x="926" y="235"/>
                    </a:cubicBezTo>
                    <a:cubicBezTo>
                      <a:pt x="925" y="233"/>
                      <a:pt x="925" y="233"/>
                      <a:pt x="925" y="233"/>
                    </a:cubicBezTo>
                    <a:cubicBezTo>
                      <a:pt x="925" y="232"/>
                      <a:pt x="925" y="232"/>
                      <a:pt x="925" y="232"/>
                    </a:cubicBezTo>
                    <a:cubicBezTo>
                      <a:pt x="926" y="233"/>
                      <a:pt x="926" y="233"/>
                      <a:pt x="926" y="233"/>
                    </a:cubicBezTo>
                    <a:cubicBezTo>
                      <a:pt x="927" y="233"/>
                      <a:pt x="927" y="233"/>
                      <a:pt x="927" y="233"/>
                    </a:cubicBezTo>
                    <a:cubicBezTo>
                      <a:pt x="926" y="232"/>
                      <a:pt x="926" y="232"/>
                      <a:pt x="926" y="232"/>
                    </a:cubicBezTo>
                    <a:cubicBezTo>
                      <a:pt x="925" y="231"/>
                      <a:pt x="925" y="231"/>
                      <a:pt x="925" y="231"/>
                    </a:cubicBezTo>
                    <a:cubicBezTo>
                      <a:pt x="924" y="230"/>
                      <a:pt x="924" y="230"/>
                      <a:pt x="924" y="230"/>
                    </a:cubicBezTo>
                    <a:cubicBezTo>
                      <a:pt x="924" y="229"/>
                      <a:pt x="924" y="229"/>
                      <a:pt x="924" y="229"/>
                    </a:cubicBezTo>
                    <a:cubicBezTo>
                      <a:pt x="925" y="230"/>
                      <a:pt x="925" y="230"/>
                      <a:pt x="925" y="230"/>
                    </a:cubicBezTo>
                    <a:cubicBezTo>
                      <a:pt x="927" y="230"/>
                      <a:pt x="927" y="230"/>
                      <a:pt x="927" y="230"/>
                    </a:cubicBezTo>
                    <a:cubicBezTo>
                      <a:pt x="928" y="230"/>
                      <a:pt x="928" y="230"/>
                      <a:pt x="928" y="230"/>
                    </a:cubicBezTo>
                    <a:cubicBezTo>
                      <a:pt x="928" y="229"/>
                      <a:pt x="928" y="229"/>
                      <a:pt x="928" y="229"/>
                    </a:cubicBezTo>
                    <a:cubicBezTo>
                      <a:pt x="927" y="228"/>
                      <a:pt x="927" y="228"/>
                      <a:pt x="927" y="228"/>
                    </a:cubicBezTo>
                    <a:cubicBezTo>
                      <a:pt x="926" y="229"/>
                      <a:pt x="926" y="229"/>
                      <a:pt x="926" y="229"/>
                    </a:cubicBezTo>
                    <a:cubicBezTo>
                      <a:pt x="925" y="229"/>
                      <a:pt x="925" y="229"/>
                      <a:pt x="925" y="229"/>
                    </a:cubicBezTo>
                    <a:cubicBezTo>
                      <a:pt x="924" y="229"/>
                      <a:pt x="924" y="229"/>
                      <a:pt x="924" y="229"/>
                    </a:cubicBezTo>
                    <a:cubicBezTo>
                      <a:pt x="924" y="228"/>
                      <a:pt x="924" y="228"/>
                      <a:pt x="924" y="228"/>
                    </a:cubicBezTo>
                    <a:cubicBezTo>
                      <a:pt x="924" y="227"/>
                      <a:pt x="924" y="227"/>
                      <a:pt x="924" y="227"/>
                    </a:cubicBezTo>
                    <a:cubicBezTo>
                      <a:pt x="926" y="227"/>
                      <a:pt x="926" y="227"/>
                      <a:pt x="926" y="227"/>
                    </a:cubicBezTo>
                    <a:cubicBezTo>
                      <a:pt x="927" y="227"/>
                      <a:pt x="927" y="227"/>
                      <a:pt x="927" y="227"/>
                    </a:cubicBezTo>
                    <a:cubicBezTo>
                      <a:pt x="927" y="226"/>
                      <a:pt x="927" y="226"/>
                      <a:pt x="927" y="226"/>
                    </a:cubicBezTo>
                    <a:cubicBezTo>
                      <a:pt x="926" y="225"/>
                      <a:pt x="926" y="225"/>
                      <a:pt x="926" y="225"/>
                    </a:cubicBezTo>
                    <a:cubicBezTo>
                      <a:pt x="925" y="226"/>
                      <a:pt x="925" y="226"/>
                      <a:pt x="925" y="226"/>
                    </a:cubicBezTo>
                    <a:cubicBezTo>
                      <a:pt x="924" y="226"/>
                      <a:pt x="924" y="226"/>
                      <a:pt x="924" y="226"/>
                    </a:cubicBezTo>
                    <a:cubicBezTo>
                      <a:pt x="923" y="228"/>
                      <a:pt x="923" y="228"/>
                      <a:pt x="923" y="228"/>
                    </a:cubicBezTo>
                    <a:cubicBezTo>
                      <a:pt x="922" y="228"/>
                      <a:pt x="922" y="228"/>
                      <a:pt x="922" y="228"/>
                    </a:cubicBezTo>
                    <a:cubicBezTo>
                      <a:pt x="922" y="227"/>
                      <a:pt x="922" y="227"/>
                      <a:pt x="922" y="227"/>
                    </a:cubicBezTo>
                    <a:cubicBezTo>
                      <a:pt x="923" y="227"/>
                      <a:pt x="923" y="227"/>
                      <a:pt x="923" y="227"/>
                    </a:cubicBezTo>
                    <a:cubicBezTo>
                      <a:pt x="923" y="226"/>
                      <a:pt x="923" y="226"/>
                      <a:pt x="923" y="226"/>
                    </a:cubicBezTo>
                    <a:cubicBezTo>
                      <a:pt x="924" y="225"/>
                      <a:pt x="924" y="225"/>
                      <a:pt x="924" y="225"/>
                    </a:cubicBezTo>
                    <a:cubicBezTo>
                      <a:pt x="925" y="225"/>
                      <a:pt x="925" y="225"/>
                      <a:pt x="925" y="225"/>
                    </a:cubicBezTo>
                    <a:cubicBezTo>
                      <a:pt x="926" y="224"/>
                      <a:pt x="926" y="224"/>
                      <a:pt x="926" y="224"/>
                    </a:cubicBezTo>
                    <a:cubicBezTo>
                      <a:pt x="927" y="224"/>
                      <a:pt x="927" y="224"/>
                      <a:pt x="927" y="224"/>
                    </a:cubicBezTo>
                    <a:cubicBezTo>
                      <a:pt x="927" y="223"/>
                      <a:pt x="927" y="223"/>
                      <a:pt x="927" y="223"/>
                    </a:cubicBezTo>
                    <a:cubicBezTo>
                      <a:pt x="925" y="223"/>
                      <a:pt x="925" y="223"/>
                      <a:pt x="925" y="223"/>
                    </a:cubicBezTo>
                    <a:cubicBezTo>
                      <a:pt x="924" y="224"/>
                      <a:pt x="924" y="224"/>
                      <a:pt x="924" y="224"/>
                    </a:cubicBezTo>
                    <a:cubicBezTo>
                      <a:pt x="923" y="224"/>
                      <a:pt x="923" y="224"/>
                      <a:pt x="923" y="224"/>
                    </a:cubicBezTo>
                    <a:cubicBezTo>
                      <a:pt x="922" y="224"/>
                      <a:pt x="922" y="224"/>
                      <a:pt x="922" y="224"/>
                    </a:cubicBezTo>
                    <a:cubicBezTo>
                      <a:pt x="921" y="224"/>
                      <a:pt x="921" y="224"/>
                      <a:pt x="921" y="224"/>
                    </a:cubicBezTo>
                    <a:cubicBezTo>
                      <a:pt x="921" y="223"/>
                      <a:pt x="921" y="223"/>
                      <a:pt x="921" y="223"/>
                    </a:cubicBezTo>
                    <a:cubicBezTo>
                      <a:pt x="922" y="222"/>
                      <a:pt x="922" y="222"/>
                      <a:pt x="922" y="222"/>
                    </a:cubicBezTo>
                    <a:cubicBezTo>
                      <a:pt x="923" y="222"/>
                      <a:pt x="923" y="222"/>
                      <a:pt x="923" y="222"/>
                    </a:cubicBezTo>
                    <a:cubicBezTo>
                      <a:pt x="924" y="222"/>
                      <a:pt x="924" y="222"/>
                      <a:pt x="924" y="222"/>
                    </a:cubicBezTo>
                    <a:cubicBezTo>
                      <a:pt x="926" y="221"/>
                      <a:pt x="926" y="221"/>
                      <a:pt x="926" y="221"/>
                    </a:cubicBezTo>
                    <a:cubicBezTo>
                      <a:pt x="928" y="220"/>
                      <a:pt x="928" y="220"/>
                      <a:pt x="928" y="220"/>
                    </a:cubicBezTo>
                    <a:cubicBezTo>
                      <a:pt x="927" y="220"/>
                      <a:pt x="927" y="220"/>
                      <a:pt x="927" y="220"/>
                    </a:cubicBezTo>
                    <a:cubicBezTo>
                      <a:pt x="926" y="220"/>
                      <a:pt x="926" y="220"/>
                      <a:pt x="926" y="220"/>
                    </a:cubicBezTo>
                    <a:cubicBezTo>
                      <a:pt x="925" y="221"/>
                      <a:pt x="925" y="221"/>
                      <a:pt x="925" y="221"/>
                    </a:cubicBezTo>
                    <a:cubicBezTo>
                      <a:pt x="924" y="220"/>
                      <a:pt x="924" y="220"/>
                      <a:pt x="924" y="220"/>
                    </a:cubicBezTo>
                    <a:cubicBezTo>
                      <a:pt x="923" y="219"/>
                      <a:pt x="923" y="219"/>
                      <a:pt x="923" y="219"/>
                    </a:cubicBezTo>
                    <a:cubicBezTo>
                      <a:pt x="922" y="219"/>
                      <a:pt x="922" y="219"/>
                      <a:pt x="922" y="219"/>
                    </a:cubicBezTo>
                    <a:cubicBezTo>
                      <a:pt x="923" y="218"/>
                      <a:pt x="923" y="218"/>
                      <a:pt x="923" y="218"/>
                    </a:cubicBezTo>
                    <a:cubicBezTo>
                      <a:pt x="923" y="217"/>
                      <a:pt x="923" y="217"/>
                      <a:pt x="923" y="217"/>
                    </a:cubicBezTo>
                    <a:cubicBezTo>
                      <a:pt x="924" y="216"/>
                      <a:pt x="924" y="216"/>
                      <a:pt x="924" y="216"/>
                    </a:cubicBezTo>
                    <a:cubicBezTo>
                      <a:pt x="924" y="215"/>
                      <a:pt x="924" y="215"/>
                      <a:pt x="924" y="215"/>
                    </a:cubicBezTo>
                    <a:cubicBezTo>
                      <a:pt x="923" y="216"/>
                      <a:pt x="923" y="216"/>
                      <a:pt x="923" y="216"/>
                    </a:cubicBezTo>
                    <a:cubicBezTo>
                      <a:pt x="922" y="217"/>
                      <a:pt x="922" y="217"/>
                      <a:pt x="922" y="217"/>
                    </a:cubicBezTo>
                    <a:cubicBezTo>
                      <a:pt x="922" y="218"/>
                      <a:pt x="922" y="218"/>
                      <a:pt x="922" y="218"/>
                    </a:cubicBezTo>
                    <a:cubicBezTo>
                      <a:pt x="921" y="218"/>
                      <a:pt x="921" y="218"/>
                      <a:pt x="921" y="218"/>
                    </a:cubicBezTo>
                    <a:cubicBezTo>
                      <a:pt x="921" y="219"/>
                      <a:pt x="921" y="219"/>
                      <a:pt x="921" y="219"/>
                    </a:cubicBezTo>
                    <a:cubicBezTo>
                      <a:pt x="920" y="219"/>
                      <a:pt x="920" y="219"/>
                      <a:pt x="920" y="219"/>
                    </a:cubicBezTo>
                    <a:cubicBezTo>
                      <a:pt x="920" y="218"/>
                      <a:pt x="920" y="218"/>
                      <a:pt x="920" y="218"/>
                    </a:cubicBezTo>
                    <a:cubicBezTo>
                      <a:pt x="919" y="219"/>
                      <a:pt x="919" y="219"/>
                      <a:pt x="919" y="219"/>
                    </a:cubicBezTo>
                    <a:cubicBezTo>
                      <a:pt x="918" y="218"/>
                      <a:pt x="918" y="218"/>
                      <a:pt x="918" y="218"/>
                    </a:cubicBezTo>
                    <a:cubicBezTo>
                      <a:pt x="918" y="217"/>
                      <a:pt x="918" y="217"/>
                      <a:pt x="918" y="217"/>
                    </a:cubicBezTo>
                    <a:cubicBezTo>
                      <a:pt x="917" y="219"/>
                      <a:pt x="917" y="219"/>
                      <a:pt x="917" y="219"/>
                    </a:cubicBezTo>
                    <a:cubicBezTo>
                      <a:pt x="916" y="219"/>
                      <a:pt x="916" y="219"/>
                      <a:pt x="916" y="219"/>
                    </a:cubicBezTo>
                    <a:cubicBezTo>
                      <a:pt x="917" y="220"/>
                      <a:pt x="917" y="220"/>
                      <a:pt x="917" y="220"/>
                    </a:cubicBezTo>
                    <a:cubicBezTo>
                      <a:pt x="917" y="221"/>
                      <a:pt x="917" y="221"/>
                      <a:pt x="917" y="221"/>
                    </a:cubicBezTo>
                    <a:cubicBezTo>
                      <a:pt x="917" y="222"/>
                      <a:pt x="917" y="222"/>
                      <a:pt x="917" y="222"/>
                    </a:cubicBezTo>
                    <a:cubicBezTo>
                      <a:pt x="916" y="222"/>
                      <a:pt x="916" y="222"/>
                      <a:pt x="916" y="222"/>
                    </a:cubicBezTo>
                    <a:cubicBezTo>
                      <a:pt x="915" y="223"/>
                      <a:pt x="915" y="223"/>
                      <a:pt x="915" y="223"/>
                    </a:cubicBezTo>
                    <a:cubicBezTo>
                      <a:pt x="915" y="222"/>
                      <a:pt x="915" y="222"/>
                      <a:pt x="915" y="222"/>
                    </a:cubicBezTo>
                    <a:cubicBezTo>
                      <a:pt x="914" y="223"/>
                      <a:pt x="914" y="223"/>
                      <a:pt x="914" y="223"/>
                    </a:cubicBezTo>
                    <a:cubicBezTo>
                      <a:pt x="913" y="223"/>
                      <a:pt x="913" y="223"/>
                      <a:pt x="913" y="223"/>
                    </a:cubicBezTo>
                    <a:cubicBezTo>
                      <a:pt x="912" y="223"/>
                      <a:pt x="912" y="223"/>
                      <a:pt x="912" y="223"/>
                    </a:cubicBezTo>
                    <a:cubicBezTo>
                      <a:pt x="911" y="223"/>
                      <a:pt x="911" y="223"/>
                      <a:pt x="911" y="223"/>
                    </a:cubicBezTo>
                    <a:cubicBezTo>
                      <a:pt x="911" y="222"/>
                      <a:pt x="911" y="222"/>
                      <a:pt x="911" y="222"/>
                    </a:cubicBezTo>
                    <a:cubicBezTo>
                      <a:pt x="911" y="221"/>
                      <a:pt x="911" y="221"/>
                      <a:pt x="911" y="221"/>
                    </a:cubicBezTo>
                    <a:cubicBezTo>
                      <a:pt x="910" y="221"/>
                      <a:pt x="910" y="221"/>
                      <a:pt x="910" y="221"/>
                    </a:cubicBezTo>
                    <a:cubicBezTo>
                      <a:pt x="910" y="222"/>
                      <a:pt x="910" y="222"/>
                      <a:pt x="910" y="222"/>
                    </a:cubicBezTo>
                    <a:cubicBezTo>
                      <a:pt x="909" y="222"/>
                      <a:pt x="909" y="222"/>
                      <a:pt x="909" y="222"/>
                    </a:cubicBezTo>
                    <a:cubicBezTo>
                      <a:pt x="909" y="220"/>
                      <a:pt x="909" y="220"/>
                      <a:pt x="909" y="220"/>
                    </a:cubicBezTo>
                    <a:cubicBezTo>
                      <a:pt x="909" y="219"/>
                      <a:pt x="909" y="219"/>
                      <a:pt x="909" y="219"/>
                    </a:cubicBezTo>
                    <a:cubicBezTo>
                      <a:pt x="909" y="218"/>
                      <a:pt x="909" y="218"/>
                      <a:pt x="909" y="218"/>
                    </a:cubicBezTo>
                    <a:cubicBezTo>
                      <a:pt x="910" y="217"/>
                      <a:pt x="910" y="217"/>
                      <a:pt x="910" y="217"/>
                    </a:cubicBezTo>
                    <a:cubicBezTo>
                      <a:pt x="911" y="217"/>
                      <a:pt x="911" y="217"/>
                      <a:pt x="911" y="217"/>
                    </a:cubicBezTo>
                    <a:cubicBezTo>
                      <a:pt x="912" y="216"/>
                      <a:pt x="912" y="216"/>
                      <a:pt x="912" y="216"/>
                    </a:cubicBezTo>
                    <a:cubicBezTo>
                      <a:pt x="914" y="216"/>
                      <a:pt x="914" y="216"/>
                      <a:pt x="914" y="216"/>
                    </a:cubicBezTo>
                    <a:cubicBezTo>
                      <a:pt x="915" y="216"/>
                      <a:pt x="915" y="216"/>
                      <a:pt x="915" y="216"/>
                    </a:cubicBezTo>
                    <a:cubicBezTo>
                      <a:pt x="916" y="214"/>
                      <a:pt x="916" y="214"/>
                      <a:pt x="916" y="214"/>
                    </a:cubicBezTo>
                    <a:cubicBezTo>
                      <a:pt x="917" y="213"/>
                      <a:pt x="917" y="213"/>
                      <a:pt x="917" y="213"/>
                    </a:cubicBezTo>
                    <a:cubicBezTo>
                      <a:pt x="917" y="212"/>
                      <a:pt x="917" y="212"/>
                      <a:pt x="917" y="212"/>
                    </a:cubicBezTo>
                    <a:cubicBezTo>
                      <a:pt x="916" y="212"/>
                      <a:pt x="916" y="212"/>
                      <a:pt x="916" y="212"/>
                    </a:cubicBezTo>
                    <a:cubicBezTo>
                      <a:pt x="916" y="213"/>
                      <a:pt x="916" y="213"/>
                      <a:pt x="916" y="213"/>
                    </a:cubicBezTo>
                    <a:cubicBezTo>
                      <a:pt x="915" y="215"/>
                      <a:pt x="915" y="215"/>
                      <a:pt x="915" y="215"/>
                    </a:cubicBezTo>
                    <a:cubicBezTo>
                      <a:pt x="913" y="215"/>
                      <a:pt x="913" y="215"/>
                      <a:pt x="913" y="215"/>
                    </a:cubicBezTo>
                    <a:cubicBezTo>
                      <a:pt x="912" y="215"/>
                      <a:pt x="912" y="215"/>
                      <a:pt x="912" y="215"/>
                    </a:cubicBezTo>
                    <a:cubicBezTo>
                      <a:pt x="911" y="214"/>
                      <a:pt x="911" y="214"/>
                      <a:pt x="911" y="214"/>
                    </a:cubicBezTo>
                    <a:cubicBezTo>
                      <a:pt x="911" y="213"/>
                      <a:pt x="911" y="213"/>
                      <a:pt x="911" y="213"/>
                    </a:cubicBezTo>
                    <a:cubicBezTo>
                      <a:pt x="912" y="213"/>
                      <a:pt x="912" y="213"/>
                      <a:pt x="912" y="213"/>
                    </a:cubicBezTo>
                    <a:cubicBezTo>
                      <a:pt x="913" y="211"/>
                      <a:pt x="913" y="211"/>
                      <a:pt x="913" y="211"/>
                    </a:cubicBezTo>
                    <a:cubicBezTo>
                      <a:pt x="914" y="211"/>
                      <a:pt x="914" y="211"/>
                      <a:pt x="914" y="211"/>
                    </a:cubicBezTo>
                    <a:cubicBezTo>
                      <a:pt x="914" y="210"/>
                      <a:pt x="914" y="210"/>
                      <a:pt x="914" y="210"/>
                    </a:cubicBezTo>
                    <a:cubicBezTo>
                      <a:pt x="915" y="210"/>
                      <a:pt x="915" y="210"/>
                      <a:pt x="915" y="210"/>
                    </a:cubicBezTo>
                    <a:cubicBezTo>
                      <a:pt x="916" y="209"/>
                      <a:pt x="916" y="209"/>
                      <a:pt x="916" y="209"/>
                    </a:cubicBezTo>
                    <a:cubicBezTo>
                      <a:pt x="915" y="209"/>
                      <a:pt x="915" y="209"/>
                      <a:pt x="915" y="209"/>
                    </a:cubicBezTo>
                    <a:cubicBezTo>
                      <a:pt x="915" y="208"/>
                      <a:pt x="915" y="208"/>
                      <a:pt x="915" y="208"/>
                    </a:cubicBezTo>
                    <a:cubicBezTo>
                      <a:pt x="914" y="209"/>
                      <a:pt x="914" y="209"/>
                      <a:pt x="914" y="209"/>
                    </a:cubicBezTo>
                    <a:cubicBezTo>
                      <a:pt x="913" y="209"/>
                      <a:pt x="913" y="209"/>
                      <a:pt x="913" y="209"/>
                    </a:cubicBezTo>
                    <a:cubicBezTo>
                      <a:pt x="912" y="209"/>
                      <a:pt x="912" y="209"/>
                      <a:pt x="912" y="209"/>
                    </a:cubicBezTo>
                    <a:cubicBezTo>
                      <a:pt x="912" y="208"/>
                      <a:pt x="912" y="208"/>
                      <a:pt x="912" y="208"/>
                    </a:cubicBezTo>
                    <a:cubicBezTo>
                      <a:pt x="912" y="207"/>
                      <a:pt x="912" y="207"/>
                      <a:pt x="912" y="207"/>
                    </a:cubicBezTo>
                    <a:cubicBezTo>
                      <a:pt x="913" y="207"/>
                      <a:pt x="913" y="207"/>
                      <a:pt x="913" y="207"/>
                    </a:cubicBezTo>
                    <a:cubicBezTo>
                      <a:pt x="914" y="207"/>
                      <a:pt x="914" y="207"/>
                      <a:pt x="914" y="207"/>
                    </a:cubicBezTo>
                    <a:cubicBezTo>
                      <a:pt x="915" y="207"/>
                      <a:pt x="915" y="207"/>
                      <a:pt x="915" y="207"/>
                    </a:cubicBezTo>
                    <a:cubicBezTo>
                      <a:pt x="917" y="207"/>
                      <a:pt x="917" y="207"/>
                      <a:pt x="917" y="207"/>
                    </a:cubicBezTo>
                    <a:cubicBezTo>
                      <a:pt x="917" y="205"/>
                      <a:pt x="917" y="205"/>
                      <a:pt x="917" y="205"/>
                    </a:cubicBezTo>
                    <a:cubicBezTo>
                      <a:pt x="917" y="204"/>
                      <a:pt x="917" y="204"/>
                      <a:pt x="917" y="204"/>
                    </a:cubicBezTo>
                    <a:cubicBezTo>
                      <a:pt x="918" y="202"/>
                      <a:pt x="918" y="202"/>
                      <a:pt x="918" y="202"/>
                    </a:cubicBezTo>
                    <a:cubicBezTo>
                      <a:pt x="918" y="201"/>
                      <a:pt x="918" y="201"/>
                      <a:pt x="918" y="201"/>
                    </a:cubicBezTo>
                    <a:cubicBezTo>
                      <a:pt x="918" y="200"/>
                      <a:pt x="918" y="200"/>
                      <a:pt x="918" y="200"/>
                    </a:cubicBezTo>
                    <a:cubicBezTo>
                      <a:pt x="918" y="199"/>
                      <a:pt x="918" y="199"/>
                      <a:pt x="918" y="199"/>
                    </a:cubicBezTo>
                    <a:cubicBezTo>
                      <a:pt x="917" y="199"/>
                      <a:pt x="917" y="199"/>
                      <a:pt x="917" y="199"/>
                    </a:cubicBezTo>
                    <a:cubicBezTo>
                      <a:pt x="916" y="198"/>
                      <a:pt x="916" y="198"/>
                      <a:pt x="916" y="198"/>
                    </a:cubicBezTo>
                    <a:cubicBezTo>
                      <a:pt x="915" y="198"/>
                      <a:pt x="915" y="198"/>
                      <a:pt x="915" y="198"/>
                    </a:cubicBezTo>
                    <a:cubicBezTo>
                      <a:pt x="914" y="198"/>
                      <a:pt x="914" y="198"/>
                      <a:pt x="914" y="198"/>
                    </a:cubicBezTo>
                    <a:cubicBezTo>
                      <a:pt x="914" y="197"/>
                      <a:pt x="914" y="197"/>
                      <a:pt x="914" y="197"/>
                    </a:cubicBezTo>
                    <a:cubicBezTo>
                      <a:pt x="915" y="197"/>
                      <a:pt x="915" y="197"/>
                      <a:pt x="915" y="197"/>
                    </a:cubicBezTo>
                    <a:cubicBezTo>
                      <a:pt x="916" y="197"/>
                      <a:pt x="916" y="197"/>
                      <a:pt x="916" y="197"/>
                    </a:cubicBezTo>
                    <a:cubicBezTo>
                      <a:pt x="917" y="196"/>
                      <a:pt x="917" y="196"/>
                      <a:pt x="917" y="196"/>
                    </a:cubicBezTo>
                    <a:cubicBezTo>
                      <a:pt x="917" y="195"/>
                      <a:pt x="917" y="195"/>
                      <a:pt x="917" y="195"/>
                    </a:cubicBezTo>
                    <a:cubicBezTo>
                      <a:pt x="918" y="195"/>
                      <a:pt x="918" y="195"/>
                      <a:pt x="918" y="195"/>
                    </a:cubicBezTo>
                    <a:cubicBezTo>
                      <a:pt x="918" y="194"/>
                      <a:pt x="918" y="194"/>
                      <a:pt x="918" y="194"/>
                    </a:cubicBezTo>
                    <a:cubicBezTo>
                      <a:pt x="917" y="193"/>
                      <a:pt x="917" y="193"/>
                      <a:pt x="917" y="193"/>
                    </a:cubicBezTo>
                    <a:cubicBezTo>
                      <a:pt x="916" y="193"/>
                      <a:pt x="916" y="193"/>
                      <a:pt x="916" y="193"/>
                    </a:cubicBezTo>
                    <a:cubicBezTo>
                      <a:pt x="916" y="192"/>
                      <a:pt x="916" y="192"/>
                      <a:pt x="916" y="192"/>
                    </a:cubicBezTo>
                    <a:cubicBezTo>
                      <a:pt x="917" y="191"/>
                      <a:pt x="917" y="191"/>
                      <a:pt x="917" y="191"/>
                    </a:cubicBezTo>
                    <a:cubicBezTo>
                      <a:pt x="916" y="190"/>
                      <a:pt x="916" y="190"/>
                      <a:pt x="916" y="190"/>
                    </a:cubicBezTo>
                    <a:cubicBezTo>
                      <a:pt x="916" y="189"/>
                      <a:pt x="916" y="189"/>
                      <a:pt x="916" y="189"/>
                    </a:cubicBezTo>
                    <a:cubicBezTo>
                      <a:pt x="916" y="188"/>
                      <a:pt x="916" y="188"/>
                      <a:pt x="916" y="188"/>
                    </a:cubicBezTo>
                    <a:cubicBezTo>
                      <a:pt x="917" y="189"/>
                      <a:pt x="917" y="189"/>
                      <a:pt x="917" y="189"/>
                    </a:cubicBezTo>
                    <a:cubicBezTo>
                      <a:pt x="917" y="188"/>
                      <a:pt x="917" y="188"/>
                      <a:pt x="917" y="188"/>
                    </a:cubicBezTo>
                    <a:cubicBezTo>
                      <a:pt x="917" y="187"/>
                      <a:pt x="917" y="187"/>
                      <a:pt x="917" y="187"/>
                    </a:cubicBezTo>
                    <a:cubicBezTo>
                      <a:pt x="917" y="186"/>
                      <a:pt x="917" y="186"/>
                      <a:pt x="917" y="186"/>
                    </a:cubicBezTo>
                    <a:cubicBezTo>
                      <a:pt x="917" y="185"/>
                      <a:pt x="917" y="185"/>
                      <a:pt x="917" y="185"/>
                    </a:cubicBezTo>
                    <a:cubicBezTo>
                      <a:pt x="916" y="184"/>
                      <a:pt x="916" y="184"/>
                      <a:pt x="916" y="184"/>
                    </a:cubicBezTo>
                    <a:cubicBezTo>
                      <a:pt x="916" y="183"/>
                      <a:pt x="916" y="183"/>
                      <a:pt x="916" y="183"/>
                    </a:cubicBezTo>
                    <a:cubicBezTo>
                      <a:pt x="917" y="182"/>
                      <a:pt x="917" y="182"/>
                      <a:pt x="917" y="182"/>
                    </a:cubicBezTo>
                    <a:cubicBezTo>
                      <a:pt x="917" y="181"/>
                      <a:pt x="917" y="181"/>
                      <a:pt x="917" y="181"/>
                    </a:cubicBezTo>
                    <a:cubicBezTo>
                      <a:pt x="916" y="181"/>
                      <a:pt x="916" y="181"/>
                      <a:pt x="916" y="181"/>
                    </a:cubicBezTo>
                    <a:cubicBezTo>
                      <a:pt x="915" y="182"/>
                      <a:pt x="915" y="182"/>
                      <a:pt x="915" y="182"/>
                    </a:cubicBezTo>
                    <a:cubicBezTo>
                      <a:pt x="914" y="182"/>
                      <a:pt x="914" y="182"/>
                      <a:pt x="914" y="182"/>
                    </a:cubicBezTo>
                    <a:cubicBezTo>
                      <a:pt x="913" y="183"/>
                      <a:pt x="913" y="183"/>
                      <a:pt x="913" y="183"/>
                    </a:cubicBezTo>
                    <a:cubicBezTo>
                      <a:pt x="912" y="182"/>
                      <a:pt x="912" y="182"/>
                      <a:pt x="912" y="182"/>
                    </a:cubicBezTo>
                    <a:cubicBezTo>
                      <a:pt x="913" y="182"/>
                      <a:pt x="913" y="182"/>
                      <a:pt x="913" y="182"/>
                    </a:cubicBezTo>
                    <a:cubicBezTo>
                      <a:pt x="914" y="181"/>
                      <a:pt x="914" y="181"/>
                      <a:pt x="914" y="181"/>
                    </a:cubicBezTo>
                    <a:cubicBezTo>
                      <a:pt x="915" y="181"/>
                      <a:pt x="915" y="181"/>
                      <a:pt x="915" y="181"/>
                    </a:cubicBezTo>
                    <a:cubicBezTo>
                      <a:pt x="915" y="180"/>
                      <a:pt x="915" y="180"/>
                      <a:pt x="915" y="180"/>
                    </a:cubicBezTo>
                    <a:cubicBezTo>
                      <a:pt x="916" y="179"/>
                      <a:pt x="916" y="179"/>
                      <a:pt x="916" y="179"/>
                    </a:cubicBezTo>
                    <a:cubicBezTo>
                      <a:pt x="916" y="178"/>
                      <a:pt x="916" y="178"/>
                      <a:pt x="916" y="178"/>
                    </a:cubicBezTo>
                    <a:cubicBezTo>
                      <a:pt x="917" y="178"/>
                      <a:pt x="917" y="178"/>
                      <a:pt x="917" y="178"/>
                    </a:cubicBezTo>
                    <a:cubicBezTo>
                      <a:pt x="918" y="177"/>
                      <a:pt x="918" y="177"/>
                      <a:pt x="918" y="177"/>
                    </a:cubicBezTo>
                    <a:cubicBezTo>
                      <a:pt x="918" y="176"/>
                      <a:pt x="918" y="176"/>
                      <a:pt x="918" y="176"/>
                    </a:cubicBezTo>
                    <a:cubicBezTo>
                      <a:pt x="917" y="176"/>
                      <a:pt x="917" y="176"/>
                      <a:pt x="917" y="176"/>
                    </a:cubicBezTo>
                    <a:cubicBezTo>
                      <a:pt x="917" y="176"/>
                      <a:pt x="917" y="176"/>
                      <a:pt x="916" y="177"/>
                    </a:cubicBezTo>
                    <a:cubicBezTo>
                      <a:pt x="916" y="177"/>
                      <a:pt x="916" y="177"/>
                      <a:pt x="916" y="176"/>
                    </a:cubicBezTo>
                    <a:cubicBezTo>
                      <a:pt x="916" y="176"/>
                      <a:pt x="916" y="176"/>
                      <a:pt x="915" y="176"/>
                    </a:cubicBezTo>
                    <a:cubicBezTo>
                      <a:pt x="915" y="176"/>
                      <a:pt x="915" y="176"/>
                      <a:pt x="913" y="176"/>
                    </a:cubicBezTo>
                    <a:cubicBezTo>
                      <a:pt x="913" y="176"/>
                      <a:pt x="913" y="176"/>
                      <a:pt x="912" y="176"/>
                    </a:cubicBezTo>
                    <a:cubicBezTo>
                      <a:pt x="912" y="176"/>
                      <a:pt x="912" y="176"/>
                      <a:pt x="911" y="175"/>
                    </a:cubicBezTo>
                    <a:cubicBezTo>
                      <a:pt x="911" y="175"/>
                      <a:pt x="911" y="175"/>
                      <a:pt x="912" y="175"/>
                    </a:cubicBezTo>
                    <a:cubicBezTo>
                      <a:pt x="912" y="175"/>
                      <a:pt x="912" y="175"/>
                      <a:pt x="913" y="174"/>
                    </a:cubicBezTo>
                    <a:cubicBezTo>
                      <a:pt x="913" y="174"/>
                      <a:pt x="913" y="174"/>
                      <a:pt x="914" y="175"/>
                    </a:cubicBezTo>
                    <a:cubicBezTo>
                      <a:pt x="914" y="175"/>
                      <a:pt x="914" y="175"/>
                      <a:pt x="916" y="175"/>
                    </a:cubicBezTo>
                    <a:cubicBezTo>
                      <a:pt x="916" y="174"/>
                      <a:pt x="916" y="174"/>
                      <a:pt x="916" y="174"/>
                    </a:cubicBezTo>
                    <a:cubicBezTo>
                      <a:pt x="916" y="173"/>
                      <a:pt x="916" y="173"/>
                      <a:pt x="916" y="173"/>
                    </a:cubicBezTo>
                    <a:cubicBezTo>
                      <a:pt x="915" y="173"/>
                      <a:pt x="915" y="173"/>
                      <a:pt x="915" y="173"/>
                    </a:cubicBezTo>
                    <a:cubicBezTo>
                      <a:pt x="915" y="172"/>
                      <a:pt x="915" y="172"/>
                      <a:pt x="915" y="172"/>
                    </a:cubicBezTo>
                    <a:cubicBezTo>
                      <a:pt x="915" y="171"/>
                      <a:pt x="915" y="171"/>
                      <a:pt x="915" y="171"/>
                    </a:cubicBezTo>
                    <a:cubicBezTo>
                      <a:pt x="915" y="169"/>
                      <a:pt x="915" y="169"/>
                      <a:pt x="915" y="169"/>
                    </a:cubicBezTo>
                    <a:cubicBezTo>
                      <a:pt x="914" y="168"/>
                      <a:pt x="914" y="168"/>
                      <a:pt x="914" y="168"/>
                    </a:cubicBezTo>
                    <a:cubicBezTo>
                      <a:pt x="912" y="167"/>
                      <a:pt x="912" y="167"/>
                      <a:pt x="912" y="167"/>
                    </a:cubicBezTo>
                    <a:cubicBezTo>
                      <a:pt x="912" y="166"/>
                      <a:pt x="912" y="166"/>
                      <a:pt x="912" y="166"/>
                    </a:cubicBezTo>
                    <a:cubicBezTo>
                      <a:pt x="912" y="165"/>
                      <a:pt x="912" y="165"/>
                      <a:pt x="912" y="165"/>
                    </a:cubicBezTo>
                    <a:cubicBezTo>
                      <a:pt x="911" y="165"/>
                      <a:pt x="911" y="165"/>
                      <a:pt x="911" y="165"/>
                    </a:cubicBezTo>
                    <a:cubicBezTo>
                      <a:pt x="911" y="164"/>
                      <a:pt x="911" y="164"/>
                      <a:pt x="911" y="164"/>
                    </a:cubicBezTo>
                    <a:cubicBezTo>
                      <a:pt x="912" y="164"/>
                      <a:pt x="912" y="164"/>
                      <a:pt x="912" y="164"/>
                    </a:cubicBezTo>
                    <a:cubicBezTo>
                      <a:pt x="913" y="163"/>
                      <a:pt x="913" y="163"/>
                      <a:pt x="913" y="163"/>
                    </a:cubicBezTo>
                    <a:cubicBezTo>
                      <a:pt x="914" y="163"/>
                      <a:pt x="914" y="163"/>
                      <a:pt x="914" y="163"/>
                    </a:cubicBezTo>
                    <a:cubicBezTo>
                      <a:pt x="914" y="162"/>
                      <a:pt x="914" y="162"/>
                      <a:pt x="914" y="162"/>
                    </a:cubicBezTo>
                    <a:cubicBezTo>
                      <a:pt x="913" y="162"/>
                      <a:pt x="913" y="162"/>
                      <a:pt x="913" y="162"/>
                    </a:cubicBezTo>
                    <a:cubicBezTo>
                      <a:pt x="913" y="161"/>
                      <a:pt x="913" y="161"/>
                      <a:pt x="913" y="161"/>
                    </a:cubicBezTo>
                    <a:cubicBezTo>
                      <a:pt x="914" y="160"/>
                      <a:pt x="914" y="160"/>
                      <a:pt x="914" y="160"/>
                    </a:cubicBezTo>
                    <a:cubicBezTo>
                      <a:pt x="915" y="159"/>
                      <a:pt x="915" y="159"/>
                      <a:pt x="915" y="159"/>
                    </a:cubicBezTo>
                    <a:cubicBezTo>
                      <a:pt x="915" y="158"/>
                      <a:pt x="915" y="158"/>
                      <a:pt x="915" y="158"/>
                    </a:cubicBezTo>
                    <a:cubicBezTo>
                      <a:pt x="914" y="158"/>
                      <a:pt x="914" y="158"/>
                      <a:pt x="914" y="158"/>
                    </a:cubicBezTo>
                    <a:cubicBezTo>
                      <a:pt x="915" y="157"/>
                      <a:pt x="915" y="157"/>
                      <a:pt x="915" y="157"/>
                    </a:cubicBezTo>
                    <a:cubicBezTo>
                      <a:pt x="914" y="157"/>
                      <a:pt x="914" y="157"/>
                      <a:pt x="914" y="157"/>
                    </a:cubicBezTo>
                    <a:cubicBezTo>
                      <a:pt x="913" y="155"/>
                      <a:pt x="913" y="155"/>
                      <a:pt x="913" y="155"/>
                    </a:cubicBezTo>
                    <a:cubicBezTo>
                      <a:pt x="911" y="154"/>
                      <a:pt x="911" y="154"/>
                      <a:pt x="911" y="154"/>
                    </a:cubicBezTo>
                    <a:cubicBezTo>
                      <a:pt x="911" y="153"/>
                      <a:pt x="911" y="153"/>
                      <a:pt x="911" y="153"/>
                    </a:cubicBezTo>
                    <a:cubicBezTo>
                      <a:pt x="910" y="153"/>
                      <a:pt x="910" y="153"/>
                      <a:pt x="910" y="153"/>
                    </a:cubicBezTo>
                    <a:cubicBezTo>
                      <a:pt x="910" y="154"/>
                      <a:pt x="910" y="154"/>
                      <a:pt x="910" y="154"/>
                    </a:cubicBezTo>
                    <a:cubicBezTo>
                      <a:pt x="909" y="154"/>
                      <a:pt x="909" y="154"/>
                      <a:pt x="909" y="154"/>
                    </a:cubicBezTo>
                    <a:cubicBezTo>
                      <a:pt x="909" y="153"/>
                      <a:pt x="909" y="153"/>
                      <a:pt x="909" y="153"/>
                    </a:cubicBezTo>
                    <a:cubicBezTo>
                      <a:pt x="909" y="152"/>
                      <a:pt x="909" y="152"/>
                      <a:pt x="909" y="152"/>
                    </a:cubicBezTo>
                    <a:cubicBezTo>
                      <a:pt x="908" y="152"/>
                      <a:pt x="908" y="152"/>
                      <a:pt x="908" y="152"/>
                    </a:cubicBezTo>
                    <a:cubicBezTo>
                      <a:pt x="907" y="151"/>
                      <a:pt x="907" y="151"/>
                      <a:pt x="907" y="151"/>
                    </a:cubicBezTo>
                    <a:cubicBezTo>
                      <a:pt x="906" y="151"/>
                      <a:pt x="906" y="151"/>
                      <a:pt x="906" y="151"/>
                    </a:cubicBezTo>
                    <a:cubicBezTo>
                      <a:pt x="905" y="151"/>
                      <a:pt x="905" y="151"/>
                      <a:pt x="905" y="151"/>
                    </a:cubicBezTo>
                    <a:cubicBezTo>
                      <a:pt x="905" y="150"/>
                      <a:pt x="905" y="150"/>
                      <a:pt x="905" y="150"/>
                    </a:cubicBezTo>
                    <a:cubicBezTo>
                      <a:pt x="905" y="149"/>
                      <a:pt x="905" y="149"/>
                      <a:pt x="905" y="149"/>
                    </a:cubicBezTo>
                    <a:cubicBezTo>
                      <a:pt x="904" y="148"/>
                      <a:pt x="904" y="148"/>
                      <a:pt x="904" y="148"/>
                    </a:cubicBezTo>
                    <a:cubicBezTo>
                      <a:pt x="903" y="147"/>
                      <a:pt x="903" y="147"/>
                      <a:pt x="903" y="147"/>
                    </a:cubicBezTo>
                    <a:cubicBezTo>
                      <a:pt x="902" y="147"/>
                      <a:pt x="902" y="147"/>
                      <a:pt x="902" y="147"/>
                    </a:cubicBezTo>
                    <a:cubicBezTo>
                      <a:pt x="902" y="148"/>
                      <a:pt x="902" y="148"/>
                      <a:pt x="902" y="148"/>
                    </a:cubicBezTo>
                    <a:cubicBezTo>
                      <a:pt x="901" y="147"/>
                      <a:pt x="901" y="147"/>
                      <a:pt x="901" y="147"/>
                    </a:cubicBezTo>
                    <a:cubicBezTo>
                      <a:pt x="899" y="146"/>
                      <a:pt x="899" y="146"/>
                      <a:pt x="899" y="146"/>
                    </a:cubicBezTo>
                    <a:cubicBezTo>
                      <a:pt x="898" y="145"/>
                      <a:pt x="898" y="145"/>
                      <a:pt x="898" y="145"/>
                    </a:cubicBezTo>
                    <a:cubicBezTo>
                      <a:pt x="897" y="144"/>
                      <a:pt x="897" y="144"/>
                      <a:pt x="897" y="144"/>
                    </a:cubicBezTo>
                    <a:cubicBezTo>
                      <a:pt x="896" y="144"/>
                      <a:pt x="896" y="144"/>
                      <a:pt x="896" y="144"/>
                    </a:cubicBezTo>
                    <a:cubicBezTo>
                      <a:pt x="894" y="144"/>
                      <a:pt x="894" y="144"/>
                      <a:pt x="894" y="144"/>
                    </a:cubicBezTo>
                    <a:cubicBezTo>
                      <a:pt x="893" y="145"/>
                      <a:pt x="893" y="145"/>
                      <a:pt x="893" y="145"/>
                    </a:cubicBezTo>
                    <a:cubicBezTo>
                      <a:pt x="893" y="146"/>
                      <a:pt x="893" y="146"/>
                      <a:pt x="893" y="146"/>
                    </a:cubicBezTo>
                    <a:cubicBezTo>
                      <a:pt x="892" y="147"/>
                      <a:pt x="892" y="147"/>
                      <a:pt x="892" y="147"/>
                    </a:cubicBezTo>
                    <a:cubicBezTo>
                      <a:pt x="891" y="148"/>
                      <a:pt x="891" y="148"/>
                      <a:pt x="891" y="148"/>
                    </a:cubicBezTo>
                    <a:cubicBezTo>
                      <a:pt x="891" y="147"/>
                      <a:pt x="891" y="147"/>
                      <a:pt x="891" y="147"/>
                    </a:cubicBezTo>
                    <a:cubicBezTo>
                      <a:pt x="892" y="146"/>
                      <a:pt x="892" y="146"/>
                      <a:pt x="892" y="146"/>
                    </a:cubicBezTo>
                    <a:cubicBezTo>
                      <a:pt x="892" y="144"/>
                      <a:pt x="892" y="144"/>
                      <a:pt x="892" y="144"/>
                    </a:cubicBezTo>
                    <a:cubicBezTo>
                      <a:pt x="891" y="144"/>
                      <a:pt x="891" y="144"/>
                      <a:pt x="891" y="144"/>
                    </a:cubicBezTo>
                    <a:cubicBezTo>
                      <a:pt x="890" y="144"/>
                      <a:pt x="890" y="144"/>
                      <a:pt x="890" y="144"/>
                    </a:cubicBezTo>
                    <a:cubicBezTo>
                      <a:pt x="889" y="145"/>
                      <a:pt x="889" y="145"/>
                      <a:pt x="889" y="145"/>
                    </a:cubicBezTo>
                    <a:cubicBezTo>
                      <a:pt x="889" y="146"/>
                      <a:pt x="889" y="146"/>
                      <a:pt x="889" y="146"/>
                    </a:cubicBezTo>
                    <a:cubicBezTo>
                      <a:pt x="888" y="146"/>
                      <a:pt x="888" y="146"/>
                      <a:pt x="888" y="146"/>
                    </a:cubicBezTo>
                    <a:cubicBezTo>
                      <a:pt x="887" y="144"/>
                      <a:pt x="887" y="144"/>
                      <a:pt x="887" y="144"/>
                    </a:cubicBezTo>
                    <a:cubicBezTo>
                      <a:pt x="886" y="144"/>
                      <a:pt x="886" y="144"/>
                      <a:pt x="886" y="144"/>
                    </a:cubicBezTo>
                    <a:cubicBezTo>
                      <a:pt x="885" y="143"/>
                      <a:pt x="885" y="143"/>
                      <a:pt x="885" y="143"/>
                    </a:cubicBezTo>
                    <a:cubicBezTo>
                      <a:pt x="884" y="143"/>
                      <a:pt x="884" y="143"/>
                      <a:pt x="884" y="143"/>
                    </a:cubicBezTo>
                    <a:cubicBezTo>
                      <a:pt x="883" y="144"/>
                      <a:pt x="883" y="144"/>
                      <a:pt x="883" y="144"/>
                    </a:cubicBezTo>
                    <a:cubicBezTo>
                      <a:pt x="882" y="144"/>
                      <a:pt x="882" y="144"/>
                      <a:pt x="882" y="144"/>
                    </a:cubicBezTo>
                    <a:cubicBezTo>
                      <a:pt x="882" y="145"/>
                      <a:pt x="882" y="145"/>
                      <a:pt x="882" y="145"/>
                    </a:cubicBezTo>
                    <a:cubicBezTo>
                      <a:pt x="881" y="144"/>
                      <a:pt x="881" y="144"/>
                      <a:pt x="881" y="144"/>
                    </a:cubicBezTo>
                    <a:cubicBezTo>
                      <a:pt x="881" y="143"/>
                      <a:pt x="881" y="143"/>
                      <a:pt x="881" y="143"/>
                    </a:cubicBezTo>
                    <a:cubicBezTo>
                      <a:pt x="881" y="142"/>
                      <a:pt x="881" y="142"/>
                      <a:pt x="881" y="142"/>
                    </a:cubicBezTo>
                    <a:cubicBezTo>
                      <a:pt x="881" y="141"/>
                      <a:pt x="881" y="141"/>
                      <a:pt x="881" y="141"/>
                    </a:cubicBezTo>
                    <a:cubicBezTo>
                      <a:pt x="880" y="141"/>
                      <a:pt x="880" y="141"/>
                      <a:pt x="880" y="141"/>
                    </a:cubicBezTo>
                    <a:cubicBezTo>
                      <a:pt x="879" y="142"/>
                      <a:pt x="879" y="142"/>
                      <a:pt x="879" y="142"/>
                    </a:cubicBezTo>
                    <a:cubicBezTo>
                      <a:pt x="879" y="143"/>
                      <a:pt x="879" y="143"/>
                      <a:pt x="879" y="143"/>
                    </a:cubicBezTo>
                    <a:cubicBezTo>
                      <a:pt x="879" y="144"/>
                      <a:pt x="879" y="144"/>
                      <a:pt x="879" y="144"/>
                    </a:cubicBezTo>
                    <a:cubicBezTo>
                      <a:pt x="879" y="145"/>
                      <a:pt x="879" y="145"/>
                      <a:pt x="879" y="145"/>
                    </a:cubicBezTo>
                    <a:cubicBezTo>
                      <a:pt x="879" y="146"/>
                      <a:pt x="879" y="146"/>
                      <a:pt x="879" y="146"/>
                    </a:cubicBezTo>
                    <a:cubicBezTo>
                      <a:pt x="879" y="147"/>
                      <a:pt x="879" y="147"/>
                      <a:pt x="879" y="147"/>
                    </a:cubicBezTo>
                    <a:cubicBezTo>
                      <a:pt x="878" y="148"/>
                      <a:pt x="878" y="148"/>
                      <a:pt x="878" y="148"/>
                    </a:cubicBezTo>
                    <a:cubicBezTo>
                      <a:pt x="878" y="147"/>
                      <a:pt x="878" y="147"/>
                      <a:pt x="878" y="147"/>
                    </a:cubicBezTo>
                    <a:cubicBezTo>
                      <a:pt x="877" y="146"/>
                      <a:pt x="877" y="146"/>
                      <a:pt x="877" y="146"/>
                    </a:cubicBezTo>
                    <a:cubicBezTo>
                      <a:pt x="875" y="145"/>
                      <a:pt x="875" y="145"/>
                      <a:pt x="875" y="145"/>
                    </a:cubicBezTo>
                    <a:cubicBezTo>
                      <a:pt x="874" y="145"/>
                      <a:pt x="874" y="145"/>
                      <a:pt x="874" y="145"/>
                    </a:cubicBezTo>
                    <a:cubicBezTo>
                      <a:pt x="873" y="144"/>
                      <a:pt x="873" y="144"/>
                      <a:pt x="873" y="144"/>
                    </a:cubicBezTo>
                    <a:cubicBezTo>
                      <a:pt x="872" y="143"/>
                      <a:pt x="872" y="143"/>
                      <a:pt x="872" y="143"/>
                    </a:cubicBezTo>
                    <a:cubicBezTo>
                      <a:pt x="873" y="142"/>
                      <a:pt x="873" y="142"/>
                      <a:pt x="873" y="142"/>
                    </a:cubicBezTo>
                    <a:cubicBezTo>
                      <a:pt x="871" y="142"/>
                      <a:pt x="871" y="142"/>
                      <a:pt x="871" y="142"/>
                    </a:cubicBezTo>
                    <a:cubicBezTo>
                      <a:pt x="871" y="140"/>
                      <a:pt x="871" y="140"/>
                      <a:pt x="871" y="140"/>
                    </a:cubicBezTo>
                    <a:cubicBezTo>
                      <a:pt x="870" y="139"/>
                      <a:pt x="870" y="139"/>
                      <a:pt x="870" y="139"/>
                    </a:cubicBezTo>
                    <a:cubicBezTo>
                      <a:pt x="869" y="138"/>
                      <a:pt x="869" y="138"/>
                      <a:pt x="869" y="138"/>
                    </a:cubicBezTo>
                    <a:cubicBezTo>
                      <a:pt x="869" y="137"/>
                      <a:pt x="869" y="137"/>
                      <a:pt x="869" y="137"/>
                    </a:cubicBezTo>
                    <a:cubicBezTo>
                      <a:pt x="870" y="136"/>
                      <a:pt x="870" y="136"/>
                      <a:pt x="870" y="136"/>
                    </a:cubicBezTo>
                    <a:cubicBezTo>
                      <a:pt x="871" y="136"/>
                      <a:pt x="871" y="136"/>
                      <a:pt x="871" y="136"/>
                    </a:cubicBezTo>
                    <a:cubicBezTo>
                      <a:pt x="872" y="135"/>
                      <a:pt x="872" y="135"/>
                      <a:pt x="872" y="135"/>
                    </a:cubicBezTo>
                    <a:cubicBezTo>
                      <a:pt x="873" y="135"/>
                      <a:pt x="873" y="135"/>
                      <a:pt x="873" y="135"/>
                    </a:cubicBezTo>
                    <a:cubicBezTo>
                      <a:pt x="875" y="135"/>
                      <a:pt x="875" y="135"/>
                      <a:pt x="875" y="135"/>
                    </a:cubicBezTo>
                    <a:cubicBezTo>
                      <a:pt x="876" y="135"/>
                      <a:pt x="876" y="135"/>
                      <a:pt x="876" y="135"/>
                    </a:cubicBezTo>
                    <a:cubicBezTo>
                      <a:pt x="876" y="134"/>
                      <a:pt x="876" y="134"/>
                      <a:pt x="876" y="134"/>
                    </a:cubicBezTo>
                    <a:cubicBezTo>
                      <a:pt x="876" y="133"/>
                      <a:pt x="876" y="133"/>
                      <a:pt x="876" y="133"/>
                    </a:cubicBezTo>
                    <a:cubicBezTo>
                      <a:pt x="875" y="134"/>
                      <a:pt x="875" y="134"/>
                      <a:pt x="875" y="134"/>
                    </a:cubicBezTo>
                    <a:cubicBezTo>
                      <a:pt x="873" y="133"/>
                      <a:pt x="873" y="133"/>
                      <a:pt x="873" y="133"/>
                    </a:cubicBezTo>
                    <a:cubicBezTo>
                      <a:pt x="872" y="133"/>
                      <a:pt x="872" y="133"/>
                      <a:pt x="872" y="133"/>
                    </a:cubicBezTo>
                    <a:cubicBezTo>
                      <a:pt x="870" y="131"/>
                      <a:pt x="870" y="131"/>
                      <a:pt x="870" y="131"/>
                    </a:cubicBezTo>
                    <a:cubicBezTo>
                      <a:pt x="870" y="130"/>
                      <a:pt x="870" y="130"/>
                      <a:pt x="870" y="130"/>
                    </a:cubicBezTo>
                    <a:cubicBezTo>
                      <a:pt x="871" y="129"/>
                      <a:pt x="871" y="129"/>
                      <a:pt x="871" y="129"/>
                    </a:cubicBezTo>
                    <a:cubicBezTo>
                      <a:pt x="872" y="129"/>
                      <a:pt x="872" y="129"/>
                      <a:pt x="872" y="129"/>
                    </a:cubicBezTo>
                    <a:cubicBezTo>
                      <a:pt x="872" y="127"/>
                      <a:pt x="872" y="127"/>
                      <a:pt x="872" y="127"/>
                    </a:cubicBezTo>
                    <a:cubicBezTo>
                      <a:pt x="871" y="127"/>
                      <a:pt x="871" y="127"/>
                      <a:pt x="871" y="127"/>
                    </a:cubicBezTo>
                    <a:cubicBezTo>
                      <a:pt x="871" y="129"/>
                      <a:pt x="871" y="129"/>
                      <a:pt x="871" y="129"/>
                    </a:cubicBezTo>
                    <a:cubicBezTo>
                      <a:pt x="870" y="129"/>
                      <a:pt x="870" y="129"/>
                      <a:pt x="870" y="129"/>
                    </a:cubicBezTo>
                    <a:cubicBezTo>
                      <a:pt x="869" y="130"/>
                      <a:pt x="869" y="130"/>
                      <a:pt x="869" y="130"/>
                    </a:cubicBezTo>
                    <a:cubicBezTo>
                      <a:pt x="868" y="129"/>
                      <a:pt x="868" y="129"/>
                      <a:pt x="868" y="129"/>
                    </a:cubicBezTo>
                    <a:cubicBezTo>
                      <a:pt x="867" y="128"/>
                      <a:pt x="867" y="128"/>
                      <a:pt x="867" y="128"/>
                    </a:cubicBezTo>
                    <a:cubicBezTo>
                      <a:pt x="867" y="127"/>
                      <a:pt x="867" y="127"/>
                      <a:pt x="867" y="127"/>
                    </a:cubicBezTo>
                    <a:cubicBezTo>
                      <a:pt x="868" y="127"/>
                      <a:pt x="868" y="127"/>
                      <a:pt x="868" y="127"/>
                    </a:cubicBezTo>
                    <a:cubicBezTo>
                      <a:pt x="868" y="126"/>
                      <a:pt x="868" y="126"/>
                      <a:pt x="868" y="126"/>
                    </a:cubicBezTo>
                    <a:cubicBezTo>
                      <a:pt x="867" y="126"/>
                      <a:pt x="867" y="126"/>
                      <a:pt x="867" y="126"/>
                    </a:cubicBezTo>
                    <a:cubicBezTo>
                      <a:pt x="867" y="125"/>
                      <a:pt x="867" y="125"/>
                      <a:pt x="867" y="125"/>
                    </a:cubicBezTo>
                    <a:cubicBezTo>
                      <a:pt x="867" y="124"/>
                      <a:pt x="867" y="124"/>
                      <a:pt x="867" y="124"/>
                    </a:cubicBezTo>
                    <a:cubicBezTo>
                      <a:pt x="868" y="124"/>
                      <a:pt x="868" y="124"/>
                      <a:pt x="868" y="124"/>
                    </a:cubicBezTo>
                    <a:cubicBezTo>
                      <a:pt x="868" y="123"/>
                      <a:pt x="868" y="123"/>
                      <a:pt x="868" y="123"/>
                    </a:cubicBezTo>
                    <a:cubicBezTo>
                      <a:pt x="869" y="123"/>
                      <a:pt x="869" y="123"/>
                      <a:pt x="869" y="123"/>
                    </a:cubicBezTo>
                    <a:cubicBezTo>
                      <a:pt x="870" y="124"/>
                      <a:pt x="870" y="124"/>
                      <a:pt x="870" y="124"/>
                    </a:cubicBezTo>
                    <a:cubicBezTo>
                      <a:pt x="870" y="123"/>
                      <a:pt x="870" y="123"/>
                      <a:pt x="870" y="123"/>
                    </a:cubicBezTo>
                    <a:cubicBezTo>
                      <a:pt x="872" y="122"/>
                      <a:pt x="872" y="122"/>
                      <a:pt x="872" y="122"/>
                    </a:cubicBezTo>
                    <a:cubicBezTo>
                      <a:pt x="874" y="122"/>
                      <a:pt x="874" y="122"/>
                      <a:pt x="874" y="122"/>
                    </a:cubicBezTo>
                    <a:cubicBezTo>
                      <a:pt x="875" y="123"/>
                      <a:pt x="875" y="123"/>
                      <a:pt x="875" y="123"/>
                    </a:cubicBezTo>
                    <a:cubicBezTo>
                      <a:pt x="877" y="123"/>
                      <a:pt x="877" y="123"/>
                      <a:pt x="877" y="123"/>
                    </a:cubicBezTo>
                    <a:cubicBezTo>
                      <a:pt x="880" y="124"/>
                      <a:pt x="880" y="124"/>
                      <a:pt x="880" y="124"/>
                    </a:cubicBezTo>
                    <a:cubicBezTo>
                      <a:pt x="881" y="125"/>
                      <a:pt x="881" y="125"/>
                      <a:pt x="881" y="125"/>
                    </a:cubicBezTo>
                    <a:cubicBezTo>
                      <a:pt x="882" y="125"/>
                      <a:pt x="882" y="125"/>
                      <a:pt x="882" y="125"/>
                    </a:cubicBezTo>
                    <a:cubicBezTo>
                      <a:pt x="884" y="126"/>
                      <a:pt x="884" y="126"/>
                      <a:pt x="884" y="126"/>
                    </a:cubicBezTo>
                    <a:cubicBezTo>
                      <a:pt x="885" y="126"/>
                      <a:pt x="885" y="126"/>
                      <a:pt x="885" y="126"/>
                    </a:cubicBezTo>
                    <a:cubicBezTo>
                      <a:pt x="883" y="125"/>
                      <a:pt x="883" y="125"/>
                      <a:pt x="883" y="125"/>
                    </a:cubicBezTo>
                    <a:cubicBezTo>
                      <a:pt x="882" y="124"/>
                      <a:pt x="882" y="124"/>
                      <a:pt x="882" y="124"/>
                    </a:cubicBezTo>
                    <a:cubicBezTo>
                      <a:pt x="880" y="123"/>
                      <a:pt x="880" y="123"/>
                      <a:pt x="880" y="123"/>
                    </a:cubicBezTo>
                    <a:cubicBezTo>
                      <a:pt x="879" y="123"/>
                      <a:pt x="879" y="123"/>
                      <a:pt x="879" y="123"/>
                    </a:cubicBezTo>
                    <a:cubicBezTo>
                      <a:pt x="878" y="122"/>
                      <a:pt x="878" y="122"/>
                      <a:pt x="878" y="122"/>
                    </a:cubicBezTo>
                    <a:cubicBezTo>
                      <a:pt x="880" y="121"/>
                      <a:pt x="880" y="121"/>
                      <a:pt x="880" y="121"/>
                    </a:cubicBezTo>
                    <a:cubicBezTo>
                      <a:pt x="882" y="121"/>
                      <a:pt x="882" y="121"/>
                      <a:pt x="882" y="121"/>
                    </a:cubicBezTo>
                    <a:cubicBezTo>
                      <a:pt x="884" y="121"/>
                      <a:pt x="884" y="121"/>
                      <a:pt x="884" y="121"/>
                    </a:cubicBezTo>
                    <a:cubicBezTo>
                      <a:pt x="886" y="122"/>
                      <a:pt x="886" y="122"/>
                      <a:pt x="886" y="122"/>
                    </a:cubicBezTo>
                    <a:cubicBezTo>
                      <a:pt x="887" y="123"/>
                      <a:pt x="887" y="123"/>
                      <a:pt x="887" y="123"/>
                    </a:cubicBezTo>
                    <a:cubicBezTo>
                      <a:pt x="888" y="123"/>
                      <a:pt x="888" y="123"/>
                      <a:pt x="888" y="123"/>
                    </a:cubicBezTo>
                    <a:cubicBezTo>
                      <a:pt x="888" y="124"/>
                      <a:pt x="888" y="124"/>
                      <a:pt x="888" y="124"/>
                    </a:cubicBezTo>
                    <a:cubicBezTo>
                      <a:pt x="889" y="124"/>
                      <a:pt x="889" y="124"/>
                      <a:pt x="889" y="124"/>
                    </a:cubicBezTo>
                    <a:cubicBezTo>
                      <a:pt x="889" y="123"/>
                      <a:pt x="889" y="123"/>
                      <a:pt x="889" y="123"/>
                    </a:cubicBezTo>
                    <a:cubicBezTo>
                      <a:pt x="889" y="122"/>
                      <a:pt x="889" y="122"/>
                      <a:pt x="889" y="122"/>
                    </a:cubicBezTo>
                    <a:cubicBezTo>
                      <a:pt x="890" y="121"/>
                      <a:pt x="890" y="121"/>
                      <a:pt x="890" y="121"/>
                    </a:cubicBezTo>
                    <a:cubicBezTo>
                      <a:pt x="890" y="119"/>
                      <a:pt x="890" y="119"/>
                      <a:pt x="890" y="119"/>
                    </a:cubicBezTo>
                    <a:cubicBezTo>
                      <a:pt x="889" y="119"/>
                      <a:pt x="889" y="119"/>
                      <a:pt x="889" y="119"/>
                    </a:cubicBezTo>
                    <a:cubicBezTo>
                      <a:pt x="889" y="118"/>
                      <a:pt x="889" y="118"/>
                      <a:pt x="889" y="118"/>
                    </a:cubicBezTo>
                    <a:cubicBezTo>
                      <a:pt x="888" y="118"/>
                      <a:pt x="888" y="118"/>
                      <a:pt x="888" y="118"/>
                    </a:cubicBezTo>
                    <a:cubicBezTo>
                      <a:pt x="887" y="118"/>
                      <a:pt x="887" y="118"/>
                      <a:pt x="887" y="118"/>
                    </a:cubicBezTo>
                    <a:cubicBezTo>
                      <a:pt x="886" y="119"/>
                      <a:pt x="886" y="119"/>
                      <a:pt x="886" y="119"/>
                    </a:cubicBezTo>
                    <a:cubicBezTo>
                      <a:pt x="885" y="119"/>
                      <a:pt x="885" y="119"/>
                      <a:pt x="885" y="119"/>
                    </a:cubicBezTo>
                    <a:cubicBezTo>
                      <a:pt x="883" y="118"/>
                      <a:pt x="883" y="118"/>
                      <a:pt x="883" y="118"/>
                    </a:cubicBezTo>
                    <a:cubicBezTo>
                      <a:pt x="882" y="118"/>
                      <a:pt x="882" y="118"/>
                      <a:pt x="882" y="118"/>
                    </a:cubicBezTo>
                    <a:cubicBezTo>
                      <a:pt x="882" y="117"/>
                      <a:pt x="882" y="117"/>
                      <a:pt x="882" y="117"/>
                    </a:cubicBezTo>
                    <a:cubicBezTo>
                      <a:pt x="881" y="116"/>
                      <a:pt x="881" y="116"/>
                      <a:pt x="881" y="116"/>
                    </a:cubicBezTo>
                    <a:cubicBezTo>
                      <a:pt x="880" y="116"/>
                      <a:pt x="880" y="116"/>
                      <a:pt x="880" y="116"/>
                    </a:cubicBezTo>
                    <a:cubicBezTo>
                      <a:pt x="880" y="117"/>
                      <a:pt x="880" y="117"/>
                      <a:pt x="880" y="117"/>
                    </a:cubicBezTo>
                    <a:cubicBezTo>
                      <a:pt x="880" y="119"/>
                      <a:pt x="880" y="119"/>
                      <a:pt x="880" y="119"/>
                    </a:cubicBezTo>
                    <a:cubicBezTo>
                      <a:pt x="878" y="119"/>
                      <a:pt x="878" y="119"/>
                      <a:pt x="878" y="119"/>
                    </a:cubicBezTo>
                    <a:cubicBezTo>
                      <a:pt x="877" y="119"/>
                      <a:pt x="877" y="119"/>
                      <a:pt x="877" y="119"/>
                    </a:cubicBezTo>
                    <a:cubicBezTo>
                      <a:pt x="875" y="117"/>
                      <a:pt x="875" y="117"/>
                      <a:pt x="875" y="117"/>
                    </a:cubicBezTo>
                    <a:cubicBezTo>
                      <a:pt x="875" y="116"/>
                      <a:pt x="875" y="116"/>
                      <a:pt x="875" y="116"/>
                    </a:cubicBezTo>
                    <a:cubicBezTo>
                      <a:pt x="876" y="116"/>
                      <a:pt x="876" y="116"/>
                      <a:pt x="876" y="116"/>
                    </a:cubicBezTo>
                    <a:cubicBezTo>
                      <a:pt x="878" y="115"/>
                      <a:pt x="878" y="115"/>
                      <a:pt x="878" y="115"/>
                    </a:cubicBezTo>
                    <a:cubicBezTo>
                      <a:pt x="878" y="114"/>
                      <a:pt x="878" y="114"/>
                      <a:pt x="878" y="114"/>
                    </a:cubicBezTo>
                    <a:cubicBezTo>
                      <a:pt x="876" y="115"/>
                      <a:pt x="876" y="115"/>
                      <a:pt x="876" y="115"/>
                    </a:cubicBezTo>
                    <a:cubicBezTo>
                      <a:pt x="875" y="115"/>
                      <a:pt x="875" y="115"/>
                      <a:pt x="875" y="115"/>
                    </a:cubicBezTo>
                    <a:cubicBezTo>
                      <a:pt x="874" y="115"/>
                      <a:pt x="874" y="115"/>
                      <a:pt x="874" y="115"/>
                    </a:cubicBezTo>
                    <a:cubicBezTo>
                      <a:pt x="874" y="114"/>
                      <a:pt x="874" y="114"/>
                      <a:pt x="874" y="114"/>
                    </a:cubicBezTo>
                    <a:cubicBezTo>
                      <a:pt x="875" y="113"/>
                      <a:pt x="875" y="113"/>
                      <a:pt x="875" y="113"/>
                    </a:cubicBezTo>
                    <a:cubicBezTo>
                      <a:pt x="876" y="113"/>
                      <a:pt x="876" y="113"/>
                      <a:pt x="876" y="113"/>
                    </a:cubicBezTo>
                    <a:cubicBezTo>
                      <a:pt x="877" y="111"/>
                      <a:pt x="877" y="111"/>
                      <a:pt x="877" y="111"/>
                    </a:cubicBezTo>
                    <a:cubicBezTo>
                      <a:pt x="876" y="110"/>
                      <a:pt x="876" y="110"/>
                      <a:pt x="876" y="110"/>
                    </a:cubicBezTo>
                    <a:cubicBezTo>
                      <a:pt x="876" y="111"/>
                      <a:pt x="876" y="111"/>
                      <a:pt x="876" y="111"/>
                    </a:cubicBezTo>
                    <a:cubicBezTo>
                      <a:pt x="874" y="112"/>
                      <a:pt x="874" y="112"/>
                      <a:pt x="874" y="112"/>
                    </a:cubicBezTo>
                    <a:cubicBezTo>
                      <a:pt x="873" y="112"/>
                      <a:pt x="873" y="112"/>
                      <a:pt x="873" y="112"/>
                    </a:cubicBezTo>
                    <a:cubicBezTo>
                      <a:pt x="872" y="112"/>
                      <a:pt x="872" y="112"/>
                      <a:pt x="872" y="112"/>
                    </a:cubicBezTo>
                    <a:cubicBezTo>
                      <a:pt x="871" y="111"/>
                      <a:pt x="871" y="111"/>
                      <a:pt x="871" y="111"/>
                    </a:cubicBezTo>
                    <a:cubicBezTo>
                      <a:pt x="872" y="111"/>
                      <a:pt x="872" y="111"/>
                      <a:pt x="872" y="111"/>
                    </a:cubicBezTo>
                    <a:cubicBezTo>
                      <a:pt x="872" y="110"/>
                      <a:pt x="872" y="110"/>
                      <a:pt x="872" y="110"/>
                    </a:cubicBezTo>
                    <a:cubicBezTo>
                      <a:pt x="873" y="110"/>
                      <a:pt x="873" y="110"/>
                      <a:pt x="873" y="110"/>
                    </a:cubicBezTo>
                    <a:cubicBezTo>
                      <a:pt x="873" y="109"/>
                      <a:pt x="873" y="109"/>
                      <a:pt x="873" y="109"/>
                    </a:cubicBezTo>
                    <a:cubicBezTo>
                      <a:pt x="872" y="109"/>
                      <a:pt x="872" y="109"/>
                      <a:pt x="872" y="109"/>
                    </a:cubicBezTo>
                    <a:cubicBezTo>
                      <a:pt x="871" y="109"/>
                      <a:pt x="871" y="109"/>
                      <a:pt x="871" y="109"/>
                    </a:cubicBezTo>
                    <a:cubicBezTo>
                      <a:pt x="870" y="108"/>
                      <a:pt x="870" y="108"/>
                      <a:pt x="870" y="108"/>
                    </a:cubicBezTo>
                    <a:cubicBezTo>
                      <a:pt x="869" y="106"/>
                      <a:pt x="869" y="106"/>
                      <a:pt x="869" y="106"/>
                    </a:cubicBezTo>
                    <a:cubicBezTo>
                      <a:pt x="869" y="105"/>
                      <a:pt x="869" y="105"/>
                      <a:pt x="869" y="105"/>
                    </a:cubicBezTo>
                    <a:cubicBezTo>
                      <a:pt x="867" y="104"/>
                      <a:pt x="867" y="104"/>
                      <a:pt x="867" y="104"/>
                    </a:cubicBezTo>
                    <a:cubicBezTo>
                      <a:pt x="868" y="104"/>
                      <a:pt x="868" y="104"/>
                      <a:pt x="868" y="104"/>
                    </a:cubicBezTo>
                    <a:cubicBezTo>
                      <a:pt x="869" y="103"/>
                      <a:pt x="869" y="103"/>
                      <a:pt x="869" y="103"/>
                    </a:cubicBezTo>
                    <a:cubicBezTo>
                      <a:pt x="869" y="102"/>
                      <a:pt x="869" y="102"/>
                      <a:pt x="869" y="102"/>
                    </a:cubicBezTo>
                    <a:cubicBezTo>
                      <a:pt x="870" y="102"/>
                      <a:pt x="870" y="102"/>
                      <a:pt x="870" y="102"/>
                    </a:cubicBezTo>
                    <a:cubicBezTo>
                      <a:pt x="871" y="102"/>
                      <a:pt x="871" y="102"/>
                      <a:pt x="871" y="102"/>
                    </a:cubicBezTo>
                    <a:cubicBezTo>
                      <a:pt x="871" y="101"/>
                      <a:pt x="871" y="101"/>
                      <a:pt x="871" y="101"/>
                    </a:cubicBezTo>
                    <a:cubicBezTo>
                      <a:pt x="870" y="101"/>
                      <a:pt x="870" y="101"/>
                      <a:pt x="870" y="101"/>
                    </a:cubicBezTo>
                    <a:cubicBezTo>
                      <a:pt x="869" y="101"/>
                      <a:pt x="869" y="101"/>
                      <a:pt x="869" y="101"/>
                    </a:cubicBezTo>
                    <a:cubicBezTo>
                      <a:pt x="869" y="100"/>
                      <a:pt x="869" y="100"/>
                      <a:pt x="869" y="100"/>
                    </a:cubicBezTo>
                    <a:cubicBezTo>
                      <a:pt x="870" y="100"/>
                      <a:pt x="870" y="100"/>
                      <a:pt x="870" y="100"/>
                    </a:cubicBezTo>
                    <a:cubicBezTo>
                      <a:pt x="872" y="99"/>
                      <a:pt x="872" y="99"/>
                      <a:pt x="872" y="99"/>
                    </a:cubicBezTo>
                    <a:cubicBezTo>
                      <a:pt x="872" y="98"/>
                      <a:pt x="872" y="98"/>
                      <a:pt x="872" y="98"/>
                    </a:cubicBezTo>
                    <a:cubicBezTo>
                      <a:pt x="873" y="97"/>
                      <a:pt x="873" y="97"/>
                      <a:pt x="873" y="97"/>
                    </a:cubicBezTo>
                    <a:cubicBezTo>
                      <a:pt x="874" y="97"/>
                      <a:pt x="874" y="97"/>
                      <a:pt x="874" y="97"/>
                    </a:cubicBezTo>
                    <a:cubicBezTo>
                      <a:pt x="875" y="97"/>
                      <a:pt x="875" y="97"/>
                      <a:pt x="875" y="97"/>
                    </a:cubicBezTo>
                    <a:cubicBezTo>
                      <a:pt x="876" y="97"/>
                      <a:pt x="876" y="97"/>
                      <a:pt x="876" y="97"/>
                    </a:cubicBezTo>
                    <a:cubicBezTo>
                      <a:pt x="877" y="97"/>
                      <a:pt x="877" y="97"/>
                      <a:pt x="877" y="97"/>
                    </a:cubicBezTo>
                    <a:cubicBezTo>
                      <a:pt x="878" y="97"/>
                      <a:pt x="878" y="97"/>
                      <a:pt x="878" y="97"/>
                    </a:cubicBezTo>
                    <a:cubicBezTo>
                      <a:pt x="879" y="97"/>
                      <a:pt x="879" y="97"/>
                      <a:pt x="879" y="97"/>
                    </a:cubicBezTo>
                    <a:cubicBezTo>
                      <a:pt x="880" y="97"/>
                      <a:pt x="880" y="97"/>
                      <a:pt x="880" y="97"/>
                    </a:cubicBezTo>
                    <a:cubicBezTo>
                      <a:pt x="880" y="96"/>
                      <a:pt x="880" y="96"/>
                      <a:pt x="880" y="96"/>
                    </a:cubicBezTo>
                    <a:cubicBezTo>
                      <a:pt x="881" y="96"/>
                      <a:pt x="881" y="96"/>
                      <a:pt x="881" y="96"/>
                    </a:cubicBezTo>
                    <a:cubicBezTo>
                      <a:pt x="882" y="96"/>
                      <a:pt x="882" y="96"/>
                      <a:pt x="882" y="96"/>
                    </a:cubicBezTo>
                    <a:cubicBezTo>
                      <a:pt x="883" y="96"/>
                      <a:pt x="883" y="96"/>
                      <a:pt x="883" y="96"/>
                    </a:cubicBezTo>
                    <a:cubicBezTo>
                      <a:pt x="884" y="96"/>
                      <a:pt x="884" y="96"/>
                      <a:pt x="884" y="96"/>
                    </a:cubicBezTo>
                    <a:cubicBezTo>
                      <a:pt x="889" y="94"/>
                      <a:pt x="889" y="94"/>
                      <a:pt x="889" y="94"/>
                    </a:cubicBezTo>
                    <a:cubicBezTo>
                      <a:pt x="890" y="94"/>
                      <a:pt x="890" y="94"/>
                      <a:pt x="890" y="94"/>
                    </a:cubicBezTo>
                    <a:cubicBezTo>
                      <a:pt x="890" y="93"/>
                      <a:pt x="890" y="93"/>
                      <a:pt x="890" y="93"/>
                    </a:cubicBezTo>
                    <a:cubicBezTo>
                      <a:pt x="892" y="92"/>
                      <a:pt x="892" y="92"/>
                      <a:pt x="892" y="92"/>
                    </a:cubicBezTo>
                    <a:cubicBezTo>
                      <a:pt x="894" y="92"/>
                      <a:pt x="894" y="92"/>
                      <a:pt x="894" y="92"/>
                    </a:cubicBezTo>
                    <a:cubicBezTo>
                      <a:pt x="895" y="92"/>
                      <a:pt x="895" y="92"/>
                      <a:pt x="895" y="92"/>
                    </a:cubicBezTo>
                    <a:cubicBezTo>
                      <a:pt x="896" y="92"/>
                      <a:pt x="896" y="92"/>
                      <a:pt x="896" y="92"/>
                    </a:cubicBezTo>
                    <a:cubicBezTo>
                      <a:pt x="897" y="93"/>
                      <a:pt x="897" y="93"/>
                      <a:pt x="897" y="93"/>
                    </a:cubicBezTo>
                    <a:cubicBezTo>
                      <a:pt x="898" y="92"/>
                      <a:pt x="898" y="92"/>
                      <a:pt x="898" y="92"/>
                    </a:cubicBezTo>
                    <a:cubicBezTo>
                      <a:pt x="899" y="92"/>
                      <a:pt x="899" y="92"/>
                      <a:pt x="899" y="92"/>
                    </a:cubicBezTo>
                    <a:cubicBezTo>
                      <a:pt x="901" y="92"/>
                      <a:pt x="901" y="92"/>
                      <a:pt x="901" y="92"/>
                    </a:cubicBezTo>
                    <a:cubicBezTo>
                      <a:pt x="901" y="93"/>
                      <a:pt x="901" y="93"/>
                      <a:pt x="901" y="93"/>
                    </a:cubicBezTo>
                    <a:cubicBezTo>
                      <a:pt x="902" y="93"/>
                      <a:pt x="902" y="93"/>
                      <a:pt x="902" y="93"/>
                    </a:cubicBezTo>
                    <a:cubicBezTo>
                      <a:pt x="903" y="93"/>
                      <a:pt x="903" y="93"/>
                      <a:pt x="903" y="93"/>
                    </a:cubicBezTo>
                    <a:cubicBezTo>
                      <a:pt x="904" y="94"/>
                      <a:pt x="904" y="94"/>
                      <a:pt x="904" y="94"/>
                    </a:cubicBezTo>
                    <a:cubicBezTo>
                      <a:pt x="905" y="94"/>
                      <a:pt x="905" y="94"/>
                      <a:pt x="905" y="94"/>
                    </a:cubicBezTo>
                    <a:cubicBezTo>
                      <a:pt x="906" y="94"/>
                      <a:pt x="906" y="94"/>
                      <a:pt x="906" y="94"/>
                    </a:cubicBezTo>
                    <a:cubicBezTo>
                      <a:pt x="906" y="93"/>
                      <a:pt x="906" y="93"/>
                      <a:pt x="906" y="93"/>
                    </a:cubicBezTo>
                    <a:cubicBezTo>
                      <a:pt x="907" y="92"/>
                      <a:pt x="907" y="92"/>
                      <a:pt x="907" y="92"/>
                    </a:cubicBezTo>
                    <a:cubicBezTo>
                      <a:pt x="908" y="91"/>
                      <a:pt x="908" y="91"/>
                      <a:pt x="908" y="91"/>
                    </a:cubicBezTo>
                    <a:cubicBezTo>
                      <a:pt x="909" y="90"/>
                      <a:pt x="909" y="90"/>
                      <a:pt x="909" y="90"/>
                    </a:cubicBezTo>
                    <a:cubicBezTo>
                      <a:pt x="910" y="89"/>
                      <a:pt x="910" y="89"/>
                      <a:pt x="910" y="89"/>
                    </a:cubicBezTo>
                    <a:cubicBezTo>
                      <a:pt x="911" y="88"/>
                      <a:pt x="911" y="88"/>
                      <a:pt x="911" y="88"/>
                    </a:cubicBezTo>
                    <a:cubicBezTo>
                      <a:pt x="912" y="87"/>
                      <a:pt x="912" y="87"/>
                      <a:pt x="912" y="87"/>
                    </a:cubicBezTo>
                    <a:cubicBezTo>
                      <a:pt x="913" y="86"/>
                      <a:pt x="913" y="86"/>
                      <a:pt x="913" y="86"/>
                    </a:cubicBezTo>
                    <a:cubicBezTo>
                      <a:pt x="913" y="85"/>
                      <a:pt x="913" y="85"/>
                      <a:pt x="913" y="85"/>
                    </a:cubicBezTo>
                    <a:cubicBezTo>
                      <a:pt x="912" y="85"/>
                      <a:pt x="912" y="85"/>
                      <a:pt x="912" y="85"/>
                    </a:cubicBezTo>
                    <a:cubicBezTo>
                      <a:pt x="912" y="84"/>
                      <a:pt x="912" y="84"/>
                      <a:pt x="912" y="84"/>
                    </a:cubicBezTo>
                    <a:cubicBezTo>
                      <a:pt x="913" y="82"/>
                      <a:pt x="913" y="82"/>
                      <a:pt x="913" y="82"/>
                    </a:cubicBezTo>
                    <a:cubicBezTo>
                      <a:pt x="914" y="82"/>
                      <a:pt x="914" y="82"/>
                      <a:pt x="914" y="82"/>
                    </a:cubicBezTo>
                    <a:cubicBezTo>
                      <a:pt x="916" y="82"/>
                      <a:pt x="916" y="82"/>
                      <a:pt x="916" y="82"/>
                    </a:cubicBezTo>
                    <a:cubicBezTo>
                      <a:pt x="917" y="82"/>
                      <a:pt x="917" y="82"/>
                      <a:pt x="917" y="82"/>
                    </a:cubicBezTo>
                    <a:cubicBezTo>
                      <a:pt x="918" y="81"/>
                      <a:pt x="918" y="81"/>
                      <a:pt x="918" y="81"/>
                    </a:cubicBezTo>
                    <a:cubicBezTo>
                      <a:pt x="917" y="80"/>
                      <a:pt x="917" y="80"/>
                      <a:pt x="917" y="80"/>
                    </a:cubicBezTo>
                    <a:cubicBezTo>
                      <a:pt x="916" y="80"/>
                      <a:pt x="916" y="80"/>
                      <a:pt x="916" y="80"/>
                    </a:cubicBezTo>
                    <a:cubicBezTo>
                      <a:pt x="915" y="80"/>
                      <a:pt x="915" y="80"/>
                      <a:pt x="915" y="80"/>
                    </a:cubicBezTo>
                    <a:cubicBezTo>
                      <a:pt x="915" y="79"/>
                      <a:pt x="915" y="79"/>
                      <a:pt x="915" y="79"/>
                    </a:cubicBezTo>
                    <a:cubicBezTo>
                      <a:pt x="915" y="78"/>
                      <a:pt x="915" y="78"/>
                      <a:pt x="915" y="78"/>
                    </a:cubicBezTo>
                    <a:cubicBezTo>
                      <a:pt x="916" y="78"/>
                      <a:pt x="916" y="78"/>
                      <a:pt x="916" y="78"/>
                    </a:cubicBezTo>
                    <a:cubicBezTo>
                      <a:pt x="918" y="78"/>
                      <a:pt x="918" y="78"/>
                      <a:pt x="918" y="78"/>
                    </a:cubicBezTo>
                    <a:cubicBezTo>
                      <a:pt x="919" y="77"/>
                      <a:pt x="919" y="77"/>
                      <a:pt x="919" y="77"/>
                    </a:cubicBezTo>
                    <a:cubicBezTo>
                      <a:pt x="920" y="77"/>
                      <a:pt x="920" y="77"/>
                      <a:pt x="920" y="77"/>
                    </a:cubicBezTo>
                    <a:cubicBezTo>
                      <a:pt x="921" y="76"/>
                      <a:pt x="921" y="76"/>
                      <a:pt x="921" y="76"/>
                    </a:cubicBezTo>
                    <a:cubicBezTo>
                      <a:pt x="920" y="76"/>
                      <a:pt x="920" y="76"/>
                      <a:pt x="920" y="76"/>
                    </a:cubicBezTo>
                    <a:cubicBezTo>
                      <a:pt x="920" y="75"/>
                      <a:pt x="920" y="75"/>
                      <a:pt x="920" y="75"/>
                    </a:cubicBezTo>
                    <a:cubicBezTo>
                      <a:pt x="919" y="76"/>
                      <a:pt x="919" y="76"/>
                      <a:pt x="919" y="76"/>
                    </a:cubicBezTo>
                    <a:cubicBezTo>
                      <a:pt x="919" y="77"/>
                      <a:pt x="919" y="77"/>
                      <a:pt x="919" y="77"/>
                    </a:cubicBezTo>
                    <a:cubicBezTo>
                      <a:pt x="918" y="77"/>
                      <a:pt x="918" y="77"/>
                      <a:pt x="918" y="77"/>
                    </a:cubicBezTo>
                    <a:cubicBezTo>
                      <a:pt x="916" y="77"/>
                      <a:pt x="916" y="77"/>
                      <a:pt x="916" y="77"/>
                    </a:cubicBezTo>
                    <a:cubicBezTo>
                      <a:pt x="915" y="77"/>
                      <a:pt x="915" y="77"/>
                      <a:pt x="915" y="77"/>
                    </a:cubicBezTo>
                    <a:cubicBezTo>
                      <a:pt x="914" y="78"/>
                      <a:pt x="914" y="78"/>
                      <a:pt x="914" y="78"/>
                    </a:cubicBezTo>
                    <a:cubicBezTo>
                      <a:pt x="913" y="78"/>
                      <a:pt x="913" y="78"/>
                      <a:pt x="913" y="78"/>
                    </a:cubicBezTo>
                    <a:cubicBezTo>
                      <a:pt x="912" y="77"/>
                      <a:pt x="912" y="77"/>
                      <a:pt x="912" y="77"/>
                    </a:cubicBezTo>
                    <a:cubicBezTo>
                      <a:pt x="911" y="76"/>
                      <a:pt x="911" y="76"/>
                      <a:pt x="911" y="76"/>
                    </a:cubicBezTo>
                    <a:cubicBezTo>
                      <a:pt x="910" y="76"/>
                      <a:pt x="910" y="76"/>
                      <a:pt x="910" y="76"/>
                    </a:cubicBezTo>
                    <a:cubicBezTo>
                      <a:pt x="910" y="77"/>
                      <a:pt x="910" y="77"/>
                      <a:pt x="910" y="77"/>
                    </a:cubicBezTo>
                    <a:cubicBezTo>
                      <a:pt x="909" y="77"/>
                      <a:pt x="909" y="77"/>
                      <a:pt x="909" y="77"/>
                    </a:cubicBezTo>
                    <a:cubicBezTo>
                      <a:pt x="909" y="76"/>
                      <a:pt x="909" y="76"/>
                      <a:pt x="909" y="76"/>
                    </a:cubicBezTo>
                    <a:cubicBezTo>
                      <a:pt x="908" y="76"/>
                      <a:pt x="908" y="76"/>
                      <a:pt x="908" y="76"/>
                    </a:cubicBezTo>
                    <a:cubicBezTo>
                      <a:pt x="907" y="76"/>
                      <a:pt x="907" y="76"/>
                      <a:pt x="907" y="76"/>
                    </a:cubicBezTo>
                    <a:cubicBezTo>
                      <a:pt x="907" y="75"/>
                      <a:pt x="907" y="75"/>
                      <a:pt x="907" y="75"/>
                    </a:cubicBezTo>
                    <a:cubicBezTo>
                      <a:pt x="907" y="74"/>
                      <a:pt x="907" y="74"/>
                      <a:pt x="907" y="74"/>
                    </a:cubicBezTo>
                    <a:cubicBezTo>
                      <a:pt x="907" y="73"/>
                      <a:pt x="907" y="73"/>
                      <a:pt x="907" y="73"/>
                    </a:cubicBezTo>
                    <a:cubicBezTo>
                      <a:pt x="908" y="73"/>
                      <a:pt x="908" y="73"/>
                      <a:pt x="908" y="73"/>
                    </a:cubicBezTo>
                    <a:cubicBezTo>
                      <a:pt x="909" y="72"/>
                      <a:pt x="909" y="72"/>
                      <a:pt x="909" y="72"/>
                    </a:cubicBezTo>
                    <a:cubicBezTo>
                      <a:pt x="909" y="71"/>
                      <a:pt x="909" y="71"/>
                      <a:pt x="909" y="71"/>
                    </a:cubicBezTo>
                    <a:cubicBezTo>
                      <a:pt x="910" y="71"/>
                      <a:pt x="910" y="71"/>
                      <a:pt x="910" y="71"/>
                    </a:cubicBezTo>
                    <a:cubicBezTo>
                      <a:pt x="910" y="70"/>
                      <a:pt x="910" y="70"/>
                      <a:pt x="910" y="70"/>
                    </a:cubicBezTo>
                    <a:cubicBezTo>
                      <a:pt x="909" y="69"/>
                      <a:pt x="909" y="69"/>
                      <a:pt x="909" y="69"/>
                    </a:cubicBezTo>
                    <a:cubicBezTo>
                      <a:pt x="910" y="69"/>
                      <a:pt x="910" y="69"/>
                      <a:pt x="910" y="69"/>
                    </a:cubicBezTo>
                    <a:cubicBezTo>
                      <a:pt x="911" y="68"/>
                      <a:pt x="911" y="68"/>
                      <a:pt x="911" y="68"/>
                    </a:cubicBezTo>
                    <a:cubicBezTo>
                      <a:pt x="912" y="68"/>
                      <a:pt x="912" y="68"/>
                      <a:pt x="912" y="68"/>
                    </a:cubicBezTo>
                    <a:cubicBezTo>
                      <a:pt x="912" y="67"/>
                      <a:pt x="912" y="67"/>
                      <a:pt x="912" y="67"/>
                    </a:cubicBezTo>
                    <a:cubicBezTo>
                      <a:pt x="913" y="67"/>
                      <a:pt x="913" y="67"/>
                      <a:pt x="913" y="67"/>
                    </a:cubicBezTo>
                    <a:cubicBezTo>
                      <a:pt x="915" y="66"/>
                      <a:pt x="915" y="66"/>
                      <a:pt x="915" y="66"/>
                    </a:cubicBezTo>
                    <a:cubicBezTo>
                      <a:pt x="915" y="65"/>
                      <a:pt x="915" y="65"/>
                      <a:pt x="915" y="65"/>
                    </a:cubicBezTo>
                    <a:cubicBezTo>
                      <a:pt x="916" y="65"/>
                      <a:pt x="916" y="65"/>
                      <a:pt x="916" y="65"/>
                    </a:cubicBezTo>
                    <a:cubicBezTo>
                      <a:pt x="918" y="65"/>
                      <a:pt x="918" y="65"/>
                      <a:pt x="918" y="65"/>
                    </a:cubicBezTo>
                    <a:cubicBezTo>
                      <a:pt x="919" y="65"/>
                      <a:pt x="919" y="65"/>
                      <a:pt x="919" y="65"/>
                    </a:cubicBezTo>
                    <a:cubicBezTo>
                      <a:pt x="918" y="64"/>
                      <a:pt x="918" y="64"/>
                      <a:pt x="918" y="64"/>
                    </a:cubicBezTo>
                    <a:cubicBezTo>
                      <a:pt x="918" y="63"/>
                      <a:pt x="918" y="63"/>
                      <a:pt x="918" y="63"/>
                    </a:cubicBezTo>
                    <a:cubicBezTo>
                      <a:pt x="920" y="63"/>
                      <a:pt x="920" y="63"/>
                      <a:pt x="920" y="63"/>
                    </a:cubicBezTo>
                    <a:cubicBezTo>
                      <a:pt x="922" y="62"/>
                      <a:pt x="922" y="62"/>
                      <a:pt x="922" y="62"/>
                    </a:cubicBezTo>
                    <a:cubicBezTo>
                      <a:pt x="922" y="61"/>
                      <a:pt x="922" y="61"/>
                      <a:pt x="922" y="61"/>
                    </a:cubicBezTo>
                    <a:cubicBezTo>
                      <a:pt x="922" y="60"/>
                      <a:pt x="922" y="60"/>
                      <a:pt x="922" y="60"/>
                    </a:cubicBezTo>
                    <a:cubicBezTo>
                      <a:pt x="923" y="59"/>
                      <a:pt x="923" y="59"/>
                      <a:pt x="923" y="59"/>
                    </a:cubicBezTo>
                    <a:cubicBezTo>
                      <a:pt x="924" y="59"/>
                      <a:pt x="924" y="59"/>
                      <a:pt x="924" y="59"/>
                    </a:cubicBezTo>
                    <a:cubicBezTo>
                      <a:pt x="925" y="58"/>
                      <a:pt x="925" y="58"/>
                      <a:pt x="925" y="58"/>
                    </a:cubicBezTo>
                    <a:cubicBezTo>
                      <a:pt x="926" y="58"/>
                      <a:pt x="926" y="58"/>
                      <a:pt x="926" y="58"/>
                    </a:cubicBezTo>
                    <a:cubicBezTo>
                      <a:pt x="927" y="58"/>
                      <a:pt x="927" y="58"/>
                      <a:pt x="927" y="58"/>
                    </a:cubicBezTo>
                    <a:cubicBezTo>
                      <a:pt x="927" y="59"/>
                      <a:pt x="927" y="59"/>
                      <a:pt x="927" y="59"/>
                    </a:cubicBezTo>
                    <a:cubicBezTo>
                      <a:pt x="927" y="61"/>
                      <a:pt x="927" y="61"/>
                      <a:pt x="927" y="61"/>
                    </a:cubicBezTo>
                    <a:cubicBezTo>
                      <a:pt x="927" y="62"/>
                      <a:pt x="927" y="62"/>
                      <a:pt x="927" y="62"/>
                    </a:cubicBezTo>
                    <a:cubicBezTo>
                      <a:pt x="927" y="64"/>
                      <a:pt x="927" y="64"/>
                      <a:pt x="927" y="64"/>
                    </a:cubicBezTo>
                    <a:cubicBezTo>
                      <a:pt x="927" y="66"/>
                      <a:pt x="927" y="66"/>
                      <a:pt x="927" y="66"/>
                    </a:cubicBezTo>
                    <a:cubicBezTo>
                      <a:pt x="928" y="66"/>
                      <a:pt x="928" y="66"/>
                      <a:pt x="928" y="66"/>
                    </a:cubicBezTo>
                    <a:cubicBezTo>
                      <a:pt x="928" y="64"/>
                      <a:pt x="928" y="64"/>
                      <a:pt x="928" y="64"/>
                    </a:cubicBezTo>
                    <a:cubicBezTo>
                      <a:pt x="928" y="62"/>
                      <a:pt x="928" y="62"/>
                      <a:pt x="928" y="62"/>
                    </a:cubicBezTo>
                    <a:cubicBezTo>
                      <a:pt x="928" y="61"/>
                      <a:pt x="928" y="61"/>
                      <a:pt x="928" y="61"/>
                    </a:cubicBezTo>
                    <a:cubicBezTo>
                      <a:pt x="928" y="60"/>
                      <a:pt x="928" y="60"/>
                      <a:pt x="928" y="60"/>
                    </a:cubicBezTo>
                    <a:cubicBezTo>
                      <a:pt x="928" y="58"/>
                      <a:pt x="928" y="58"/>
                      <a:pt x="928" y="58"/>
                    </a:cubicBezTo>
                    <a:cubicBezTo>
                      <a:pt x="929" y="58"/>
                      <a:pt x="929" y="58"/>
                      <a:pt x="929" y="58"/>
                    </a:cubicBezTo>
                    <a:cubicBezTo>
                      <a:pt x="930" y="57"/>
                      <a:pt x="930" y="57"/>
                      <a:pt x="930" y="57"/>
                    </a:cubicBezTo>
                    <a:cubicBezTo>
                      <a:pt x="931" y="57"/>
                      <a:pt x="931" y="57"/>
                      <a:pt x="931" y="57"/>
                    </a:cubicBezTo>
                    <a:cubicBezTo>
                      <a:pt x="931" y="58"/>
                      <a:pt x="931" y="58"/>
                      <a:pt x="931" y="58"/>
                    </a:cubicBezTo>
                    <a:cubicBezTo>
                      <a:pt x="932" y="58"/>
                      <a:pt x="932" y="58"/>
                      <a:pt x="932" y="58"/>
                    </a:cubicBezTo>
                    <a:cubicBezTo>
                      <a:pt x="932" y="59"/>
                      <a:pt x="932" y="59"/>
                      <a:pt x="932" y="59"/>
                    </a:cubicBezTo>
                    <a:cubicBezTo>
                      <a:pt x="932" y="60"/>
                      <a:pt x="932" y="60"/>
                      <a:pt x="932" y="60"/>
                    </a:cubicBezTo>
                    <a:cubicBezTo>
                      <a:pt x="933" y="60"/>
                      <a:pt x="933" y="60"/>
                      <a:pt x="933" y="60"/>
                    </a:cubicBezTo>
                    <a:cubicBezTo>
                      <a:pt x="935" y="60"/>
                      <a:pt x="935" y="60"/>
                      <a:pt x="935" y="60"/>
                    </a:cubicBezTo>
                    <a:cubicBezTo>
                      <a:pt x="936" y="60"/>
                      <a:pt x="936" y="60"/>
                      <a:pt x="936" y="60"/>
                    </a:cubicBezTo>
                    <a:cubicBezTo>
                      <a:pt x="937" y="60"/>
                      <a:pt x="937" y="60"/>
                      <a:pt x="937" y="60"/>
                    </a:cubicBezTo>
                    <a:cubicBezTo>
                      <a:pt x="937" y="59"/>
                      <a:pt x="937" y="59"/>
                      <a:pt x="937" y="59"/>
                    </a:cubicBezTo>
                    <a:cubicBezTo>
                      <a:pt x="936" y="59"/>
                      <a:pt x="936" y="59"/>
                      <a:pt x="936" y="59"/>
                    </a:cubicBezTo>
                    <a:cubicBezTo>
                      <a:pt x="937" y="58"/>
                      <a:pt x="937" y="58"/>
                      <a:pt x="937" y="58"/>
                    </a:cubicBezTo>
                    <a:cubicBezTo>
                      <a:pt x="937" y="57"/>
                      <a:pt x="937" y="57"/>
                      <a:pt x="937" y="57"/>
                    </a:cubicBezTo>
                    <a:cubicBezTo>
                      <a:pt x="938" y="56"/>
                      <a:pt x="938" y="56"/>
                      <a:pt x="938" y="56"/>
                    </a:cubicBezTo>
                    <a:cubicBezTo>
                      <a:pt x="939" y="56"/>
                      <a:pt x="939" y="56"/>
                      <a:pt x="939" y="56"/>
                    </a:cubicBezTo>
                    <a:cubicBezTo>
                      <a:pt x="941" y="55"/>
                      <a:pt x="941" y="55"/>
                      <a:pt x="941" y="55"/>
                    </a:cubicBezTo>
                    <a:cubicBezTo>
                      <a:pt x="941" y="54"/>
                      <a:pt x="941" y="54"/>
                      <a:pt x="941" y="54"/>
                    </a:cubicBezTo>
                    <a:cubicBezTo>
                      <a:pt x="941" y="52"/>
                      <a:pt x="941" y="52"/>
                      <a:pt x="941" y="52"/>
                    </a:cubicBezTo>
                    <a:cubicBezTo>
                      <a:pt x="940" y="52"/>
                      <a:pt x="940" y="52"/>
                      <a:pt x="940" y="52"/>
                    </a:cubicBezTo>
                    <a:cubicBezTo>
                      <a:pt x="940" y="51"/>
                      <a:pt x="940" y="51"/>
                      <a:pt x="940" y="51"/>
                    </a:cubicBezTo>
                    <a:cubicBezTo>
                      <a:pt x="941" y="50"/>
                      <a:pt x="941" y="50"/>
                      <a:pt x="941" y="50"/>
                    </a:cubicBezTo>
                    <a:cubicBezTo>
                      <a:pt x="941" y="48"/>
                      <a:pt x="941" y="48"/>
                      <a:pt x="941" y="48"/>
                    </a:cubicBezTo>
                    <a:cubicBezTo>
                      <a:pt x="941" y="47"/>
                      <a:pt x="941" y="47"/>
                      <a:pt x="941" y="47"/>
                    </a:cubicBezTo>
                    <a:cubicBezTo>
                      <a:pt x="941" y="46"/>
                      <a:pt x="941" y="46"/>
                      <a:pt x="941" y="46"/>
                    </a:cubicBezTo>
                    <a:cubicBezTo>
                      <a:pt x="942" y="45"/>
                      <a:pt x="942" y="45"/>
                      <a:pt x="942" y="45"/>
                    </a:cubicBezTo>
                    <a:cubicBezTo>
                      <a:pt x="944" y="45"/>
                      <a:pt x="944" y="45"/>
                      <a:pt x="944" y="45"/>
                    </a:cubicBezTo>
                    <a:cubicBezTo>
                      <a:pt x="945" y="44"/>
                      <a:pt x="945" y="44"/>
                      <a:pt x="945" y="44"/>
                    </a:cubicBezTo>
                    <a:cubicBezTo>
                      <a:pt x="947" y="44"/>
                      <a:pt x="947" y="44"/>
                      <a:pt x="947" y="44"/>
                    </a:cubicBezTo>
                    <a:cubicBezTo>
                      <a:pt x="947" y="45"/>
                      <a:pt x="947" y="45"/>
                      <a:pt x="947" y="45"/>
                    </a:cubicBezTo>
                    <a:cubicBezTo>
                      <a:pt x="947" y="46"/>
                      <a:pt x="947" y="46"/>
                      <a:pt x="947" y="46"/>
                    </a:cubicBezTo>
                    <a:cubicBezTo>
                      <a:pt x="949" y="47"/>
                      <a:pt x="949" y="47"/>
                      <a:pt x="949" y="47"/>
                    </a:cubicBezTo>
                    <a:cubicBezTo>
                      <a:pt x="949" y="48"/>
                      <a:pt x="949" y="48"/>
                      <a:pt x="949" y="48"/>
                    </a:cubicBezTo>
                    <a:cubicBezTo>
                      <a:pt x="949" y="51"/>
                      <a:pt x="949" y="51"/>
                      <a:pt x="949" y="51"/>
                    </a:cubicBezTo>
                    <a:cubicBezTo>
                      <a:pt x="948" y="53"/>
                      <a:pt x="948" y="53"/>
                      <a:pt x="948" y="53"/>
                    </a:cubicBezTo>
                    <a:cubicBezTo>
                      <a:pt x="949" y="53"/>
                      <a:pt x="949" y="53"/>
                      <a:pt x="949" y="53"/>
                    </a:cubicBezTo>
                    <a:cubicBezTo>
                      <a:pt x="951" y="55"/>
                      <a:pt x="951" y="55"/>
                      <a:pt x="951" y="55"/>
                    </a:cubicBezTo>
                    <a:cubicBezTo>
                      <a:pt x="951" y="56"/>
                      <a:pt x="951" y="56"/>
                      <a:pt x="951" y="56"/>
                    </a:cubicBezTo>
                    <a:cubicBezTo>
                      <a:pt x="952" y="57"/>
                      <a:pt x="952" y="57"/>
                      <a:pt x="952" y="57"/>
                    </a:cubicBezTo>
                    <a:cubicBezTo>
                      <a:pt x="952" y="56"/>
                      <a:pt x="952" y="56"/>
                      <a:pt x="952" y="56"/>
                    </a:cubicBezTo>
                    <a:cubicBezTo>
                      <a:pt x="952" y="54"/>
                      <a:pt x="952" y="54"/>
                      <a:pt x="952" y="54"/>
                    </a:cubicBezTo>
                    <a:cubicBezTo>
                      <a:pt x="952" y="53"/>
                      <a:pt x="952" y="53"/>
                      <a:pt x="952" y="53"/>
                    </a:cubicBezTo>
                    <a:cubicBezTo>
                      <a:pt x="950" y="51"/>
                      <a:pt x="950" y="51"/>
                      <a:pt x="950" y="51"/>
                    </a:cubicBezTo>
                    <a:cubicBezTo>
                      <a:pt x="950" y="49"/>
                      <a:pt x="950" y="49"/>
                      <a:pt x="950" y="49"/>
                    </a:cubicBezTo>
                    <a:cubicBezTo>
                      <a:pt x="951" y="47"/>
                      <a:pt x="951" y="47"/>
                      <a:pt x="951" y="47"/>
                    </a:cubicBezTo>
                    <a:cubicBezTo>
                      <a:pt x="951" y="46"/>
                      <a:pt x="951" y="46"/>
                      <a:pt x="951" y="46"/>
                    </a:cubicBezTo>
                    <a:cubicBezTo>
                      <a:pt x="950" y="45"/>
                      <a:pt x="950" y="45"/>
                      <a:pt x="950" y="45"/>
                    </a:cubicBezTo>
                    <a:cubicBezTo>
                      <a:pt x="950" y="44"/>
                      <a:pt x="950" y="44"/>
                      <a:pt x="950" y="44"/>
                    </a:cubicBezTo>
                    <a:cubicBezTo>
                      <a:pt x="950" y="43"/>
                      <a:pt x="950" y="43"/>
                      <a:pt x="950" y="43"/>
                    </a:cubicBezTo>
                    <a:cubicBezTo>
                      <a:pt x="950" y="42"/>
                      <a:pt x="950" y="42"/>
                      <a:pt x="950" y="42"/>
                    </a:cubicBezTo>
                    <a:cubicBezTo>
                      <a:pt x="951" y="41"/>
                      <a:pt x="951" y="41"/>
                      <a:pt x="951" y="41"/>
                    </a:cubicBezTo>
                    <a:cubicBezTo>
                      <a:pt x="952" y="41"/>
                      <a:pt x="952" y="41"/>
                      <a:pt x="952" y="41"/>
                    </a:cubicBezTo>
                    <a:cubicBezTo>
                      <a:pt x="953" y="42"/>
                      <a:pt x="953" y="42"/>
                      <a:pt x="953" y="42"/>
                    </a:cubicBezTo>
                    <a:cubicBezTo>
                      <a:pt x="954" y="41"/>
                      <a:pt x="954" y="41"/>
                      <a:pt x="954" y="41"/>
                    </a:cubicBezTo>
                    <a:cubicBezTo>
                      <a:pt x="955" y="41"/>
                      <a:pt x="955" y="41"/>
                      <a:pt x="955" y="41"/>
                    </a:cubicBezTo>
                    <a:cubicBezTo>
                      <a:pt x="956" y="42"/>
                      <a:pt x="956" y="42"/>
                      <a:pt x="956" y="42"/>
                    </a:cubicBezTo>
                    <a:cubicBezTo>
                      <a:pt x="959" y="41"/>
                      <a:pt x="959" y="41"/>
                      <a:pt x="959" y="41"/>
                    </a:cubicBezTo>
                    <a:cubicBezTo>
                      <a:pt x="961" y="41"/>
                      <a:pt x="961" y="41"/>
                      <a:pt x="961" y="41"/>
                    </a:cubicBezTo>
                    <a:cubicBezTo>
                      <a:pt x="964" y="40"/>
                      <a:pt x="964" y="40"/>
                      <a:pt x="964" y="40"/>
                    </a:cubicBezTo>
                    <a:cubicBezTo>
                      <a:pt x="964" y="41"/>
                      <a:pt x="964" y="41"/>
                      <a:pt x="964" y="41"/>
                    </a:cubicBezTo>
                    <a:cubicBezTo>
                      <a:pt x="965" y="42"/>
                      <a:pt x="965" y="42"/>
                      <a:pt x="965" y="42"/>
                    </a:cubicBezTo>
                    <a:cubicBezTo>
                      <a:pt x="965" y="43"/>
                      <a:pt x="965" y="43"/>
                      <a:pt x="965" y="43"/>
                    </a:cubicBezTo>
                    <a:cubicBezTo>
                      <a:pt x="965" y="44"/>
                      <a:pt x="965" y="44"/>
                      <a:pt x="965" y="44"/>
                    </a:cubicBezTo>
                    <a:cubicBezTo>
                      <a:pt x="966" y="44"/>
                      <a:pt x="966" y="44"/>
                      <a:pt x="966" y="44"/>
                    </a:cubicBezTo>
                    <a:cubicBezTo>
                      <a:pt x="966" y="43"/>
                      <a:pt x="966" y="43"/>
                      <a:pt x="966" y="43"/>
                    </a:cubicBezTo>
                    <a:cubicBezTo>
                      <a:pt x="966" y="42"/>
                      <a:pt x="966" y="42"/>
                      <a:pt x="966" y="42"/>
                    </a:cubicBezTo>
                    <a:cubicBezTo>
                      <a:pt x="966" y="41"/>
                      <a:pt x="966" y="41"/>
                      <a:pt x="966" y="41"/>
                    </a:cubicBezTo>
                    <a:cubicBezTo>
                      <a:pt x="967" y="39"/>
                      <a:pt x="967" y="39"/>
                      <a:pt x="967" y="39"/>
                    </a:cubicBezTo>
                    <a:cubicBezTo>
                      <a:pt x="968" y="40"/>
                      <a:pt x="968" y="40"/>
                      <a:pt x="968" y="40"/>
                    </a:cubicBezTo>
                    <a:cubicBezTo>
                      <a:pt x="969" y="41"/>
                      <a:pt x="969" y="41"/>
                      <a:pt x="969" y="41"/>
                    </a:cubicBezTo>
                    <a:cubicBezTo>
                      <a:pt x="969" y="42"/>
                      <a:pt x="969" y="42"/>
                      <a:pt x="969" y="42"/>
                    </a:cubicBezTo>
                    <a:cubicBezTo>
                      <a:pt x="970" y="43"/>
                      <a:pt x="970" y="43"/>
                      <a:pt x="970" y="43"/>
                    </a:cubicBezTo>
                    <a:cubicBezTo>
                      <a:pt x="970" y="42"/>
                      <a:pt x="970" y="42"/>
                      <a:pt x="970" y="42"/>
                    </a:cubicBezTo>
                    <a:cubicBezTo>
                      <a:pt x="970" y="40"/>
                      <a:pt x="970" y="40"/>
                      <a:pt x="970" y="40"/>
                    </a:cubicBezTo>
                    <a:cubicBezTo>
                      <a:pt x="969" y="39"/>
                      <a:pt x="969" y="39"/>
                      <a:pt x="969" y="39"/>
                    </a:cubicBezTo>
                    <a:cubicBezTo>
                      <a:pt x="969" y="38"/>
                      <a:pt x="969" y="38"/>
                      <a:pt x="969" y="38"/>
                    </a:cubicBezTo>
                    <a:cubicBezTo>
                      <a:pt x="970" y="38"/>
                      <a:pt x="970" y="38"/>
                      <a:pt x="970" y="38"/>
                    </a:cubicBezTo>
                    <a:cubicBezTo>
                      <a:pt x="971" y="38"/>
                      <a:pt x="971" y="38"/>
                      <a:pt x="971" y="38"/>
                    </a:cubicBezTo>
                    <a:cubicBezTo>
                      <a:pt x="972" y="39"/>
                      <a:pt x="972" y="39"/>
                      <a:pt x="972" y="39"/>
                    </a:cubicBezTo>
                    <a:cubicBezTo>
                      <a:pt x="973" y="38"/>
                      <a:pt x="973" y="38"/>
                      <a:pt x="973" y="38"/>
                    </a:cubicBezTo>
                    <a:cubicBezTo>
                      <a:pt x="974" y="38"/>
                      <a:pt x="974" y="38"/>
                      <a:pt x="974" y="38"/>
                    </a:cubicBezTo>
                    <a:cubicBezTo>
                      <a:pt x="976" y="38"/>
                      <a:pt x="976" y="38"/>
                      <a:pt x="976" y="38"/>
                    </a:cubicBezTo>
                    <a:cubicBezTo>
                      <a:pt x="976" y="39"/>
                      <a:pt x="976" y="39"/>
                      <a:pt x="976" y="39"/>
                    </a:cubicBezTo>
                    <a:cubicBezTo>
                      <a:pt x="976" y="42"/>
                      <a:pt x="976" y="42"/>
                      <a:pt x="976" y="42"/>
                    </a:cubicBezTo>
                    <a:cubicBezTo>
                      <a:pt x="975" y="43"/>
                      <a:pt x="975" y="43"/>
                      <a:pt x="975" y="43"/>
                    </a:cubicBezTo>
                    <a:cubicBezTo>
                      <a:pt x="975" y="44"/>
                      <a:pt x="975" y="44"/>
                      <a:pt x="975" y="44"/>
                    </a:cubicBezTo>
                    <a:cubicBezTo>
                      <a:pt x="974" y="46"/>
                      <a:pt x="974" y="46"/>
                      <a:pt x="974" y="46"/>
                    </a:cubicBezTo>
                    <a:cubicBezTo>
                      <a:pt x="974" y="48"/>
                      <a:pt x="974" y="48"/>
                      <a:pt x="974" y="48"/>
                    </a:cubicBezTo>
                    <a:cubicBezTo>
                      <a:pt x="973" y="49"/>
                      <a:pt x="973" y="49"/>
                      <a:pt x="973" y="49"/>
                    </a:cubicBezTo>
                    <a:cubicBezTo>
                      <a:pt x="973" y="50"/>
                      <a:pt x="973" y="50"/>
                      <a:pt x="973" y="50"/>
                    </a:cubicBezTo>
                    <a:cubicBezTo>
                      <a:pt x="972" y="50"/>
                      <a:pt x="972" y="50"/>
                      <a:pt x="972" y="50"/>
                    </a:cubicBezTo>
                    <a:cubicBezTo>
                      <a:pt x="973" y="51"/>
                      <a:pt x="973" y="51"/>
                      <a:pt x="973" y="51"/>
                    </a:cubicBezTo>
                    <a:cubicBezTo>
                      <a:pt x="973" y="52"/>
                      <a:pt x="973" y="52"/>
                      <a:pt x="973" y="52"/>
                    </a:cubicBezTo>
                    <a:cubicBezTo>
                      <a:pt x="972" y="53"/>
                      <a:pt x="972" y="53"/>
                      <a:pt x="972" y="53"/>
                    </a:cubicBezTo>
                    <a:cubicBezTo>
                      <a:pt x="971" y="55"/>
                      <a:pt x="971" y="55"/>
                      <a:pt x="971" y="55"/>
                    </a:cubicBezTo>
                    <a:cubicBezTo>
                      <a:pt x="970" y="55"/>
                      <a:pt x="970" y="55"/>
                      <a:pt x="970" y="55"/>
                    </a:cubicBezTo>
                    <a:cubicBezTo>
                      <a:pt x="970" y="56"/>
                      <a:pt x="970" y="56"/>
                      <a:pt x="970" y="56"/>
                    </a:cubicBezTo>
                    <a:cubicBezTo>
                      <a:pt x="969" y="57"/>
                      <a:pt x="969" y="57"/>
                      <a:pt x="969" y="57"/>
                    </a:cubicBezTo>
                    <a:cubicBezTo>
                      <a:pt x="969" y="58"/>
                      <a:pt x="969" y="58"/>
                      <a:pt x="969" y="58"/>
                    </a:cubicBezTo>
                    <a:cubicBezTo>
                      <a:pt x="968" y="60"/>
                      <a:pt x="968" y="60"/>
                      <a:pt x="968" y="60"/>
                    </a:cubicBezTo>
                    <a:cubicBezTo>
                      <a:pt x="969" y="60"/>
                      <a:pt x="969" y="60"/>
                      <a:pt x="969" y="60"/>
                    </a:cubicBezTo>
                    <a:cubicBezTo>
                      <a:pt x="970" y="59"/>
                      <a:pt x="970" y="59"/>
                      <a:pt x="970" y="59"/>
                    </a:cubicBezTo>
                    <a:cubicBezTo>
                      <a:pt x="971" y="58"/>
                      <a:pt x="971" y="58"/>
                      <a:pt x="971" y="58"/>
                    </a:cubicBezTo>
                    <a:cubicBezTo>
                      <a:pt x="971" y="57"/>
                      <a:pt x="971" y="57"/>
                      <a:pt x="971" y="57"/>
                    </a:cubicBezTo>
                    <a:cubicBezTo>
                      <a:pt x="972" y="56"/>
                      <a:pt x="972" y="56"/>
                      <a:pt x="972" y="56"/>
                    </a:cubicBezTo>
                    <a:cubicBezTo>
                      <a:pt x="973" y="55"/>
                      <a:pt x="973" y="55"/>
                      <a:pt x="973" y="55"/>
                    </a:cubicBezTo>
                    <a:cubicBezTo>
                      <a:pt x="973" y="54"/>
                      <a:pt x="973" y="54"/>
                      <a:pt x="973" y="54"/>
                    </a:cubicBezTo>
                    <a:cubicBezTo>
                      <a:pt x="974" y="53"/>
                      <a:pt x="974" y="53"/>
                      <a:pt x="974" y="53"/>
                    </a:cubicBezTo>
                    <a:cubicBezTo>
                      <a:pt x="975" y="53"/>
                      <a:pt x="975" y="53"/>
                      <a:pt x="975" y="53"/>
                    </a:cubicBezTo>
                    <a:cubicBezTo>
                      <a:pt x="975" y="52"/>
                      <a:pt x="975" y="52"/>
                      <a:pt x="975" y="52"/>
                    </a:cubicBezTo>
                    <a:cubicBezTo>
                      <a:pt x="975" y="51"/>
                      <a:pt x="975" y="51"/>
                      <a:pt x="975" y="51"/>
                    </a:cubicBezTo>
                    <a:cubicBezTo>
                      <a:pt x="976" y="51"/>
                      <a:pt x="976" y="51"/>
                      <a:pt x="976" y="51"/>
                    </a:cubicBezTo>
                    <a:cubicBezTo>
                      <a:pt x="976" y="49"/>
                      <a:pt x="976" y="49"/>
                      <a:pt x="976" y="49"/>
                    </a:cubicBezTo>
                    <a:cubicBezTo>
                      <a:pt x="977" y="49"/>
                      <a:pt x="977" y="49"/>
                      <a:pt x="977" y="49"/>
                    </a:cubicBezTo>
                    <a:cubicBezTo>
                      <a:pt x="977" y="50"/>
                      <a:pt x="977" y="50"/>
                      <a:pt x="977" y="50"/>
                    </a:cubicBezTo>
                    <a:cubicBezTo>
                      <a:pt x="977" y="51"/>
                      <a:pt x="977" y="51"/>
                      <a:pt x="977" y="51"/>
                    </a:cubicBezTo>
                    <a:cubicBezTo>
                      <a:pt x="978" y="51"/>
                      <a:pt x="978" y="51"/>
                      <a:pt x="978" y="51"/>
                    </a:cubicBezTo>
                    <a:cubicBezTo>
                      <a:pt x="978" y="52"/>
                      <a:pt x="978" y="52"/>
                      <a:pt x="978" y="52"/>
                    </a:cubicBezTo>
                    <a:cubicBezTo>
                      <a:pt x="979" y="54"/>
                      <a:pt x="979" y="54"/>
                      <a:pt x="979" y="54"/>
                    </a:cubicBezTo>
                    <a:cubicBezTo>
                      <a:pt x="980" y="55"/>
                      <a:pt x="980" y="55"/>
                      <a:pt x="980" y="55"/>
                    </a:cubicBezTo>
                    <a:cubicBezTo>
                      <a:pt x="980" y="57"/>
                      <a:pt x="980" y="57"/>
                      <a:pt x="980" y="57"/>
                    </a:cubicBezTo>
                    <a:cubicBezTo>
                      <a:pt x="981" y="57"/>
                      <a:pt x="981" y="57"/>
                      <a:pt x="981" y="57"/>
                    </a:cubicBezTo>
                    <a:cubicBezTo>
                      <a:pt x="982" y="58"/>
                      <a:pt x="982" y="58"/>
                      <a:pt x="982" y="58"/>
                    </a:cubicBezTo>
                    <a:cubicBezTo>
                      <a:pt x="982" y="57"/>
                      <a:pt x="982" y="57"/>
                      <a:pt x="982" y="57"/>
                    </a:cubicBezTo>
                    <a:cubicBezTo>
                      <a:pt x="983" y="57"/>
                      <a:pt x="983" y="57"/>
                      <a:pt x="983" y="57"/>
                    </a:cubicBezTo>
                    <a:cubicBezTo>
                      <a:pt x="983" y="56"/>
                      <a:pt x="983" y="56"/>
                      <a:pt x="983" y="56"/>
                    </a:cubicBezTo>
                    <a:cubicBezTo>
                      <a:pt x="982" y="55"/>
                      <a:pt x="982" y="55"/>
                      <a:pt x="982" y="55"/>
                    </a:cubicBezTo>
                    <a:cubicBezTo>
                      <a:pt x="982" y="54"/>
                      <a:pt x="982" y="54"/>
                      <a:pt x="982" y="54"/>
                    </a:cubicBezTo>
                    <a:cubicBezTo>
                      <a:pt x="983" y="55"/>
                      <a:pt x="983" y="55"/>
                      <a:pt x="983" y="55"/>
                    </a:cubicBezTo>
                    <a:cubicBezTo>
                      <a:pt x="984" y="55"/>
                      <a:pt x="984" y="55"/>
                      <a:pt x="984" y="55"/>
                    </a:cubicBezTo>
                    <a:cubicBezTo>
                      <a:pt x="985" y="55"/>
                      <a:pt x="985" y="55"/>
                      <a:pt x="985" y="55"/>
                    </a:cubicBezTo>
                    <a:cubicBezTo>
                      <a:pt x="985" y="56"/>
                      <a:pt x="985" y="56"/>
                      <a:pt x="985" y="56"/>
                    </a:cubicBezTo>
                    <a:cubicBezTo>
                      <a:pt x="986" y="56"/>
                      <a:pt x="986" y="56"/>
                      <a:pt x="986" y="56"/>
                    </a:cubicBezTo>
                    <a:cubicBezTo>
                      <a:pt x="987" y="56"/>
                      <a:pt x="987" y="56"/>
                      <a:pt x="987" y="56"/>
                    </a:cubicBezTo>
                    <a:cubicBezTo>
                      <a:pt x="988" y="56"/>
                      <a:pt x="988" y="56"/>
                      <a:pt x="988" y="56"/>
                    </a:cubicBezTo>
                    <a:cubicBezTo>
                      <a:pt x="988" y="54"/>
                      <a:pt x="988" y="54"/>
                      <a:pt x="988" y="54"/>
                    </a:cubicBezTo>
                    <a:cubicBezTo>
                      <a:pt x="988" y="53"/>
                      <a:pt x="988" y="53"/>
                      <a:pt x="988" y="53"/>
                    </a:cubicBezTo>
                    <a:cubicBezTo>
                      <a:pt x="988" y="51"/>
                      <a:pt x="988" y="51"/>
                      <a:pt x="988" y="51"/>
                    </a:cubicBezTo>
                    <a:cubicBezTo>
                      <a:pt x="989" y="49"/>
                      <a:pt x="989" y="49"/>
                      <a:pt x="989" y="49"/>
                    </a:cubicBezTo>
                    <a:cubicBezTo>
                      <a:pt x="988" y="49"/>
                      <a:pt x="988" y="49"/>
                      <a:pt x="988" y="49"/>
                    </a:cubicBezTo>
                    <a:cubicBezTo>
                      <a:pt x="988" y="47"/>
                      <a:pt x="988" y="47"/>
                      <a:pt x="988" y="47"/>
                    </a:cubicBezTo>
                    <a:cubicBezTo>
                      <a:pt x="988" y="45"/>
                      <a:pt x="988" y="45"/>
                      <a:pt x="988" y="45"/>
                    </a:cubicBezTo>
                    <a:cubicBezTo>
                      <a:pt x="989" y="43"/>
                      <a:pt x="989" y="43"/>
                      <a:pt x="989" y="43"/>
                    </a:cubicBezTo>
                    <a:cubicBezTo>
                      <a:pt x="989" y="42"/>
                      <a:pt x="989" y="42"/>
                      <a:pt x="989" y="42"/>
                    </a:cubicBezTo>
                    <a:cubicBezTo>
                      <a:pt x="989" y="41"/>
                      <a:pt x="989" y="41"/>
                      <a:pt x="989" y="41"/>
                    </a:cubicBezTo>
                    <a:cubicBezTo>
                      <a:pt x="989" y="40"/>
                      <a:pt x="989" y="40"/>
                      <a:pt x="989" y="40"/>
                    </a:cubicBezTo>
                    <a:cubicBezTo>
                      <a:pt x="989" y="39"/>
                      <a:pt x="989" y="39"/>
                      <a:pt x="989" y="39"/>
                    </a:cubicBezTo>
                    <a:cubicBezTo>
                      <a:pt x="991" y="39"/>
                      <a:pt x="991" y="39"/>
                      <a:pt x="991" y="39"/>
                    </a:cubicBezTo>
                    <a:cubicBezTo>
                      <a:pt x="992" y="39"/>
                      <a:pt x="992" y="39"/>
                      <a:pt x="992" y="39"/>
                    </a:cubicBezTo>
                    <a:cubicBezTo>
                      <a:pt x="993" y="40"/>
                      <a:pt x="993" y="40"/>
                      <a:pt x="993" y="40"/>
                    </a:cubicBezTo>
                    <a:cubicBezTo>
                      <a:pt x="993" y="41"/>
                      <a:pt x="993" y="41"/>
                      <a:pt x="993" y="41"/>
                    </a:cubicBezTo>
                    <a:cubicBezTo>
                      <a:pt x="994" y="41"/>
                      <a:pt x="994" y="41"/>
                      <a:pt x="994" y="41"/>
                    </a:cubicBezTo>
                    <a:cubicBezTo>
                      <a:pt x="995" y="42"/>
                      <a:pt x="995" y="42"/>
                      <a:pt x="995" y="42"/>
                    </a:cubicBezTo>
                    <a:cubicBezTo>
                      <a:pt x="996" y="45"/>
                      <a:pt x="996" y="45"/>
                      <a:pt x="996" y="45"/>
                    </a:cubicBezTo>
                    <a:cubicBezTo>
                      <a:pt x="996" y="46"/>
                      <a:pt x="996" y="46"/>
                      <a:pt x="996" y="46"/>
                    </a:cubicBezTo>
                    <a:cubicBezTo>
                      <a:pt x="997" y="48"/>
                      <a:pt x="997" y="48"/>
                      <a:pt x="997" y="48"/>
                    </a:cubicBezTo>
                    <a:cubicBezTo>
                      <a:pt x="998" y="49"/>
                      <a:pt x="998" y="49"/>
                      <a:pt x="998" y="49"/>
                    </a:cubicBezTo>
                    <a:cubicBezTo>
                      <a:pt x="998" y="52"/>
                      <a:pt x="998" y="52"/>
                      <a:pt x="998" y="52"/>
                    </a:cubicBezTo>
                    <a:cubicBezTo>
                      <a:pt x="998" y="53"/>
                      <a:pt x="998" y="53"/>
                      <a:pt x="998" y="53"/>
                    </a:cubicBezTo>
                    <a:cubicBezTo>
                      <a:pt x="997" y="53"/>
                      <a:pt x="997" y="53"/>
                      <a:pt x="997" y="53"/>
                    </a:cubicBezTo>
                    <a:cubicBezTo>
                      <a:pt x="997" y="54"/>
                      <a:pt x="997" y="54"/>
                      <a:pt x="997" y="54"/>
                    </a:cubicBezTo>
                    <a:cubicBezTo>
                      <a:pt x="997" y="56"/>
                      <a:pt x="997" y="56"/>
                      <a:pt x="997" y="56"/>
                    </a:cubicBezTo>
                    <a:cubicBezTo>
                      <a:pt x="998" y="56"/>
                      <a:pt x="998" y="56"/>
                      <a:pt x="998" y="56"/>
                    </a:cubicBezTo>
                    <a:cubicBezTo>
                      <a:pt x="999" y="58"/>
                      <a:pt x="999" y="58"/>
                      <a:pt x="999" y="58"/>
                    </a:cubicBezTo>
                    <a:cubicBezTo>
                      <a:pt x="999" y="60"/>
                      <a:pt x="999" y="60"/>
                      <a:pt x="999" y="60"/>
                    </a:cubicBezTo>
                    <a:cubicBezTo>
                      <a:pt x="999" y="61"/>
                      <a:pt x="999" y="61"/>
                      <a:pt x="999" y="61"/>
                    </a:cubicBezTo>
                    <a:cubicBezTo>
                      <a:pt x="999" y="62"/>
                      <a:pt x="999" y="62"/>
                      <a:pt x="999" y="62"/>
                    </a:cubicBezTo>
                    <a:cubicBezTo>
                      <a:pt x="1000" y="62"/>
                      <a:pt x="1000" y="62"/>
                      <a:pt x="1000" y="62"/>
                    </a:cubicBezTo>
                    <a:cubicBezTo>
                      <a:pt x="1002" y="63"/>
                      <a:pt x="1002" y="63"/>
                      <a:pt x="1002" y="63"/>
                    </a:cubicBezTo>
                    <a:cubicBezTo>
                      <a:pt x="1003" y="63"/>
                      <a:pt x="1003" y="63"/>
                      <a:pt x="1003" y="63"/>
                    </a:cubicBezTo>
                    <a:cubicBezTo>
                      <a:pt x="1004" y="62"/>
                      <a:pt x="1004" y="62"/>
                      <a:pt x="1004" y="62"/>
                    </a:cubicBezTo>
                    <a:cubicBezTo>
                      <a:pt x="1005" y="61"/>
                      <a:pt x="1005" y="61"/>
                      <a:pt x="1005" y="61"/>
                    </a:cubicBezTo>
                    <a:cubicBezTo>
                      <a:pt x="1005" y="60"/>
                      <a:pt x="1005" y="60"/>
                      <a:pt x="1005" y="60"/>
                    </a:cubicBezTo>
                    <a:cubicBezTo>
                      <a:pt x="1006" y="60"/>
                      <a:pt x="1006" y="60"/>
                      <a:pt x="1006" y="60"/>
                    </a:cubicBezTo>
                    <a:cubicBezTo>
                      <a:pt x="1006" y="61"/>
                      <a:pt x="1006" y="61"/>
                      <a:pt x="1006" y="61"/>
                    </a:cubicBezTo>
                    <a:cubicBezTo>
                      <a:pt x="1006" y="62"/>
                      <a:pt x="1006" y="62"/>
                      <a:pt x="1006" y="62"/>
                    </a:cubicBezTo>
                    <a:cubicBezTo>
                      <a:pt x="1007" y="61"/>
                      <a:pt x="1007" y="61"/>
                      <a:pt x="1007" y="61"/>
                    </a:cubicBezTo>
                    <a:cubicBezTo>
                      <a:pt x="1008" y="62"/>
                      <a:pt x="1008" y="62"/>
                      <a:pt x="1008" y="62"/>
                    </a:cubicBezTo>
                    <a:cubicBezTo>
                      <a:pt x="1008" y="63"/>
                      <a:pt x="1008" y="63"/>
                      <a:pt x="1008" y="63"/>
                    </a:cubicBezTo>
                    <a:cubicBezTo>
                      <a:pt x="1009" y="64"/>
                      <a:pt x="1009" y="64"/>
                      <a:pt x="1009" y="64"/>
                    </a:cubicBezTo>
                    <a:cubicBezTo>
                      <a:pt x="1010" y="64"/>
                      <a:pt x="1010" y="64"/>
                      <a:pt x="1010" y="64"/>
                    </a:cubicBezTo>
                    <a:cubicBezTo>
                      <a:pt x="1011" y="64"/>
                      <a:pt x="1011" y="64"/>
                      <a:pt x="1011" y="64"/>
                    </a:cubicBezTo>
                    <a:cubicBezTo>
                      <a:pt x="1010" y="63"/>
                      <a:pt x="1010" y="63"/>
                      <a:pt x="1010" y="63"/>
                    </a:cubicBezTo>
                    <a:cubicBezTo>
                      <a:pt x="1010" y="62"/>
                      <a:pt x="1010" y="62"/>
                      <a:pt x="1010" y="62"/>
                    </a:cubicBezTo>
                    <a:cubicBezTo>
                      <a:pt x="1010" y="61"/>
                      <a:pt x="1010" y="61"/>
                      <a:pt x="1010" y="61"/>
                    </a:cubicBezTo>
                    <a:cubicBezTo>
                      <a:pt x="1009" y="61"/>
                      <a:pt x="1009" y="61"/>
                      <a:pt x="1009" y="61"/>
                    </a:cubicBezTo>
                    <a:cubicBezTo>
                      <a:pt x="1009" y="60"/>
                      <a:pt x="1009" y="60"/>
                      <a:pt x="1009" y="60"/>
                    </a:cubicBezTo>
                    <a:cubicBezTo>
                      <a:pt x="1008" y="59"/>
                      <a:pt x="1008" y="59"/>
                      <a:pt x="1008" y="59"/>
                    </a:cubicBezTo>
                    <a:cubicBezTo>
                      <a:pt x="1007" y="58"/>
                      <a:pt x="1007" y="58"/>
                      <a:pt x="1007" y="58"/>
                    </a:cubicBezTo>
                    <a:cubicBezTo>
                      <a:pt x="1007" y="57"/>
                      <a:pt x="1007" y="57"/>
                      <a:pt x="1007" y="57"/>
                    </a:cubicBezTo>
                    <a:cubicBezTo>
                      <a:pt x="1006" y="55"/>
                      <a:pt x="1006" y="55"/>
                      <a:pt x="1006" y="55"/>
                    </a:cubicBezTo>
                    <a:cubicBezTo>
                      <a:pt x="1006" y="54"/>
                      <a:pt x="1006" y="54"/>
                      <a:pt x="1006" y="54"/>
                    </a:cubicBezTo>
                    <a:cubicBezTo>
                      <a:pt x="1006" y="52"/>
                      <a:pt x="1006" y="52"/>
                      <a:pt x="1006" y="52"/>
                    </a:cubicBezTo>
                    <a:cubicBezTo>
                      <a:pt x="1006" y="51"/>
                      <a:pt x="1006" y="51"/>
                      <a:pt x="1006" y="51"/>
                    </a:cubicBezTo>
                    <a:cubicBezTo>
                      <a:pt x="1005" y="49"/>
                      <a:pt x="1005" y="49"/>
                      <a:pt x="1005" y="49"/>
                    </a:cubicBezTo>
                    <a:cubicBezTo>
                      <a:pt x="1005" y="48"/>
                      <a:pt x="1005" y="48"/>
                      <a:pt x="1005" y="48"/>
                    </a:cubicBezTo>
                    <a:cubicBezTo>
                      <a:pt x="1005" y="46"/>
                      <a:pt x="1005" y="46"/>
                      <a:pt x="1005" y="46"/>
                    </a:cubicBezTo>
                    <a:cubicBezTo>
                      <a:pt x="1004" y="45"/>
                      <a:pt x="1004" y="45"/>
                      <a:pt x="1004" y="45"/>
                    </a:cubicBezTo>
                    <a:cubicBezTo>
                      <a:pt x="1004" y="44"/>
                      <a:pt x="1004" y="44"/>
                      <a:pt x="1004" y="44"/>
                    </a:cubicBezTo>
                    <a:cubicBezTo>
                      <a:pt x="1004" y="42"/>
                      <a:pt x="1004" y="42"/>
                      <a:pt x="1004" y="42"/>
                    </a:cubicBezTo>
                    <a:cubicBezTo>
                      <a:pt x="1003" y="41"/>
                      <a:pt x="1003" y="41"/>
                      <a:pt x="1003" y="41"/>
                    </a:cubicBezTo>
                    <a:cubicBezTo>
                      <a:pt x="1004" y="40"/>
                      <a:pt x="1004" y="40"/>
                      <a:pt x="1004" y="40"/>
                    </a:cubicBezTo>
                    <a:cubicBezTo>
                      <a:pt x="1003" y="39"/>
                      <a:pt x="1003" y="39"/>
                      <a:pt x="1003" y="39"/>
                    </a:cubicBezTo>
                    <a:cubicBezTo>
                      <a:pt x="1003" y="38"/>
                      <a:pt x="1003" y="38"/>
                      <a:pt x="1003" y="38"/>
                    </a:cubicBezTo>
                    <a:cubicBezTo>
                      <a:pt x="1003" y="37"/>
                      <a:pt x="1003" y="37"/>
                      <a:pt x="1003" y="37"/>
                    </a:cubicBezTo>
                    <a:cubicBezTo>
                      <a:pt x="1005" y="38"/>
                      <a:pt x="1005" y="38"/>
                      <a:pt x="1005" y="38"/>
                    </a:cubicBezTo>
                    <a:cubicBezTo>
                      <a:pt x="1006" y="38"/>
                      <a:pt x="1006" y="38"/>
                      <a:pt x="1006" y="38"/>
                    </a:cubicBezTo>
                    <a:cubicBezTo>
                      <a:pt x="1007" y="38"/>
                      <a:pt x="1007" y="38"/>
                      <a:pt x="1007" y="38"/>
                    </a:cubicBezTo>
                    <a:cubicBezTo>
                      <a:pt x="1008" y="38"/>
                      <a:pt x="1008" y="38"/>
                      <a:pt x="1008" y="38"/>
                    </a:cubicBezTo>
                    <a:cubicBezTo>
                      <a:pt x="1010" y="40"/>
                      <a:pt x="1010" y="40"/>
                      <a:pt x="1010" y="40"/>
                    </a:cubicBezTo>
                    <a:cubicBezTo>
                      <a:pt x="1011" y="41"/>
                      <a:pt x="1011" y="41"/>
                      <a:pt x="1011" y="41"/>
                    </a:cubicBezTo>
                    <a:cubicBezTo>
                      <a:pt x="1012" y="40"/>
                      <a:pt x="1012" y="40"/>
                      <a:pt x="1012" y="40"/>
                    </a:cubicBezTo>
                    <a:cubicBezTo>
                      <a:pt x="1012" y="39"/>
                      <a:pt x="1012" y="39"/>
                      <a:pt x="1012" y="39"/>
                    </a:cubicBezTo>
                    <a:cubicBezTo>
                      <a:pt x="1011" y="39"/>
                      <a:pt x="1011" y="39"/>
                      <a:pt x="1011" y="39"/>
                    </a:cubicBezTo>
                    <a:cubicBezTo>
                      <a:pt x="1012" y="37"/>
                      <a:pt x="1012" y="37"/>
                      <a:pt x="1012" y="37"/>
                    </a:cubicBezTo>
                    <a:cubicBezTo>
                      <a:pt x="1013" y="37"/>
                      <a:pt x="1013" y="37"/>
                      <a:pt x="1013" y="37"/>
                    </a:cubicBezTo>
                    <a:cubicBezTo>
                      <a:pt x="1014" y="37"/>
                      <a:pt x="1014" y="37"/>
                      <a:pt x="1014" y="37"/>
                    </a:cubicBezTo>
                    <a:cubicBezTo>
                      <a:pt x="1015" y="37"/>
                      <a:pt x="1015" y="37"/>
                      <a:pt x="1015" y="37"/>
                    </a:cubicBezTo>
                    <a:cubicBezTo>
                      <a:pt x="1016" y="36"/>
                      <a:pt x="1016" y="36"/>
                      <a:pt x="1016" y="36"/>
                    </a:cubicBezTo>
                    <a:cubicBezTo>
                      <a:pt x="1015" y="35"/>
                      <a:pt x="1015" y="35"/>
                      <a:pt x="1015" y="35"/>
                    </a:cubicBezTo>
                    <a:cubicBezTo>
                      <a:pt x="1015" y="33"/>
                      <a:pt x="1015" y="33"/>
                      <a:pt x="1015" y="33"/>
                    </a:cubicBezTo>
                    <a:cubicBezTo>
                      <a:pt x="1016" y="32"/>
                      <a:pt x="1016" y="32"/>
                      <a:pt x="1016" y="32"/>
                    </a:cubicBezTo>
                    <a:cubicBezTo>
                      <a:pt x="1017" y="32"/>
                      <a:pt x="1017" y="32"/>
                      <a:pt x="1017" y="32"/>
                    </a:cubicBezTo>
                    <a:cubicBezTo>
                      <a:pt x="1017" y="31"/>
                      <a:pt x="1017" y="31"/>
                      <a:pt x="1017" y="31"/>
                    </a:cubicBezTo>
                    <a:cubicBezTo>
                      <a:pt x="1015" y="30"/>
                      <a:pt x="1015" y="30"/>
                      <a:pt x="1015" y="30"/>
                    </a:cubicBezTo>
                    <a:cubicBezTo>
                      <a:pt x="1015" y="29"/>
                      <a:pt x="1015" y="29"/>
                      <a:pt x="1015" y="29"/>
                    </a:cubicBezTo>
                    <a:cubicBezTo>
                      <a:pt x="1015" y="28"/>
                      <a:pt x="1015" y="28"/>
                      <a:pt x="1015" y="28"/>
                    </a:cubicBezTo>
                    <a:cubicBezTo>
                      <a:pt x="1015" y="27"/>
                      <a:pt x="1015" y="27"/>
                      <a:pt x="1015" y="27"/>
                    </a:cubicBezTo>
                    <a:cubicBezTo>
                      <a:pt x="1016" y="27"/>
                      <a:pt x="1016" y="27"/>
                      <a:pt x="1016" y="27"/>
                    </a:cubicBezTo>
                    <a:cubicBezTo>
                      <a:pt x="1017" y="28"/>
                      <a:pt x="1017" y="28"/>
                      <a:pt x="1017" y="28"/>
                    </a:cubicBezTo>
                    <a:cubicBezTo>
                      <a:pt x="1017" y="29"/>
                      <a:pt x="1017" y="29"/>
                      <a:pt x="1017" y="29"/>
                    </a:cubicBezTo>
                    <a:cubicBezTo>
                      <a:pt x="1018" y="29"/>
                      <a:pt x="1018" y="29"/>
                      <a:pt x="1018" y="29"/>
                    </a:cubicBezTo>
                    <a:cubicBezTo>
                      <a:pt x="1019" y="27"/>
                      <a:pt x="1019" y="27"/>
                      <a:pt x="1019" y="27"/>
                    </a:cubicBezTo>
                    <a:cubicBezTo>
                      <a:pt x="1020" y="27"/>
                      <a:pt x="1020" y="27"/>
                      <a:pt x="1020" y="27"/>
                    </a:cubicBezTo>
                    <a:cubicBezTo>
                      <a:pt x="1021" y="26"/>
                      <a:pt x="1021" y="26"/>
                      <a:pt x="1021" y="26"/>
                    </a:cubicBezTo>
                    <a:cubicBezTo>
                      <a:pt x="1021" y="25"/>
                      <a:pt x="1021" y="25"/>
                      <a:pt x="1021" y="25"/>
                    </a:cubicBezTo>
                    <a:cubicBezTo>
                      <a:pt x="1022" y="24"/>
                      <a:pt x="1022" y="24"/>
                      <a:pt x="1022" y="24"/>
                    </a:cubicBezTo>
                    <a:cubicBezTo>
                      <a:pt x="1024" y="24"/>
                      <a:pt x="1024" y="24"/>
                      <a:pt x="1024" y="24"/>
                    </a:cubicBezTo>
                    <a:cubicBezTo>
                      <a:pt x="1023" y="25"/>
                      <a:pt x="1023" y="25"/>
                      <a:pt x="1023" y="25"/>
                    </a:cubicBezTo>
                    <a:cubicBezTo>
                      <a:pt x="1022" y="26"/>
                      <a:pt x="1022" y="26"/>
                      <a:pt x="1022" y="26"/>
                    </a:cubicBezTo>
                    <a:cubicBezTo>
                      <a:pt x="1023" y="26"/>
                      <a:pt x="1023" y="26"/>
                      <a:pt x="1023" y="26"/>
                    </a:cubicBezTo>
                    <a:cubicBezTo>
                      <a:pt x="1024" y="26"/>
                      <a:pt x="1024" y="26"/>
                      <a:pt x="1024" y="26"/>
                    </a:cubicBezTo>
                    <a:cubicBezTo>
                      <a:pt x="1025" y="26"/>
                      <a:pt x="1025" y="26"/>
                      <a:pt x="1025" y="26"/>
                    </a:cubicBezTo>
                    <a:cubicBezTo>
                      <a:pt x="1025" y="27"/>
                      <a:pt x="1025" y="27"/>
                      <a:pt x="1025" y="27"/>
                    </a:cubicBezTo>
                    <a:cubicBezTo>
                      <a:pt x="1026" y="28"/>
                      <a:pt x="1026" y="28"/>
                      <a:pt x="1026" y="28"/>
                    </a:cubicBezTo>
                    <a:cubicBezTo>
                      <a:pt x="1025" y="29"/>
                      <a:pt x="1025" y="29"/>
                      <a:pt x="1025" y="29"/>
                    </a:cubicBezTo>
                    <a:cubicBezTo>
                      <a:pt x="1026" y="30"/>
                      <a:pt x="1026" y="30"/>
                      <a:pt x="1026" y="30"/>
                    </a:cubicBezTo>
                    <a:cubicBezTo>
                      <a:pt x="1026" y="29"/>
                      <a:pt x="1026" y="29"/>
                      <a:pt x="1026" y="29"/>
                    </a:cubicBezTo>
                    <a:cubicBezTo>
                      <a:pt x="1027" y="28"/>
                      <a:pt x="1027" y="28"/>
                      <a:pt x="1027" y="28"/>
                    </a:cubicBezTo>
                    <a:cubicBezTo>
                      <a:pt x="1029" y="28"/>
                      <a:pt x="1029" y="28"/>
                      <a:pt x="1029" y="28"/>
                    </a:cubicBezTo>
                    <a:cubicBezTo>
                      <a:pt x="1029" y="29"/>
                      <a:pt x="1029" y="29"/>
                      <a:pt x="1029" y="29"/>
                    </a:cubicBezTo>
                    <a:cubicBezTo>
                      <a:pt x="1029" y="30"/>
                      <a:pt x="1029" y="30"/>
                      <a:pt x="1029" y="30"/>
                    </a:cubicBezTo>
                    <a:cubicBezTo>
                      <a:pt x="1030" y="32"/>
                      <a:pt x="1030" y="32"/>
                      <a:pt x="1030" y="32"/>
                    </a:cubicBezTo>
                    <a:cubicBezTo>
                      <a:pt x="1031" y="33"/>
                      <a:pt x="1031" y="33"/>
                      <a:pt x="1031" y="33"/>
                    </a:cubicBezTo>
                    <a:cubicBezTo>
                      <a:pt x="1031" y="34"/>
                      <a:pt x="1031" y="34"/>
                      <a:pt x="1031" y="34"/>
                    </a:cubicBezTo>
                    <a:cubicBezTo>
                      <a:pt x="1032" y="33"/>
                      <a:pt x="1032" y="33"/>
                      <a:pt x="1032" y="33"/>
                    </a:cubicBezTo>
                    <a:cubicBezTo>
                      <a:pt x="1031" y="32"/>
                      <a:pt x="1031" y="32"/>
                      <a:pt x="1031" y="32"/>
                    </a:cubicBezTo>
                    <a:cubicBezTo>
                      <a:pt x="1031" y="31"/>
                      <a:pt x="1031" y="31"/>
                      <a:pt x="1031" y="31"/>
                    </a:cubicBezTo>
                    <a:cubicBezTo>
                      <a:pt x="1031" y="30"/>
                      <a:pt x="1031" y="30"/>
                      <a:pt x="1031" y="30"/>
                    </a:cubicBezTo>
                    <a:cubicBezTo>
                      <a:pt x="1030" y="29"/>
                      <a:pt x="1030" y="29"/>
                      <a:pt x="1030" y="29"/>
                    </a:cubicBezTo>
                    <a:cubicBezTo>
                      <a:pt x="1031" y="29"/>
                      <a:pt x="1031" y="29"/>
                      <a:pt x="1031" y="29"/>
                    </a:cubicBezTo>
                    <a:cubicBezTo>
                      <a:pt x="1033" y="31"/>
                      <a:pt x="1033" y="31"/>
                      <a:pt x="1033" y="31"/>
                    </a:cubicBezTo>
                    <a:cubicBezTo>
                      <a:pt x="1034" y="33"/>
                      <a:pt x="1034" y="33"/>
                      <a:pt x="1034" y="33"/>
                    </a:cubicBezTo>
                    <a:cubicBezTo>
                      <a:pt x="1036" y="34"/>
                      <a:pt x="1036" y="34"/>
                      <a:pt x="1036" y="34"/>
                    </a:cubicBezTo>
                    <a:cubicBezTo>
                      <a:pt x="1037" y="34"/>
                      <a:pt x="1037" y="34"/>
                      <a:pt x="1037" y="34"/>
                    </a:cubicBezTo>
                    <a:cubicBezTo>
                      <a:pt x="1037" y="33"/>
                      <a:pt x="1037" y="33"/>
                      <a:pt x="1037" y="33"/>
                    </a:cubicBezTo>
                    <a:cubicBezTo>
                      <a:pt x="1035" y="32"/>
                      <a:pt x="1035" y="32"/>
                      <a:pt x="1035" y="32"/>
                    </a:cubicBezTo>
                    <a:cubicBezTo>
                      <a:pt x="1034" y="30"/>
                      <a:pt x="1034" y="30"/>
                      <a:pt x="1034" y="30"/>
                    </a:cubicBezTo>
                    <a:cubicBezTo>
                      <a:pt x="1034" y="29"/>
                      <a:pt x="1034" y="29"/>
                      <a:pt x="1034" y="29"/>
                    </a:cubicBezTo>
                    <a:cubicBezTo>
                      <a:pt x="1034" y="27"/>
                      <a:pt x="1034" y="27"/>
                      <a:pt x="1034" y="27"/>
                    </a:cubicBezTo>
                    <a:cubicBezTo>
                      <a:pt x="1036" y="27"/>
                      <a:pt x="1036" y="27"/>
                      <a:pt x="1036" y="27"/>
                    </a:cubicBezTo>
                    <a:cubicBezTo>
                      <a:pt x="1037" y="27"/>
                      <a:pt x="1037" y="27"/>
                      <a:pt x="1037" y="27"/>
                    </a:cubicBezTo>
                    <a:cubicBezTo>
                      <a:pt x="1038" y="28"/>
                      <a:pt x="1038" y="28"/>
                      <a:pt x="1038" y="28"/>
                    </a:cubicBezTo>
                    <a:cubicBezTo>
                      <a:pt x="1040" y="28"/>
                      <a:pt x="1040" y="28"/>
                      <a:pt x="1040" y="28"/>
                    </a:cubicBezTo>
                    <a:cubicBezTo>
                      <a:pt x="1040" y="27"/>
                      <a:pt x="1040" y="27"/>
                      <a:pt x="1040" y="27"/>
                    </a:cubicBezTo>
                    <a:cubicBezTo>
                      <a:pt x="1039" y="27"/>
                      <a:pt x="1039" y="27"/>
                      <a:pt x="1039" y="27"/>
                    </a:cubicBezTo>
                    <a:cubicBezTo>
                      <a:pt x="1039" y="26"/>
                      <a:pt x="1039" y="26"/>
                      <a:pt x="1039" y="26"/>
                    </a:cubicBezTo>
                    <a:cubicBezTo>
                      <a:pt x="1040" y="25"/>
                      <a:pt x="1040" y="25"/>
                      <a:pt x="1040" y="25"/>
                    </a:cubicBezTo>
                    <a:cubicBezTo>
                      <a:pt x="1041" y="24"/>
                      <a:pt x="1041" y="24"/>
                      <a:pt x="1041" y="24"/>
                    </a:cubicBezTo>
                    <a:cubicBezTo>
                      <a:pt x="1040" y="23"/>
                      <a:pt x="1040" y="23"/>
                      <a:pt x="1040" y="23"/>
                    </a:cubicBezTo>
                    <a:cubicBezTo>
                      <a:pt x="1040" y="22"/>
                      <a:pt x="1040" y="22"/>
                      <a:pt x="1040" y="22"/>
                    </a:cubicBezTo>
                    <a:cubicBezTo>
                      <a:pt x="1040" y="21"/>
                      <a:pt x="1040" y="21"/>
                      <a:pt x="1040" y="21"/>
                    </a:cubicBezTo>
                    <a:cubicBezTo>
                      <a:pt x="1041" y="21"/>
                      <a:pt x="1041" y="21"/>
                      <a:pt x="1041" y="21"/>
                    </a:cubicBezTo>
                    <a:cubicBezTo>
                      <a:pt x="1042" y="21"/>
                      <a:pt x="1042" y="21"/>
                      <a:pt x="1042" y="21"/>
                    </a:cubicBezTo>
                    <a:cubicBezTo>
                      <a:pt x="1043" y="20"/>
                      <a:pt x="1043" y="20"/>
                      <a:pt x="1043" y="20"/>
                    </a:cubicBezTo>
                    <a:cubicBezTo>
                      <a:pt x="1043" y="19"/>
                      <a:pt x="1043" y="19"/>
                      <a:pt x="1043" y="19"/>
                    </a:cubicBezTo>
                    <a:cubicBezTo>
                      <a:pt x="1044" y="19"/>
                      <a:pt x="1044" y="19"/>
                      <a:pt x="1044" y="19"/>
                    </a:cubicBezTo>
                    <a:cubicBezTo>
                      <a:pt x="1044" y="20"/>
                      <a:pt x="1044" y="20"/>
                      <a:pt x="1044" y="20"/>
                    </a:cubicBezTo>
                    <a:cubicBezTo>
                      <a:pt x="1045" y="20"/>
                      <a:pt x="1045" y="20"/>
                      <a:pt x="1045" y="20"/>
                    </a:cubicBezTo>
                    <a:cubicBezTo>
                      <a:pt x="1045" y="21"/>
                      <a:pt x="1045" y="21"/>
                      <a:pt x="1045" y="21"/>
                    </a:cubicBezTo>
                    <a:cubicBezTo>
                      <a:pt x="1046" y="22"/>
                      <a:pt x="1046" y="22"/>
                      <a:pt x="1046" y="22"/>
                    </a:cubicBezTo>
                    <a:cubicBezTo>
                      <a:pt x="1046" y="23"/>
                      <a:pt x="1046" y="23"/>
                      <a:pt x="1046" y="23"/>
                    </a:cubicBezTo>
                    <a:cubicBezTo>
                      <a:pt x="1047" y="22"/>
                      <a:pt x="1047" y="22"/>
                      <a:pt x="1047" y="22"/>
                    </a:cubicBezTo>
                    <a:cubicBezTo>
                      <a:pt x="1047" y="21"/>
                      <a:pt x="1047" y="21"/>
                      <a:pt x="1047" y="21"/>
                    </a:cubicBezTo>
                    <a:cubicBezTo>
                      <a:pt x="1047" y="20"/>
                      <a:pt x="1047" y="20"/>
                      <a:pt x="1047" y="20"/>
                    </a:cubicBezTo>
                    <a:cubicBezTo>
                      <a:pt x="1047" y="19"/>
                      <a:pt x="1047" y="19"/>
                      <a:pt x="1047" y="19"/>
                    </a:cubicBezTo>
                    <a:cubicBezTo>
                      <a:pt x="1048" y="19"/>
                      <a:pt x="1048" y="19"/>
                      <a:pt x="1048" y="19"/>
                    </a:cubicBezTo>
                    <a:cubicBezTo>
                      <a:pt x="1049" y="19"/>
                      <a:pt x="1049" y="19"/>
                      <a:pt x="1049" y="19"/>
                    </a:cubicBezTo>
                    <a:cubicBezTo>
                      <a:pt x="1051" y="19"/>
                      <a:pt x="1051" y="19"/>
                      <a:pt x="1051" y="19"/>
                    </a:cubicBezTo>
                    <a:cubicBezTo>
                      <a:pt x="1052" y="19"/>
                      <a:pt x="1052" y="19"/>
                      <a:pt x="1052" y="19"/>
                    </a:cubicBezTo>
                    <a:cubicBezTo>
                      <a:pt x="1052" y="20"/>
                      <a:pt x="1052" y="20"/>
                      <a:pt x="1052" y="20"/>
                    </a:cubicBezTo>
                    <a:cubicBezTo>
                      <a:pt x="1053" y="20"/>
                      <a:pt x="1053" y="20"/>
                      <a:pt x="1053" y="20"/>
                    </a:cubicBezTo>
                    <a:cubicBezTo>
                      <a:pt x="1054" y="19"/>
                      <a:pt x="1054" y="19"/>
                      <a:pt x="1054" y="19"/>
                    </a:cubicBezTo>
                    <a:cubicBezTo>
                      <a:pt x="1055" y="20"/>
                      <a:pt x="1055" y="20"/>
                      <a:pt x="1055" y="20"/>
                    </a:cubicBezTo>
                    <a:cubicBezTo>
                      <a:pt x="1057" y="20"/>
                      <a:pt x="1057" y="20"/>
                      <a:pt x="1057" y="20"/>
                    </a:cubicBezTo>
                    <a:cubicBezTo>
                      <a:pt x="1058" y="20"/>
                      <a:pt x="1058" y="20"/>
                      <a:pt x="1058" y="20"/>
                    </a:cubicBezTo>
                    <a:cubicBezTo>
                      <a:pt x="1059" y="20"/>
                      <a:pt x="1059" y="20"/>
                      <a:pt x="1059" y="20"/>
                    </a:cubicBezTo>
                    <a:cubicBezTo>
                      <a:pt x="1060" y="20"/>
                      <a:pt x="1060" y="20"/>
                      <a:pt x="1060" y="20"/>
                    </a:cubicBezTo>
                    <a:cubicBezTo>
                      <a:pt x="1060" y="21"/>
                      <a:pt x="1060" y="21"/>
                      <a:pt x="1060" y="21"/>
                    </a:cubicBezTo>
                    <a:cubicBezTo>
                      <a:pt x="1062" y="22"/>
                      <a:pt x="1062" y="22"/>
                      <a:pt x="1062" y="22"/>
                    </a:cubicBezTo>
                    <a:cubicBezTo>
                      <a:pt x="1063" y="22"/>
                      <a:pt x="1063" y="22"/>
                      <a:pt x="1063" y="22"/>
                    </a:cubicBezTo>
                    <a:cubicBezTo>
                      <a:pt x="1065" y="23"/>
                      <a:pt x="1065" y="23"/>
                      <a:pt x="1065" y="23"/>
                    </a:cubicBezTo>
                    <a:cubicBezTo>
                      <a:pt x="1066" y="23"/>
                      <a:pt x="1066" y="23"/>
                      <a:pt x="1066" y="23"/>
                    </a:cubicBezTo>
                    <a:cubicBezTo>
                      <a:pt x="1067" y="24"/>
                      <a:pt x="1067" y="24"/>
                      <a:pt x="1067" y="24"/>
                    </a:cubicBezTo>
                    <a:cubicBezTo>
                      <a:pt x="1070" y="24"/>
                      <a:pt x="1070" y="24"/>
                      <a:pt x="1070" y="24"/>
                    </a:cubicBezTo>
                    <a:cubicBezTo>
                      <a:pt x="1071" y="25"/>
                      <a:pt x="1071" y="25"/>
                      <a:pt x="1071" y="25"/>
                    </a:cubicBezTo>
                    <a:cubicBezTo>
                      <a:pt x="1072" y="24"/>
                      <a:pt x="1072" y="24"/>
                      <a:pt x="1072" y="24"/>
                    </a:cubicBezTo>
                    <a:cubicBezTo>
                      <a:pt x="1072" y="25"/>
                      <a:pt x="1072" y="25"/>
                      <a:pt x="1072" y="25"/>
                    </a:cubicBezTo>
                    <a:cubicBezTo>
                      <a:pt x="1073" y="25"/>
                      <a:pt x="1073" y="25"/>
                      <a:pt x="1073" y="25"/>
                    </a:cubicBezTo>
                    <a:cubicBezTo>
                      <a:pt x="1074" y="25"/>
                      <a:pt x="1074" y="25"/>
                      <a:pt x="1074" y="25"/>
                    </a:cubicBezTo>
                    <a:cubicBezTo>
                      <a:pt x="1075" y="25"/>
                      <a:pt x="1075" y="25"/>
                      <a:pt x="1075" y="25"/>
                    </a:cubicBezTo>
                    <a:cubicBezTo>
                      <a:pt x="1076" y="26"/>
                      <a:pt x="1076" y="26"/>
                      <a:pt x="1076" y="26"/>
                    </a:cubicBezTo>
                    <a:cubicBezTo>
                      <a:pt x="1078" y="27"/>
                      <a:pt x="1078" y="27"/>
                      <a:pt x="1078" y="27"/>
                    </a:cubicBezTo>
                    <a:cubicBezTo>
                      <a:pt x="1079" y="28"/>
                      <a:pt x="1079" y="28"/>
                      <a:pt x="1079" y="28"/>
                    </a:cubicBezTo>
                    <a:cubicBezTo>
                      <a:pt x="1080" y="29"/>
                      <a:pt x="1080" y="29"/>
                      <a:pt x="1080" y="29"/>
                    </a:cubicBezTo>
                    <a:cubicBezTo>
                      <a:pt x="1081" y="29"/>
                      <a:pt x="1081" y="29"/>
                      <a:pt x="1081" y="29"/>
                    </a:cubicBezTo>
                    <a:cubicBezTo>
                      <a:pt x="1083" y="30"/>
                      <a:pt x="1083" y="30"/>
                      <a:pt x="1083" y="30"/>
                    </a:cubicBezTo>
                    <a:cubicBezTo>
                      <a:pt x="1082" y="31"/>
                      <a:pt x="1082" y="31"/>
                      <a:pt x="1082" y="31"/>
                    </a:cubicBezTo>
                    <a:cubicBezTo>
                      <a:pt x="1082" y="32"/>
                      <a:pt x="1082" y="32"/>
                      <a:pt x="1082" y="32"/>
                    </a:cubicBezTo>
                    <a:cubicBezTo>
                      <a:pt x="1081" y="32"/>
                      <a:pt x="1081" y="32"/>
                      <a:pt x="1081" y="32"/>
                    </a:cubicBezTo>
                    <a:cubicBezTo>
                      <a:pt x="1080" y="32"/>
                      <a:pt x="1080" y="32"/>
                      <a:pt x="1080" y="32"/>
                    </a:cubicBezTo>
                    <a:cubicBezTo>
                      <a:pt x="1079" y="32"/>
                      <a:pt x="1079" y="32"/>
                      <a:pt x="1079" y="32"/>
                    </a:cubicBezTo>
                    <a:cubicBezTo>
                      <a:pt x="1078" y="33"/>
                      <a:pt x="1078" y="33"/>
                      <a:pt x="1078" y="33"/>
                    </a:cubicBezTo>
                    <a:cubicBezTo>
                      <a:pt x="1077" y="33"/>
                      <a:pt x="1077" y="33"/>
                      <a:pt x="1077" y="33"/>
                    </a:cubicBezTo>
                    <a:cubicBezTo>
                      <a:pt x="1076" y="33"/>
                      <a:pt x="1076" y="33"/>
                      <a:pt x="1076" y="33"/>
                    </a:cubicBezTo>
                    <a:cubicBezTo>
                      <a:pt x="1074" y="33"/>
                      <a:pt x="1074" y="33"/>
                      <a:pt x="1074" y="33"/>
                    </a:cubicBezTo>
                    <a:cubicBezTo>
                      <a:pt x="1072" y="32"/>
                      <a:pt x="1072" y="32"/>
                      <a:pt x="1072" y="32"/>
                    </a:cubicBezTo>
                    <a:cubicBezTo>
                      <a:pt x="1071" y="32"/>
                      <a:pt x="1071" y="32"/>
                      <a:pt x="1071" y="32"/>
                    </a:cubicBezTo>
                    <a:cubicBezTo>
                      <a:pt x="1070" y="32"/>
                      <a:pt x="1070" y="32"/>
                      <a:pt x="1070" y="32"/>
                    </a:cubicBezTo>
                    <a:cubicBezTo>
                      <a:pt x="1069" y="31"/>
                      <a:pt x="1069" y="31"/>
                      <a:pt x="1069" y="31"/>
                    </a:cubicBezTo>
                    <a:cubicBezTo>
                      <a:pt x="1067" y="31"/>
                      <a:pt x="1067" y="31"/>
                      <a:pt x="1067" y="31"/>
                    </a:cubicBezTo>
                    <a:cubicBezTo>
                      <a:pt x="1067" y="32"/>
                      <a:pt x="1067" y="32"/>
                      <a:pt x="1067" y="32"/>
                    </a:cubicBezTo>
                    <a:cubicBezTo>
                      <a:pt x="1066" y="32"/>
                      <a:pt x="1066" y="32"/>
                      <a:pt x="1066" y="32"/>
                    </a:cubicBezTo>
                    <a:cubicBezTo>
                      <a:pt x="1066" y="31"/>
                      <a:pt x="1066" y="31"/>
                      <a:pt x="1066" y="31"/>
                    </a:cubicBezTo>
                    <a:cubicBezTo>
                      <a:pt x="1064" y="31"/>
                      <a:pt x="1064" y="31"/>
                      <a:pt x="1064" y="31"/>
                    </a:cubicBezTo>
                    <a:cubicBezTo>
                      <a:pt x="1062" y="32"/>
                      <a:pt x="1062" y="32"/>
                      <a:pt x="1062" y="32"/>
                    </a:cubicBezTo>
                    <a:cubicBezTo>
                      <a:pt x="1062" y="33"/>
                      <a:pt x="1062" y="33"/>
                      <a:pt x="1062" y="33"/>
                    </a:cubicBezTo>
                    <a:cubicBezTo>
                      <a:pt x="1061" y="32"/>
                      <a:pt x="1061" y="32"/>
                      <a:pt x="1061" y="32"/>
                    </a:cubicBezTo>
                    <a:cubicBezTo>
                      <a:pt x="1060" y="32"/>
                      <a:pt x="1060" y="32"/>
                      <a:pt x="1060" y="32"/>
                    </a:cubicBezTo>
                    <a:cubicBezTo>
                      <a:pt x="1058" y="33"/>
                      <a:pt x="1058" y="33"/>
                      <a:pt x="1058" y="33"/>
                    </a:cubicBezTo>
                    <a:cubicBezTo>
                      <a:pt x="1056" y="33"/>
                      <a:pt x="1056" y="33"/>
                      <a:pt x="1056" y="33"/>
                    </a:cubicBezTo>
                    <a:cubicBezTo>
                      <a:pt x="1056" y="32"/>
                      <a:pt x="1056" y="32"/>
                      <a:pt x="1056" y="32"/>
                    </a:cubicBezTo>
                    <a:cubicBezTo>
                      <a:pt x="1056" y="31"/>
                      <a:pt x="1056" y="31"/>
                      <a:pt x="1056" y="31"/>
                    </a:cubicBezTo>
                    <a:cubicBezTo>
                      <a:pt x="1056" y="30"/>
                      <a:pt x="1056" y="30"/>
                      <a:pt x="1056" y="30"/>
                    </a:cubicBezTo>
                    <a:cubicBezTo>
                      <a:pt x="1057" y="30"/>
                      <a:pt x="1057" y="30"/>
                      <a:pt x="1057" y="30"/>
                    </a:cubicBezTo>
                    <a:cubicBezTo>
                      <a:pt x="1057" y="29"/>
                      <a:pt x="1057" y="29"/>
                      <a:pt x="1057" y="29"/>
                    </a:cubicBezTo>
                    <a:cubicBezTo>
                      <a:pt x="1056" y="29"/>
                      <a:pt x="1056" y="29"/>
                      <a:pt x="1056" y="29"/>
                    </a:cubicBezTo>
                    <a:cubicBezTo>
                      <a:pt x="1055" y="29"/>
                      <a:pt x="1055" y="29"/>
                      <a:pt x="1055" y="29"/>
                    </a:cubicBezTo>
                    <a:cubicBezTo>
                      <a:pt x="1054" y="30"/>
                      <a:pt x="1054" y="30"/>
                      <a:pt x="1054" y="30"/>
                    </a:cubicBezTo>
                    <a:cubicBezTo>
                      <a:pt x="1054" y="31"/>
                      <a:pt x="1054" y="31"/>
                      <a:pt x="1054" y="31"/>
                    </a:cubicBezTo>
                    <a:cubicBezTo>
                      <a:pt x="1055" y="32"/>
                      <a:pt x="1055" y="32"/>
                      <a:pt x="1055" y="32"/>
                    </a:cubicBezTo>
                    <a:cubicBezTo>
                      <a:pt x="1055" y="33"/>
                      <a:pt x="1055" y="33"/>
                      <a:pt x="1055" y="33"/>
                    </a:cubicBezTo>
                    <a:cubicBezTo>
                      <a:pt x="1054" y="34"/>
                      <a:pt x="1054" y="34"/>
                      <a:pt x="1054" y="34"/>
                    </a:cubicBezTo>
                    <a:cubicBezTo>
                      <a:pt x="1053" y="34"/>
                      <a:pt x="1053" y="34"/>
                      <a:pt x="1053" y="34"/>
                    </a:cubicBezTo>
                    <a:cubicBezTo>
                      <a:pt x="1051" y="34"/>
                      <a:pt x="1051" y="34"/>
                      <a:pt x="1051" y="34"/>
                    </a:cubicBezTo>
                    <a:cubicBezTo>
                      <a:pt x="1050" y="34"/>
                      <a:pt x="1050" y="34"/>
                      <a:pt x="1050" y="34"/>
                    </a:cubicBezTo>
                    <a:cubicBezTo>
                      <a:pt x="1048" y="34"/>
                      <a:pt x="1048" y="34"/>
                      <a:pt x="1048" y="34"/>
                    </a:cubicBezTo>
                    <a:cubicBezTo>
                      <a:pt x="1047" y="34"/>
                      <a:pt x="1047" y="34"/>
                      <a:pt x="1047" y="34"/>
                    </a:cubicBezTo>
                    <a:cubicBezTo>
                      <a:pt x="1045" y="34"/>
                      <a:pt x="1045" y="34"/>
                      <a:pt x="1045" y="34"/>
                    </a:cubicBezTo>
                    <a:cubicBezTo>
                      <a:pt x="1043" y="36"/>
                      <a:pt x="1043" y="36"/>
                      <a:pt x="1043" y="36"/>
                    </a:cubicBezTo>
                    <a:cubicBezTo>
                      <a:pt x="1043" y="37"/>
                      <a:pt x="1043" y="37"/>
                      <a:pt x="1043" y="37"/>
                    </a:cubicBezTo>
                    <a:cubicBezTo>
                      <a:pt x="1043" y="38"/>
                      <a:pt x="1043" y="38"/>
                      <a:pt x="1043" y="38"/>
                    </a:cubicBezTo>
                    <a:cubicBezTo>
                      <a:pt x="1042" y="39"/>
                      <a:pt x="1042" y="39"/>
                      <a:pt x="1042" y="39"/>
                    </a:cubicBezTo>
                    <a:cubicBezTo>
                      <a:pt x="1042" y="40"/>
                      <a:pt x="1042" y="40"/>
                      <a:pt x="1042" y="40"/>
                    </a:cubicBezTo>
                    <a:cubicBezTo>
                      <a:pt x="1042" y="41"/>
                      <a:pt x="1042" y="41"/>
                      <a:pt x="1042" y="41"/>
                    </a:cubicBezTo>
                    <a:cubicBezTo>
                      <a:pt x="1043" y="40"/>
                      <a:pt x="1043" y="40"/>
                      <a:pt x="1043" y="40"/>
                    </a:cubicBezTo>
                    <a:cubicBezTo>
                      <a:pt x="1043" y="39"/>
                      <a:pt x="1043" y="39"/>
                      <a:pt x="1043" y="39"/>
                    </a:cubicBezTo>
                    <a:cubicBezTo>
                      <a:pt x="1044" y="38"/>
                      <a:pt x="1044" y="38"/>
                      <a:pt x="1044" y="38"/>
                    </a:cubicBezTo>
                    <a:cubicBezTo>
                      <a:pt x="1044" y="37"/>
                      <a:pt x="1044" y="37"/>
                      <a:pt x="1044" y="37"/>
                    </a:cubicBezTo>
                    <a:cubicBezTo>
                      <a:pt x="1046" y="37"/>
                      <a:pt x="1046" y="37"/>
                      <a:pt x="1046" y="37"/>
                    </a:cubicBezTo>
                    <a:cubicBezTo>
                      <a:pt x="1047" y="38"/>
                      <a:pt x="1047" y="38"/>
                      <a:pt x="1047" y="38"/>
                    </a:cubicBezTo>
                    <a:cubicBezTo>
                      <a:pt x="1046" y="38"/>
                      <a:pt x="1046" y="38"/>
                      <a:pt x="1046" y="38"/>
                    </a:cubicBezTo>
                    <a:cubicBezTo>
                      <a:pt x="1046" y="39"/>
                      <a:pt x="1046" y="39"/>
                      <a:pt x="1046" y="39"/>
                    </a:cubicBezTo>
                    <a:cubicBezTo>
                      <a:pt x="1046" y="40"/>
                      <a:pt x="1046" y="40"/>
                      <a:pt x="1046" y="40"/>
                    </a:cubicBezTo>
                    <a:cubicBezTo>
                      <a:pt x="1047" y="39"/>
                      <a:pt x="1047" y="39"/>
                      <a:pt x="1047" y="39"/>
                    </a:cubicBezTo>
                    <a:cubicBezTo>
                      <a:pt x="1047" y="38"/>
                      <a:pt x="1047" y="38"/>
                      <a:pt x="1047" y="38"/>
                    </a:cubicBezTo>
                    <a:cubicBezTo>
                      <a:pt x="1047" y="37"/>
                      <a:pt x="1047" y="37"/>
                      <a:pt x="1047" y="37"/>
                    </a:cubicBezTo>
                    <a:cubicBezTo>
                      <a:pt x="1047" y="37"/>
                      <a:pt x="1047" y="37"/>
                      <a:pt x="1048" y="36"/>
                    </a:cubicBezTo>
                    <a:cubicBezTo>
                      <a:pt x="1048" y="36"/>
                      <a:pt x="1048" y="36"/>
                      <a:pt x="1050" y="35"/>
                    </a:cubicBezTo>
                    <a:cubicBezTo>
                      <a:pt x="1052" y="35"/>
                      <a:pt x="1052" y="35"/>
                      <a:pt x="1052" y="35"/>
                    </a:cubicBezTo>
                    <a:cubicBezTo>
                      <a:pt x="1053" y="35"/>
                      <a:pt x="1053" y="35"/>
                      <a:pt x="1053" y="35"/>
                    </a:cubicBezTo>
                    <a:cubicBezTo>
                      <a:pt x="1054" y="35"/>
                      <a:pt x="1054" y="35"/>
                      <a:pt x="1054" y="35"/>
                    </a:cubicBezTo>
                    <a:cubicBezTo>
                      <a:pt x="1055" y="36"/>
                      <a:pt x="1055" y="36"/>
                      <a:pt x="1055" y="36"/>
                    </a:cubicBezTo>
                    <a:cubicBezTo>
                      <a:pt x="1055" y="37"/>
                      <a:pt x="1055" y="37"/>
                      <a:pt x="1055" y="37"/>
                    </a:cubicBezTo>
                    <a:cubicBezTo>
                      <a:pt x="1056" y="38"/>
                      <a:pt x="1056" y="38"/>
                      <a:pt x="1056" y="38"/>
                    </a:cubicBezTo>
                    <a:cubicBezTo>
                      <a:pt x="1057" y="37"/>
                      <a:pt x="1057" y="37"/>
                      <a:pt x="1057" y="37"/>
                    </a:cubicBezTo>
                    <a:cubicBezTo>
                      <a:pt x="1056" y="36"/>
                      <a:pt x="1056" y="36"/>
                      <a:pt x="1056" y="36"/>
                    </a:cubicBezTo>
                    <a:cubicBezTo>
                      <a:pt x="1056" y="35"/>
                      <a:pt x="1056" y="35"/>
                      <a:pt x="1056" y="35"/>
                    </a:cubicBezTo>
                    <a:cubicBezTo>
                      <a:pt x="1058" y="35"/>
                      <a:pt x="1058" y="35"/>
                      <a:pt x="1058" y="35"/>
                    </a:cubicBezTo>
                    <a:cubicBezTo>
                      <a:pt x="1059" y="35"/>
                      <a:pt x="1059" y="35"/>
                      <a:pt x="1059" y="35"/>
                    </a:cubicBezTo>
                    <a:cubicBezTo>
                      <a:pt x="1060" y="35"/>
                      <a:pt x="1060" y="35"/>
                      <a:pt x="1060" y="35"/>
                    </a:cubicBezTo>
                    <a:cubicBezTo>
                      <a:pt x="1062" y="35"/>
                      <a:pt x="1062" y="35"/>
                      <a:pt x="1062" y="35"/>
                    </a:cubicBezTo>
                    <a:cubicBezTo>
                      <a:pt x="1064" y="34"/>
                      <a:pt x="1064" y="34"/>
                      <a:pt x="1064" y="34"/>
                    </a:cubicBezTo>
                    <a:cubicBezTo>
                      <a:pt x="1065" y="34"/>
                      <a:pt x="1065" y="34"/>
                      <a:pt x="1065" y="34"/>
                    </a:cubicBezTo>
                    <a:cubicBezTo>
                      <a:pt x="1067" y="34"/>
                      <a:pt x="1067" y="34"/>
                      <a:pt x="1067" y="34"/>
                    </a:cubicBezTo>
                    <a:cubicBezTo>
                      <a:pt x="1069" y="34"/>
                      <a:pt x="1069" y="34"/>
                      <a:pt x="1069" y="34"/>
                    </a:cubicBezTo>
                    <a:cubicBezTo>
                      <a:pt x="1070" y="35"/>
                      <a:pt x="1070" y="35"/>
                      <a:pt x="1070" y="35"/>
                    </a:cubicBezTo>
                    <a:cubicBezTo>
                      <a:pt x="1071" y="35"/>
                      <a:pt x="1071" y="35"/>
                      <a:pt x="1071" y="35"/>
                    </a:cubicBezTo>
                    <a:cubicBezTo>
                      <a:pt x="1072" y="35"/>
                      <a:pt x="1072" y="35"/>
                      <a:pt x="1072" y="35"/>
                    </a:cubicBezTo>
                    <a:cubicBezTo>
                      <a:pt x="1073" y="36"/>
                      <a:pt x="1073" y="36"/>
                      <a:pt x="1073" y="36"/>
                    </a:cubicBezTo>
                    <a:cubicBezTo>
                      <a:pt x="1074" y="36"/>
                      <a:pt x="1074" y="36"/>
                      <a:pt x="1074" y="36"/>
                    </a:cubicBezTo>
                    <a:cubicBezTo>
                      <a:pt x="1075" y="37"/>
                      <a:pt x="1075" y="37"/>
                      <a:pt x="1075" y="37"/>
                    </a:cubicBezTo>
                    <a:cubicBezTo>
                      <a:pt x="1076" y="36"/>
                      <a:pt x="1076" y="36"/>
                      <a:pt x="1076" y="36"/>
                    </a:cubicBezTo>
                    <a:cubicBezTo>
                      <a:pt x="1077" y="36"/>
                      <a:pt x="1077" y="36"/>
                      <a:pt x="1077" y="36"/>
                    </a:cubicBezTo>
                    <a:cubicBezTo>
                      <a:pt x="1077" y="37"/>
                      <a:pt x="1077" y="37"/>
                      <a:pt x="1077" y="37"/>
                    </a:cubicBezTo>
                    <a:cubicBezTo>
                      <a:pt x="1078" y="37"/>
                      <a:pt x="1078" y="37"/>
                      <a:pt x="1078" y="37"/>
                    </a:cubicBezTo>
                    <a:cubicBezTo>
                      <a:pt x="1079" y="36"/>
                      <a:pt x="1079" y="36"/>
                      <a:pt x="1079" y="36"/>
                    </a:cubicBezTo>
                    <a:cubicBezTo>
                      <a:pt x="1080" y="36"/>
                      <a:pt x="1080" y="36"/>
                      <a:pt x="1080" y="36"/>
                    </a:cubicBezTo>
                    <a:cubicBezTo>
                      <a:pt x="1081" y="36"/>
                      <a:pt x="1081" y="36"/>
                      <a:pt x="1081" y="36"/>
                    </a:cubicBezTo>
                    <a:cubicBezTo>
                      <a:pt x="1083" y="35"/>
                      <a:pt x="1083" y="35"/>
                      <a:pt x="1083" y="35"/>
                    </a:cubicBezTo>
                    <a:cubicBezTo>
                      <a:pt x="1084" y="34"/>
                      <a:pt x="1084" y="34"/>
                      <a:pt x="1084" y="34"/>
                    </a:cubicBezTo>
                    <a:cubicBezTo>
                      <a:pt x="1085" y="34"/>
                      <a:pt x="1085" y="34"/>
                      <a:pt x="1085" y="34"/>
                    </a:cubicBezTo>
                    <a:cubicBezTo>
                      <a:pt x="1086" y="35"/>
                      <a:pt x="1086" y="35"/>
                      <a:pt x="1086" y="35"/>
                    </a:cubicBezTo>
                    <a:cubicBezTo>
                      <a:pt x="1087" y="36"/>
                      <a:pt x="1087" y="36"/>
                      <a:pt x="1087" y="36"/>
                    </a:cubicBezTo>
                    <a:cubicBezTo>
                      <a:pt x="1087" y="37"/>
                      <a:pt x="1087" y="37"/>
                      <a:pt x="1087" y="37"/>
                    </a:cubicBezTo>
                    <a:cubicBezTo>
                      <a:pt x="1086" y="37"/>
                      <a:pt x="1086" y="37"/>
                      <a:pt x="1086" y="37"/>
                    </a:cubicBezTo>
                    <a:cubicBezTo>
                      <a:pt x="1086" y="38"/>
                      <a:pt x="1086" y="38"/>
                      <a:pt x="1086" y="38"/>
                    </a:cubicBezTo>
                    <a:cubicBezTo>
                      <a:pt x="1087" y="38"/>
                      <a:pt x="1087" y="38"/>
                      <a:pt x="1087" y="38"/>
                    </a:cubicBezTo>
                    <a:cubicBezTo>
                      <a:pt x="1087" y="39"/>
                      <a:pt x="1087" y="39"/>
                      <a:pt x="1087" y="39"/>
                    </a:cubicBezTo>
                    <a:cubicBezTo>
                      <a:pt x="1085" y="41"/>
                      <a:pt x="1085" y="41"/>
                      <a:pt x="1085" y="41"/>
                    </a:cubicBezTo>
                    <a:cubicBezTo>
                      <a:pt x="1083" y="41"/>
                      <a:pt x="1083" y="41"/>
                      <a:pt x="1083" y="41"/>
                    </a:cubicBezTo>
                    <a:cubicBezTo>
                      <a:pt x="1082" y="41"/>
                      <a:pt x="1082" y="41"/>
                      <a:pt x="1082" y="41"/>
                    </a:cubicBezTo>
                    <a:cubicBezTo>
                      <a:pt x="1081" y="41"/>
                      <a:pt x="1081" y="41"/>
                      <a:pt x="1081" y="41"/>
                    </a:cubicBezTo>
                    <a:cubicBezTo>
                      <a:pt x="1081" y="40"/>
                      <a:pt x="1081" y="40"/>
                      <a:pt x="1081" y="40"/>
                    </a:cubicBezTo>
                    <a:cubicBezTo>
                      <a:pt x="1080" y="40"/>
                      <a:pt x="1080" y="40"/>
                      <a:pt x="1080" y="40"/>
                    </a:cubicBezTo>
                    <a:cubicBezTo>
                      <a:pt x="1080" y="41"/>
                      <a:pt x="1080" y="41"/>
                      <a:pt x="1080" y="41"/>
                    </a:cubicBezTo>
                    <a:cubicBezTo>
                      <a:pt x="1081" y="42"/>
                      <a:pt x="1081" y="42"/>
                      <a:pt x="1081" y="42"/>
                    </a:cubicBezTo>
                    <a:cubicBezTo>
                      <a:pt x="1082" y="42"/>
                      <a:pt x="1082" y="42"/>
                      <a:pt x="1082" y="42"/>
                    </a:cubicBezTo>
                    <a:cubicBezTo>
                      <a:pt x="1081" y="43"/>
                      <a:pt x="1081" y="43"/>
                      <a:pt x="1081" y="43"/>
                    </a:cubicBezTo>
                    <a:cubicBezTo>
                      <a:pt x="1080" y="42"/>
                      <a:pt x="1080" y="42"/>
                      <a:pt x="1080" y="42"/>
                    </a:cubicBezTo>
                    <a:cubicBezTo>
                      <a:pt x="1079" y="42"/>
                      <a:pt x="1079" y="42"/>
                      <a:pt x="1079" y="42"/>
                    </a:cubicBezTo>
                    <a:cubicBezTo>
                      <a:pt x="1079" y="43"/>
                      <a:pt x="1079" y="43"/>
                      <a:pt x="1079" y="43"/>
                    </a:cubicBezTo>
                    <a:cubicBezTo>
                      <a:pt x="1080" y="43"/>
                      <a:pt x="1080" y="43"/>
                      <a:pt x="1080" y="43"/>
                    </a:cubicBezTo>
                    <a:cubicBezTo>
                      <a:pt x="1081" y="44"/>
                      <a:pt x="1081" y="44"/>
                      <a:pt x="1081" y="44"/>
                    </a:cubicBezTo>
                    <a:cubicBezTo>
                      <a:pt x="1083" y="44"/>
                      <a:pt x="1083" y="44"/>
                      <a:pt x="1083" y="44"/>
                    </a:cubicBezTo>
                    <a:cubicBezTo>
                      <a:pt x="1084" y="44"/>
                      <a:pt x="1084" y="44"/>
                      <a:pt x="1084" y="44"/>
                    </a:cubicBezTo>
                    <a:cubicBezTo>
                      <a:pt x="1086" y="43"/>
                      <a:pt x="1086" y="43"/>
                      <a:pt x="1086" y="43"/>
                    </a:cubicBezTo>
                    <a:cubicBezTo>
                      <a:pt x="1087" y="44"/>
                      <a:pt x="1087" y="44"/>
                      <a:pt x="1087" y="44"/>
                    </a:cubicBezTo>
                    <a:cubicBezTo>
                      <a:pt x="1087" y="43"/>
                      <a:pt x="1087" y="43"/>
                      <a:pt x="1087" y="43"/>
                    </a:cubicBezTo>
                    <a:cubicBezTo>
                      <a:pt x="1087" y="42"/>
                      <a:pt x="1087" y="42"/>
                      <a:pt x="1087" y="42"/>
                    </a:cubicBezTo>
                    <a:cubicBezTo>
                      <a:pt x="1088" y="42"/>
                      <a:pt x="1088" y="42"/>
                      <a:pt x="1088" y="42"/>
                    </a:cubicBezTo>
                    <a:cubicBezTo>
                      <a:pt x="1090" y="42"/>
                      <a:pt x="1090" y="42"/>
                      <a:pt x="1090" y="42"/>
                    </a:cubicBezTo>
                    <a:cubicBezTo>
                      <a:pt x="1091" y="43"/>
                      <a:pt x="1091" y="43"/>
                      <a:pt x="1091" y="43"/>
                    </a:cubicBezTo>
                    <a:cubicBezTo>
                      <a:pt x="1092" y="44"/>
                      <a:pt x="1092" y="44"/>
                      <a:pt x="1092" y="44"/>
                    </a:cubicBezTo>
                    <a:cubicBezTo>
                      <a:pt x="1093" y="43"/>
                      <a:pt x="1093" y="43"/>
                      <a:pt x="1093" y="43"/>
                    </a:cubicBezTo>
                    <a:cubicBezTo>
                      <a:pt x="1094" y="44"/>
                      <a:pt x="1094" y="44"/>
                      <a:pt x="1094" y="44"/>
                    </a:cubicBezTo>
                    <a:cubicBezTo>
                      <a:pt x="1094" y="45"/>
                      <a:pt x="1094" y="45"/>
                      <a:pt x="1094" y="45"/>
                    </a:cubicBezTo>
                    <a:cubicBezTo>
                      <a:pt x="1096" y="45"/>
                      <a:pt x="1096" y="45"/>
                      <a:pt x="1096" y="45"/>
                    </a:cubicBezTo>
                    <a:cubicBezTo>
                      <a:pt x="1097" y="46"/>
                      <a:pt x="1097" y="46"/>
                      <a:pt x="1097" y="46"/>
                    </a:cubicBezTo>
                    <a:cubicBezTo>
                      <a:pt x="1097" y="47"/>
                      <a:pt x="1097" y="47"/>
                      <a:pt x="1097" y="47"/>
                    </a:cubicBezTo>
                    <a:cubicBezTo>
                      <a:pt x="1098" y="48"/>
                      <a:pt x="1098" y="48"/>
                      <a:pt x="1098" y="48"/>
                    </a:cubicBezTo>
                    <a:cubicBezTo>
                      <a:pt x="1100" y="48"/>
                      <a:pt x="1100" y="48"/>
                      <a:pt x="1100" y="48"/>
                    </a:cubicBezTo>
                    <a:cubicBezTo>
                      <a:pt x="1101" y="49"/>
                      <a:pt x="1101" y="49"/>
                      <a:pt x="1101" y="49"/>
                    </a:cubicBezTo>
                    <a:cubicBezTo>
                      <a:pt x="1101" y="50"/>
                      <a:pt x="1101" y="50"/>
                      <a:pt x="1101" y="50"/>
                    </a:cubicBezTo>
                    <a:cubicBezTo>
                      <a:pt x="1101" y="51"/>
                      <a:pt x="1101" y="51"/>
                      <a:pt x="1101" y="51"/>
                    </a:cubicBezTo>
                    <a:cubicBezTo>
                      <a:pt x="1100" y="51"/>
                      <a:pt x="1100" y="51"/>
                      <a:pt x="1100" y="51"/>
                    </a:cubicBezTo>
                    <a:cubicBezTo>
                      <a:pt x="1100" y="52"/>
                      <a:pt x="1100" y="52"/>
                      <a:pt x="1100" y="52"/>
                    </a:cubicBezTo>
                    <a:cubicBezTo>
                      <a:pt x="1100" y="53"/>
                      <a:pt x="1100" y="53"/>
                      <a:pt x="1100" y="53"/>
                    </a:cubicBezTo>
                    <a:cubicBezTo>
                      <a:pt x="1098" y="54"/>
                      <a:pt x="1098" y="54"/>
                      <a:pt x="1098" y="54"/>
                    </a:cubicBezTo>
                    <a:cubicBezTo>
                      <a:pt x="1097" y="54"/>
                      <a:pt x="1097" y="54"/>
                      <a:pt x="1097" y="54"/>
                    </a:cubicBezTo>
                    <a:cubicBezTo>
                      <a:pt x="1097" y="55"/>
                      <a:pt x="1097" y="55"/>
                      <a:pt x="1097" y="55"/>
                    </a:cubicBezTo>
                    <a:cubicBezTo>
                      <a:pt x="1096" y="55"/>
                      <a:pt x="1096" y="55"/>
                      <a:pt x="1096" y="55"/>
                    </a:cubicBezTo>
                    <a:cubicBezTo>
                      <a:pt x="1095" y="56"/>
                      <a:pt x="1095" y="56"/>
                      <a:pt x="1095" y="56"/>
                    </a:cubicBezTo>
                    <a:cubicBezTo>
                      <a:pt x="1093" y="57"/>
                      <a:pt x="1093" y="57"/>
                      <a:pt x="1093" y="57"/>
                    </a:cubicBezTo>
                    <a:cubicBezTo>
                      <a:pt x="1091" y="57"/>
                      <a:pt x="1091" y="57"/>
                      <a:pt x="1091" y="57"/>
                    </a:cubicBezTo>
                    <a:cubicBezTo>
                      <a:pt x="1090" y="57"/>
                      <a:pt x="1090" y="57"/>
                      <a:pt x="1090" y="57"/>
                    </a:cubicBezTo>
                    <a:cubicBezTo>
                      <a:pt x="1089" y="57"/>
                      <a:pt x="1089" y="57"/>
                      <a:pt x="1089" y="57"/>
                    </a:cubicBezTo>
                    <a:cubicBezTo>
                      <a:pt x="1089" y="56"/>
                      <a:pt x="1089" y="56"/>
                      <a:pt x="1089" y="56"/>
                    </a:cubicBezTo>
                    <a:cubicBezTo>
                      <a:pt x="1088" y="56"/>
                      <a:pt x="1088" y="56"/>
                      <a:pt x="1088" y="56"/>
                    </a:cubicBezTo>
                    <a:cubicBezTo>
                      <a:pt x="1088" y="57"/>
                      <a:pt x="1088" y="57"/>
                      <a:pt x="1088" y="57"/>
                    </a:cubicBezTo>
                    <a:cubicBezTo>
                      <a:pt x="1089" y="57"/>
                      <a:pt x="1089" y="57"/>
                      <a:pt x="1089" y="57"/>
                    </a:cubicBezTo>
                    <a:cubicBezTo>
                      <a:pt x="1089" y="58"/>
                      <a:pt x="1089" y="58"/>
                      <a:pt x="1089" y="58"/>
                    </a:cubicBezTo>
                    <a:cubicBezTo>
                      <a:pt x="1088" y="58"/>
                      <a:pt x="1088" y="58"/>
                      <a:pt x="1088" y="58"/>
                    </a:cubicBezTo>
                    <a:cubicBezTo>
                      <a:pt x="1087" y="57"/>
                      <a:pt x="1087" y="57"/>
                      <a:pt x="1087" y="57"/>
                    </a:cubicBezTo>
                    <a:cubicBezTo>
                      <a:pt x="1086" y="58"/>
                      <a:pt x="1086" y="58"/>
                      <a:pt x="1086" y="58"/>
                    </a:cubicBezTo>
                    <a:cubicBezTo>
                      <a:pt x="1085" y="58"/>
                      <a:pt x="1085" y="58"/>
                      <a:pt x="1085" y="58"/>
                    </a:cubicBezTo>
                    <a:cubicBezTo>
                      <a:pt x="1084" y="57"/>
                      <a:pt x="1084" y="57"/>
                      <a:pt x="1084" y="57"/>
                    </a:cubicBezTo>
                    <a:cubicBezTo>
                      <a:pt x="1083" y="57"/>
                      <a:pt x="1083" y="57"/>
                      <a:pt x="1083" y="57"/>
                    </a:cubicBezTo>
                    <a:cubicBezTo>
                      <a:pt x="1082" y="58"/>
                      <a:pt x="1082" y="58"/>
                      <a:pt x="1082" y="58"/>
                    </a:cubicBezTo>
                    <a:cubicBezTo>
                      <a:pt x="1081" y="59"/>
                      <a:pt x="1081" y="59"/>
                      <a:pt x="1081" y="59"/>
                    </a:cubicBezTo>
                    <a:cubicBezTo>
                      <a:pt x="1080" y="59"/>
                      <a:pt x="1080" y="59"/>
                      <a:pt x="1080" y="59"/>
                    </a:cubicBezTo>
                    <a:cubicBezTo>
                      <a:pt x="1079" y="58"/>
                      <a:pt x="1079" y="58"/>
                      <a:pt x="1079" y="58"/>
                    </a:cubicBezTo>
                    <a:cubicBezTo>
                      <a:pt x="1078" y="58"/>
                      <a:pt x="1078" y="58"/>
                      <a:pt x="1078" y="58"/>
                    </a:cubicBezTo>
                    <a:cubicBezTo>
                      <a:pt x="1077" y="58"/>
                      <a:pt x="1077" y="58"/>
                      <a:pt x="1077" y="58"/>
                    </a:cubicBezTo>
                    <a:cubicBezTo>
                      <a:pt x="1076" y="58"/>
                      <a:pt x="1076" y="58"/>
                      <a:pt x="1076" y="58"/>
                    </a:cubicBezTo>
                    <a:cubicBezTo>
                      <a:pt x="1075" y="59"/>
                      <a:pt x="1075" y="59"/>
                      <a:pt x="1075" y="59"/>
                    </a:cubicBezTo>
                    <a:cubicBezTo>
                      <a:pt x="1074" y="58"/>
                      <a:pt x="1074" y="58"/>
                      <a:pt x="1074" y="58"/>
                    </a:cubicBezTo>
                    <a:cubicBezTo>
                      <a:pt x="1072" y="57"/>
                      <a:pt x="1072" y="57"/>
                      <a:pt x="1072" y="57"/>
                    </a:cubicBezTo>
                    <a:cubicBezTo>
                      <a:pt x="1070" y="57"/>
                      <a:pt x="1070" y="57"/>
                      <a:pt x="1070" y="57"/>
                    </a:cubicBezTo>
                    <a:cubicBezTo>
                      <a:pt x="1069" y="56"/>
                      <a:pt x="1069" y="56"/>
                      <a:pt x="1069" y="56"/>
                    </a:cubicBezTo>
                    <a:cubicBezTo>
                      <a:pt x="1068" y="56"/>
                      <a:pt x="1068" y="56"/>
                      <a:pt x="1068" y="56"/>
                    </a:cubicBezTo>
                    <a:cubicBezTo>
                      <a:pt x="1067" y="57"/>
                      <a:pt x="1067" y="57"/>
                      <a:pt x="1067" y="57"/>
                    </a:cubicBezTo>
                    <a:cubicBezTo>
                      <a:pt x="1066" y="56"/>
                      <a:pt x="1066" y="56"/>
                      <a:pt x="1066" y="56"/>
                    </a:cubicBezTo>
                    <a:cubicBezTo>
                      <a:pt x="1065" y="56"/>
                      <a:pt x="1065" y="56"/>
                      <a:pt x="1065" y="56"/>
                    </a:cubicBezTo>
                    <a:cubicBezTo>
                      <a:pt x="1064" y="56"/>
                      <a:pt x="1064" y="56"/>
                      <a:pt x="1064" y="56"/>
                    </a:cubicBezTo>
                    <a:cubicBezTo>
                      <a:pt x="1063" y="57"/>
                      <a:pt x="1063" y="57"/>
                      <a:pt x="1063" y="57"/>
                    </a:cubicBezTo>
                    <a:cubicBezTo>
                      <a:pt x="1062" y="57"/>
                      <a:pt x="1062" y="57"/>
                      <a:pt x="1062" y="57"/>
                    </a:cubicBezTo>
                    <a:cubicBezTo>
                      <a:pt x="1061" y="57"/>
                      <a:pt x="1061" y="57"/>
                      <a:pt x="1061" y="57"/>
                    </a:cubicBezTo>
                    <a:cubicBezTo>
                      <a:pt x="1060" y="58"/>
                      <a:pt x="1060" y="58"/>
                      <a:pt x="1060" y="58"/>
                    </a:cubicBezTo>
                    <a:cubicBezTo>
                      <a:pt x="1059" y="58"/>
                      <a:pt x="1059" y="58"/>
                      <a:pt x="1059" y="58"/>
                    </a:cubicBezTo>
                    <a:cubicBezTo>
                      <a:pt x="1059" y="57"/>
                      <a:pt x="1059" y="57"/>
                      <a:pt x="1059" y="57"/>
                    </a:cubicBezTo>
                    <a:cubicBezTo>
                      <a:pt x="1058" y="57"/>
                      <a:pt x="1058" y="57"/>
                      <a:pt x="1058" y="57"/>
                    </a:cubicBezTo>
                    <a:cubicBezTo>
                      <a:pt x="1059" y="58"/>
                      <a:pt x="1059" y="58"/>
                      <a:pt x="1059" y="58"/>
                    </a:cubicBezTo>
                    <a:cubicBezTo>
                      <a:pt x="1058" y="59"/>
                      <a:pt x="1058" y="59"/>
                      <a:pt x="1058" y="59"/>
                    </a:cubicBezTo>
                    <a:cubicBezTo>
                      <a:pt x="1057" y="59"/>
                      <a:pt x="1057" y="59"/>
                      <a:pt x="1057" y="59"/>
                    </a:cubicBezTo>
                    <a:cubicBezTo>
                      <a:pt x="1056" y="59"/>
                      <a:pt x="1056" y="59"/>
                      <a:pt x="1056" y="59"/>
                    </a:cubicBezTo>
                    <a:cubicBezTo>
                      <a:pt x="1055" y="60"/>
                      <a:pt x="1055" y="60"/>
                      <a:pt x="1055" y="60"/>
                    </a:cubicBezTo>
                    <a:cubicBezTo>
                      <a:pt x="1054" y="60"/>
                      <a:pt x="1054" y="60"/>
                      <a:pt x="1054" y="60"/>
                    </a:cubicBezTo>
                    <a:cubicBezTo>
                      <a:pt x="1052" y="61"/>
                      <a:pt x="1052" y="61"/>
                      <a:pt x="1052" y="61"/>
                    </a:cubicBezTo>
                    <a:cubicBezTo>
                      <a:pt x="1051" y="61"/>
                      <a:pt x="1051" y="61"/>
                      <a:pt x="1051" y="61"/>
                    </a:cubicBezTo>
                    <a:cubicBezTo>
                      <a:pt x="1051" y="62"/>
                      <a:pt x="1051" y="62"/>
                      <a:pt x="1051" y="62"/>
                    </a:cubicBezTo>
                    <a:cubicBezTo>
                      <a:pt x="1050" y="62"/>
                      <a:pt x="1050" y="62"/>
                      <a:pt x="1050" y="62"/>
                    </a:cubicBezTo>
                    <a:cubicBezTo>
                      <a:pt x="1049" y="62"/>
                      <a:pt x="1049" y="62"/>
                      <a:pt x="1049" y="62"/>
                    </a:cubicBezTo>
                    <a:cubicBezTo>
                      <a:pt x="1047" y="63"/>
                      <a:pt x="1047" y="63"/>
                      <a:pt x="1047" y="63"/>
                    </a:cubicBezTo>
                    <a:cubicBezTo>
                      <a:pt x="1046" y="63"/>
                      <a:pt x="1046" y="63"/>
                      <a:pt x="1046" y="63"/>
                    </a:cubicBezTo>
                    <a:cubicBezTo>
                      <a:pt x="1046" y="64"/>
                      <a:pt x="1046" y="64"/>
                      <a:pt x="1046" y="64"/>
                    </a:cubicBezTo>
                    <a:cubicBezTo>
                      <a:pt x="1047" y="65"/>
                      <a:pt x="1047" y="65"/>
                      <a:pt x="1047" y="65"/>
                    </a:cubicBezTo>
                    <a:cubicBezTo>
                      <a:pt x="1047" y="66"/>
                      <a:pt x="1047" y="66"/>
                      <a:pt x="1047" y="66"/>
                    </a:cubicBezTo>
                    <a:cubicBezTo>
                      <a:pt x="1047" y="67"/>
                      <a:pt x="1047" y="67"/>
                      <a:pt x="1047" y="67"/>
                    </a:cubicBezTo>
                    <a:cubicBezTo>
                      <a:pt x="1047" y="68"/>
                      <a:pt x="1047" y="68"/>
                      <a:pt x="1047" y="68"/>
                    </a:cubicBezTo>
                    <a:cubicBezTo>
                      <a:pt x="1048" y="67"/>
                      <a:pt x="1048" y="67"/>
                      <a:pt x="1048" y="67"/>
                    </a:cubicBezTo>
                    <a:cubicBezTo>
                      <a:pt x="1049" y="66"/>
                      <a:pt x="1049" y="66"/>
                      <a:pt x="1049" y="66"/>
                    </a:cubicBezTo>
                    <a:cubicBezTo>
                      <a:pt x="1049" y="65"/>
                      <a:pt x="1049" y="65"/>
                      <a:pt x="1049" y="65"/>
                    </a:cubicBezTo>
                    <a:cubicBezTo>
                      <a:pt x="1050" y="65"/>
                      <a:pt x="1050" y="65"/>
                      <a:pt x="1050" y="65"/>
                    </a:cubicBezTo>
                    <a:cubicBezTo>
                      <a:pt x="1051" y="64"/>
                      <a:pt x="1051" y="64"/>
                      <a:pt x="1051" y="64"/>
                    </a:cubicBezTo>
                    <a:cubicBezTo>
                      <a:pt x="1052" y="64"/>
                      <a:pt x="1052" y="64"/>
                      <a:pt x="1052" y="64"/>
                    </a:cubicBezTo>
                    <a:cubicBezTo>
                      <a:pt x="1053" y="64"/>
                      <a:pt x="1053" y="64"/>
                      <a:pt x="1053" y="64"/>
                    </a:cubicBezTo>
                    <a:cubicBezTo>
                      <a:pt x="1054" y="64"/>
                      <a:pt x="1054" y="64"/>
                      <a:pt x="1054" y="64"/>
                    </a:cubicBezTo>
                    <a:cubicBezTo>
                      <a:pt x="1055" y="63"/>
                      <a:pt x="1055" y="63"/>
                      <a:pt x="1055" y="63"/>
                    </a:cubicBezTo>
                    <a:cubicBezTo>
                      <a:pt x="1056" y="63"/>
                      <a:pt x="1056" y="63"/>
                      <a:pt x="1056" y="63"/>
                    </a:cubicBezTo>
                    <a:cubicBezTo>
                      <a:pt x="1059" y="62"/>
                      <a:pt x="1059" y="62"/>
                      <a:pt x="1059" y="62"/>
                    </a:cubicBezTo>
                    <a:cubicBezTo>
                      <a:pt x="1060" y="62"/>
                      <a:pt x="1060" y="62"/>
                      <a:pt x="1060" y="62"/>
                    </a:cubicBezTo>
                    <a:cubicBezTo>
                      <a:pt x="1059" y="63"/>
                      <a:pt x="1059" y="63"/>
                      <a:pt x="1059" y="63"/>
                    </a:cubicBezTo>
                    <a:cubicBezTo>
                      <a:pt x="1060" y="63"/>
                      <a:pt x="1060" y="63"/>
                      <a:pt x="1060" y="63"/>
                    </a:cubicBezTo>
                    <a:cubicBezTo>
                      <a:pt x="1061" y="62"/>
                      <a:pt x="1061" y="62"/>
                      <a:pt x="1061" y="62"/>
                    </a:cubicBezTo>
                    <a:cubicBezTo>
                      <a:pt x="1061" y="61"/>
                      <a:pt x="1061" y="61"/>
                      <a:pt x="1061" y="61"/>
                    </a:cubicBezTo>
                    <a:cubicBezTo>
                      <a:pt x="1061" y="60"/>
                      <a:pt x="1061" y="60"/>
                      <a:pt x="1061" y="60"/>
                    </a:cubicBezTo>
                    <a:cubicBezTo>
                      <a:pt x="1062" y="60"/>
                      <a:pt x="1062" y="60"/>
                      <a:pt x="1062" y="60"/>
                    </a:cubicBezTo>
                    <a:cubicBezTo>
                      <a:pt x="1063" y="60"/>
                      <a:pt x="1063" y="60"/>
                      <a:pt x="1063" y="60"/>
                    </a:cubicBezTo>
                    <a:cubicBezTo>
                      <a:pt x="1064" y="60"/>
                      <a:pt x="1064" y="60"/>
                      <a:pt x="1064" y="60"/>
                    </a:cubicBezTo>
                    <a:cubicBezTo>
                      <a:pt x="1065" y="60"/>
                      <a:pt x="1065" y="60"/>
                      <a:pt x="1065" y="60"/>
                    </a:cubicBezTo>
                    <a:cubicBezTo>
                      <a:pt x="1067" y="60"/>
                      <a:pt x="1067" y="60"/>
                      <a:pt x="1067" y="60"/>
                    </a:cubicBezTo>
                    <a:cubicBezTo>
                      <a:pt x="1068" y="61"/>
                      <a:pt x="1068" y="61"/>
                      <a:pt x="1068" y="61"/>
                    </a:cubicBezTo>
                    <a:cubicBezTo>
                      <a:pt x="1069" y="61"/>
                      <a:pt x="1069" y="61"/>
                      <a:pt x="1069" y="61"/>
                    </a:cubicBezTo>
                    <a:cubicBezTo>
                      <a:pt x="1072" y="61"/>
                      <a:pt x="1072" y="61"/>
                      <a:pt x="1072" y="61"/>
                    </a:cubicBezTo>
                    <a:cubicBezTo>
                      <a:pt x="1073" y="61"/>
                      <a:pt x="1073" y="61"/>
                      <a:pt x="1073" y="61"/>
                    </a:cubicBezTo>
                    <a:cubicBezTo>
                      <a:pt x="1074" y="61"/>
                      <a:pt x="1074" y="61"/>
                      <a:pt x="1074" y="61"/>
                    </a:cubicBezTo>
                    <a:cubicBezTo>
                      <a:pt x="1076" y="62"/>
                      <a:pt x="1076" y="62"/>
                      <a:pt x="1076" y="62"/>
                    </a:cubicBezTo>
                    <a:cubicBezTo>
                      <a:pt x="1079" y="62"/>
                      <a:pt x="1079" y="62"/>
                      <a:pt x="1079" y="62"/>
                    </a:cubicBezTo>
                    <a:cubicBezTo>
                      <a:pt x="1080" y="62"/>
                      <a:pt x="1080" y="62"/>
                      <a:pt x="1080" y="62"/>
                    </a:cubicBezTo>
                    <a:cubicBezTo>
                      <a:pt x="1080" y="63"/>
                      <a:pt x="1080" y="63"/>
                      <a:pt x="1080" y="63"/>
                    </a:cubicBezTo>
                    <a:cubicBezTo>
                      <a:pt x="1080" y="64"/>
                      <a:pt x="1080" y="64"/>
                      <a:pt x="1080" y="64"/>
                    </a:cubicBezTo>
                    <a:cubicBezTo>
                      <a:pt x="1079" y="64"/>
                      <a:pt x="1079" y="64"/>
                      <a:pt x="1079" y="64"/>
                    </a:cubicBezTo>
                    <a:cubicBezTo>
                      <a:pt x="1079" y="65"/>
                      <a:pt x="1079" y="65"/>
                      <a:pt x="1079" y="65"/>
                    </a:cubicBezTo>
                    <a:cubicBezTo>
                      <a:pt x="1078" y="66"/>
                      <a:pt x="1078" y="66"/>
                      <a:pt x="1078" y="66"/>
                    </a:cubicBezTo>
                    <a:cubicBezTo>
                      <a:pt x="1078" y="67"/>
                      <a:pt x="1078" y="67"/>
                      <a:pt x="1078" y="67"/>
                    </a:cubicBezTo>
                    <a:cubicBezTo>
                      <a:pt x="1075" y="67"/>
                      <a:pt x="1075" y="67"/>
                      <a:pt x="1075" y="67"/>
                    </a:cubicBezTo>
                    <a:cubicBezTo>
                      <a:pt x="1073" y="68"/>
                      <a:pt x="1073" y="68"/>
                      <a:pt x="1073" y="68"/>
                    </a:cubicBezTo>
                    <a:cubicBezTo>
                      <a:pt x="1072" y="68"/>
                      <a:pt x="1072" y="68"/>
                      <a:pt x="1072" y="68"/>
                    </a:cubicBezTo>
                    <a:cubicBezTo>
                      <a:pt x="1072" y="69"/>
                      <a:pt x="1072" y="69"/>
                      <a:pt x="1072" y="69"/>
                    </a:cubicBezTo>
                    <a:cubicBezTo>
                      <a:pt x="1071" y="70"/>
                      <a:pt x="1071" y="70"/>
                      <a:pt x="1071" y="70"/>
                    </a:cubicBezTo>
                    <a:cubicBezTo>
                      <a:pt x="1072" y="71"/>
                      <a:pt x="1072" y="71"/>
                      <a:pt x="1072" y="71"/>
                    </a:cubicBezTo>
                    <a:cubicBezTo>
                      <a:pt x="1073" y="71"/>
                      <a:pt x="1073" y="71"/>
                      <a:pt x="1073" y="71"/>
                    </a:cubicBezTo>
                    <a:cubicBezTo>
                      <a:pt x="1075" y="70"/>
                      <a:pt x="1075" y="70"/>
                      <a:pt x="1075" y="70"/>
                    </a:cubicBezTo>
                    <a:cubicBezTo>
                      <a:pt x="1076" y="70"/>
                      <a:pt x="1076" y="70"/>
                      <a:pt x="1076" y="70"/>
                    </a:cubicBezTo>
                    <a:cubicBezTo>
                      <a:pt x="1076" y="70"/>
                      <a:pt x="1076" y="70"/>
                      <a:pt x="1078" y="70"/>
                    </a:cubicBezTo>
                    <a:cubicBezTo>
                      <a:pt x="1079" y="70"/>
                      <a:pt x="1081" y="70"/>
                      <a:pt x="1081" y="70"/>
                    </a:cubicBezTo>
                    <a:cubicBezTo>
                      <a:pt x="1082" y="71"/>
                      <a:pt x="1082" y="71"/>
                      <a:pt x="1082" y="71"/>
                    </a:cubicBezTo>
                    <a:cubicBezTo>
                      <a:pt x="1083" y="71"/>
                      <a:pt x="1083" y="71"/>
                      <a:pt x="1083" y="71"/>
                    </a:cubicBezTo>
                    <a:cubicBezTo>
                      <a:pt x="1083" y="70"/>
                      <a:pt x="1083" y="70"/>
                      <a:pt x="1083" y="70"/>
                    </a:cubicBezTo>
                    <a:cubicBezTo>
                      <a:pt x="1084" y="70"/>
                      <a:pt x="1084" y="70"/>
                      <a:pt x="1084" y="70"/>
                    </a:cubicBezTo>
                    <a:cubicBezTo>
                      <a:pt x="1085" y="71"/>
                      <a:pt x="1085" y="71"/>
                      <a:pt x="1085" y="71"/>
                    </a:cubicBezTo>
                    <a:cubicBezTo>
                      <a:pt x="1086" y="69"/>
                      <a:pt x="1086" y="69"/>
                      <a:pt x="1086" y="69"/>
                    </a:cubicBezTo>
                    <a:cubicBezTo>
                      <a:pt x="1086" y="67"/>
                      <a:pt x="1086" y="67"/>
                      <a:pt x="1086" y="67"/>
                    </a:cubicBezTo>
                    <a:cubicBezTo>
                      <a:pt x="1086" y="66"/>
                      <a:pt x="1086" y="66"/>
                      <a:pt x="1086" y="66"/>
                    </a:cubicBezTo>
                    <a:cubicBezTo>
                      <a:pt x="1087" y="65"/>
                      <a:pt x="1087" y="65"/>
                      <a:pt x="1087" y="65"/>
                    </a:cubicBezTo>
                    <a:cubicBezTo>
                      <a:pt x="1087" y="64"/>
                      <a:pt x="1087" y="64"/>
                      <a:pt x="1087" y="64"/>
                    </a:cubicBezTo>
                    <a:cubicBezTo>
                      <a:pt x="1088" y="63"/>
                      <a:pt x="1088" y="63"/>
                      <a:pt x="1088" y="63"/>
                    </a:cubicBezTo>
                    <a:cubicBezTo>
                      <a:pt x="1089" y="63"/>
                      <a:pt x="1089" y="63"/>
                      <a:pt x="1089" y="63"/>
                    </a:cubicBezTo>
                    <a:cubicBezTo>
                      <a:pt x="1090" y="64"/>
                      <a:pt x="1090" y="64"/>
                      <a:pt x="1090" y="64"/>
                    </a:cubicBezTo>
                    <a:cubicBezTo>
                      <a:pt x="1092" y="63"/>
                      <a:pt x="1092" y="63"/>
                      <a:pt x="1092" y="63"/>
                    </a:cubicBezTo>
                    <a:cubicBezTo>
                      <a:pt x="1093" y="63"/>
                      <a:pt x="1093" y="63"/>
                      <a:pt x="1093" y="63"/>
                    </a:cubicBezTo>
                    <a:cubicBezTo>
                      <a:pt x="1094" y="63"/>
                      <a:pt x="1094" y="63"/>
                      <a:pt x="1094" y="63"/>
                    </a:cubicBezTo>
                    <a:cubicBezTo>
                      <a:pt x="1094" y="65"/>
                      <a:pt x="1094" y="65"/>
                      <a:pt x="1094" y="65"/>
                    </a:cubicBezTo>
                    <a:cubicBezTo>
                      <a:pt x="1094" y="67"/>
                      <a:pt x="1094" y="67"/>
                      <a:pt x="1094" y="67"/>
                    </a:cubicBezTo>
                    <a:cubicBezTo>
                      <a:pt x="1094" y="68"/>
                      <a:pt x="1094" y="68"/>
                      <a:pt x="1094" y="68"/>
                    </a:cubicBezTo>
                    <a:cubicBezTo>
                      <a:pt x="1093" y="70"/>
                      <a:pt x="1093" y="70"/>
                      <a:pt x="1093" y="70"/>
                    </a:cubicBezTo>
                    <a:cubicBezTo>
                      <a:pt x="1092" y="71"/>
                      <a:pt x="1092" y="71"/>
                      <a:pt x="1092" y="71"/>
                    </a:cubicBezTo>
                    <a:cubicBezTo>
                      <a:pt x="1092" y="73"/>
                      <a:pt x="1092" y="73"/>
                      <a:pt x="1092" y="73"/>
                    </a:cubicBezTo>
                    <a:cubicBezTo>
                      <a:pt x="1092" y="74"/>
                      <a:pt x="1092" y="74"/>
                      <a:pt x="1092" y="74"/>
                    </a:cubicBezTo>
                    <a:cubicBezTo>
                      <a:pt x="1088" y="77"/>
                      <a:pt x="1088" y="77"/>
                      <a:pt x="1088" y="77"/>
                    </a:cubicBezTo>
                    <a:cubicBezTo>
                      <a:pt x="1087" y="77"/>
                      <a:pt x="1087" y="77"/>
                      <a:pt x="1087" y="77"/>
                    </a:cubicBezTo>
                    <a:cubicBezTo>
                      <a:pt x="1086" y="77"/>
                      <a:pt x="1086" y="77"/>
                      <a:pt x="1086" y="77"/>
                    </a:cubicBezTo>
                    <a:cubicBezTo>
                      <a:pt x="1085" y="78"/>
                      <a:pt x="1085" y="78"/>
                      <a:pt x="1085" y="78"/>
                    </a:cubicBezTo>
                    <a:cubicBezTo>
                      <a:pt x="1084" y="78"/>
                      <a:pt x="1084" y="78"/>
                      <a:pt x="1084" y="78"/>
                    </a:cubicBezTo>
                    <a:cubicBezTo>
                      <a:pt x="1083" y="79"/>
                      <a:pt x="1083" y="79"/>
                      <a:pt x="1083" y="79"/>
                    </a:cubicBezTo>
                    <a:cubicBezTo>
                      <a:pt x="1083" y="80"/>
                      <a:pt x="1083" y="80"/>
                      <a:pt x="1083" y="80"/>
                    </a:cubicBezTo>
                    <a:cubicBezTo>
                      <a:pt x="1082" y="81"/>
                      <a:pt x="1082" y="81"/>
                      <a:pt x="1082" y="81"/>
                    </a:cubicBezTo>
                    <a:cubicBezTo>
                      <a:pt x="1081" y="82"/>
                      <a:pt x="1081" y="82"/>
                      <a:pt x="1081" y="82"/>
                    </a:cubicBezTo>
                    <a:cubicBezTo>
                      <a:pt x="1080" y="81"/>
                      <a:pt x="1080" y="81"/>
                      <a:pt x="1080" y="81"/>
                    </a:cubicBezTo>
                    <a:cubicBezTo>
                      <a:pt x="1080" y="82"/>
                      <a:pt x="1080" y="82"/>
                      <a:pt x="1080" y="82"/>
                    </a:cubicBezTo>
                    <a:cubicBezTo>
                      <a:pt x="1080" y="83"/>
                      <a:pt x="1080" y="83"/>
                      <a:pt x="1080" y="83"/>
                    </a:cubicBezTo>
                    <a:cubicBezTo>
                      <a:pt x="1079" y="85"/>
                      <a:pt x="1079" y="85"/>
                      <a:pt x="1079" y="85"/>
                    </a:cubicBezTo>
                    <a:cubicBezTo>
                      <a:pt x="1078" y="86"/>
                      <a:pt x="1078" y="86"/>
                      <a:pt x="1078" y="86"/>
                    </a:cubicBezTo>
                    <a:cubicBezTo>
                      <a:pt x="1077" y="86"/>
                      <a:pt x="1077" y="86"/>
                      <a:pt x="1077" y="86"/>
                    </a:cubicBezTo>
                    <a:cubicBezTo>
                      <a:pt x="1076" y="88"/>
                      <a:pt x="1076" y="88"/>
                      <a:pt x="1076" y="88"/>
                    </a:cubicBezTo>
                    <a:cubicBezTo>
                      <a:pt x="1074" y="89"/>
                      <a:pt x="1074" y="89"/>
                      <a:pt x="1074" y="89"/>
                    </a:cubicBezTo>
                    <a:cubicBezTo>
                      <a:pt x="1073" y="89"/>
                      <a:pt x="1073" y="89"/>
                      <a:pt x="1073" y="89"/>
                    </a:cubicBezTo>
                    <a:cubicBezTo>
                      <a:pt x="1072" y="90"/>
                      <a:pt x="1072" y="90"/>
                      <a:pt x="1072" y="90"/>
                    </a:cubicBezTo>
                    <a:cubicBezTo>
                      <a:pt x="1072" y="91"/>
                      <a:pt x="1072" y="91"/>
                      <a:pt x="1072" y="91"/>
                    </a:cubicBezTo>
                    <a:cubicBezTo>
                      <a:pt x="1071" y="91"/>
                      <a:pt x="1071" y="91"/>
                      <a:pt x="1071" y="91"/>
                    </a:cubicBezTo>
                    <a:cubicBezTo>
                      <a:pt x="1071" y="92"/>
                      <a:pt x="1071" y="92"/>
                      <a:pt x="1071" y="92"/>
                    </a:cubicBezTo>
                    <a:cubicBezTo>
                      <a:pt x="1071" y="93"/>
                      <a:pt x="1071" y="93"/>
                      <a:pt x="1071" y="93"/>
                    </a:cubicBezTo>
                    <a:cubicBezTo>
                      <a:pt x="1070" y="94"/>
                      <a:pt x="1070" y="94"/>
                      <a:pt x="1070" y="94"/>
                    </a:cubicBezTo>
                    <a:cubicBezTo>
                      <a:pt x="1070" y="95"/>
                      <a:pt x="1070" y="95"/>
                      <a:pt x="1070" y="95"/>
                    </a:cubicBezTo>
                    <a:cubicBezTo>
                      <a:pt x="1071" y="94"/>
                      <a:pt x="1071" y="94"/>
                      <a:pt x="1071" y="94"/>
                    </a:cubicBezTo>
                    <a:cubicBezTo>
                      <a:pt x="1072" y="92"/>
                      <a:pt x="1072" y="92"/>
                      <a:pt x="1072" y="92"/>
                    </a:cubicBezTo>
                    <a:cubicBezTo>
                      <a:pt x="1073" y="91"/>
                      <a:pt x="1073" y="91"/>
                      <a:pt x="1073" y="91"/>
                    </a:cubicBezTo>
                    <a:cubicBezTo>
                      <a:pt x="1074" y="90"/>
                      <a:pt x="1074" y="90"/>
                      <a:pt x="1074" y="90"/>
                    </a:cubicBezTo>
                    <a:cubicBezTo>
                      <a:pt x="1075" y="90"/>
                      <a:pt x="1075" y="90"/>
                      <a:pt x="1075" y="90"/>
                    </a:cubicBezTo>
                    <a:cubicBezTo>
                      <a:pt x="1075" y="91"/>
                      <a:pt x="1075" y="91"/>
                      <a:pt x="1075" y="91"/>
                    </a:cubicBezTo>
                    <a:cubicBezTo>
                      <a:pt x="1076" y="89"/>
                      <a:pt x="1076" y="89"/>
                      <a:pt x="1076" y="89"/>
                    </a:cubicBezTo>
                    <a:cubicBezTo>
                      <a:pt x="1078" y="88"/>
                      <a:pt x="1078" y="88"/>
                      <a:pt x="1078" y="88"/>
                    </a:cubicBezTo>
                    <a:cubicBezTo>
                      <a:pt x="1079" y="88"/>
                      <a:pt x="1079" y="88"/>
                      <a:pt x="1079" y="88"/>
                    </a:cubicBezTo>
                    <a:cubicBezTo>
                      <a:pt x="1079" y="86"/>
                      <a:pt x="1079" y="86"/>
                      <a:pt x="1079" y="86"/>
                    </a:cubicBezTo>
                    <a:cubicBezTo>
                      <a:pt x="1081" y="85"/>
                      <a:pt x="1081" y="85"/>
                      <a:pt x="1081" y="85"/>
                    </a:cubicBezTo>
                    <a:cubicBezTo>
                      <a:pt x="1083" y="83"/>
                      <a:pt x="1083" y="83"/>
                      <a:pt x="1083" y="83"/>
                    </a:cubicBezTo>
                    <a:cubicBezTo>
                      <a:pt x="1084" y="83"/>
                      <a:pt x="1084" y="83"/>
                      <a:pt x="1084" y="83"/>
                    </a:cubicBezTo>
                    <a:cubicBezTo>
                      <a:pt x="1085" y="83"/>
                      <a:pt x="1085" y="83"/>
                      <a:pt x="1085" y="83"/>
                    </a:cubicBezTo>
                    <a:cubicBezTo>
                      <a:pt x="1086" y="82"/>
                      <a:pt x="1086" y="82"/>
                      <a:pt x="1086" y="82"/>
                    </a:cubicBezTo>
                    <a:cubicBezTo>
                      <a:pt x="1087" y="82"/>
                      <a:pt x="1087" y="82"/>
                      <a:pt x="1087" y="82"/>
                    </a:cubicBezTo>
                    <a:cubicBezTo>
                      <a:pt x="1089" y="82"/>
                      <a:pt x="1089" y="82"/>
                      <a:pt x="1089" y="82"/>
                    </a:cubicBezTo>
                    <a:cubicBezTo>
                      <a:pt x="1091" y="81"/>
                      <a:pt x="1091" y="81"/>
                      <a:pt x="1091" y="81"/>
                    </a:cubicBezTo>
                    <a:cubicBezTo>
                      <a:pt x="1092" y="80"/>
                      <a:pt x="1092" y="80"/>
                      <a:pt x="1092" y="80"/>
                    </a:cubicBezTo>
                    <a:cubicBezTo>
                      <a:pt x="1093" y="80"/>
                      <a:pt x="1093" y="80"/>
                      <a:pt x="1093" y="80"/>
                    </a:cubicBezTo>
                    <a:cubicBezTo>
                      <a:pt x="1094" y="79"/>
                      <a:pt x="1094" y="79"/>
                      <a:pt x="1094" y="79"/>
                    </a:cubicBezTo>
                    <a:cubicBezTo>
                      <a:pt x="1095" y="78"/>
                      <a:pt x="1095" y="78"/>
                      <a:pt x="1095" y="78"/>
                    </a:cubicBezTo>
                    <a:cubicBezTo>
                      <a:pt x="1096" y="78"/>
                      <a:pt x="1096" y="78"/>
                      <a:pt x="1096" y="78"/>
                    </a:cubicBezTo>
                    <a:cubicBezTo>
                      <a:pt x="1096" y="77"/>
                      <a:pt x="1096" y="77"/>
                      <a:pt x="1096" y="77"/>
                    </a:cubicBezTo>
                    <a:cubicBezTo>
                      <a:pt x="1098" y="76"/>
                      <a:pt x="1098" y="76"/>
                      <a:pt x="1098" y="76"/>
                    </a:cubicBezTo>
                    <a:cubicBezTo>
                      <a:pt x="1099" y="74"/>
                      <a:pt x="1099" y="74"/>
                      <a:pt x="1099" y="74"/>
                    </a:cubicBezTo>
                    <a:cubicBezTo>
                      <a:pt x="1099" y="73"/>
                      <a:pt x="1099" y="73"/>
                      <a:pt x="1099" y="73"/>
                    </a:cubicBezTo>
                    <a:cubicBezTo>
                      <a:pt x="1100" y="72"/>
                      <a:pt x="1100" y="72"/>
                      <a:pt x="1100" y="72"/>
                    </a:cubicBezTo>
                    <a:cubicBezTo>
                      <a:pt x="1101" y="73"/>
                      <a:pt x="1101" y="73"/>
                      <a:pt x="1101" y="73"/>
                    </a:cubicBezTo>
                    <a:cubicBezTo>
                      <a:pt x="1101" y="74"/>
                      <a:pt x="1101" y="74"/>
                      <a:pt x="1101" y="74"/>
                    </a:cubicBezTo>
                    <a:cubicBezTo>
                      <a:pt x="1100" y="75"/>
                      <a:pt x="1100" y="75"/>
                      <a:pt x="1100" y="75"/>
                    </a:cubicBezTo>
                    <a:cubicBezTo>
                      <a:pt x="1101" y="76"/>
                      <a:pt x="1101" y="76"/>
                      <a:pt x="1101" y="76"/>
                    </a:cubicBezTo>
                    <a:cubicBezTo>
                      <a:pt x="1101" y="77"/>
                      <a:pt x="1101" y="77"/>
                      <a:pt x="1101" y="77"/>
                    </a:cubicBezTo>
                    <a:cubicBezTo>
                      <a:pt x="1101" y="78"/>
                      <a:pt x="1101" y="78"/>
                      <a:pt x="1101" y="78"/>
                    </a:cubicBezTo>
                    <a:cubicBezTo>
                      <a:pt x="1102" y="77"/>
                      <a:pt x="1102" y="77"/>
                      <a:pt x="1102" y="77"/>
                    </a:cubicBezTo>
                    <a:cubicBezTo>
                      <a:pt x="1102" y="76"/>
                      <a:pt x="1102" y="76"/>
                      <a:pt x="1102" y="76"/>
                    </a:cubicBezTo>
                    <a:cubicBezTo>
                      <a:pt x="1102" y="74"/>
                      <a:pt x="1102" y="74"/>
                      <a:pt x="1102" y="74"/>
                    </a:cubicBezTo>
                    <a:cubicBezTo>
                      <a:pt x="1103" y="74"/>
                      <a:pt x="1103" y="74"/>
                      <a:pt x="1103" y="74"/>
                    </a:cubicBezTo>
                    <a:cubicBezTo>
                      <a:pt x="1103" y="75"/>
                      <a:pt x="1103" y="75"/>
                      <a:pt x="1103" y="75"/>
                    </a:cubicBezTo>
                    <a:cubicBezTo>
                      <a:pt x="1104" y="76"/>
                      <a:pt x="1104" y="76"/>
                      <a:pt x="1104" y="76"/>
                    </a:cubicBezTo>
                    <a:cubicBezTo>
                      <a:pt x="1105" y="76"/>
                      <a:pt x="1105" y="76"/>
                      <a:pt x="1105" y="76"/>
                    </a:cubicBezTo>
                    <a:cubicBezTo>
                      <a:pt x="1106" y="75"/>
                      <a:pt x="1106" y="75"/>
                      <a:pt x="1106" y="75"/>
                    </a:cubicBezTo>
                    <a:cubicBezTo>
                      <a:pt x="1106" y="74"/>
                      <a:pt x="1106" y="74"/>
                      <a:pt x="1106" y="74"/>
                    </a:cubicBezTo>
                    <a:cubicBezTo>
                      <a:pt x="1106" y="73"/>
                      <a:pt x="1106" y="73"/>
                      <a:pt x="1106" y="73"/>
                    </a:cubicBezTo>
                    <a:cubicBezTo>
                      <a:pt x="1107" y="73"/>
                      <a:pt x="1107" y="73"/>
                      <a:pt x="1107" y="73"/>
                    </a:cubicBezTo>
                    <a:cubicBezTo>
                      <a:pt x="1107" y="71"/>
                      <a:pt x="1107" y="71"/>
                      <a:pt x="1107" y="71"/>
                    </a:cubicBezTo>
                    <a:cubicBezTo>
                      <a:pt x="1107" y="70"/>
                      <a:pt x="1107" y="70"/>
                      <a:pt x="1107" y="70"/>
                    </a:cubicBezTo>
                    <a:cubicBezTo>
                      <a:pt x="1108" y="69"/>
                      <a:pt x="1108" y="69"/>
                      <a:pt x="1108" y="69"/>
                    </a:cubicBezTo>
                    <a:cubicBezTo>
                      <a:pt x="1108" y="70"/>
                      <a:pt x="1108" y="70"/>
                      <a:pt x="1108" y="70"/>
                    </a:cubicBezTo>
                    <a:cubicBezTo>
                      <a:pt x="1109" y="71"/>
                      <a:pt x="1109" y="71"/>
                      <a:pt x="1109" y="71"/>
                    </a:cubicBezTo>
                    <a:cubicBezTo>
                      <a:pt x="1111" y="70"/>
                      <a:pt x="1111" y="70"/>
                      <a:pt x="1111" y="70"/>
                    </a:cubicBezTo>
                    <a:cubicBezTo>
                      <a:pt x="1111" y="69"/>
                      <a:pt x="1111" y="69"/>
                      <a:pt x="1111" y="69"/>
                    </a:cubicBezTo>
                    <a:cubicBezTo>
                      <a:pt x="1113" y="69"/>
                      <a:pt x="1113" y="69"/>
                      <a:pt x="1113" y="69"/>
                    </a:cubicBezTo>
                    <a:cubicBezTo>
                      <a:pt x="1114" y="69"/>
                      <a:pt x="1114" y="69"/>
                      <a:pt x="1114" y="69"/>
                    </a:cubicBezTo>
                    <a:cubicBezTo>
                      <a:pt x="1115" y="68"/>
                      <a:pt x="1115" y="68"/>
                      <a:pt x="1115" y="68"/>
                    </a:cubicBezTo>
                    <a:cubicBezTo>
                      <a:pt x="1117" y="69"/>
                      <a:pt x="1117" y="69"/>
                      <a:pt x="1117" y="69"/>
                    </a:cubicBezTo>
                    <a:cubicBezTo>
                      <a:pt x="1118" y="70"/>
                      <a:pt x="1118" y="70"/>
                      <a:pt x="1118" y="70"/>
                    </a:cubicBezTo>
                    <a:cubicBezTo>
                      <a:pt x="1120" y="70"/>
                      <a:pt x="1120" y="70"/>
                      <a:pt x="1120" y="70"/>
                    </a:cubicBezTo>
                    <a:cubicBezTo>
                      <a:pt x="1121" y="70"/>
                      <a:pt x="1121" y="70"/>
                      <a:pt x="1121" y="70"/>
                    </a:cubicBezTo>
                    <a:cubicBezTo>
                      <a:pt x="1122" y="71"/>
                      <a:pt x="1122" y="71"/>
                      <a:pt x="1122" y="71"/>
                    </a:cubicBezTo>
                    <a:cubicBezTo>
                      <a:pt x="1123" y="72"/>
                      <a:pt x="1123" y="72"/>
                      <a:pt x="1123" y="72"/>
                    </a:cubicBezTo>
                    <a:cubicBezTo>
                      <a:pt x="1124" y="72"/>
                      <a:pt x="1124" y="72"/>
                      <a:pt x="1124" y="72"/>
                    </a:cubicBezTo>
                    <a:cubicBezTo>
                      <a:pt x="1125" y="72"/>
                      <a:pt x="1125" y="72"/>
                      <a:pt x="1125" y="72"/>
                    </a:cubicBezTo>
                    <a:cubicBezTo>
                      <a:pt x="1125" y="73"/>
                      <a:pt x="1125" y="73"/>
                      <a:pt x="1125" y="73"/>
                    </a:cubicBezTo>
                    <a:cubicBezTo>
                      <a:pt x="1126" y="74"/>
                      <a:pt x="1126" y="74"/>
                      <a:pt x="1126" y="74"/>
                    </a:cubicBezTo>
                    <a:cubicBezTo>
                      <a:pt x="1127" y="75"/>
                      <a:pt x="1127" y="75"/>
                      <a:pt x="1127" y="75"/>
                    </a:cubicBezTo>
                    <a:cubicBezTo>
                      <a:pt x="1128" y="76"/>
                      <a:pt x="1128" y="76"/>
                      <a:pt x="1128" y="76"/>
                    </a:cubicBezTo>
                    <a:cubicBezTo>
                      <a:pt x="1129" y="77"/>
                      <a:pt x="1129" y="77"/>
                      <a:pt x="1129" y="77"/>
                    </a:cubicBezTo>
                    <a:cubicBezTo>
                      <a:pt x="1129" y="79"/>
                      <a:pt x="1129" y="79"/>
                      <a:pt x="1129" y="79"/>
                    </a:cubicBezTo>
                    <a:cubicBezTo>
                      <a:pt x="1129" y="80"/>
                      <a:pt x="1129" y="80"/>
                      <a:pt x="1129" y="80"/>
                    </a:cubicBezTo>
                    <a:cubicBezTo>
                      <a:pt x="1129" y="81"/>
                      <a:pt x="1129" y="81"/>
                      <a:pt x="1129" y="81"/>
                    </a:cubicBezTo>
                    <a:cubicBezTo>
                      <a:pt x="1127" y="81"/>
                      <a:pt x="1127" y="81"/>
                      <a:pt x="1127" y="81"/>
                    </a:cubicBezTo>
                    <a:cubicBezTo>
                      <a:pt x="1126" y="82"/>
                      <a:pt x="1126" y="82"/>
                      <a:pt x="1126" y="82"/>
                    </a:cubicBezTo>
                    <a:cubicBezTo>
                      <a:pt x="1126" y="83"/>
                      <a:pt x="1126" y="83"/>
                      <a:pt x="1126" y="83"/>
                    </a:cubicBezTo>
                    <a:cubicBezTo>
                      <a:pt x="1125" y="83"/>
                      <a:pt x="1125" y="83"/>
                      <a:pt x="1125" y="83"/>
                    </a:cubicBezTo>
                    <a:cubicBezTo>
                      <a:pt x="1124" y="84"/>
                      <a:pt x="1124" y="84"/>
                      <a:pt x="1124" y="84"/>
                    </a:cubicBezTo>
                    <a:cubicBezTo>
                      <a:pt x="1123" y="86"/>
                      <a:pt x="1123" y="86"/>
                      <a:pt x="1123" y="86"/>
                    </a:cubicBezTo>
                    <a:cubicBezTo>
                      <a:pt x="1122" y="87"/>
                      <a:pt x="1122" y="87"/>
                      <a:pt x="1122" y="87"/>
                    </a:cubicBezTo>
                    <a:cubicBezTo>
                      <a:pt x="1121" y="86"/>
                      <a:pt x="1121" y="86"/>
                      <a:pt x="1121" y="86"/>
                    </a:cubicBezTo>
                    <a:cubicBezTo>
                      <a:pt x="1119" y="85"/>
                      <a:pt x="1119" y="85"/>
                      <a:pt x="1119" y="85"/>
                    </a:cubicBezTo>
                    <a:cubicBezTo>
                      <a:pt x="1118" y="86"/>
                      <a:pt x="1118" y="86"/>
                      <a:pt x="1118" y="86"/>
                    </a:cubicBezTo>
                    <a:cubicBezTo>
                      <a:pt x="1117" y="87"/>
                      <a:pt x="1117" y="87"/>
                      <a:pt x="1117" y="87"/>
                    </a:cubicBezTo>
                    <a:cubicBezTo>
                      <a:pt x="1117" y="88"/>
                      <a:pt x="1117" y="88"/>
                      <a:pt x="1117" y="88"/>
                    </a:cubicBezTo>
                    <a:cubicBezTo>
                      <a:pt x="1117" y="89"/>
                      <a:pt x="1117" y="89"/>
                      <a:pt x="1117" y="89"/>
                    </a:cubicBezTo>
                    <a:cubicBezTo>
                      <a:pt x="1118" y="90"/>
                      <a:pt x="1118" y="90"/>
                      <a:pt x="1118" y="90"/>
                    </a:cubicBezTo>
                    <a:cubicBezTo>
                      <a:pt x="1119" y="90"/>
                      <a:pt x="1119" y="90"/>
                      <a:pt x="1119" y="90"/>
                    </a:cubicBezTo>
                    <a:cubicBezTo>
                      <a:pt x="1119" y="91"/>
                      <a:pt x="1119" y="91"/>
                      <a:pt x="1119" y="91"/>
                    </a:cubicBezTo>
                    <a:cubicBezTo>
                      <a:pt x="1118" y="91"/>
                      <a:pt x="1118" y="91"/>
                      <a:pt x="1118" y="91"/>
                    </a:cubicBezTo>
                    <a:cubicBezTo>
                      <a:pt x="1117" y="91"/>
                      <a:pt x="1117" y="91"/>
                      <a:pt x="1117" y="91"/>
                    </a:cubicBezTo>
                    <a:cubicBezTo>
                      <a:pt x="1115" y="92"/>
                      <a:pt x="1115" y="92"/>
                      <a:pt x="1115" y="92"/>
                    </a:cubicBezTo>
                    <a:cubicBezTo>
                      <a:pt x="1113" y="93"/>
                      <a:pt x="1113" y="93"/>
                      <a:pt x="1113" y="93"/>
                    </a:cubicBezTo>
                    <a:cubicBezTo>
                      <a:pt x="1112" y="93"/>
                      <a:pt x="1112" y="93"/>
                      <a:pt x="1112" y="93"/>
                    </a:cubicBezTo>
                    <a:cubicBezTo>
                      <a:pt x="1111" y="93"/>
                      <a:pt x="1111" y="93"/>
                      <a:pt x="1111" y="93"/>
                    </a:cubicBezTo>
                    <a:cubicBezTo>
                      <a:pt x="1110" y="92"/>
                      <a:pt x="1110" y="92"/>
                      <a:pt x="1110" y="92"/>
                    </a:cubicBezTo>
                    <a:cubicBezTo>
                      <a:pt x="1109" y="92"/>
                      <a:pt x="1109" y="92"/>
                      <a:pt x="1109" y="92"/>
                    </a:cubicBezTo>
                    <a:cubicBezTo>
                      <a:pt x="1108" y="92"/>
                      <a:pt x="1108" y="92"/>
                      <a:pt x="1108" y="92"/>
                    </a:cubicBezTo>
                    <a:cubicBezTo>
                      <a:pt x="1107" y="92"/>
                      <a:pt x="1107" y="92"/>
                      <a:pt x="1107" y="92"/>
                    </a:cubicBezTo>
                    <a:cubicBezTo>
                      <a:pt x="1106" y="92"/>
                      <a:pt x="1106" y="92"/>
                      <a:pt x="1106" y="92"/>
                    </a:cubicBezTo>
                    <a:cubicBezTo>
                      <a:pt x="1105" y="92"/>
                      <a:pt x="1105" y="92"/>
                      <a:pt x="1105" y="92"/>
                    </a:cubicBezTo>
                    <a:cubicBezTo>
                      <a:pt x="1104" y="93"/>
                      <a:pt x="1104" y="93"/>
                      <a:pt x="1104" y="93"/>
                    </a:cubicBezTo>
                    <a:cubicBezTo>
                      <a:pt x="1103" y="93"/>
                      <a:pt x="1103" y="93"/>
                      <a:pt x="1103" y="93"/>
                    </a:cubicBezTo>
                    <a:cubicBezTo>
                      <a:pt x="1102" y="93"/>
                      <a:pt x="1102" y="93"/>
                      <a:pt x="1102" y="93"/>
                    </a:cubicBezTo>
                    <a:cubicBezTo>
                      <a:pt x="1102" y="94"/>
                      <a:pt x="1102" y="94"/>
                      <a:pt x="1102" y="94"/>
                    </a:cubicBezTo>
                    <a:cubicBezTo>
                      <a:pt x="1100" y="93"/>
                      <a:pt x="1100" y="93"/>
                      <a:pt x="1100" y="93"/>
                    </a:cubicBezTo>
                    <a:cubicBezTo>
                      <a:pt x="1099" y="93"/>
                      <a:pt x="1099" y="93"/>
                      <a:pt x="1099" y="93"/>
                    </a:cubicBezTo>
                    <a:cubicBezTo>
                      <a:pt x="1098" y="93"/>
                      <a:pt x="1098" y="93"/>
                      <a:pt x="1098" y="93"/>
                    </a:cubicBezTo>
                    <a:cubicBezTo>
                      <a:pt x="1097" y="94"/>
                      <a:pt x="1097" y="94"/>
                      <a:pt x="1097" y="94"/>
                    </a:cubicBezTo>
                    <a:cubicBezTo>
                      <a:pt x="1099" y="94"/>
                      <a:pt x="1099" y="94"/>
                      <a:pt x="1099" y="94"/>
                    </a:cubicBezTo>
                    <a:cubicBezTo>
                      <a:pt x="1100" y="94"/>
                      <a:pt x="1100" y="94"/>
                      <a:pt x="1100" y="94"/>
                    </a:cubicBezTo>
                    <a:cubicBezTo>
                      <a:pt x="1101" y="94"/>
                      <a:pt x="1101" y="94"/>
                      <a:pt x="1101" y="94"/>
                    </a:cubicBezTo>
                    <a:cubicBezTo>
                      <a:pt x="1102" y="94"/>
                      <a:pt x="1102" y="94"/>
                      <a:pt x="1102" y="94"/>
                    </a:cubicBezTo>
                    <a:cubicBezTo>
                      <a:pt x="1104" y="95"/>
                      <a:pt x="1104" y="95"/>
                      <a:pt x="1104" y="95"/>
                    </a:cubicBezTo>
                    <a:cubicBezTo>
                      <a:pt x="1106" y="95"/>
                      <a:pt x="1106" y="95"/>
                      <a:pt x="1106" y="95"/>
                    </a:cubicBezTo>
                    <a:cubicBezTo>
                      <a:pt x="1107" y="95"/>
                      <a:pt x="1107" y="95"/>
                      <a:pt x="1107" y="95"/>
                    </a:cubicBezTo>
                    <a:cubicBezTo>
                      <a:pt x="1108" y="95"/>
                      <a:pt x="1108" y="95"/>
                      <a:pt x="1108" y="95"/>
                    </a:cubicBezTo>
                    <a:cubicBezTo>
                      <a:pt x="1109" y="95"/>
                      <a:pt x="1109" y="95"/>
                      <a:pt x="1109" y="95"/>
                    </a:cubicBezTo>
                    <a:cubicBezTo>
                      <a:pt x="1110" y="95"/>
                      <a:pt x="1110" y="95"/>
                      <a:pt x="1110" y="95"/>
                    </a:cubicBezTo>
                    <a:cubicBezTo>
                      <a:pt x="1111" y="96"/>
                      <a:pt x="1111" y="96"/>
                      <a:pt x="1111" y="96"/>
                    </a:cubicBezTo>
                    <a:cubicBezTo>
                      <a:pt x="1112" y="97"/>
                      <a:pt x="1112" y="97"/>
                      <a:pt x="1112" y="97"/>
                    </a:cubicBezTo>
                    <a:cubicBezTo>
                      <a:pt x="1111" y="98"/>
                      <a:pt x="1111" y="98"/>
                      <a:pt x="1111" y="98"/>
                    </a:cubicBezTo>
                    <a:cubicBezTo>
                      <a:pt x="1110" y="99"/>
                      <a:pt x="1110" y="99"/>
                      <a:pt x="1110" y="99"/>
                    </a:cubicBezTo>
                    <a:cubicBezTo>
                      <a:pt x="1110" y="100"/>
                      <a:pt x="1110" y="100"/>
                      <a:pt x="1110" y="100"/>
                    </a:cubicBezTo>
                    <a:cubicBezTo>
                      <a:pt x="1109" y="101"/>
                      <a:pt x="1109" y="101"/>
                      <a:pt x="1109" y="101"/>
                    </a:cubicBezTo>
                    <a:cubicBezTo>
                      <a:pt x="1106" y="101"/>
                      <a:pt x="1106" y="101"/>
                      <a:pt x="1106" y="101"/>
                    </a:cubicBezTo>
                    <a:cubicBezTo>
                      <a:pt x="1105" y="101"/>
                      <a:pt x="1105" y="101"/>
                      <a:pt x="1105" y="101"/>
                    </a:cubicBezTo>
                    <a:cubicBezTo>
                      <a:pt x="1104" y="101"/>
                      <a:pt x="1104" y="101"/>
                      <a:pt x="1104" y="101"/>
                    </a:cubicBezTo>
                    <a:cubicBezTo>
                      <a:pt x="1102" y="101"/>
                      <a:pt x="1102" y="101"/>
                      <a:pt x="1102" y="101"/>
                    </a:cubicBezTo>
                    <a:cubicBezTo>
                      <a:pt x="1101" y="101"/>
                      <a:pt x="1101" y="101"/>
                      <a:pt x="1101" y="101"/>
                    </a:cubicBezTo>
                    <a:cubicBezTo>
                      <a:pt x="1099" y="99"/>
                      <a:pt x="1099" y="99"/>
                      <a:pt x="1099" y="99"/>
                    </a:cubicBezTo>
                    <a:cubicBezTo>
                      <a:pt x="1098" y="99"/>
                      <a:pt x="1098" y="99"/>
                      <a:pt x="1098" y="99"/>
                    </a:cubicBezTo>
                    <a:cubicBezTo>
                      <a:pt x="1097" y="99"/>
                      <a:pt x="1097" y="99"/>
                      <a:pt x="1097" y="99"/>
                    </a:cubicBezTo>
                    <a:cubicBezTo>
                      <a:pt x="1096" y="99"/>
                      <a:pt x="1096" y="99"/>
                      <a:pt x="1096" y="99"/>
                    </a:cubicBezTo>
                    <a:cubicBezTo>
                      <a:pt x="1095" y="99"/>
                      <a:pt x="1095" y="99"/>
                      <a:pt x="1095" y="99"/>
                    </a:cubicBezTo>
                    <a:cubicBezTo>
                      <a:pt x="1095" y="101"/>
                      <a:pt x="1095" y="101"/>
                      <a:pt x="1095" y="101"/>
                    </a:cubicBezTo>
                    <a:cubicBezTo>
                      <a:pt x="1093" y="102"/>
                      <a:pt x="1093" y="102"/>
                      <a:pt x="1093" y="102"/>
                    </a:cubicBezTo>
                    <a:cubicBezTo>
                      <a:pt x="1092" y="103"/>
                      <a:pt x="1092" y="103"/>
                      <a:pt x="1092" y="103"/>
                    </a:cubicBezTo>
                    <a:cubicBezTo>
                      <a:pt x="1093" y="103"/>
                      <a:pt x="1093" y="103"/>
                      <a:pt x="1093" y="103"/>
                    </a:cubicBezTo>
                    <a:cubicBezTo>
                      <a:pt x="1094" y="104"/>
                      <a:pt x="1094" y="104"/>
                      <a:pt x="1094" y="104"/>
                    </a:cubicBezTo>
                    <a:cubicBezTo>
                      <a:pt x="1094" y="105"/>
                      <a:pt x="1094" y="105"/>
                      <a:pt x="1094" y="105"/>
                    </a:cubicBezTo>
                    <a:cubicBezTo>
                      <a:pt x="1093" y="105"/>
                      <a:pt x="1093" y="105"/>
                      <a:pt x="1093" y="105"/>
                    </a:cubicBezTo>
                    <a:cubicBezTo>
                      <a:pt x="1092" y="105"/>
                      <a:pt x="1092" y="105"/>
                      <a:pt x="1092" y="105"/>
                    </a:cubicBezTo>
                    <a:cubicBezTo>
                      <a:pt x="1092" y="106"/>
                      <a:pt x="1092" y="106"/>
                      <a:pt x="1092" y="106"/>
                    </a:cubicBezTo>
                    <a:cubicBezTo>
                      <a:pt x="1093" y="106"/>
                      <a:pt x="1093" y="106"/>
                      <a:pt x="1093" y="106"/>
                    </a:cubicBezTo>
                    <a:cubicBezTo>
                      <a:pt x="1094" y="107"/>
                      <a:pt x="1094" y="107"/>
                      <a:pt x="1094" y="107"/>
                    </a:cubicBezTo>
                    <a:cubicBezTo>
                      <a:pt x="1095" y="106"/>
                      <a:pt x="1095" y="106"/>
                      <a:pt x="1095" y="106"/>
                    </a:cubicBezTo>
                    <a:cubicBezTo>
                      <a:pt x="1096" y="105"/>
                      <a:pt x="1096" y="105"/>
                      <a:pt x="1096" y="105"/>
                    </a:cubicBezTo>
                    <a:cubicBezTo>
                      <a:pt x="1097" y="104"/>
                      <a:pt x="1097" y="104"/>
                      <a:pt x="1097" y="104"/>
                    </a:cubicBezTo>
                    <a:cubicBezTo>
                      <a:pt x="1099" y="103"/>
                      <a:pt x="1099" y="103"/>
                      <a:pt x="1099" y="103"/>
                    </a:cubicBezTo>
                    <a:cubicBezTo>
                      <a:pt x="1100" y="103"/>
                      <a:pt x="1100" y="103"/>
                      <a:pt x="1100" y="103"/>
                    </a:cubicBezTo>
                    <a:cubicBezTo>
                      <a:pt x="1102" y="102"/>
                      <a:pt x="1102" y="102"/>
                      <a:pt x="1102" y="102"/>
                    </a:cubicBezTo>
                    <a:cubicBezTo>
                      <a:pt x="1103" y="102"/>
                      <a:pt x="1103" y="102"/>
                      <a:pt x="1103" y="102"/>
                    </a:cubicBezTo>
                    <a:cubicBezTo>
                      <a:pt x="1103" y="103"/>
                      <a:pt x="1103" y="103"/>
                      <a:pt x="1103" y="103"/>
                    </a:cubicBezTo>
                    <a:cubicBezTo>
                      <a:pt x="1104" y="103"/>
                      <a:pt x="1104" y="103"/>
                      <a:pt x="1104" y="103"/>
                    </a:cubicBezTo>
                    <a:cubicBezTo>
                      <a:pt x="1105" y="104"/>
                      <a:pt x="1105" y="104"/>
                      <a:pt x="1105" y="104"/>
                    </a:cubicBezTo>
                    <a:cubicBezTo>
                      <a:pt x="1106" y="104"/>
                      <a:pt x="1106" y="104"/>
                      <a:pt x="1106" y="104"/>
                    </a:cubicBezTo>
                    <a:cubicBezTo>
                      <a:pt x="1106" y="105"/>
                      <a:pt x="1106" y="105"/>
                      <a:pt x="1106" y="105"/>
                    </a:cubicBezTo>
                    <a:cubicBezTo>
                      <a:pt x="1104" y="106"/>
                      <a:pt x="1104" y="106"/>
                      <a:pt x="1104" y="106"/>
                    </a:cubicBezTo>
                    <a:cubicBezTo>
                      <a:pt x="1104" y="108"/>
                      <a:pt x="1104" y="108"/>
                      <a:pt x="1104" y="108"/>
                    </a:cubicBezTo>
                    <a:cubicBezTo>
                      <a:pt x="1103" y="109"/>
                      <a:pt x="1103" y="109"/>
                      <a:pt x="1103" y="109"/>
                    </a:cubicBezTo>
                    <a:cubicBezTo>
                      <a:pt x="1102" y="110"/>
                      <a:pt x="1102" y="110"/>
                      <a:pt x="1102" y="110"/>
                    </a:cubicBezTo>
                    <a:cubicBezTo>
                      <a:pt x="1101" y="111"/>
                      <a:pt x="1101" y="111"/>
                      <a:pt x="1101" y="111"/>
                    </a:cubicBezTo>
                    <a:cubicBezTo>
                      <a:pt x="1100" y="113"/>
                      <a:pt x="1100" y="113"/>
                      <a:pt x="1100" y="113"/>
                    </a:cubicBezTo>
                    <a:cubicBezTo>
                      <a:pt x="1098" y="116"/>
                      <a:pt x="1098" y="116"/>
                      <a:pt x="1098" y="116"/>
                    </a:cubicBezTo>
                    <a:cubicBezTo>
                      <a:pt x="1097" y="117"/>
                      <a:pt x="1097" y="117"/>
                      <a:pt x="1097" y="117"/>
                    </a:cubicBezTo>
                    <a:cubicBezTo>
                      <a:pt x="1096" y="118"/>
                      <a:pt x="1096" y="118"/>
                      <a:pt x="1096" y="118"/>
                    </a:cubicBezTo>
                    <a:cubicBezTo>
                      <a:pt x="1096" y="119"/>
                      <a:pt x="1096" y="119"/>
                      <a:pt x="1096" y="119"/>
                    </a:cubicBezTo>
                    <a:cubicBezTo>
                      <a:pt x="1096" y="121"/>
                      <a:pt x="1096" y="121"/>
                      <a:pt x="1096" y="121"/>
                    </a:cubicBezTo>
                    <a:cubicBezTo>
                      <a:pt x="1095" y="121"/>
                      <a:pt x="1095" y="121"/>
                      <a:pt x="1095" y="121"/>
                    </a:cubicBezTo>
                    <a:cubicBezTo>
                      <a:pt x="1095" y="122"/>
                      <a:pt x="1095" y="122"/>
                      <a:pt x="1095" y="122"/>
                    </a:cubicBezTo>
                    <a:cubicBezTo>
                      <a:pt x="1095" y="124"/>
                      <a:pt x="1095" y="124"/>
                      <a:pt x="1095" y="124"/>
                    </a:cubicBezTo>
                    <a:cubicBezTo>
                      <a:pt x="1094" y="126"/>
                      <a:pt x="1094" y="126"/>
                      <a:pt x="1094" y="126"/>
                    </a:cubicBezTo>
                    <a:cubicBezTo>
                      <a:pt x="1093" y="128"/>
                      <a:pt x="1093" y="128"/>
                      <a:pt x="1093" y="128"/>
                    </a:cubicBezTo>
                    <a:cubicBezTo>
                      <a:pt x="1094" y="129"/>
                      <a:pt x="1094" y="129"/>
                      <a:pt x="1094" y="129"/>
                    </a:cubicBezTo>
                    <a:cubicBezTo>
                      <a:pt x="1094" y="130"/>
                      <a:pt x="1094" y="130"/>
                      <a:pt x="1094" y="130"/>
                    </a:cubicBezTo>
                    <a:cubicBezTo>
                      <a:pt x="1094" y="132"/>
                      <a:pt x="1094" y="132"/>
                      <a:pt x="1094" y="132"/>
                    </a:cubicBezTo>
                    <a:cubicBezTo>
                      <a:pt x="1093" y="132"/>
                      <a:pt x="1093" y="132"/>
                      <a:pt x="1093" y="132"/>
                    </a:cubicBezTo>
                    <a:cubicBezTo>
                      <a:pt x="1092" y="133"/>
                      <a:pt x="1092" y="133"/>
                      <a:pt x="1092" y="133"/>
                    </a:cubicBezTo>
                    <a:cubicBezTo>
                      <a:pt x="1093" y="135"/>
                      <a:pt x="1093" y="135"/>
                      <a:pt x="1093" y="135"/>
                    </a:cubicBezTo>
                    <a:cubicBezTo>
                      <a:pt x="1092" y="135"/>
                      <a:pt x="1092" y="135"/>
                      <a:pt x="1092" y="135"/>
                    </a:cubicBezTo>
                    <a:cubicBezTo>
                      <a:pt x="1092" y="136"/>
                      <a:pt x="1092" y="136"/>
                      <a:pt x="1092" y="136"/>
                    </a:cubicBezTo>
                    <a:cubicBezTo>
                      <a:pt x="1091" y="138"/>
                      <a:pt x="1091" y="138"/>
                      <a:pt x="1091" y="138"/>
                    </a:cubicBezTo>
                    <a:cubicBezTo>
                      <a:pt x="1091" y="139"/>
                      <a:pt x="1091" y="139"/>
                      <a:pt x="1091" y="139"/>
                    </a:cubicBezTo>
                    <a:cubicBezTo>
                      <a:pt x="1090" y="140"/>
                      <a:pt x="1090" y="140"/>
                      <a:pt x="1090" y="140"/>
                    </a:cubicBezTo>
                    <a:cubicBezTo>
                      <a:pt x="1089" y="140"/>
                      <a:pt x="1089" y="140"/>
                      <a:pt x="1089" y="140"/>
                    </a:cubicBezTo>
                    <a:cubicBezTo>
                      <a:pt x="1089" y="139"/>
                      <a:pt x="1089" y="139"/>
                      <a:pt x="1089" y="139"/>
                    </a:cubicBezTo>
                    <a:cubicBezTo>
                      <a:pt x="1089" y="138"/>
                      <a:pt x="1089" y="138"/>
                      <a:pt x="1089" y="138"/>
                    </a:cubicBezTo>
                    <a:cubicBezTo>
                      <a:pt x="1088" y="138"/>
                      <a:pt x="1088" y="138"/>
                      <a:pt x="1088" y="138"/>
                    </a:cubicBezTo>
                    <a:cubicBezTo>
                      <a:pt x="1089" y="137"/>
                      <a:pt x="1089" y="137"/>
                      <a:pt x="1089" y="137"/>
                    </a:cubicBezTo>
                    <a:cubicBezTo>
                      <a:pt x="1088" y="136"/>
                      <a:pt x="1088" y="136"/>
                      <a:pt x="1088" y="136"/>
                    </a:cubicBezTo>
                    <a:cubicBezTo>
                      <a:pt x="1087" y="136"/>
                      <a:pt x="1087" y="136"/>
                      <a:pt x="1087" y="136"/>
                    </a:cubicBezTo>
                    <a:cubicBezTo>
                      <a:pt x="1087" y="137"/>
                      <a:pt x="1087" y="137"/>
                      <a:pt x="1087" y="137"/>
                    </a:cubicBezTo>
                    <a:cubicBezTo>
                      <a:pt x="1086" y="137"/>
                      <a:pt x="1086" y="137"/>
                      <a:pt x="1086" y="137"/>
                    </a:cubicBezTo>
                    <a:cubicBezTo>
                      <a:pt x="1086" y="138"/>
                      <a:pt x="1086" y="138"/>
                      <a:pt x="1086" y="138"/>
                    </a:cubicBezTo>
                    <a:cubicBezTo>
                      <a:pt x="1086" y="139"/>
                      <a:pt x="1086" y="139"/>
                      <a:pt x="1086" y="139"/>
                    </a:cubicBezTo>
                    <a:cubicBezTo>
                      <a:pt x="1085" y="139"/>
                      <a:pt x="1085" y="139"/>
                      <a:pt x="1085" y="139"/>
                    </a:cubicBezTo>
                    <a:cubicBezTo>
                      <a:pt x="1085" y="140"/>
                      <a:pt x="1085" y="140"/>
                      <a:pt x="1085" y="140"/>
                    </a:cubicBezTo>
                    <a:cubicBezTo>
                      <a:pt x="1086" y="140"/>
                      <a:pt x="1086" y="140"/>
                      <a:pt x="1086" y="140"/>
                    </a:cubicBezTo>
                    <a:cubicBezTo>
                      <a:pt x="1087" y="141"/>
                      <a:pt x="1087" y="141"/>
                      <a:pt x="1087" y="141"/>
                    </a:cubicBezTo>
                    <a:cubicBezTo>
                      <a:pt x="1088" y="142"/>
                      <a:pt x="1088" y="142"/>
                      <a:pt x="1088" y="142"/>
                    </a:cubicBezTo>
                    <a:cubicBezTo>
                      <a:pt x="1089" y="144"/>
                      <a:pt x="1089" y="144"/>
                      <a:pt x="1089" y="144"/>
                    </a:cubicBezTo>
                    <a:cubicBezTo>
                      <a:pt x="1090" y="144"/>
                      <a:pt x="1090" y="144"/>
                      <a:pt x="1090" y="144"/>
                    </a:cubicBezTo>
                    <a:cubicBezTo>
                      <a:pt x="1091" y="145"/>
                      <a:pt x="1091" y="145"/>
                      <a:pt x="1091" y="145"/>
                    </a:cubicBezTo>
                    <a:cubicBezTo>
                      <a:pt x="1092" y="146"/>
                      <a:pt x="1092" y="146"/>
                      <a:pt x="1092" y="146"/>
                    </a:cubicBezTo>
                    <a:cubicBezTo>
                      <a:pt x="1093" y="147"/>
                      <a:pt x="1093" y="147"/>
                      <a:pt x="1093" y="147"/>
                    </a:cubicBezTo>
                    <a:cubicBezTo>
                      <a:pt x="1092" y="148"/>
                      <a:pt x="1092" y="148"/>
                      <a:pt x="1092" y="148"/>
                    </a:cubicBezTo>
                    <a:cubicBezTo>
                      <a:pt x="1091" y="148"/>
                      <a:pt x="1091" y="148"/>
                      <a:pt x="1091" y="148"/>
                    </a:cubicBezTo>
                    <a:cubicBezTo>
                      <a:pt x="1090" y="148"/>
                      <a:pt x="1090" y="148"/>
                      <a:pt x="1090" y="148"/>
                    </a:cubicBezTo>
                    <a:cubicBezTo>
                      <a:pt x="1089" y="146"/>
                      <a:pt x="1089" y="146"/>
                      <a:pt x="1089" y="146"/>
                    </a:cubicBezTo>
                    <a:cubicBezTo>
                      <a:pt x="1088" y="145"/>
                      <a:pt x="1088" y="145"/>
                      <a:pt x="1088" y="145"/>
                    </a:cubicBezTo>
                    <a:cubicBezTo>
                      <a:pt x="1087" y="145"/>
                      <a:pt x="1087" y="145"/>
                      <a:pt x="1087" y="145"/>
                    </a:cubicBezTo>
                    <a:cubicBezTo>
                      <a:pt x="1087" y="146"/>
                      <a:pt x="1087" y="146"/>
                      <a:pt x="1087" y="146"/>
                    </a:cubicBezTo>
                    <a:cubicBezTo>
                      <a:pt x="1088" y="147"/>
                      <a:pt x="1088" y="147"/>
                      <a:pt x="1088" y="147"/>
                    </a:cubicBezTo>
                    <a:cubicBezTo>
                      <a:pt x="1088" y="148"/>
                      <a:pt x="1088" y="148"/>
                      <a:pt x="1088" y="148"/>
                    </a:cubicBezTo>
                    <a:cubicBezTo>
                      <a:pt x="1087" y="148"/>
                      <a:pt x="1087" y="148"/>
                      <a:pt x="1087" y="148"/>
                    </a:cubicBezTo>
                    <a:cubicBezTo>
                      <a:pt x="1087" y="149"/>
                      <a:pt x="1087" y="149"/>
                      <a:pt x="1087" y="149"/>
                    </a:cubicBezTo>
                    <a:cubicBezTo>
                      <a:pt x="1088" y="149"/>
                      <a:pt x="1088" y="149"/>
                      <a:pt x="1088" y="149"/>
                    </a:cubicBezTo>
                    <a:cubicBezTo>
                      <a:pt x="1087" y="150"/>
                      <a:pt x="1087" y="150"/>
                      <a:pt x="1087" y="150"/>
                    </a:cubicBezTo>
                    <a:cubicBezTo>
                      <a:pt x="1088" y="150"/>
                      <a:pt x="1088" y="150"/>
                      <a:pt x="1088" y="150"/>
                    </a:cubicBezTo>
                    <a:cubicBezTo>
                      <a:pt x="1090" y="150"/>
                      <a:pt x="1090" y="150"/>
                      <a:pt x="1090" y="150"/>
                    </a:cubicBezTo>
                    <a:cubicBezTo>
                      <a:pt x="1090" y="151"/>
                      <a:pt x="1090" y="151"/>
                      <a:pt x="1090" y="151"/>
                    </a:cubicBezTo>
                    <a:cubicBezTo>
                      <a:pt x="1090" y="152"/>
                      <a:pt x="1090" y="152"/>
                      <a:pt x="1090" y="152"/>
                    </a:cubicBezTo>
                    <a:cubicBezTo>
                      <a:pt x="1090" y="153"/>
                      <a:pt x="1090" y="153"/>
                      <a:pt x="1090" y="153"/>
                    </a:cubicBezTo>
                    <a:cubicBezTo>
                      <a:pt x="1091" y="152"/>
                      <a:pt x="1091" y="152"/>
                      <a:pt x="1091" y="152"/>
                    </a:cubicBezTo>
                    <a:cubicBezTo>
                      <a:pt x="1092" y="151"/>
                      <a:pt x="1092" y="151"/>
                      <a:pt x="1092" y="151"/>
                    </a:cubicBezTo>
                    <a:cubicBezTo>
                      <a:pt x="1093" y="150"/>
                      <a:pt x="1093" y="150"/>
                      <a:pt x="1093" y="150"/>
                    </a:cubicBezTo>
                    <a:cubicBezTo>
                      <a:pt x="1093" y="151"/>
                      <a:pt x="1093" y="151"/>
                      <a:pt x="1093" y="151"/>
                    </a:cubicBezTo>
                    <a:cubicBezTo>
                      <a:pt x="1094" y="151"/>
                      <a:pt x="1094" y="151"/>
                      <a:pt x="1094" y="151"/>
                    </a:cubicBezTo>
                    <a:cubicBezTo>
                      <a:pt x="1095" y="152"/>
                      <a:pt x="1095" y="152"/>
                      <a:pt x="1095" y="152"/>
                    </a:cubicBezTo>
                    <a:cubicBezTo>
                      <a:pt x="1096" y="152"/>
                      <a:pt x="1096" y="152"/>
                      <a:pt x="1096" y="152"/>
                    </a:cubicBezTo>
                    <a:cubicBezTo>
                      <a:pt x="1096" y="153"/>
                      <a:pt x="1096" y="153"/>
                      <a:pt x="1096" y="153"/>
                    </a:cubicBezTo>
                    <a:cubicBezTo>
                      <a:pt x="1096" y="154"/>
                      <a:pt x="1096" y="154"/>
                      <a:pt x="1096" y="154"/>
                    </a:cubicBezTo>
                    <a:cubicBezTo>
                      <a:pt x="1095" y="155"/>
                      <a:pt x="1095" y="155"/>
                      <a:pt x="1095" y="155"/>
                    </a:cubicBezTo>
                    <a:cubicBezTo>
                      <a:pt x="1095" y="156"/>
                      <a:pt x="1095" y="156"/>
                      <a:pt x="1095" y="156"/>
                    </a:cubicBezTo>
                    <a:cubicBezTo>
                      <a:pt x="1095" y="158"/>
                      <a:pt x="1095" y="158"/>
                      <a:pt x="1095" y="158"/>
                    </a:cubicBezTo>
                    <a:cubicBezTo>
                      <a:pt x="1095" y="160"/>
                      <a:pt x="1095" y="160"/>
                      <a:pt x="1095" y="160"/>
                    </a:cubicBezTo>
                    <a:cubicBezTo>
                      <a:pt x="1094" y="161"/>
                      <a:pt x="1094" y="161"/>
                      <a:pt x="1094" y="161"/>
                    </a:cubicBezTo>
                    <a:cubicBezTo>
                      <a:pt x="1094" y="162"/>
                      <a:pt x="1094" y="162"/>
                      <a:pt x="1094" y="162"/>
                    </a:cubicBezTo>
                    <a:cubicBezTo>
                      <a:pt x="1093" y="162"/>
                      <a:pt x="1093" y="162"/>
                      <a:pt x="1093" y="162"/>
                    </a:cubicBezTo>
                    <a:cubicBezTo>
                      <a:pt x="1093" y="161"/>
                      <a:pt x="1093" y="161"/>
                      <a:pt x="1093" y="161"/>
                    </a:cubicBezTo>
                    <a:cubicBezTo>
                      <a:pt x="1091" y="161"/>
                      <a:pt x="1091" y="161"/>
                      <a:pt x="1091" y="161"/>
                    </a:cubicBezTo>
                    <a:cubicBezTo>
                      <a:pt x="1091" y="160"/>
                      <a:pt x="1091" y="160"/>
                      <a:pt x="1091" y="160"/>
                    </a:cubicBezTo>
                    <a:cubicBezTo>
                      <a:pt x="1090" y="160"/>
                      <a:pt x="1090" y="160"/>
                      <a:pt x="1090" y="160"/>
                    </a:cubicBezTo>
                    <a:cubicBezTo>
                      <a:pt x="1089" y="160"/>
                      <a:pt x="1089" y="160"/>
                      <a:pt x="1089" y="160"/>
                    </a:cubicBezTo>
                    <a:cubicBezTo>
                      <a:pt x="1089" y="159"/>
                      <a:pt x="1089" y="159"/>
                      <a:pt x="1089" y="159"/>
                    </a:cubicBezTo>
                    <a:cubicBezTo>
                      <a:pt x="1089" y="158"/>
                      <a:pt x="1089" y="158"/>
                      <a:pt x="1089" y="158"/>
                    </a:cubicBezTo>
                    <a:cubicBezTo>
                      <a:pt x="1088" y="158"/>
                      <a:pt x="1088" y="158"/>
                      <a:pt x="1088" y="158"/>
                    </a:cubicBezTo>
                    <a:cubicBezTo>
                      <a:pt x="1088" y="157"/>
                      <a:pt x="1088" y="157"/>
                      <a:pt x="1088" y="157"/>
                    </a:cubicBezTo>
                    <a:cubicBezTo>
                      <a:pt x="1087" y="158"/>
                      <a:pt x="1087" y="158"/>
                      <a:pt x="1087" y="158"/>
                    </a:cubicBezTo>
                    <a:cubicBezTo>
                      <a:pt x="1087" y="157"/>
                      <a:pt x="1087" y="157"/>
                      <a:pt x="1087" y="157"/>
                    </a:cubicBezTo>
                    <a:cubicBezTo>
                      <a:pt x="1086" y="157"/>
                      <a:pt x="1086" y="157"/>
                      <a:pt x="1086" y="157"/>
                    </a:cubicBezTo>
                    <a:cubicBezTo>
                      <a:pt x="1085" y="156"/>
                      <a:pt x="1085" y="156"/>
                      <a:pt x="1085" y="156"/>
                    </a:cubicBezTo>
                    <a:cubicBezTo>
                      <a:pt x="1084" y="157"/>
                      <a:pt x="1084" y="157"/>
                      <a:pt x="1084" y="157"/>
                    </a:cubicBezTo>
                    <a:cubicBezTo>
                      <a:pt x="1084" y="158"/>
                      <a:pt x="1084" y="158"/>
                      <a:pt x="1084" y="158"/>
                    </a:cubicBezTo>
                    <a:cubicBezTo>
                      <a:pt x="1083" y="158"/>
                      <a:pt x="1083" y="158"/>
                      <a:pt x="1083" y="158"/>
                    </a:cubicBezTo>
                    <a:cubicBezTo>
                      <a:pt x="1082" y="157"/>
                      <a:pt x="1082" y="157"/>
                      <a:pt x="1082" y="157"/>
                    </a:cubicBezTo>
                    <a:cubicBezTo>
                      <a:pt x="1081" y="158"/>
                      <a:pt x="1081" y="158"/>
                      <a:pt x="1081" y="158"/>
                    </a:cubicBezTo>
                    <a:cubicBezTo>
                      <a:pt x="1082" y="158"/>
                      <a:pt x="1082" y="158"/>
                      <a:pt x="1082" y="158"/>
                    </a:cubicBezTo>
                    <a:cubicBezTo>
                      <a:pt x="1083" y="158"/>
                      <a:pt x="1083" y="158"/>
                      <a:pt x="1083" y="158"/>
                    </a:cubicBezTo>
                    <a:cubicBezTo>
                      <a:pt x="1084" y="159"/>
                      <a:pt x="1084" y="159"/>
                      <a:pt x="1084" y="159"/>
                    </a:cubicBezTo>
                    <a:cubicBezTo>
                      <a:pt x="1083" y="159"/>
                      <a:pt x="1083" y="159"/>
                      <a:pt x="1083" y="159"/>
                    </a:cubicBezTo>
                    <a:cubicBezTo>
                      <a:pt x="1081" y="161"/>
                      <a:pt x="1081" y="161"/>
                      <a:pt x="1081" y="161"/>
                    </a:cubicBezTo>
                    <a:cubicBezTo>
                      <a:pt x="1080" y="161"/>
                      <a:pt x="1080" y="161"/>
                      <a:pt x="1080" y="161"/>
                    </a:cubicBezTo>
                    <a:cubicBezTo>
                      <a:pt x="1079" y="161"/>
                      <a:pt x="1079" y="161"/>
                      <a:pt x="1079" y="161"/>
                    </a:cubicBezTo>
                    <a:cubicBezTo>
                      <a:pt x="1079" y="160"/>
                      <a:pt x="1079" y="160"/>
                      <a:pt x="1079" y="160"/>
                    </a:cubicBezTo>
                    <a:cubicBezTo>
                      <a:pt x="1078" y="160"/>
                      <a:pt x="1078" y="160"/>
                      <a:pt x="1078" y="160"/>
                    </a:cubicBezTo>
                    <a:cubicBezTo>
                      <a:pt x="1078" y="161"/>
                      <a:pt x="1078" y="161"/>
                      <a:pt x="1078" y="161"/>
                    </a:cubicBezTo>
                    <a:cubicBezTo>
                      <a:pt x="1079" y="161"/>
                      <a:pt x="1079" y="161"/>
                      <a:pt x="1079" y="161"/>
                    </a:cubicBezTo>
                    <a:cubicBezTo>
                      <a:pt x="1078" y="162"/>
                      <a:pt x="1078" y="162"/>
                      <a:pt x="1078" y="162"/>
                    </a:cubicBezTo>
                    <a:cubicBezTo>
                      <a:pt x="1078" y="163"/>
                      <a:pt x="1078" y="163"/>
                      <a:pt x="1078" y="163"/>
                    </a:cubicBezTo>
                    <a:cubicBezTo>
                      <a:pt x="1079" y="163"/>
                      <a:pt x="1079" y="163"/>
                      <a:pt x="1079" y="163"/>
                    </a:cubicBezTo>
                    <a:cubicBezTo>
                      <a:pt x="1078" y="164"/>
                      <a:pt x="1078" y="164"/>
                      <a:pt x="1078" y="164"/>
                    </a:cubicBezTo>
                    <a:cubicBezTo>
                      <a:pt x="1079" y="164"/>
                      <a:pt x="1079" y="164"/>
                      <a:pt x="1079" y="164"/>
                    </a:cubicBezTo>
                    <a:cubicBezTo>
                      <a:pt x="1079" y="165"/>
                      <a:pt x="1079" y="165"/>
                      <a:pt x="1079" y="165"/>
                    </a:cubicBezTo>
                    <a:cubicBezTo>
                      <a:pt x="1078" y="165"/>
                      <a:pt x="1078" y="165"/>
                      <a:pt x="1078" y="165"/>
                    </a:cubicBezTo>
                    <a:cubicBezTo>
                      <a:pt x="1077" y="165"/>
                      <a:pt x="1077" y="165"/>
                      <a:pt x="1077" y="165"/>
                    </a:cubicBezTo>
                    <a:cubicBezTo>
                      <a:pt x="1076" y="165"/>
                      <a:pt x="1076" y="165"/>
                      <a:pt x="1076" y="165"/>
                    </a:cubicBezTo>
                    <a:cubicBezTo>
                      <a:pt x="1077" y="166"/>
                      <a:pt x="1077" y="166"/>
                      <a:pt x="1077" y="166"/>
                    </a:cubicBezTo>
                    <a:cubicBezTo>
                      <a:pt x="1079" y="166"/>
                      <a:pt x="1079" y="166"/>
                      <a:pt x="1079" y="166"/>
                    </a:cubicBezTo>
                    <a:cubicBezTo>
                      <a:pt x="1079" y="167"/>
                      <a:pt x="1079" y="167"/>
                      <a:pt x="1079" y="167"/>
                    </a:cubicBezTo>
                    <a:cubicBezTo>
                      <a:pt x="1079" y="168"/>
                      <a:pt x="1079" y="168"/>
                      <a:pt x="1079" y="168"/>
                    </a:cubicBezTo>
                    <a:cubicBezTo>
                      <a:pt x="1080" y="168"/>
                      <a:pt x="1080" y="168"/>
                      <a:pt x="1080" y="168"/>
                    </a:cubicBezTo>
                    <a:cubicBezTo>
                      <a:pt x="1081" y="167"/>
                      <a:pt x="1081" y="167"/>
                      <a:pt x="1081" y="167"/>
                    </a:cubicBezTo>
                    <a:cubicBezTo>
                      <a:pt x="1082" y="168"/>
                      <a:pt x="1082" y="168"/>
                      <a:pt x="1082" y="168"/>
                    </a:cubicBezTo>
                    <a:cubicBezTo>
                      <a:pt x="1083" y="168"/>
                      <a:pt x="1083" y="168"/>
                      <a:pt x="1083" y="168"/>
                    </a:cubicBezTo>
                    <a:cubicBezTo>
                      <a:pt x="1084" y="168"/>
                      <a:pt x="1084" y="168"/>
                      <a:pt x="1084" y="168"/>
                    </a:cubicBezTo>
                    <a:cubicBezTo>
                      <a:pt x="1085" y="169"/>
                      <a:pt x="1085" y="169"/>
                      <a:pt x="1085" y="169"/>
                    </a:cubicBezTo>
                    <a:cubicBezTo>
                      <a:pt x="1086" y="168"/>
                      <a:pt x="1086" y="168"/>
                      <a:pt x="1086" y="168"/>
                    </a:cubicBezTo>
                    <a:cubicBezTo>
                      <a:pt x="1087" y="168"/>
                      <a:pt x="1087" y="168"/>
                      <a:pt x="1087" y="168"/>
                    </a:cubicBezTo>
                    <a:cubicBezTo>
                      <a:pt x="1087" y="169"/>
                      <a:pt x="1087" y="169"/>
                      <a:pt x="1087" y="169"/>
                    </a:cubicBezTo>
                    <a:cubicBezTo>
                      <a:pt x="1087" y="170"/>
                      <a:pt x="1087" y="170"/>
                      <a:pt x="1087" y="170"/>
                    </a:cubicBezTo>
                    <a:cubicBezTo>
                      <a:pt x="1087" y="171"/>
                      <a:pt x="1087" y="171"/>
                      <a:pt x="1087" y="171"/>
                    </a:cubicBezTo>
                    <a:cubicBezTo>
                      <a:pt x="1086" y="171"/>
                      <a:pt x="1086" y="171"/>
                      <a:pt x="1086" y="171"/>
                    </a:cubicBezTo>
                    <a:cubicBezTo>
                      <a:pt x="1085" y="171"/>
                      <a:pt x="1085" y="171"/>
                      <a:pt x="1085" y="171"/>
                    </a:cubicBezTo>
                    <a:cubicBezTo>
                      <a:pt x="1084" y="171"/>
                      <a:pt x="1084" y="171"/>
                      <a:pt x="1084" y="171"/>
                    </a:cubicBezTo>
                    <a:cubicBezTo>
                      <a:pt x="1083" y="171"/>
                      <a:pt x="1083" y="171"/>
                      <a:pt x="1083" y="171"/>
                    </a:cubicBezTo>
                    <a:cubicBezTo>
                      <a:pt x="1081" y="171"/>
                      <a:pt x="1081" y="171"/>
                      <a:pt x="1081" y="171"/>
                    </a:cubicBezTo>
                    <a:cubicBezTo>
                      <a:pt x="1080" y="171"/>
                      <a:pt x="1080" y="171"/>
                      <a:pt x="1080" y="171"/>
                    </a:cubicBezTo>
                    <a:cubicBezTo>
                      <a:pt x="1079" y="171"/>
                      <a:pt x="1079" y="171"/>
                      <a:pt x="1079" y="171"/>
                    </a:cubicBezTo>
                    <a:cubicBezTo>
                      <a:pt x="1078" y="171"/>
                      <a:pt x="1078" y="171"/>
                      <a:pt x="1078" y="171"/>
                    </a:cubicBezTo>
                    <a:cubicBezTo>
                      <a:pt x="1079" y="172"/>
                      <a:pt x="1079" y="172"/>
                      <a:pt x="1079" y="172"/>
                    </a:cubicBezTo>
                    <a:cubicBezTo>
                      <a:pt x="1080" y="172"/>
                      <a:pt x="1080" y="172"/>
                      <a:pt x="1080" y="172"/>
                    </a:cubicBezTo>
                    <a:cubicBezTo>
                      <a:pt x="1081" y="172"/>
                      <a:pt x="1081" y="172"/>
                      <a:pt x="1081" y="172"/>
                    </a:cubicBezTo>
                    <a:cubicBezTo>
                      <a:pt x="1083" y="172"/>
                      <a:pt x="1083" y="172"/>
                      <a:pt x="1083" y="172"/>
                    </a:cubicBezTo>
                    <a:cubicBezTo>
                      <a:pt x="1084" y="173"/>
                      <a:pt x="1084" y="173"/>
                      <a:pt x="1084" y="173"/>
                    </a:cubicBezTo>
                    <a:cubicBezTo>
                      <a:pt x="1085" y="173"/>
                      <a:pt x="1085" y="173"/>
                      <a:pt x="1085" y="173"/>
                    </a:cubicBezTo>
                    <a:cubicBezTo>
                      <a:pt x="1086" y="173"/>
                      <a:pt x="1086" y="173"/>
                      <a:pt x="1086" y="173"/>
                    </a:cubicBezTo>
                    <a:cubicBezTo>
                      <a:pt x="1086" y="174"/>
                      <a:pt x="1086" y="174"/>
                      <a:pt x="1086" y="174"/>
                    </a:cubicBezTo>
                    <a:cubicBezTo>
                      <a:pt x="1087" y="175"/>
                      <a:pt x="1087" y="175"/>
                      <a:pt x="1087" y="175"/>
                    </a:cubicBezTo>
                    <a:cubicBezTo>
                      <a:pt x="1088" y="176"/>
                      <a:pt x="1088" y="176"/>
                      <a:pt x="1088" y="176"/>
                    </a:cubicBezTo>
                    <a:cubicBezTo>
                      <a:pt x="1088" y="177"/>
                      <a:pt x="1088" y="177"/>
                      <a:pt x="1088" y="177"/>
                    </a:cubicBezTo>
                    <a:cubicBezTo>
                      <a:pt x="1087" y="176"/>
                      <a:pt x="1087" y="176"/>
                      <a:pt x="1087" y="176"/>
                    </a:cubicBezTo>
                    <a:cubicBezTo>
                      <a:pt x="1087" y="177"/>
                      <a:pt x="1087" y="177"/>
                      <a:pt x="1087" y="177"/>
                    </a:cubicBezTo>
                    <a:cubicBezTo>
                      <a:pt x="1086" y="177"/>
                      <a:pt x="1086" y="177"/>
                      <a:pt x="1086" y="177"/>
                    </a:cubicBezTo>
                    <a:cubicBezTo>
                      <a:pt x="1087" y="178"/>
                      <a:pt x="1087" y="178"/>
                      <a:pt x="1087" y="178"/>
                    </a:cubicBezTo>
                    <a:cubicBezTo>
                      <a:pt x="1087" y="180"/>
                      <a:pt x="1087" y="180"/>
                      <a:pt x="1087" y="180"/>
                    </a:cubicBezTo>
                    <a:cubicBezTo>
                      <a:pt x="1087" y="181"/>
                      <a:pt x="1087" y="181"/>
                      <a:pt x="1087" y="181"/>
                    </a:cubicBezTo>
                    <a:cubicBezTo>
                      <a:pt x="1087" y="182"/>
                      <a:pt x="1087" y="182"/>
                      <a:pt x="1087" y="182"/>
                    </a:cubicBezTo>
                    <a:cubicBezTo>
                      <a:pt x="1087" y="183"/>
                      <a:pt x="1087" y="183"/>
                      <a:pt x="1087" y="183"/>
                    </a:cubicBezTo>
                    <a:cubicBezTo>
                      <a:pt x="1086" y="185"/>
                      <a:pt x="1086" y="185"/>
                      <a:pt x="1086" y="185"/>
                    </a:cubicBezTo>
                    <a:cubicBezTo>
                      <a:pt x="1085" y="185"/>
                      <a:pt x="1085" y="185"/>
                      <a:pt x="1085" y="185"/>
                    </a:cubicBezTo>
                    <a:cubicBezTo>
                      <a:pt x="1084" y="185"/>
                      <a:pt x="1084" y="185"/>
                      <a:pt x="1084" y="185"/>
                    </a:cubicBezTo>
                    <a:cubicBezTo>
                      <a:pt x="1083" y="184"/>
                      <a:pt x="1083" y="184"/>
                      <a:pt x="1083" y="184"/>
                    </a:cubicBezTo>
                    <a:cubicBezTo>
                      <a:pt x="1084" y="183"/>
                      <a:pt x="1084" y="183"/>
                      <a:pt x="1084" y="183"/>
                    </a:cubicBezTo>
                    <a:cubicBezTo>
                      <a:pt x="1083" y="183"/>
                      <a:pt x="1083" y="183"/>
                      <a:pt x="1083" y="183"/>
                    </a:cubicBezTo>
                    <a:cubicBezTo>
                      <a:pt x="1082" y="183"/>
                      <a:pt x="1082" y="183"/>
                      <a:pt x="1082" y="183"/>
                    </a:cubicBezTo>
                    <a:cubicBezTo>
                      <a:pt x="1081" y="181"/>
                      <a:pt x="1081" y="181"/>
                      <a:pt x="1081" y="181"/>
                    </a:cubicBezTo>
                    <a:cubicBezTo>
                      <a:pt x="1080" y="180"/>
                      <a:pt x="1080" y="180"/>
                      <a:pt x="1080" y="180"/>
                    </a:cubicBezTo>
                    <a:cubicBezTo>
                      <a:pt x="1078" y="179"/>
                      <a:pt x="1078" y="179"/>
                      <a:pt x="1078" y="179"/>
                    </a:cubicBezTo>
                    <a:cubicBezTo>
                      <a:pt x="1078" y="178"/>
                      <a:pt x="1078" y="178"/>
                      <a:pt x="1078" y="178"/>
                    </a:cubicBezTo>
                    <a:cubicBezTo>
                      <a:pt x="1078" y="177"/>
                      <a:pt x="1078" y="177"/>
                      <a:pt x="1078" y="177"/>
                    </a:cubicBezTo>
                    <a:cubicBezTo>
                      <a:pt x="1077" y="176"/>
                      <a:pt x="1077" y="176"/>
                      <a:pt x="1077" y="176"/>
                    </a:cubicBezTo>
                    <a:cubicBezTo>
                      <a:pt x="1076" y="176"/>
                      <a:pt x="1076" y="176"/>
                      <a:pt x="1076" y="176"/>
                    </a:cubicBezTo>
                    <a:cubicBezTo>
                      <a:pt x="1077" y="178"/>
                      <a:pt x="1077" y="178"/>
                      <a:pt x="1077" y="178"/>
                    </a:cubicBezTo>
                    <a:cubicBezTo>
                      <a:pt x="1077" y="179"/>
                      <a:pt x="1077" y="179"/>
                      <a:pt x="1077" y="179"/>
                    </a:cubicBezTo>
                    <a:cubicBezTo>
                      <a:pt x="1075" y="179"/>
                      <a:pt x="1075" y="179"/>
                      <a:pt x="1075" y="179"/>
                    </a:cubicBezTo>
                    <a:cubicBezTo>
                      <a:pt x="1075" y="178"/>
                      <a:pt x="1075" y="178"/>
                      <a:pt x="1075" y="178"/>
                    </a:cubicBezTo>
                    <a:cubicBezTo>
                      <a:pt x="1074" y="177"/>
                      <a:pt x="1074" y="177"/>
                      <a:pt x="1074" y="177"/>
                    </a:cubicBezTo>
                    <a:cubicBezTo>
                      <a:pt x="1073" y="176"/>
                      <a:pt x="1073" y="176"/>
                      <a:pt x="1073" y="176"/>
                    </a:cubicBezTo>
                    <a:cubicBezTo>
                      <a:pt x="1073" y="177"/>
                      <a:pt x="1073" y="177"/>
                      <a:pt x="1073" y="177"/>
                    </a:cubicBezTo>
                    <a:cubicBezTo>
                      <a:pt x="1073" y="178"/>
                      <a:pt x="1073" y="178"/>
                      <a:pt x="1073" y="178"/>
                    </a:cubicBezTo>
                    <a:cubicBezTo>
                      <a:pt x="1074" y="179"/>
                      <a:pt x="1074" y="179"/>
                      <a:pt x="1074" y="179"/>
                    </a:cubicBezTo>
                    <a:cubicBezTo>
                      <a:pt x="1076" y="180"/>
                      <a:pt x="1076" y="180"/>
                      <a:pt x="1076" y="180"/>
                    </a:cubicBezTo>
                    <a:cubicBezTo>
                      <a:pt x="1078" y="180"/>
                      <a:pt x="1078" y="180"/>
                      <a:pt x="1078" y="180"/>
                    </a:cubicBezTo>
                    <a:cubicBezTo>
                      <a:pt x="1080" y="181"/>
                      <a:pt x="1080" y="181"/>
                      <a:pt x="1080" y="181"/>
                    </a:cubicBezTo>
                    <a:cubicBezTo>
                      <a:pt x="1082" y="183"/>
                      <a:pt x="1082" y="183"/>
                      <a:pt x="1082" y="183"/>
                    </a:cubicBezTo>
                    <a:cubicBezTo>
                      <a:pt x="1082" y="184"/>
                      <a:pt x="1082" y="184"/>
                      <a:pt x="1082" y="184"/>
                    </a:cubicBezTo>
                    <a:cubicBezTo>
                      <a:pt x="1082" y="185"/>
                      <a:pt x="1082" y="185"/>
                      <a:pt x="1082" y="185"/>
                    </a:cubicBezTo>
                    <a:cubicBezTo>
                      <a:pt x="1081" y="184"/>
                      <a:pt x="1081" y="184"/>
                      <a:pt x="1081" y="184"/>
                    </a:cubicBezTo>
                    <a:cubicBezTo>
                      <a:pt x="1080" y="184"/>
                      <a:pt x="1080" y="184"/>
                      <a:pt x="1080" y="184"/>
                    </a:cubicBezTo>
                    <a:cubicBezTo>
                      <a:pt x="1079" y="184"/>
                      <a:pt x="1079" y="184"/>
                      <a:pt x="1079" y="184"/>
                    </a:cubicBezTo>
                    <a:cubicBezTo>
                      <a:pt x="1077" y="186"/>
                      <a:pt x="1077" y="186"/>
                      <a:pt x="1077" y="186"/>
                    </a:cubicBezTo>
                    <a:cubicBezTo>
                      <a:pt x="1076" y="185"/>
                      <a:pt x="1076" y="185"/>
                      <a:pt x="1076" y="185"/>
                    </a:cubicBezTo>
                    <a:cubicBezTo>
                      <a:pt x="1075" y="184"/>
                      <a:pt x="1075" y="184"/>
                      <a:pt x="1075" y="184"/>
                    </a:cubicBezTo>
                    <a:cubicBezTo>
                      <a:pt x="1076" y="184"/>
                      <a:pt x="1076" y="184"/>
                      <a:pt x="1076" y="184"/>
                    </a:cubicBezTo>
                    <a:cubicBezTo>
                      <a:pt x="1075" y="183"/>
                      <a:pt x="1075" y="183"/>
                      <a:pt x="1075" y="183"/>
                    </a:cubicBezTo>
                    <a:cubicBezTo>
                      <a:pt x="1075" y="184"/>
                      <a:pt x="1075" y="184"/>
                      <a:pt x="1075" y="184"/>
                    </a:cubicBezTo>
                    <a:cubicBezTo>
                      <a:pt x="1075" y="185"/>
                      <a:pt x="1075" y="185"/>
                      <a:pt x="1075" y="185"/>
                    </a:cubicBezTo>
                    <a:cubicBezTo>
                      <a:pt x="1076" y="186"/>
                      <a:pt x="1076" y="186"/>
                      <a:pt x="1076" y="186"/>
                    </a:cubicBezTo>
                    <a:cubicBezTo>
                      <a:pt x="1077" y="186"/>
                      <a:pt x="1077" y="186"/>
                      <a:pt x="1077" y="186"/>
                    </a:cubicBezTo>
                    <a:cubicBezTo>
                      <a:pt x="1078" y="186"/>
                      <a:pt x="1078" y="186"/>
                      <a:pt x="1078" y="186"/>
                    </a:cubicBezTo>
                    <a:cubicBezTo>
                      <a:pt x="1079" y="185"/>
                      <a:pt x="1079" y="185"/>
                      <a:pt x="1079" y="185"/>
                    </a:cubicBezTo>
                    <a:cubicBezTo>
                      <a:pt x="1080" y="185"/>
                      <a:pt x="1080" y="185"/>
                      <a:pt x="1080" y="185"/>
                    </a:cubicBezTo>
                    <a:cubicBezTo>
                      <a:pt x="1081" y="186"/>
                      <a:pt x="1081" y="186"/>
                      <a:pt x="1081" y="186"/>
                    </a:cubicBezTo>
                    <a:cubicBezTo>
                      <a:pt x="1081" y="187"/>
                      <a:pt x="1081" y="187"/>
                      <a:pt x="1081" y="187"/>
                    </a:cubicBezTo>
                    <a:cubicBezTo>
                      <a:pt x="1080" y="189"/>
                      <a:pt x="1080" y="189"/>
                      <a:pt x="1080" y="189"/>
                    </a:cubicBezTo>
                    <a:cubicBezTo>
                      <a:pt x="1080" y="190"/>
                      <a:pt x="1080" y="190"/>
                      <a:pt x="1080" y="190"/>
                    </a:cubicBezTo>
                    <a:cubicBezTo>
                      <a:pt x="1079" y="190"/>
                      <a:pt x="1079" y="190"/>
                      <a:pt x="1079" y="190"/>
                    </a:cubicBezTo>
                    <a:cubicBezTo>
                      <a:pt x="1080" y="191"/>
                      <a:pt x="1080" y="191"/>
                      <a:pt x="1080" y="191"/>
                    </a:cubicBezTo>
                    <a:cubicBezTo>
                      <a:pt x="1081" y="190"/>
                      <a:pt x="1081" y="190"/>
                      <a:pt x="1081" y="190"/>
                    </a:cubicBezTo>
                    <a:cubicBezTo>
                      <a:pt x="1082" y="190"/>
                      <a:pt x="1082" y="190"/>
                      <a:pt x="1082" y="190"/>
                    </a:cubicBezTo>
                    <a:cubicBezTo>
                      <a:pt x="1083" y="192"/>
                      <a:pt x="1083" y="192"/>
                      <a:pt x="1083" y="192"/>
                    </a:cubicBezTo>
                    <a:cubicBezTo>
                      <a:pt x="1084" y="192"/>
                      <a:pt x="1084" y="192"/>
                      <a:pt x="1084" y="192"/>
                    </a:cubicBezTo>
                    <a:cubicBezTo>
                      <a:pt x="1085" y="192"/>
                      <a:pt x="1085" y="192"/>
                      <a:pt x="1085" y="192"/>
                    </a:cubicBezTo>
                    <a:cubicBezTo>
                      <a:pt x="1086" y="191"/>
                      <a:pt x="1086" y="191"/>
                      <a:pt x="1086" y="191"/>
                    </a:cubicBezTo>
                    <a:cubicBezTo>
                      <a:pt x="1087" y="192"/>
                      <a:pt x="1087" y="192"/>
                      <a:pt x="1087" y="192"/>
                    </a:cubicBezTo>
                    <a:cubicBezTo>
                      <a:pt x="1086" y="193"/>
                      <a:pt x="1086" y="193"/>
                      <a:pt x="1086" y="193"/>
                    </a:cubicBezTo>
                    <a:cubicBezTo>
                      <a:pt x="1086" y="194"/>
                      <a:pt x="1086" y="194"/>
                      <a:pt x="1086" y="194"/>
                    </a:cubicBezTo>
                    <a:cubicBezTo>
                      <a:pt x="1087" y="194"/>
                      <a:pt x="1087" y="194"/>
                      <a:pt x="1087" y="194"/>
                    </a:cubicBezTo>
                    <a:cubicBezTo>
                      <a:pt x="1087" y="195"/>
                      <a:pt x="1087" y="195"/>
                      <a:pt x="1087" y="195"/>
                    </a:cubicBezTo>
                    <a:cubicBezTo>
                      <a:pt x="1085" y="197"/>
                      <a:pt x="1085" y="197"/>
                      <a:pt x="1085" y="197"/>
                    </a:cubicBezTo>
                    <a:cubicBezTo>
                      <a:pt x="1084" y="198"/>
                      <a:pt x="1084" y="198"/>
                      <a:pt x="1084" y="198"/>
                    </a:cubicBezTo>
                    <a:cubicBezTo>
                      <a:pt x="1083" y="198"/>
                      <a:pt x="1083" y="198"/>
                      <a:pt x="1083" y="198"/>
                    </a:cubicBezTo>
                    <a:cubicBezTo>
                      <a:pt x="1083" y="197"/>
                      <a:pt x="1083" y="197"/>
                      <a:pt x="1083" y="197"/>
                    </a:cubicBezTo>
                    <a:cubicBezTo>
                      <a:pt x="1083" y="196"/>
                      <a:pt x="1083" y="196"/>
                      <a:pt x="1083" y="196"/>
                    </a:cubicBezTo>
                    <a:cubicBezTo>
                      <a:pt x="1082" y="196"/>
                      <a:pt x="1082" y="196"/>
                      <a:pt x="1082" y="196"/>
                    </a:cubicBezTo>
                    <a:cubicBezTo>
                      <a:pt x="1082" y="195"/>
                      <a:pt x="1082" y="195"/>
                      <a:pt x="1082" y="195"/>
                    </a:cubicBezTo>
                    <a:cubicBezTo>
                      <a:pt x="1081" y="194"/>
                      <a:pt x="1081" y="194"/>
                      <a:pt x="1081" y="194"/>
                    </a:cubicBezTo>
                    <a:cubicBezTo>
                      <a:pt x="1080" y="193"/>
                      <a:pt x="1080" y="193"/>
                      <a:pt x="1080" y="193"/>
                    </a:cubicBezTo>
                    <a:cubicBezTo>
                      <a:pt x="1079" y="193"/>
                      <a:pt x="1079" y="193"/>
                      <a:pt x="1079" y="193"/>
                    </a:cubicBezTo>
                    <a:cubicBezTo>
                      <a:pt x="1078" y="193"/>
                      <a:pt x="1078" y="193"/>
                      <a:pt x="1078" y="193"/>
                    </a:cubicBezTo>
                    <a:cubicBezTo>
                      <a:pt x="1077" y="193"/>
                      <a:pt x="1077" y="193"/>
                      <a:pt x="1077" y="193"/>
                    </a:cubicBezTo>
                    <a:cubicBezTo>
                      <a:pt x="1076" y="193"/>
                      <a:pt x="1076" y="193"/>
                      <a:pt x="1076" y="193"/>
                    </a:cubicBezTo>
                    <a:cubicBezTo>
                      <a:pt x="1075" y="192"/>
                      <a:pt x="1075" y="192"/>
                      <a:pt x="1075" y="192"/>
                    </a:cubicBezTo>
                    <a:cubicBezTo>
                      <a:pt x="1075" y="191"/>
                      <a:pt x="1075" y="191"/>
                      <a:pt x="1075" y="191"/>
                    </a:cubicBezTo>
                    <a:cubicBezTo>
                      <a:pt x="1074" y="191"/>
                      <a:pt x="1074" y="191"/>
                      <a:pt x="1074" y="191"/>
                    </a:cubicBezTo>
                    <a:cubicBezTo>
                      <a:pt x="1074" y="192"/>
                      <a:pt x="1074" y="192"/>
                      <a:pt x="1074" y="192"/>
                    </a:cubicBezTo>
                    <a:cubicBezTo>
                      <a:pt x="1075" y="192"/>
                      <a:pt x="1075" y="192"/>
                      <a:pt x="1075" y="192"/>
                    </a:cubicBezTo>
                    <a:cubicBezTo>
                      <a:pt x="1075" y="194"/>
                      <a:pt x="1075" y="194"/>
                      <a:pt x="1075" y="194"/>
                    </a:cubicBezTo>
                    <a:cubicBezTo>
                      <a:pt x="1074" y="195"/>
                      <a:pt x="1074" y="195"/>
                      <a:pt x="1074" y="195"/>
                    </a:cubicBezTo>
                    <a:cubicBezTo>
                      <a:pt x="1073" y="195"/>
                      <a:pt x="1073" y="195"/>
                      <a:pt x="1073" y="195"/>
                    </a:cubicBezTo>
                    <a:cubicBezTo>
                      <a:pt x="1072" y="195"/>
                      <a:pt x="1072" y="195"/>
                      <a:pt x="1072" y="195"/>
                    </a:cubicBezTo>
                    <a:cubicBezTo>
                      <a:pt x="1073" y="196"/>
                      <a:pt x="1073" y="196"/>
                      <a:pt x="1073" y="196"/>
                    </a:cubicBezTo>
                    <a:cubicBezTo>
                      <a:pt x="1073" y="197"/>
                      <a:pt x="1073" y="197"/>
                      <a:pt x="1073" y="197"/>
                    </a:cubicBezTo>
                    <a:cubicBezTo>
                      <a:pt x="1072" y="198"/>
                      <a:pt x="1072" y="198"/>
                      <a:pt x="1072" y="198"/>
                    </a:cubicBezTo>
                    <a:cubicBezTo>
                      <a:pt x="1072" y="199"/>
                      <a:pt x="1072" y="199"/>
                      <a:pt x="1072" y="199"/>
                    </a:cubicBezTo>
                    <a:cubicBezTo>
                      <a:pt x="1073" y="200"/>
                      <a:pt x="1073" y="200"/>
                      <a:pt x="1073" y="200"/>
                    </a:cubicBezTo>
                    <a:cubicBezTo>
                      <a:pt x="1073" y="201"/>
                      <a:pt x="1073" y="201"/>
                      <a:pt x="1073" y="201"/>
                    </a:cubicBezTo>
                    <a:cubicBezTo>
                      <a:pt x="1074" y="201"/>
                      <a:pt x="1074" y="201"/>
                      <a:pt x="1074" y="201"/>
                    </a:cubicBezTo>
                    <a:cubicBezTo>
                      <a:pt x="1074" y="203"/>
                      <a:pt x="1074" y="203"/>
                      <a:pt x="1074" y="203"/>
                    </a:cubicBezTo>
                    <a:cubicBezTo>
                      <a:pt x="1075" y="203"/>
                      <a:pt x="1075" y="203"/>
                      <a:pt x="1075" y="203"/>
                    </a:cubicBezTo>
                    <a:cubicBezTo>
                      <a:pt x="1075" y="202"/>
                      <a:pt x="1075" y="202"/>
                      <a:pt x="1075" y="202"/>
                    </a:cubicBezTo>
                    <a:cubicBezTo>
                      <a:pt x="1074" y="201"/>
                      <a:pt x="1074" y="201"/>
                      <a:pt x="1074" y="201"/>
                    </a:cubicBezTo>
                    <a:cubicBezTo>
                      <a:pt x="1074" y="200"/>
                      <a:pt x="1074" y="200"/>
                      <a:pt x="1074" y="200"/>
                    </a:cubicBezTo>
                    <a:cubicBezTo>
                      <a:pt x="1075" y="199"/>
                      <a:pt x="1075" y="199"/>
                      <a:pt x="1075" y="199"/>
                    </a:cubicBezTo>
                    <a:cubicBezTo>
                      <a:pt x="1075" y="200"/>
                      <a:pt x="1075" y="200"/>
                      <a:pt x="1075" y="200"/>
                    </a:cubicBezTo>
                    <a:cubicBezTo>
                      <a:pt x="1076" y="201"/>
                      <a:pt x="1076" y="201"/>
                      <a:pt x="1076" y="201"/>
                    </a:cubicBezTo>
                    <a:cubicBezTo>
                      <a:pt x="1076" y="202"/>
                      <a:pt x="1076" y="202"/>
                      <a:pt x="1076" y="202"/>
                    </a:cubicBezTo>
                    <a:cubicBezTo>
                      <a:pt x="1077" y="202"/>
                      <a:pt x="1077" y="202"/>
                      <a:pt x="1077" y="202"/>
                    </a:cubicBezTo>
                    <a:cubicBezTo>
                      <a:pt x="1078" y="202"/>
                      <a:pt x="1078" y="202"/>
                      <a:pt x="1078" y="202"/>
                    </a:cubicBezTo>
                    <a:cubicBezTo>
                      <a:pt x="1079" y="202"/>
                      <a:pt x="1079" y="202"/>
                      <a:pt x="1079" y="202"/>
                    </a:cubicBezTo>
                    <a:cubicBezTo>
                      <a:pt x="1080" y="201"/>
                      <a:pt x="1080" y="201"/>
                      <a:pt x="1080" y="201"/>
                    </a:cubicBezTo>
                    <a:cubicBezTo>
                      <a:pt x="1081" y="202"/>
                      <a:pt x="1081" y="202"/>
                      <a:pt x="1081" y="202"/>
                    </a:cubicBezTo>
                    <a:cubicBezTo>
                      <a:pt x="1081" y="203"/>
                      <a:pt x="1081" y="203"/>
                      <a:pt x="1081" y="203"/>
                    </a:cubicBezTo>
                    <a:cubicBezTo>
                      <a:pt x="1080" y="204"/>
                      <a:pt x="1080" y="204"/>
                      <a:pt x="1080" y="204"/>
                    </a:cubicBezTo>
                    <a:cubicBezTo>
                      <a:pt x="1080" y="205"/>
                      <a:pt x="1080" y="205"/>
                      <a:pt x="1080" y="205"/>
                    </a:cubicBezTo>
                    <a:cubicBezTo>
                      <a:pt x="1080" y="206"/>
                      <a:pt x="1080" y="206"/>
                      <a:pt x="1080" y="206"/>
                    </a:cubicBezTo>
                    <a:cubicBezTo>
                      <a:pt x="1080" y="208"/>
                      <a:pt x="1080" y="208"/>
                      <a:pt x="1080" y="208"/>
                    </a:cubicBezTo>
                    <a:cubicBezTo>
                      <a:pt x="1079" y="208"/>
                      <a:pt x="1079" y="208"/>
                      <a:pt x="1079" y="208"/>
                    </a:cubicBezTo>
                    <a:cubicBezTo>
                      <a:pt x="1078" y="208"/>
                      <a:pt x="1078" y="208"/>
                      <a:pt x="1078" y="208"/>
                    </a:cubicBezTo>
                    <a:cubicBezTo>
                      <a:pt x="1077" y="209"/>
                      <a:pt x="1077" y="209"/>
                      <a:pt x="1077" y="209"/>
                    </a:cubicBezTo>
                    <a:cubicBezTo>
                      <a:pt x="1076" y="208"/>
                      <a:pt x="1076" y="208"/>
                      <a:pt x="1076" y="208"/>
                    </a:cubicBezTo>
                    <a:cubicBezTo>
                      <a:pt x="1075" y="208"/>
                      <a:pt x="1075" y="208"/>
                      <a:pt x="1075" y="208"/>
                    </a:cubicBezTo>
                    <a:cubicBezTo>
                      <a:pt x="1074" y="209"/>
                      <a:pt x="1074" y="209"/>
                      <a:pt x="1074" y="209"/>
                    </a:cubicBezTo>
                    <a:cubicBezTo>
                      <a:pt x="1073" y="210"/>
                      <a:pt x="1073" y="210"/>
                      <a:pt x="1073" y="210"/>
                    </a:cubicBezTo>
                    <a:cubicBezTo>
                      <a:pt x="1072" y="210"/>
                      <a:pt x="1072" y="210"/>
                      <a:pt x="1072" y="210"/>
                    </a:cubicBezTo>
                    <a:cubicBezTo>
                      <a:pt x="1071" y="211"/>
                      <a:pt x="1071" y="211"/>
                      <a:pt x="1071" y="211"/>
                    </a:cubicBezTo>
                    <a:cubicBezTo>
                      <a:pt x="1070" y="211"/>
                      <a:pt x="1070" y="211"/>
                      <a:pt x="1070" y="211"/>
                    </a:cubicBezTo>
                    <a:cubicBezTo>
                      <a:pt x="1069" y="210"/>
                      <a:pt x="1069" y="210"/>
                      <a:pt x="1069" y="210"/>
                    </a:cubicBezTo>
                    <a:cubicBezTo>
                      <a:pt x="1067" y="210"/>
                      <a:pt x="1067" y="210"/>
                      <a:pt x="1067" y="210"/>
                    </a:cubicBezTo>
                    <a:cubicBezTo>
                      <a:pt x="1066" y="208"/>
                      <a:pt x="1066" y="208"/>
                      <a:pt x="1066" y="208"/>
                    </a:cubicBezTo>
                    <a:cubicBezTo>
                      <a:pt x="1064" y="206"/>
                      <a:pt x="1064" y="206"/>
                      <a:pt x="1064" y="206"/>
                    </a:cubicBezTo>
                    <a:cubicBezTo>
                      <a:pt x="1063" y="205"/>
                      <a:pt x="1063" y="205"/>
                      <a:pt x="1063" y="205"/>
                    </a:cubicBezTo>
                    <a:cubicBezTo>
                      <a:pt x="1063" y="204"/>
                      <a:pt x="1063" y="204"/>
                      <a:pt x="1063" y="204"/>
                    </a:cubicBezTo>
                    <a:cubicBezTo>
                      <a:pt x="1064" y="204"/>
                      <a:pt x="1064" y="204"/>
                      <a:pt x="1064" y="204"/>
                    </a:cubicBezTo>
                    <a:cubicBezTo>
                      <a:pt x="1065" y="205"/>
                      <a:pt x="1065" y="205"/>
                      <a:pt x="1065" y="205"/>
                    </a:cubicBezTo>
                    <a:cubicBezTo>
                      <a:pt x="1067" y="206"/>
                      <a:pt x="1067" y="206"/>
                      <a:pt x="1067" y="206"/>
                    </a:cubicBezTo>
                    <a:cubicBezTo>
                      <a:pt x="1068" y="207"/>
                      <a:pt x="1068" y="207"/>
                      <a:pt x="1068" y="207"/>
                    </a:cubicBezTo>
                    <a:cubicBezTo>
                      <a:pt x="1069" y="207"/>
                      <a:pt x="1069" y="207"/>
                      <a:pt x="1069" y="207"/>
                    </a:cubicBezTo>
                    <a:cubicBezTo>
                      <a:pt x="1070" y="206"/>
                      <a:pt x="1070" y="206"/>
                      <a:pt x="1070" y="206"/>
                    </a:cubicBezTo>
                    <a:cubicBezTo>
                      <a:pt x="1071" y="206"/>
                      <a:pt x="1071" y="206"/>
                      <a:pt x="1071" y="206"/>
                    </a:cubicBezTo>
                    <a:cubicBezTo>
                      <a:pt x="1070" y="205"/>
                      <a:pt x="1070" y="205"/>
                      <a:pt x="1070" y="205"/>
                    </a:cubicBezTo>
                    <a:cubicBezTo>
                      <a:pt x="1069" y="206"/>
                      <a:pt x="1069" y="206"/>
                      <a:pt x="1069" y="206"/>
                    </a:cubicBezTo>
                    <a:cubicBezTo>
                      <a:pt x="1068" y="205"/>
                      <a:pt x="1068" y="205"/>
                      <a:pt x="1068" y="205"/>
                    </a:cubicBezTo>
                    <a:cubicBezTo>
                      <a:pt x="1066" y="204"/>
                      <a:pt x="1066" y="204"/>
                      <a:pt x="1066" y="204"/>
                    </a:cubicBezTo>
                    <a:cubicBezTo>
                      <a:pt x="1064" y="203"/>
                      <a:pt x="1064" y="203"/>
                      <a:pt x="1064" y="203"/>
                    </a:cubicBezTo>
                    <a:cubicBezTo>
                      <a:pt x="1063" y="203"/>
                      <a:pt x="1063" y="203"/>
                      <a:pt x="1063" y="203"/>
                    </a:cubicBezTo>
                    <a:cubicBezTo>
                      <a:pt x="1063" y="202"/>
                      <a:pt x="1063" y="202"/>
                      <a:pt x="1063" y="202"/>
                    </a:cubicBezTo>
                    <a:cubicBezTo>
                      <a:pt x="1062" y="202"/>
                      <a:pt x="1062" y="202"/>
                      <a:pt x="1062" y="202"/>
                    </a:cubicBezTo>
                    <a:cubicBezTo>
                      <a:pt x="1062" y="203"/>
                      <a:pt x="1062" y="203"/>
                      <a:pt x="1062" y="203"/>
                    </a:cubicBezTo>
                    <a:cubicBezTo>
                      <a:pt x="1061" y="205"/>
                      <a:pt x="1061" y="205"/>
                      <a:pt x="1061" y="205"/>
                    </a:cubicBezTo>
                    <a:cubicBezTo>
                      <a:pt x="1061" y="206"/>
                      <a:pt x="1061" y="206"/>
                      <a:pt x="1061" y="206"/>
                    </a:cubicBezTo>
                    <a:cubicBezTo>
                      <a:pt x="1059" y="204"/>
                      <a:pt x="1059" y="204"/>
                      <a:pt x="1059" y="204"/>
                    </a:cubicBezTo>
                    <a:cubicBezTo>
                      <a:pt x="1058" y="202"/>
                      <a:pt x="1058" y="202"/>
                      <a:pt x="1058" y="202"/>
                    </a:cubicBezTo>
                    <a:cubicBezTo>
                      <a:pt x="1057" y="201"/>
                      <a:pt x="1057" y="201"/>
                      <a:pt x="1057" y="201"/>
                    </a:cubicBezTo>
                    <a:cubicBezTo>
                      <a:pt x="1057" y="200"/>
                      <a:pt x="1057" y="200"/>
                      <a:pt x="1057" y="200"/>
                    </a:cubicBezTo>
                    <a:cubicBezTo>
                      <a:pt x="1056" y="200"/>
                      <a:pt x="1056" y="200"/>
                      <a:pt x="1056" y="200"/>
                    </a:cubicBezTo>
                    <a:cubicBezTo>
                      <a:pt x="1056" y="201"/>
                      <a:pt x="1056" y="201"/>
                      <a:pt x="1056" y="201"/>
                    </a:cubicBezTo>
                    <a:cubicBezTo>
                      <a:pt x="1057" y="202"/>
                      <a:pt x="1057" y="202"/>
                      <a:pt x="1057" y="202"/>
                    </a:cubicBezTo>
                    <a:cubicBezTo>
                      <a:pt x="1058" y="204"/>
                      <a:pt x="1058" y="204"/>
                      <a:pt x="1058" y="204"/>
                    </a:cubicBezTo>
                    <a:cubicBezTo>
                      <a:pt x="1058" y="205"/>
                      <a:pt x="1058" y="205"/>
                      <a:pt x="1058" y="205"/>
                    </a:cubicBezTo>
                    <a:cubicBezTo>
                      <a:pt x="1059" y="205"/>
                      <a:pt x="1059" y="205"/>
                      <a:pt x="1059" y="205"/>
                    </a:cubicBezTo>
                    <a:cubicBezTo>
                      <a:pt x="1060" y="206"/>
                      <a:pt x="1060" y="206"/>
                      <a:pt x="1060" y="206"/>
                    </a:cubicBezTo>
                    <a:cubicBezTo>
                      <a:pt x="1059" y="207"/>
                      <a:pt x="1059" y="207"/>
                      <a:pt x="1059" y="207"/>
                    </a:cubicBezTo>
                    <a:cubicBezTo>
                      <a:pt x="1058" y="207"/>
                      <a:pt x="1058" y="207"/>
                      <a:pt x="1058" y="207"/>
                    </a:cubicBezTo>
                    <a:cubicBezTo>
                      <a:pt x="1057" y="208"/>
                      <a:pt x="1057" y="208"/>
                      <a:pt x="1057" y="208"/>
                    </a:cubicBezTo>
                    <a:cubicBezTo>
                      <a:pt x="1056" y="209"/>
                      <a:pt x="1056" y="209"/>
                      <a:pt x="1056" y="209"/>
                    </a:cubicBezTo>
                    <a:cubicBezTo>
                      <a:pt x="1055" y="209"/>
                      <a:pt x="1055" y="209"/>
                      <a:pt x="1055" y="209"/>
                    </a:cubicBezTo>
                    <a:cubicBezTo>
                      <a:pt x="1054" y="209"/>
                      <a:pt x="1054" y="209"/>
                      <a:pt x="1054" y="209"/>
                    </a:cubicBezTo>
                    <a:cubicBezTo>
                      <a:pt x="1053" y="209"/>
                      <a:pt x="1053" y="209"/>
                      <a:pt x="1053" y="209"/>
                    </a:cubicBezTo>
                    <a:cubicBezTo>
                      <a:pt x="1052" y="209"/>
                      <a:pt x="1052" y="209"/>
                      <a:pt x="1052" y="209"/>
                    </a:cubicBezTo>
                    <a:cubicBezTo>
                      <a:pt x="1052" y="208"/>
                      <a:pt x="1052" y="208"/>
                      <a:pt x="1052" y="208"/>
                    </a:cubicBezTo>
                    <a:cubicBezTo>
                      <a:pt x="1051" y="208"/>
                      <a:pt x="1051" y="208"/>
                      <a:pt x="1051" y="208"/>
                    </a:cubicBezTo>
                    <a:cubicBezTo>
                      <a:pt x="1049" y="207"/>
                      <a:pt x="1049" y="207"/>
                      <a:pt x="1049" y="207"/>
                    </a:cubicBezTo>
                    <a:cubicBezTo>
                      <a:pt x="1049" y="206"/>
                      <a:pt x="1049" y="206"/>
                      <a:pt x="1049" y="206"/>
                    </a:cubicBezTo>
                    <a:cubicBezTo>
                      <a:pt x="1049" y="205"/>
                      <a:pt x="1049" y="205"/>
                      <a:pt x="1049" y="205"/>
                    </a:cubicBezTo>
                    <a:cubicBezTo>
                      <a:pt x="1048" y="205"/>
                      <a:pt x="1048" y="205"/>
                      <a:pt x="1048" y="205"/>
                    </a:cubicBezTo>
                    <a:cubicBezTo>
                      <a:pt x="1048" y="206"/>
                      <a:pt x="1048" y="206"/>
                      <a:pt x="1048" y="206"/>
                    </a:cubicBezTo>
                    <a:cubicBezTo>
                      <a:pt x="1048" y="207"/>
                      <a:pt x="1048" y="207"/>
                      <a:pt x="1048" y="207"/>
                    </a:cubicBezTo>
                    <a:cubicBezTo>
                      <a:pt x="1049" y="207"/>
                      <a:pt x="1049" y="207"/>
                      <a:pt x="1049" y="207"/>
                    </a:cubicBezTo>
                    <a:cubicBezTo>
                      <a:pt x="1050" y="208"/>
                      <a:pt x="1050" y="208"/>
                      <a:pt x="1050" y="208"/>
                    </a:cubicBezTo>
                    <a:cubicBezTo>
                      <a:pt x="1051" y="209"/>
                      <a:pt x="1051" y="209"/>
                      <a:pt x="1051" y="209"/>
                    </a:cubicBezTo>
                    <a:cubicBezTo>
                      <a:pt x="1051" y="210"/>
                      <a:pt x="1051" y="210"/>
                      <a:pt x="1051" y="210"/>
                    </a:cubicBezTo>
                    <a:cubicBezTo>
                      <a:pt x="1050" y="210"/>
                      <a:pt x="1050" y="210"/>
                      <a:pt x="1050" y="210"/>
                    </a:cubicBezTo>
                    <a:cubicBezTo>
                      <a:pt x="1048" y="210"/>
                      <a:pt x="1048" y="210"/>
                      <a:pt x="1048" y="210"/>
                    </a:cubicBezTo>
                    <a:cubicBezTo>
                      <a:pt x="1047" y="210"/>
                      <a:pt x="1047" y="210"/>
                      <a:pt x="1047" y="210"/>
                    </a:cubicBezTo>
                    <a:cubicBezTo>
                      <a:pt x="1046" y="210"/>
                      <a:pt x="1046" y="210"/>
                      <a:pt x="1046" y="210"/>
                    </a:cubicBezTo>
                    <a:cubicBezTo>
                      <a:pt x="1045" y="211"/>
                      <a:pt x="1045" y="211"/>
                      <a:pt x="1045" y="211"/>
                    </a:cubicBezTo>
                    <a:cubicBezTo>
                      <a:pt x="1046" y="211"/>
                      <a:pt x="1046" y="211"/>
                      <a:pt x="1046" y="211"/>
                    </a:cubicBezTo>
                    <a:cubicBezTo>
                      <a:pt x="1046" y="212"/>
                      <a:pt x="1046" y="212"/>
                      <a:pt x="1046" y="212"/>
                    </a:cubicBezTo>
                    <a:cubicBezTo>
                      <a:pt x="1047" y="212"/>
                      <a:pt x="1047" y="212"/>
                      <a:pt x="1047" y="212"/>
                    </a:cubicBezTo>
                    <a:cubicBezTo>
                      <a:pt x="1047" y="211"/>
                      <a:pt x="1047" y="211"/>
                      <a:pt x="1047" y="211"/>
                    </a:cubicBezTo>
                    <a:cubicBezTo>
                      <a:pt x="1049" y="211"/>
                      <a:pt x="1049" y="211"/>
                      <a:pt x="1049" y="211"/>
                    </a:cubicBezTo>
                    <a:cubicBezTo>
                      <a:pt x="1050" y="211"/>
                      <a:pt x="1050" y="212"/>
                      <a:pt x="1050" y="212"/>
                    </a:cubicBezTo>
                    <a:cubicBezTo>
                      <a:pt x="1051" y="211"/>
                      <a:pt x="1051" y="211"/>
                      <a:pt x="1051" y="211"/>
                    </a:cubicBezTo>
                    <a:cubicBezTo>
                      <a:pt x="1051" y="210"/>
                      <a:pt x="1051" y="210"/>
                      <a:pt x="1051" y="210"/>
                    </a:cubicBezTo>
                    <a:cubicBezTo>
                      <a:pt x="1052" y="210"/>
                      <a:pt x="1052" y="210"/>
                      <a:pt x="1052" y="210"/>
                    </a:cubicBezTo>
                    <a:cubicBezTo>
                      <a:pt x="1053" y="210"/>
                      <a:pt x="1053" y="210"/>
                      <a:pt x="1053" y="210"/>
                    </a:cubicBezTo>
                    <a:cubicBezTo>
                      <a:pt x="1054" y="210"/>
                      <a:pt x="1054" y="210"/>
                      <a:pt x="1054" y="210"/>
                    </a:cubicBezTo>
                    <a:cubicBezTo>
                      <a:pt x="1055" y="211"/>
                      <a:pt x="1055" y="211"/>
                      <a:pt x="1055" y="211"/>
                    </a:cubicBezTo>
                    <a:cubicBezTo>
                      <a:pt x="1056" y="211"/>
                      <a:pt x="1056" y="211"/>
                      <a:pt x="1056" y="211"/>
                    </a:cubicBezTo>
                    <a:cubicBezTo>
                      <a:pt x="1057" y="212"/>
                      <a:pt x="1057" y="212"/>
                      <a:pt x="1057" y="212"/>
                    </a:cubicBezTo>
                    <a:cubicBezTo>
                      <a:pt x="1058" y="212"/>
                      <a:pt x="1058" y="212"/>
                      <a:pt x="1058" y="212"/>
                    </a:cubicBezTo>
                    <a:cubicBezTo>
                      <a:pt x="1058" y="213"/>
                      <a:pt x="1058" y="213"/>
                      <a:pt x="1058" y="213"/>
                    </a:cubicBezTo>
                    <a:cubicBezTo>
                      <a:pt x="1058" y="214"/>
                      <a:pt x="1058" y="214"/>
                      <a:pt x="1058" y="214"/>
                    </a:cubicBezTo>
                    <a:cubicBezTo>
                      <a:pt x="1057" y="214"/>
                      <a:pt x="1057" y="214"/>
                      <a:pt x="1057" y="214"/>
                    </a:cubicBezTo>
                    <a:cubicBezTo>
                      <a:pt x="1057" y="215"/>
                      <a:pt x="1057" y="215"/>
                      <a:pt x="1057" y="215"/>
                    </a:cubicBezTo>
                    <a:cubicBezTo>
                      <a:pt x="1056" y="214"/>
                      <a:pt x="1056" y="214"/>
                      <a:pt x="1056" y="214"/>
                    </a:cubicBezTo>
                    <a:cubicBezTo>
                      <a:pt x="1055" y="215"/>
                      <a:pt x="1055" y="215"/>
                      <a:pt x="1055" y="215"/>
                    </a:cubicBezTo>
                    <a:cubicBezTo>
                      <a:pt x="1054" y="215"/>
                      <a:pt x="1054" y="215"/>
                      <a:pt x="1054" y="215"/>
                    </a:cubicBezTo>
                    <a:cubicBezTo>
                      <a:pt x="1053" y="216"/>
                      <a:pt x="1053" y="216"/>
                      <a:pt x="1053" y="216"/>
                    </a:cubicBezTo>
                    <a:cubicBezTo>
                      <a:pt x="1052" y="216"/>
                      <a:pt x="1052" y="216"/>
                      <a:pt x="1052" y="216"/>
                    </a:cubicBezTo>
                    <a:cubicBezTo>
                      <a:pt x="1051" y="214"/>
                      <a:pt x="1051" y="214"/>
                      <a:pt x="1051" y="214"/>
                    </a:cubicBezTo>
                    <a:cubicBezTo>
                      <a:pt x="1050" y="214"/>
                      <a:pt x="1050" y="214"/>
                      <a:pt x="1050" y="214"/>
                    </a:cubicBezTo>
                    <a:cubicBezTo>
                      <a:pt x="1049" y="215"/>
                      <a:pt x="1049" y="215"/>
                      <a:pt x="1049" y="215"/>
                    </a:cubicBezTo>
                    <a:cubicBezTo>
                      <a:pt x="1050" y="215"/>
                      <a:pt x="1050" y="215"/>
                      <a:pt x="1050" y="215"/>
                    </a:cubicBezTo>
                    <a:cubicBezTo>
                      <a:pt x="1051" y="216"/>
                      <a:pt x="1051" y="216"/>
                      <a:pt x="1051" y="216"/>
                    </a:cubicBezTo>
                    <a:cubicBezTo>
                      <a:pt x="1050" y="216"/>
                      <a:pt x="1050" y="216"/>
                      <a:pt x="1050" y="216"/>
                    </a:cubicBezTo>
                    <a:cubicBezTo>
                      <a:pt x="1049" y="216"/>
                      <a:pt x="1049" y="216"/>
                      <a:pt x="1049" y="216"/>
                    </a:cubicBezTo>
                    <a:cubicBezTo>
                      <a:pt x="1048" y="217"/>
                      <a:pt x="1048" y="217"/>
                      <a:pt x="1048" y="217"/>
                    </a:cubicBezTo>
                    <a:cubicBezTo>
                      <a:pt x="1049" y="217"/>
                      <a:pt x="1049" y="217"/>
                      <a:pt x="1049" y="217"/>
                    </a:cubicBezTo>
                    <a:cubicBezTo>
                      <a:pt x="1050" y="217"/>
                      <a:pt x="1050" y="217"/>
                      <a:pt x="1050" y="217"/>
                    </a:cubicBezTo>
                    <a:cubicBezTo>
                      <a:pt x="1051" y="217"/>
                      <a:pt x="1051" y="217"/>
                      <a:pt x="1051" y="217"/>
                    </a:cubicBezTo>
                    <a:cubicBezTo>
                      <a:pt x="1051" y="218"/>
                      <a:pt x="1051" y="218"/>
                      <a:pt x="1051" y="218"/>
                    </a:cubicBezTo>
                    <a:cubicBezTo>
                      <a:pt x="1052" y="218"/>
                      <a:pt x="1052" y="218"/>
                      <a:pt x="1052" y="218"/>
                    </a:cubicBezTo>
                    <a:cubicBezTo>
                      <a:pt x="1052" y="217"/>
                      <a:pt x="1052" y="217"/>
                      <a:pt x="1052" y="217"/>
                    </a:cubicBezTo>
                    <a:cubicBezTo>
                      <a:pt x="1053" y="217"/>
                      <a:pt x="1053" y="217"/>
                      <a:pt x="1053" y="217"/>
                    </a:cubicBezTo>
                    <a:cubicBezTo>
                      <a:pt x="1054" y="217"/>
                      <a:pt x="1054" y="217"/>
                      <a:pt x="1054" y="217"/>
                    </a:cubicBezTo>
                    <a:cubicBezTo>
                      <a:pt x="1055" y="216"/>
                      <a:pt x="1055" y="216"/>
                      <a:pt x="1055" y="216"/>
                    </a:cubicBezTo>
                    <a:cubicBezTo>
                      <a:pt x="1056" y="216"/>
                      <a:pt x="1056" y="216"/>
                      <a:pt x="1056" y="216"/>
                    </a:cubicBezTo>
                    <a:cubicBezTo>
                      <a:pt x="1057" y="217"/>
                      <a:pt x="1057" y="217"/>
                      <a:pt x="1057" y="217"/>
                    </a:cubicBezTo>
                    <a:cubicBezTo>
                      <a:pt x="1058" y="217"/>
                      <a:pt x="1058" y="217"/>
                      <a:pt x="1058" y="217"/>
                    </a:cubicBezTo>
                    <a:cubicBezTo>
                      <a:pt x="1058" y="218"/>
                      <a:pt x="1058" y="218"/>
                      <a:pt x="1058" y="218"/>
                    </a:cubicBezTo>
                    <a:cubicBezTo>
                      <a:pt x="1058" y="220"/>
                      <a:pt x="1058" y="220"/>
                      <a:pt x="1058" y="220"/>
                    </a:cubicBezTo>
                    <a:cubicBezTo>
                      <a:pt x="1057" y="221"/>
                      <a:pt x="1057" y="221"/>
                      <a:pt x="1057" y="221"/>
                    </a:cubicBezTo>
                    <a:cubicBezTo>
                      <a:pt x="1056" y="221"/>
                      <a:pt x="1056" y="221"/>
                      <a:pt x="1056" y="221"/>
                    </a:cubicBezTo>
                    <a:cubicBezTo>
                      <a:pt x="1055" y="221"/>
                      <a:pt x="1055" y="221"/>
                      <a:pt x="1055" y="221"/>
                    </a:cubicBezTo>
                    <a:cubicBezTo>
                      <a:pt x="1054" y="221"/>
                      <a:pt x="1054" y="221"/>
                      <a:pt x="1054" y="221"/>
                    </a:cubicBezTo>
                    <a:cubicBezTo>
                      <a:pt x="1055" y="222"/>
                      <a:pt x="1055" y="222"/>
                      <a:pt x="1055" y="222"/>
                    </a:cubicBezTo>
                    <a:cubicBezTo>
                      <a:pt x="1055" y="222"/>
                      <a:pt x="1055" y="222"/>
                      <a:pt x="1056" y="222"/>
                    </a:cubicBezTo>
                    <a:cubicBezTo>
                      <a:pt x="1055" y="223"/>
                      <a:pt x="1055" y="223"/>
                      <a:pt x="1055" y="223"/>
                    </a:cubicBezTo>
                    <a:cubicBezTo>
                      <a:pt x="1055" y="223"/>
                      <a:pt x="1055" y="223"/>
                      <a:pt x="1056" y="223"/>
                    </a:cubicBezTo>
                    <a:cubicBezTo>
                      <a:pt x="1056" y="223"/>
                      <a:pt x="1056" y="223"/>
                      <a:pt x="1056" y="222"/>
                    </a:cubicBezTo>
                    <a:cubicBezTo>
                      <a:pt x="1056" y="222"/>
                      <a:pt x="1056" y="222"/>
                      <a:pt x="1056" y="222"/>
                    </a:cubicBezTo>
                    <a:cubicBezTo>
                      <a:pt x="1057" y="222"/>
                      <a:pt x="1057" y="222"/>
                      <a:pt x="1057" y="222"/>
                    </a:cubicBezTo>
                    <a:cubicBezTo>
                      <a:pt x="1059" y="222"/>
                      <a:pt x="1059" y="222"/>
                      <a:pt x="1059" y="222"/>
                    </a:cubicBezTo>
                    <a:cubicBezTo>
                      <a:pt x="1060" y="222"/>
                      <a:pt x="1060" y="222"/>
                      <a:pt x="1060" y="222"/>
                    </a:cubicBezTo>
                    <a:cubicBezTo>
                      <a:pt x="1060" y="223"/>
                      <a:pt x="1060" y="223"/>
                      <a:pt x="1060" y="223"/>
                    </a:cubicBezTo>
                    <a:cubicBezTo>
                      <a:pt x="1062" y="224"/>
                      <a:pt x="1062" y="224"/>
                      <a:pt x="1062" y="224"/>
                    </a:cubicBezTo>
                    <a:cubicBezTo>
                      <a:pt x="1062" y="225"/>
                      <a:pt x="1062" y="225"/>
                      <a:pt x="1062" y="225"/>
                    </a:cubicBezTo>
                    <a:cubicBezTo>
                      <a:pt x="1063" y="225"/>
                      <a:pt x="1063" y="225"/>
                      <a:pt x="1063" y="225"/>
                    </a:cubicBezTo>
                    <a:cubicBezTo>
                      <a:pt x="1063" y="226"/>
                      <a:pt x="1063" y="226"/>
                      <a:pt x="1063" y="226"/>
                    </a:cubicBezTo>
                    <a:cubicBezTo>
                      <a:pt x="1064" y="226"/>
                      <a:pt x="1064" y="226"/>
                      <a:pt x="1064" y="226"/>
                    </a:cubicBezTo>
                    <a:cubicBezTo>
                      <a:pt x="1065" y="227"/>
                      <a:pt x="1065" y="227"/>
                      <a:pt x="1065" y="227"/>
                    </a:cubicBezTo>
                    <a:cubicBezTo>
                      <a:pt x="1066" y="228"/>
                      <a:pt x="1066" y="228"/>
                      <a:pt x="1066" y="228"/>
                    </a:cubicBezTo>
                    <a:cubicBezTo>
                      <a:pt x="1067" y="228"/>
                      <a:pt x="1067" y="228"/>
                      <a:pt x="1067" y="228"/>
                    </a:cubicBezTo>
                    <a:cubicBezTo>
                      <a:pt x="1067" y="229"/>
                      <a:pt x="1067" y="229"/>
                      <a:pt x="1067" y="229"/>
                    </a:cubicBezTo>
                    <a:cubicBezTo>
                      <a:pt x="1068" y="229"/>
                      <a:pt x="1068" y="229"/>
                      <a:pt x="1068" y="229"/>
                    </a:cubicBezTo>
                    <a:cubicBezTo>
                      <a:pt x="1068" y="230"/>
                      <a:pt x="1068" y="230"/>
                      <a:pt x="1068" y="230"/>
                    </a:cubicBezTo>
                    <a:cubicBezTo>
                      <a:pt x="1067" y="231"/>
                      <a:pt x="1067" y="231"/>
                      <a:pt x="1067" y="231"/>
                    </a:cubicBezTo>
                    <a:cubicBezTo>
                      <a:pt x="1066" y="231"/>
                      <a:pt x="1066" y="231"/>
                      <a:pt x="1066" y="231"/>
                    </a:cubicBezTo>
                    <a:cubicBezTo>
                      <a:pt x="1066" y="232"/>
                      <a:pt x="1066" y="232"/>
                      <a:pt x="1066" y="232"/>
                    </a:cubicBezTo>
                    <a:cubicBezTo>
                      <a:pt x="1067" y="231"/>
                      <a:pt x="1067" y="231"/>
                      <a:pt x="1067" y="231"/>
                    </a:cubicBezTo>
                    <a:cubicBezTo>
                      <a:pt x="1068" y="231"/>
                      <a:pt x="1068" y="231"/>
                      <a:pt x="1068" y="231"/>
                    </a:cubicBezTo>
                    <a:cubicBezTo>
                      <a:pt x="1068" y="232"/>
                      <a:pt x="1068" y="232"/>
                      <a:pt x="1068" y="232"/>
                    </a:cubicBezTo>
                    <a:cubicBezTo>
                      <a:pt x="1069" y="232"/>
                      <a:pt x="1069" y="232"/>
                      <a:pt x="1069" y="232"/>
                    </a:cubicBezTo>
                    <a:cubicBezTo>
                      <a:pt x="1070" y="232"/>
                      <a:pt x="1070" y="232"/>
                      <a:pt x="1070" y="232"/>
                    </a:cubicBezTo>
                    <a:cubicBezTo>
                      <a:pt x="1070" y="233"/>
                      <a:pt x="1070" y="233"/>
                      <a:pt x="1070" y="233"/>
                    </a:cubicBezTo>
                    <a:cubicBezTo>
                      <a:pt x="1069" y="234"/>
                      <a:pt x="1069" y="234"/>
                      <a:pt x="1069" y="234"/>
                    </a:cubicBezTo>
                    <a:cubicBezTo>
                      <a:pt x="1068" y="234"/>
                      <a:pt x="1068" y="234"/>
                      <a:pt x="1068" y="234"/>
                    </a:cubicBezTo>
                    <a:cubicBezTo>
                      <a:pt x="1068" y="235"/>
                      <a:pt x="1068" y="235"/>
                      <a:pt x="1068" y="235"/>
                    </a:cubicBezTo>
                    <a:cubicBezTo>
                      <a:pt x="1068" y="236"/>
                      <a:pt x="1068" y="236"/>
                      <a:pt x="1068" y="236"/>
                    </a:cubicBezTo>
                    <a:cubicBezTo>
                      <a:pt x="1068" y="237"/>
                      <a:pt x="1068" y="237"/>
                      <a:pt x="1068" y="237"/>
                    </a:cubicBezTo>
                    <a:cubicBezTo>
                      <a:pt x="1069" y="236"/>
                      <a:pt x="1069" y="236"/>
                      <a:pt x="1069" y="236"/>
                    </a:cubicBezTo>
                    <a:cubicBezTo>
                      <a:pt x="1070" y="235"/>
                      <a:pt x="1070" y="235"/>
                      <a:pt x="1070" y="235"/>
                    </a:cubicBezTo>
                    <a:cubicBezTo>
                      <a:pt x="1071" y="235"/>
                      <a:pt x="1071" y="235"/>
                      <a:pt x="1071" y="235"/>
                    </a:cubicBezTo>
                    <a:cubicBezTo>
                      <a:pt x="1071" y="236"/>
                      <a:pt x="1071" y="236"/>
                      <a:pt x="1071" y="236"/>
                    </a:cubicBezTo>
                    <a:cubicBezTo>
                      <a:pt x="1070" y="237"/>
                      <a:pt x="1070" y="237"/>
                      <a:pt x="1070" y="237"/>
                    </a:cubicBezTo>
                    <a:cubicBezTo>
                      <a:pt x="1070" y="238"/>
                      <a:pt x="1070" y="238"/>
                      <a:pt x="1070" y="238"/>
                    </a:cubicBezTo>
                    <a:cubicBezTo>
                      <a:pt x="1071" y="238"/>
                      <a:pt x="1071" y="238"/>
                      <a:pt x="1071" y="238"/>
                    </a:cubicBezTo>
                    <a:cubicBezTo>
                      <a:pt x="1071" y="240"/>
                      <a:pt x="1071" y="240"/>
                      <a:pt x="1071" y="240"/>
                    </a:cubicBezTo>
                    <a:cubicBezTo>
                      <a:pt x="1070" y="240"/>
                      <a:pt x="1070" y="240"/>
                      <a:pt x="1070" y="240"/>
                    </a:cubicBezTo>
                    <a:cubicBezTo>
                      <a:pt x="1069" y="240"/>
                      <a:pt x="1069" y="240"/>
                      <a:pt x="1069" y="240"/>
                    </a:cubicBezTo>
                    <a:cubicBezTo>
                      <a:pt x="1069" y="241"/>
                      <a:pt x="1069" y="241"/>
                      <a:pt x="1069" y="241"/>
                    </a:cubicBezTo>
                    <a:cubicBezTo>
                      <a:pt x="1070" y="241"/>
                      <a:pt x="1070" y="241"/>
                      <a:pt x="1070" y="241"/>
                    </a:cubicBezTo>
                    <a:cubicBezTo>
                      <a:pt x="1070" y="242"/>
                      <a:pt x="1070" y="242"/>
                      <a:pt x="1070" y="242"/>
                    </a:cubicBezTo>
                    <a:cubicBezTo>
                      <a:pt x="1070" y="243"/>
                      <a:pt x="1070" y="243"/>
                      <a:pt x="1070" y="243"/>
                    </a:cubicBezTo>
                    <a:cubicBezTo>
                      <a:pt x="1071" y="243"/>
                      <a:pt x="1071" y="243"/>
                      <a:pt x="1071" y="243"/>
                    </a:cubicBezTo>
                    <a:cubicBezTo>
                      <a:pt x="1071" y="244"/>
                      <a:pt x="1071" y="244"/>
                      <a:pt x="1071" y="244"/>
                    </a:cubicBezTo>
                    <a:cubicBezTo>
                      <a:pt x="1070" y="245"/>
                      <a:pt x="1070" y="245"/>
                      <a:pt x="1070" y="245"/>
                    </a:cubicBezTo>
                    <a:cubicBezTo>
                      <a:pt x="1070" y="246"/>
                      <a:pt x="1070" y="246"/>
                      <a:pt x="1070" y="246"/>
                    </a:cubicBezTo>
                    <a:cubicBezTo>
                      <a:pt x="1070" y="248"/>
                      <a:pt x="1070" y="248"/>
                      <a:pt x="1070" y="248"/>
                    </a:cubicBezTo>
                    <a:cubicBezTo>
                      <a:pt x="1070" y="249"/>
                      <a:pt x="1070" y="249"/>
                      <a:pt x="1070" y="249"/>
                    </a:cubicBezTo>
                    <a:cubicBezTo>
                      <a:pt x="1070" y="250"/>
                      <a:pt x="1070" y="250"/>
                      <a:pt x="1070" y="250"/>
                    </a:cubicBezTo>
                    <a:cubicBezTo>
                      <a:pt x="1069" y="250"/>
                      <a:pt x="1069" y="250"/>
                      <a:pt x="1069" y="250"/>
                    </a:cubicBezTo>
                    <a:cubicBezTo>
                      <a:pt x="1068" y="249"/>
                      <a:pt x="1068" y="249"/>
                      <a:pt x="1068" y="249"/>
                    </a:cubicBezTo>
                    <a:cubicBezTo>
                      <a:pt x="1069" y="249"/>
                      <a:pt x="1069" y="249"/>
                      <a:pt x="1069" y="249"/>
                    </a:cubicBezTo>
                    <a:cubicBezTo>
                      <a:pt x="1068" y="248"/>
                      <a:pt x="1068" y="248"/>
                      <a:pt x="1068" y="248"/>
                    </a:cubicBezTo>
                    <a:cubicBezTo>
                      <a:pt x="1067" y="248"/>
                      <a:pt x="1067" y="248"/>
                      <a:pt x="1067" y="248"/>
                    </a:cubicBezTo>
                    <a:cubicBezTo>
                      <a:pt x="1067" y="249"/>
                      <a:pt x="1067" y="249"/>
                      <a:pt x="1067" y="249"/>
                    </a:cubicBezTo>
                    <a:cubicBezTo>
                      <a:pt x="1066" y="248"/>
                      <a:pt x="1066" y="248"/>
                      <a:pt x="1066" y="248"/>
                    </a:cubicBezTo>
                    <a:cubicBezTo>
                      <a:pt x="1066" y="247"/>
                      <a:pt x="1066" y="247"/>
                      <a:pt x="1066" y="247"/>
                    </a:cubicBezTo>
                    <a:cubicBezTo>
                      <a:pt x="1067" y="246"/>
                      <a:pt x="1067" y="246"/>
                      <a:pt x="1067" y="246"/>
                    </a:cubicBezTo>
                    <a:cubicBezTo>
                      <a:pt x="1066" y="245"/>
                      <a:pt x="1066" y="245"/>
                      <a:pt x="1066" y="245"/>
                    </a:cubicBezTo>
                    <a:cubicBezTo>
                      <a:pt x="1066" y="244"/>
                      <a:pt x="1066" y="244"/>
                      <a:pt x="1066" y="244"/>
                    </a:cubicBezTo>
                    <a:cubicBezTo>
                      <a:pt x="1066" y="243"/>
                      <a:pt x="1066" y="243"/>
                      <a:pt x="1066" y="243"/>
                    </a:cubicBezTo>
                    <a:cubicBezTo>
                      <a:pt x="1065" y="244"/>
                      <a:pt x="1065" y="244"/>
                      <a:pt x="1065" y="244"/>
                    </a:cubicBezTo>
                    <a:cubicBezTo>
                      <a:pt x="1065" y="245"/>
                      <a:pt x="1065" y="245"/>
                      <a:pt x="1065" y="245"/>
                    </a:cubicBezTo>
                    <a:cubicBezTo>
                      <a:pt x="1065" y="246"/>
                      <a:pt x="1065" y="246"/>
                      <a:pt x="1065" y="246"/>
                    </a:cubicBezTo>
                    <a:cubicBezTo>
                      <a:pt x="1065" y="248"/>
                      <a:pt x="1065" y="248"/>
                      <a:pt x="1065" y="248"/>
                    </a:cubicBezTo>
                    <a:cubicBezTo>
                      <a:pt x="1065" y="249"/>
                      <a:pt x="1065" y="249"/>
                      <a:pt x="1065" y="249"/>
                    </a:cubicBezTo>
                    <a:cubicBezTo>
                      <a:pt x="1064" y="249"/>
                      <a:pt x="1064" y="249"/>
                      <a:pt x="1064" y="249"/>
                    </a:cubicBezTo>
                    <a:cubicBezTo>
                      <a:pt x="1063" y="249"/>
                      <a:pt x="1063" y="249"/>
                      <a:pt x="1063" y="249"/>
                    </a:cubicBezTo>
                    <a:cubicBezTo>
                      <a:pt x="1062" y="249"/>
                      <a:pt x="1062" y="249"/>
                      <a:pt x="1062" y="249"/>
                    </a:cubicBezTo>
                    <a:cubicBezTo>
                      <a:pt x="1060" y="248"/>
                      <a:pt x="1060" y="248"/>
                      <a:pt x="1060" y="248"/>
                    </a:cubicBezTo>
                    <a:cubicBezTo>
                      <a:pt x="1059" y="246"/>
                      <a:pt x="1059" y="246"/>
                      <a:pt x="1059" y="246"/>
                    </a:cubicBezTo>
                    <a:cubicBezTo>
                      <a:pt x="1058" y="245"/>
                      <a:pt x="1058" y="245"/>
                      <a:pt x="1058" y="245"/>
                    </a:cubicBezTo>
                    <a:cubicBezTo>
                      <a:pt x="1058" y="244"/>
                      <a:pt x="1058" y="244"/>
                      <a:pt x="1058" y="244"/>
                    </a:cubicBezTo>
                    <a:cubicBezTo>
                      <a:pt x="1058" y="242"/>
                      <a:pt x="1058" y="242"/>
                      <a:pt x="1058" y="242"/>
                    </a:cubicBezTo>
                    <a:cubicBezTo>
                      <a:pt x="1057" y="241"/>
                      <a:pt x="1057" y="241"/>
                      <a:pt x="1057" y="241"/>
                    </a:cubicBezTo>
                    <a:cubicBezTo>
                      <a:pt x="1056" y="240"/>
                      <a:pt x="1056" y="240"/>
                      <a:pt x="1056" y="240"/>
                    </a:cubicBezTo>
                    <a:cubicBezTo>
                      <a:pt x="1056" y="239"/>
                      <a:pt x="1056" y="239"/>
                      <a:pt x="1056" y="239"/>
                    </a:cubicBezTo>
                    <a:cubicBezTo>
                      <a:pt x="1056" y="238"/>
                      <a:pt x="1056" y="238"/>
                      <a:pt x="1056" y="238"/>
                    </a:cubicBezTo>
                    <a:cubicBezTo>
                      <a:pt x="1057" y="237"/>
                      <a:pt x="1057" y="237"/>
                      <a:pt x="1057" y="237"/>
                    </a:cubicBezTo>
                    <a:cubicBezTo>
                      <a:pt x="1056" y="236"/>
                      <a:pt x="1056" y="236"/>
                      <a:pt x="1056" y="236"/>
                    </a:cubicBezTo>
                    <a:cubicBezTo>
                      <a:pt x="1055" y="236"/>
                      <a:pt x="1055" y="236"/>
                      <a:pt x="1055" y="236"/>
                    </a:cubicBezTo>
                    <a:cubicBezTo>
                      <a:pt x="1054" y="237"/>
                      <a:pt x="1054" y="237"/>
                      <a:pt x="1054" y="237"/>
                    </a:cubicBezTo>
                    <a:cubicBezTo>
                      <a:pt x="1054" y="236"/>
                      <a:pt x="1054" y="236"/>
                      <a:pt x="1054" y="236"/>
                    </a:cubicBezTo>
                    <a:cubicBezTo>
                      <a:pt x="1052" y="234"/>
                      <a:pt x="1052" y="234"/>
                      <a:pt x="1052" y="234"/>
                    </a:cubicBezTo>
                    <a:cubicBezTo>
                      <a:pt x="1051" y="233"/>
                      <a:pt x="1051" y="233"/>
                      <a:pt x="1051" y="233"/>
                    </a:cubicBezTo>
                    <a:cubicBezTo>
                      <a:pt x="1051" y="232"/>
                      <a:pt x="1051" y="232"/>
                      <a:pt x="1051" y="232"/>
                    </a:cubicBezTo>
                    <a:cubicBezTo>
                      <a:pt x="1050" y="233"/>
                      <a:pt x="1050" y="233"/>
                      <a:pt x="1050" y="233"/>
                    </a:cubicBezTo>
                    <a:cubicBezTo>
                      <a:pt x="1049" y="233"/>
                      <a:pt x="1049" y="233"/>
                      <a:pt x="1049" y="233"/>
                    </a:cubicBezTo>
                    <a:cubicBezTo>
                      <a:pt x="1048" y="232"/>
                      <a:pt x="1048" y="232"/>
                      <a:pt x="1048" y="232"/>
                    </a:cubicBezTo>
                    <a:cubicBezTo>
                      <a:pt x="1048" y="233"/>
                      <a:pt x="1048" y="233"/>
                      <a:pt x="1048" y="233"/>
                    </a:cubicBezTo>
                    <a:cubicBezTo>
                      <a:pt x="1047" y="233"/>
                      <a:pt x="1047" y="233"/>
                      <a:pt x="1047" y="233"/>
                    </a:cubicBezTo>
                    <a:cubicBezTo>
                      <a:pt x="1046" y="233"/>
                      <a:pt x="1046" y="233"/>
                      <a:pt x="1046" y="233"/>
                    </a:cubicBezTo>
                    <a:cubicBezTo>
                      <a:pt x="1045" y="232"/>
                      <a:pt x="1045" y="232"/>
                      <a:pt x="1045" y="232"/>
                    </a:cubicBezTo>
                    <a:cubicBezTo>
                      <a:pt x="1045" y="231"/>
                      <a:pt x="1045" y="231"/>
                      <a:pt x="1045" y="231"/>
                    </a:cubicBezTo>
                    <a:cubicBezTo>
                      <a:pt x="1044" y="230"/>
                      <a:pt x="1044" y="230"/>
                      <a:pt x="1044" y="230"/>
                    </a:cubicBezTo>
                    <a:cubicBezTo>
                      <a:pt x="1044" y="229"/>
                      <a:pt x="1044" y="229"/>
                      <a:pt x="1044" y="229"/>
                    </a:cubicBezTo>
                    <a:cubicBezTo>
                      <a:pt x="1043" y="229"/>
                      <a:pt x="1043" y="229"/>
                      <a:pt x="1043" y="229"/>
                    </a:cubicBezTo>
                    <a:cubicBezTo>
                      <a:pt x="1043" y="227"/>
                      <a:pt x="1043" y="227"/>
                      <a:pt x="1043" y="227"/>
                    </a:cubicBezTo>
                    <a:cubicBezTo>
                      <a:pt x="1042" y="226"/>
                      <a:pt x="1042" y="226"/>
                      <a:pt x="1042" y="226"/>
                    </a:cubicBezTo>
                    <a:cubicBezTo>
                      <a:pt x="1042" y="227"/>
                      <a:pt x="1042" y="227"/>
                      <a:pt x="1042" y="227"/>
                    </a:cubicBezTo>
                    <a:cubicBezTo>
                      <a:pt x="1042" y="228"/>
                      <a:pt x="1042" y="228"/>
                      <a:pt x="1042" y="228"/>
                    </a:cubicBezTo>
                    <a:cubicBezTo>
                      <a:pt x="1042" y="229"/>
                      <a:pt x="1042" y="229"/>
                      <a:pt x="1042" y="229"/>
                    </a:cubicBezTo>
                    <a:cubicBezTo>
                      <a:pt x="1041" y="229"/>
                      <a:pt x="1041" y="229"/>
                      <a:pt x="1041" y="229"/>
                    </a:cubicBezTo>
                    <a:cubicBezTo>
                      <a:pt x="1041" y="230"/>
                      <a:pt x="1041" y="230"/>
                      <a:pt x="1041" y="230"/>
                    </a:cubicBezTo>
                    <a:cubicBezTo>
                      <a:pt x="1042" y="230"/>
                      <a:pt x="1042" y="230"/>
                      <a:pt x="1042" y="230"/>
                    </a:cubicBezTo>
                    <a:cubicBezTo>
                      <a:pt x="1043" y="231"/>
                      <a:pt x="1043" y="231"/>
                      <a:pt x="1043" y="231"/>
                    </a:cubicBezTo>
                    <a:cubicBezTo>
                      <a:pt x="1044" y="232"/>
                      <a:pt x="1044" y="232"/>
                      <a:pt x="1044" y="232"/>
                    </a:cubicBezTo>
                    <a:cubicBezTo>
                      <a:pt x="1043" y="233"/>
                      <a:pt x="1043" y="233"/>
                      <a:pt x="1043" y="233"/>
                    </a:cubicBezTo>
                    <a:cubicBezTo>
                      <a:pt x="1042" y="233"/>
                      <a:pt x="1042" y="233"/>
                      <a:pt x="1042" y="233"/>
                    </a:cubicBezTo>
                    <a:cubicBezTo>
                      <a:pt x="1041" y="234"/>
                      <a:pt x="1041" y="234"/>
                      <a:pt x="1041" y="234"/>
                    </a:cubicBezTo>
                    <a:cubicBezTo>
                      <a:pt x="1040" y="233"/>
                      <a:pt x="1040" y="233"/>
                      <a:pt x="1040" y="233"/>
                    </a:cubicBezTo>
                    <a:cubicBezTo>
                      <a:pt x="1040" y="234"/>
                      <a:pt x="1040" y="234"/>
                      <a:pt x="1040" y="234"/>
                    </a:cubicBezTo>
                    <a:cubicBezTo>
                      <a:pt x="1041" y="234"/>
                      <a:pt x="1041" y="234"/>
                      <a:pt x="1041" y="234"/>
                    </a:cubicBezTo>
                    <a:cubicBezTo>
                      <a:pt x="1042" y="234"/>
                      <a:pt x="1042" y="234"/>
                      <a:pt x="1042" y="234"/>
                    </a:cubicBezTo>
                    <a:cubicBezTo>
                      <a:pt x="1043" y="233"/>
                      <a:pt x="1043" y="233"/>
                      <a:pt x="1043" y="233"/>
                    </a:cubicBezTo>
                    <a:cubicBezTo>
                      <a:pt x="1044" y="233"/>
                      <a:pt x="1044" y="233"/>
                      <a:pt x="1044" y="233"/>
                    </a:cubicBezTo>
                    <a:cubicBezTo>
                      <a:pt x="1045" y="233"/>
                      <a:pt x="1045" y="233"/>
                      <a:pt x="1045" y="233"/>
                    </a:cubicBezTo>
                    <a:cubicBezTo>
                      <a:pt x="1045" y="234"/>
                      <a:pt x="1045" y="234"/>
                      <a:pt x="1045" y="234"/>
                    </a:cubicBezTo>
                    <a:cubicBezTo>
                      <a:pt x="1046" y="234"/>
                      <a:pt x="1046" y="234"/>
                      <a:pt x="1046" y="234"/>
                    </a:cubicBezTo>
                    <a:cubicBezTo>
                      <a:pt x="1047" y="234"/>
                      <a:pt x="1047" y="234"/>
                      <a:pt x="1047" y="234"/>
                    </a:cubicBezTo>
                    <a:cubicBezTo>
                      <a:pt x="1050" y="235"/>
                      <a:pt x="1050" y="235"/>
                      <a:pt x="1050" y="235"/>
                    </a:cubicBezTo>
                    <a:cubicBezTo>
                      <a:pt x="1051" y="235"/>
                      <a:pt x="1051" y="235"/>
                      <a:pt x="1051" y="235"/>
                    </a:cubicBezTo>
                    <a:cubicBezTo>
                      <a:pt x="1052" y="235"/>
                      <a:pt x="1052" y="235"/>
                      <a:pt x="1052" y="235"/>
                    </a:cubicBezTo>
                    <a:cubicBezTo>
                      <a:pt x="1052" y="236"/>
                      <a:pt x="1052" y="236"/>
                      <a:pt x="1052" y="236"/>
                    </a:cubicBezTo>
                    <a:cubicBezTo>
                      <a:pt x="1053" y="237"/>
                      <a:pt x="1053" y="237"/>
                      <a:pt x="1053" y="237"/>
                    </a:cubicBezTo>
                    <a:cubicBezTo>
                      <a:pt x="1052" y="238"/>
                      <a:pt x="1052" y="238"/>
                      <a:pt x="1052" y="238"/>
                    </a:cubicBezTo>
                    <a:cubicBezTo>
                      <a:pt x="1051" y="239"/>
                      <a:pt x="1051" y="239"/>
                      <a:pt x="1051" y="239"/>
                    </a:cubicBezTo>
                    <a:cubicBezTo>
                      <a:pt x="1051" y="240"/>
                      <a:pt x="1051" y="240"/>
                      <a:pt x="1051" y="240"/>
                    </a:cubicBezTo>
                    <a:cubicBezTo>
                      <a:pt x="1050" y="240"/>
                      <a:pt x="1050" y="240"/>
                      <a:pt x="1050" y="240"/>
                    </a:cubicBezTo>
                    <a:cubicBezTo>
                      <a:pt x="1049" y="240"/>
                      <a:pt x="1049" y="240"/>
                      <a:pt x="1049" y="240"/>
                    </a:cubicBezTo>
                    <a:cubicBezTo>
                      <a:pt x="1046" y="241"/>
                      <a:pt x="1046" y="241"/>
                      <a:pt x="1046" y="241"/>
                    </a:cubicBezTo>
                    <a:cubicBezTo>
                      <a:pt x="1045" y="241"/>
                      <a:pt x="1045" y="241"/>
                      <a:pt x="1045" y="241"/>
                    </a:cubicBezTo>
                    <a:cubicBezTo>
                      <a:pt x="1043" y="242"/>
                      <a:pt x="1043" y="242"/>
                      <a:pt x="1043" y="242"/>
                    </a:cubicBezTo>
                    <a:cubicBezTo>
                      <a:pt x="1043" y="241"/>
                      <a:pt x="1043" y="241"/>
                      <a:pt x="1043" y="241"/>
                    </a:cubicBezTo>
                    <a:cubicBezTo>
                      <a:pt x="1042" y="240"/>
                      <a:pt x="1042" y="240"/>
                      <a:pt x="1042" y="240"/>
                    </a:cubicBezTo>
                    <a:cubicBezTo>
                      <a:pt x="1042" y="239"/>
                      <a:pt x="1042" y="239"/>
                      <a:pt x="1042" y="239"/>
                    </a:cubicBezTo>
                    <a:cubicBezTo>
                      <a:pt x="1041" y="239"/>
                      <a:pt x="1041" y="239"/>
                      <a:pt x="1041" y="239"/>
                    </a:cubicBezTo>
                    <a:cubicBezTo>
                      <a:pt x="1041" y="240"/>
                      <a:pt x="1041" y="240"/>
                      <a:pt x="1041" y="240"/>
                    </a:cubicBezTo>
                    <a:cubicBezTo>
                      <a:pt x="1041" y="241"/>
                      <a:pt x="1041" y="241"/>
                      <a:pt x="1041" y="241"/>
                    </a:cubicBezTo>
                    <a:cubicBezTo>
                      <a:pt x="1040" y="241"/>
                      <a:pt x="1040" y="241"/>
                      <a:pt x="1040" y="241"/>
                    </a:cubicBezTo>
                    <a:cubicBezTo>
                      <a:pt x="1039" y="241"/>
                      <a:pt x="1039" y="241"/>
                      <a:pt x="1039" y="241"/>
                    </a:cubicBezTo>
                    <a:cubicBezTo>
                      <a:pt x="1039" y="242"/>
                      <a:pt x="1039" y="242"/>
                      <a:pt x="1039" y="242"/>
                    </a:cubicBezTo>
                    <a:cubicBezTo>
                      <a:pt x="1040" y="242"/>
                      <a:pt x="1040" y="242"/>
                      <a:pt x="1040" y="242"/>
                    </a:cubicBezTo>
                    <a:cubicBezTo>
                      <a:pt x="1041" y="243"/>
                      <a:pt x="1041" y="243"/>
                      <a:pt x="1041" y="243"/>
                    </a:cubicBezTo>
                    <a:cubicBezTo>
                      <a:pt x="1040" y="244"/>
                      <a:pt x="1040" y="244"/>
                      <a:pt x="1040" y="244"/>
                    </a:cubicBezTo>
                    <a:cubicBezTo>
                      <a:pt x="1039" y="244"/>
                      <a:pt x="1039" y="244"/>
                      <a:pt x="1039" y="244"/>
                    </a:cubicBezTo>
                    <a:cubicBezTo>
                      <a:pt x="1039" y="245"/>
                      <a:pt x="1039" y="245"/>
                      <a:pt x="1039" y="245"/>
                    </a:cubicBezTo>
                    <a:cubicBezTo>
                      <a:pt x="1038" y="245"/>
                      <a:pt x="1038" y="245"/>
                      <a:pt x="1038" y="245"/>
                    </a:cubicBezTo>
                    <a:cubicBezTo>
                      <a:pt x="1038" y="246"/>
                      <a:pt x="1038" y="246"/>
                      <a:pt x="1038" y="246"/>
                    </a:cubicBezTo>
                    <a:cubicBezTo>
                      <a:pt x="1036" y="247"/>
                      <a:pt x="1036" y="247"/>
                      <a:pt x="1036" y="247"/>
                    </a:cubicBezTo>
                    <a:cubicBezTo>
                      <a:pt x="1034" y="247"/>
                      <a:pt x="1034" y="247"/>
                      <a:pt x="1034" y="247"/>
                    </a:cubicBezTo>
                    <a:cubicBezTo>
                      <a:pt x="1033" y="248"/>
                      <a:pt x="1033" y="248"/>
                      <a:pt x="1033" y="248"/>
                    </a:cubicBezTo>
                    <a:cubicBezTo>
                      <a:pt x="1032" y="248"/>
                      <a:pt x="1032" y="248"/>
                      <a:pt x="1032" y="248"/>
                    </a:cubicBezTo>
                    <a:cubicBezTo>
                      <a:pt x="1033" y="249"/>
                      <a:pt x="1033" y="249"/>
                      <a:pt x="1033" y="249"/>
                    </a:cubicBezTo>
                    <a:cubicBezTo>
                      <a:pt x="1035" y="248"/>
                      <a:pt x="1035" y="248"/>
                      <a:pt x="1035" y="248"/>
                    </a:cubicBezTo>
                    <a:cubicBezTo>
                      <a:pt x="1036" y="248"/>
                      <a:pt x="1036" y="248"/>
                      <a:pt x="1036" y="248"/>
                    </a:cubicBezTo>
                    <a:cubicBezTo>
                      <a:pt x="1037" y="247"/>
                      <a:pt x="1037" y="247"/>
                      <a:pt x="1037" y="247"/>
                    </a:cubicBezTo>
                    <a:cubicBezTo>
                      <a:pt x="1038" y="248"/>
                      <a:pt x="1038" y="248"/>
                      <a:pt x="1038" y="248"/>
                    </a:cubicBezTo>
                    <a:cubicBezTo>
                      <a:pt x="1039" y="249"/>
                      <a:pt x="1039" y="249"/>
                      <a:pt x="1039" y="249"/>
                    </a:cubicBezTo>
                    <a:cubicBezTo>
                      <a:pt x="1041" y="249"/>
                      <a:pt x="1041" y="249"/>
                      <a:pt x="1041" y="249"/>
                    </a:cubicBezTo>
                    <a:cubicBezTo>
                      <a:pt x="1042" y="248"/>
                      <a:pt x="1042" y="248"/>
                      <a:pt x="1042" y="248"/>
                    </a:cubicBezTo>
                    <a:cubicBezTo>
                      <a:pt x="1044" y="248"/>
                      <a:pt x="1044" y="248"/>
                      <a:pt x="1044" y="248"/>
                    </a:cubicBezTo>
                    <a:cubicBezTo>
                      <a:pt x="1044" y="249"/>
                      <a:pt x="1044" y="249"/>
                      <a:pt x="1044" y="249"/>
                    </a:cubicBezTo>
                    <a:cubicBezTo>
                      <a:pt x="1046" y="248"/>
                      <a:pt x="1046" y="248"/>
                      <a:pt x="1046" y="248"/>
                    </a:cubicBezTo>
                    <a:cubicBezTo>
                      <a:pt x="1046" y="249"/>
                      <a:pt x="1046" y="249"/>
                      <a:pt x="1046" y="249"/>
                    </a:cubicBezTo>
                    <a:cubicBezTo>
                      <a:pt x="1047" y="249"/>
                      <a:pt x="1047" y="249"/>
                      <a:pt x="1047" y="249"/>
                    </a:cubicBezTo>
                    <a:cubicBezTo>
                      <a:pt x="1047" y="250"/>
                      <a:pt x="1047" y="250"/>
                      <a:pt x="1047" y="250"/>
                    </a:cubicBezTo>
                    <a:cubicBezTo>
                      <a:pt x="1046" y="250"/>
                      <a:pt x="1046" y="250"/>
                      <a:pt x="1046" y="250"/>
                    </a:cubicBezTo>
                    <a:cubicBezTo>
                      <a:pt x="1045" y="250"/>
                      <a:pt x="1045" y="250"/>
                      <a:pt x="1045" y="250"/>
                    </a:cubicBezTo>
                    <a:cubicBezTo>
                      <a:pt x="1044" y="250"/>
                      <a:pt x="1044" y="250"/>
                      <a:pt x="1044" y="250"/>
                    </a:cubicBezTo>
                    <a:cubicBezTo>
                      <a:pt x="1043" y="251"/>
                      <a:pt x="1043" y="251"/>
                      <a:pt x="1043" y="251"/>
                    </a:cubicBezTo>
                    <a:cubicBezTo>
                      <a:pt x="1041" y="251"/>
                      <a:pt x="1041" y="251"/>
                      <a:pt x="1041" y="251"/>
                    </a:cubicBezTo>
                    <a:cubicBezTo>
                      <a:pt x="1040" y="252"/>
                      <a:pt x="1040" y="252"/>
                      <a:pt x="1040" y="252"/>
                    </a:cubicBezTo>
                    <a:cubicBezTo>
                      <a:pt x="1040" y="251"/>
                      <a:pt x="1040" y="251"/>
                      <a:pt x="1040" y="251"/>
                    </a:cubicBezTo>
                    <a:cubicBezTo>
                      <a:pt x="1039" y="251"/>
                      <a:pt x="1039" y="251"/>
                      <a:pt x="1039" y="251"/>
                    </a:cubicBezTo>
                    <a:cubicBezTo>
                      <a:pt x="1038" y="251"/>
                      <a:pt x="1038" y="251"/>
                      <a:pt x="1038" y="251"/>
                    </a:cubicBezTo>
                    <a:cubicBezTo>
                      <a:pt x="1037" y="252"/>
                      <a:pt x="1037" y="252"/>
                      <a:pt x="1037" y="252"/>
                    </a:cubicBezTo>
                    <a:cubicBezTo>
                      <a:pt x="1038" y="252"/>
                      <a:pt x="1038" y="252"/>
                      <a:pt x="1038" y="252"/>
                    </a:cubicBezTo>
                    <a:cubicBezTo>
                      <a:pt x="1039" y="252"/>
                      <a:pt x="1039" y="252"/>
                      <a:pt x="1039" y="252"/>
                    </a:cubicBezTo>
                    <a:cubicBezTo>
                      <a:pt x="1040" y="252"/>
                      <a:pt x="1040" y="252"/>
                      <a:pt x="1040" y="252"/>
                    </a:cubicBezTo>
                    <a:cubicBezTo>
                      <a:pt x="1041" y="252"/>
                      <a:pt x="1041" y="252"/>
                      <a:pt x="1041" y="252"/>
                    </a:cubicBezTo>
                    <a:cubicBezTo>
                      <a:pt x="1042" y="253"/>
                      <a:pt x="1042" y="253"/>
                      <a:pt x="1042" y="253"/>
                    </a:cubicBezTo>
                    <a:cubicBezTo>
                      <a:pt x="1043" y="253"/>
                      <a:pt x="1043" y="253"/>
                      <a:pt x="1043" y="253"/>
                    </a:cubicBezTo>
                    <a:cubicBezTo>
                      <a:pt x="1044" y="251"/>
                      <a:pt x="1044" y="251"/>
                      <a:pt x="1044" y="251"/>
                    </a:cubicBezTo>
                    <a:cubicBezTo>
                      <a:pt x="1044" y="251"/>
                      <a:pt x="1044" y="251"/>
                      <a:pt x="1045" y="251"/>
                    </a:cubicBezTo>
                    <a:cubicBezTo>
                      <a:pt x="1045" y="251"/>
                      <a:pt x="1045" y="251"/>
                      <a:pt x="1046" y="251"/>
                    </a:cubicBezTo>
                    <a:cubicBezTo>
                      <a:pt x="1047" y="252"/>
                      <a:pt x="1047" y="252"/>
                      <a:pt x="1047" y="252"/>
                    </a:cubicBezTo>
                    <a:cubicBezTo>
                      <a:pt x="1048" y="251"/>
                      <a:pt x="1048" y="251"/>
                      <a:pt x="1048" y="251"/>
                    </a:cubicBezTo>
                    <a:cubicBezTo>
                      <a:pt x="1049" y="251"/>
                      <a:pt x="1049" y="251"/>
                      <a:pt x="1049" y="251"/>
                    </a:cubicBezTo>
                    <a:cubicBezTo>
                      <a:pt x="1050" y="251"/>
                      <a:pt x="1050" y="251"/>
                      <a:pt x="1050" y="251"/>
                    </a:cubicBezTo>
                    <a:cubicBezTo>
                      <a:pt x="1052" y="250"/>
                      <a:pt x="1052" y="250"/>
                      <a:pt x="1052" y="250"/>
                    </a:cubicBezTo>
                    <a:cubicBezTo>
                      <a:pt x="1053" y="250"/>
                      <a:pt x="1053" y="250"/>
                      <a:pt x="1053" y="250"/>
                    </a:cubicBezTo>
                    <a:cubicBezTo>
                      <a:pt x="1054" y="249"/>
                      <a:pt x="1054" y="249"/>
                      <a:pt x="1054" y="249"/>
                    </a:cubicBezTo>
                    <a:cubicBezTo>
                      <a:pt x="1054" y="250"/>
                      <a:pt x="1054" y="250"/>
                      <a:pt x="1054" y="250"/>
                    </a:cubicBezTo>
                    <a:cubicBezTo>
                      <a:pt x="1056" y="251"/>
                      <a:pt x="1056" y="251"/>
                      <a:pt x="1056" y="251"/>
                    </a:cubicBezTo>
                    <a:cubicBezTo>
                      <a:pt x="1058" y="252"/>
                      <a:pt x="1058" y="252"/>
                      <a:pt x="1058" y="252"/>
                    </a:cubicBezTo>
                    <a:cubicBezTo>
                      <a:pt x="1059" y="252"/>
                      <a:pt x="1059" y="252"/>
                      <a:pt x="1059" y="252"/>
                    </a:cubicBezTo>
                    <a:cubicBezTo>
                      <a:pt x="1061" y="253"/>
                      <a:pt x="1061" y="253"/>
                      <a:pt x="1061" y="253"/>
                    </a:cubicBezTo>
                    <a:cubicBezTo>
                      <a:pt x="1062" y="253"/>
                      <a:pt x="1062" y="253"/>
                      <a:pt x="1062" y="253"/>
                    </a:cubicBezTo>
                    <a:cubicBezTo>
                      <a:pt x="1063" y="253"/>
                      <a:pt x="1063" y="253"/>
                      <a:pt x="1063" y="253"/>
                    </a:cubicBezTo>
                    <a:cubicBezTo>
                      <a:pt x="1064" y="253"/>
                      <a:pt x="1064" y="253"/>
                      <a:pt x="1064" y="253"/>
                    </a:cubicBezTo>
                    <a:cubicBezTo>
                      <a:pt x="1065" y="253"/>
                      <a:pt x="1065" y="253"/>
                      <a:pt x="1065" y="253"/>
                    </a:cubicBezTo>
                    <a:cubicBezTo>
                      <a:pt x="1067" y="252"/>
                      <a:pt x="1067" y="252"/>
                      <a:pt x="1067" y="252"/>
                    </a:cubicBezTo>
                    <a:cubicBezTo>
                      <a:pt x="1067" y="253"/>
                      <a:pt x="1067" y="253"/>
                      <a:pt x="1067" y="253"/>
                    </a:cubicBezTo>
                    <a:cubicBezTo>
                      <a:pt x="1066" y="254"/>
                      <a:pt x="1066" y="254"/>
                      <a:pt x="1066" y="254"/>
                    </a:cubicBezTo>
                    <a:cubicBezTo>
                      <a:pt x="1065" y="255"/>
                      <a:pt x="1065" y="255"/>
                      <a:pt x="1065" y="255"/>
                    </a:cubicBezTo>
                    <a:cubicBezTo>
                      <a:pt x="1064" y="255"/>
                      <a:pt x="1064" y="255"/>
                      <a:pt x="1064" y="255"/>
                    </a:cubicBezTo>
                    <a:cubicBezTo>
                      <a:pt x="1063" y="255"/>
                      <a:pt x="1063" y="255"/>
                      <a:pt x="1063" y="255"/>
                    </a:cubicBezTo>
                    <a:cubicBezTo>
                      <a:pt x="1062" y="255"/>
                      <a:pt x="1062" y="255"/>
                      <a:pt x="1062" y="255"/>
                    </a:cubicBezTo>
                    <a:cubicBezTo>
                      <a:pt x="1062" y="256"/>
                      <a:pt x="1062" y="256"/>
                      <a:pt x="1062" y="256"/>
                    </a:cubicBezTo>
                    <a:cubicBezTo>
                      <a:pt x="1063" y="256"/>
                      <a:pt x="1063" y="256"/>
                      <a:pt x="1063" y="256"/>
                    </a:cubicBezTo>
                    <a:cubicBezTo>
                      <a:pt x="1063" y="257"/>
                      <a:pt x="1063" y="257"/>
                      <a:pt x="1063" y="257"/>
                    </a:cubicBezTo>
                    <a:cubicBezTo>
                      <a:pt x="1062" y="257"/>
                      <a:pt x="1062" y="257"/>
                      <a:pt x="1062" y="257"/>
                    </a:cubicBezTo>
                    <a:cubicBezTo>
                      <a:pt x="1061" y="256"/>
                      <a:pt x="1061" y="256"/>
                      <a:pt x="1061" y="256"/>
                    </a:cubicBezTo>
                    <a:cubicBezTo>
                      <a:pt x="1061" y="257"/>
                      <a:pt x="1061" y="257"/>
                      <a:pt x="1061" y="257"/>
                    </a:cubicBezTo>
                    <a:cubicBezTo>
                      <a:pt x="1061" y="258"/>
                      <a:pt x="1061" y="258"/>
                      <a:pt x="1061" y="258"/>
                    </a:cubicBezTo>
                    <a:cubicBezTo>
                      <a:pt x="1060" y="257"/>
                      <a:pt x="1060" y="257"/>
                      <a:pt x="1060" y="257"/>
                    </a:cubicBezTo>
                    <a:cubicBezTo>
                      <a:pt x="1059" y="257"/>
                      <a:pt x="1059" y="257"/>
                      <a:pt x="1059" y="257"/>
                    </a:cubicBezTo>
                    <a:cubicBezTo>
                      <a:pt x="1059" y="258"/>
                      <a:pt x="1059" y="258"/>
                      <a:pt x="1059" y="258"/>
                    </a:cubicBezTo>
                    <a:cubicBezTo>
                      <a:pt x="1059" y="259"/>
                      <a:pt x="1059" y="259"/>
                      <a:pt x="1059" y="259"/>
                    </a:cubicBezTo>
                    <a:cubicBezTo>
                      <a:pt x="1058" y="260"/>
                      <a:pt x="1058" y="260"/>
                      <a:pt x="1058" y="260"/>
                    </a:cubicBezTo>
                    <a:cubicBezTo>
                      <a:pt x="1057" y="259"/>
                      <a:pt x="1057" y="259"/>
                      <a:pt x="1057" y="259"/>
                    </a:cubicBezTo>
                    <a:cubicBezTo>
                      <a:pt x="1056" y="259"/>
                      <a:pt x="1056" y="259"/>
                      <a:pt x="1056" y="259"/>
                    </a:cubicBezTo>
                    <a:cubicBezTo>
                      <a:pt x="1057" y="260"/>
                      <a:pt x="1057" y="260"/>
                      <a:pt x="1057" y="260"/>
                    </a:cubicBezTo>
                    <a:cubicBezTo>
                      <a:pt x="1057" y="261"/>
                      <a:pt x="1057" y="261"/>
                      <a:pt x="1057" y="261"/>
                    </a:cubicBezTo>
                    <a:cubicBezTo>
                      <a:pt x="1056" y="261"/>
                      <a:pt x="1056" y="261"/>
                      <a:pt x="1056" y="261"/>
                    </a:cubicBezTo>
                    <a:cubicBezTo>
                      <a:pt x="1055" y="261"/>
                      <a:pt x="1055" y="261"/>
                      <a:pt x="1055" y="261"/>
                    </a:cubicBezTo>
                    <a:cubicBezTo>
                      <a:pt x="1055" y="262"/>
                      <a:pt x="1055" y="262"/>
                      <a:pt x="1055" y="262"/>
                    </a:cubicBezTo>
                    <a:cubicBezTo>
                      <a:pt x="1054" y="261"/>
                      <a:pt x="1054" y="261"/>
                      <a:pt x="1054" y="261"/>
                    </a:cubicBezTo>
                    <a:cubicBezTo>
                      <a:pt x="1053" y="261"/>
                      <a:pt x="1053" y="261"/>
                      <a:pt x="1053" y="261"/>
                    </a:cubicBezTo>
                    <a:cubicBezTo>
                      <a:pt x="1053" y="262"/>
                      <a:pt x="1053" y="262"/>
                      <a:pt x="1053" y="262"/>
                    </a:cubicBezTo>
                    <a:cubicBezTo>
                      <a:pt x="1054" y="262"/>
                      <a:pt x="1054" y="262"/>
                      <a:pt x="1054" y="262"/>
                    </a:cubicBezTo>
                    <a:cubicBezTo>
                      <a:pt x="1053" y="263"/>
                      <a:pt x="1053" y="263"/>
                      <a:pt x="1053" y="263"/>
                    </a:cubicBezTo>
                    <a:cubicBezTo>
                      <a:pt x="1052" y="263"/>
                      <a:pt x="1052" y="263"/>
                      <a:pt x="1052" y="263"/>
                    </a:cubicBezTo>
                    <a:cubicBezTo>
                      <a:pt x="1052" y="262"/>
                      <a:pt x="1052" y="262"/>
                      <a:pt x="1052" y="262"/>
                    </a:cubicBezTo>
                    <a:cubicBezTo>
                      <a:pt x="1051" y="263"/>
                      <a:pt x="1051" y="263"/>
                      <a:pt x="1051" y="263"/>
                    </a:cubicBezTo>
                    <a:cubicBezTo>
                      <a:pt x="1052" y="264"/>
                      <a:pt x="1052" y="264"/>
                      <a:pt x="1052" y="264"/>
                    </a:cubicBezTo>
                    <a:cubicBezTo>
                      <a:pt x="1052" y="265"/>
                      <a:pt x="1052" y="265"/>
                      <a:pt x="1052" y="265"/>
                    </a:cubicBezTo>
                    <a:cubicBezTo>
                      <a:pt x="1050" y="265"/>
                      <a:pt x="1050" y="265"/>
                      <a:pt x="1050" y="265"/>
                    </a:cubicBezTo>
                    <a:cubicBezTo>
                      <a:pt x="1049" y="264"/>
                      <a:pt x="1049" y="264"/>
                      <a:pt x="1049" y="264"/>
                    </a:cubicBezTo>
                    <a:cubicBezTo>
                      <a:pt x="1048" y="264"/>
                      <a:pt x="1048" y="264"/>
                      <a:pt x="1048" y="264"/>
                    </a:cubicBezTo>
                    <a:cubicBezTo>
                      <a:pt x="1048" y="265"/>
                      <a:pt x="1048" y="265"/>
                      <a:pt x="1048" y="265"/>
                    </a:cubicBezTo>
                    <a:close/>
                    <a:moveTo>
                      <a:pt x="1052" y="220"/>
                    </a:moveTo>
                    <a:cubicBezTo>
                      <a:pt x="1051" y="221"/>
                      <a:pt x="1051" y="221"/>
                      <a:pt x="1051" y="221"/>
                    </a:cubicBezTo>
                    <a:cubicBezTo>
                      <a:pt x="1052" y="221"/>
                      <a:pt x="1052" y="221"/>
                      <a:pt x="1052" y="221"/>
                    </a:cubicBezTo>
                    <a:cubicBezTo>
                      <a:pt x="1052" y="220"/>
                      <a:pt x="1052" y="220"/>
                      <a:pt x="1052" y="220"/>
                    </a:cubicBezTo>
                    <a:close/>
                    <a:moveTo>
                      <a:pt x="1056" y="56"/>
                    </a:moveTo>
                    <a:cubicBezTo>
                      <a:pt x="1056" y="57"/>
                      <a:pt x="1056" y="57"/>
                      <a:pt x="1056" y="57"/>
                    </a:cubicBezTo>
                    <a:cubicBezTo>
                      <a:pt x="1057" y="57"/>
                      <a:pt x="1057" y="57"/>
                      <a:pt x="1057" y="57"/>
                    </a:cubicBezTo>
                    <a:cubicBezTo>
                      <a:pt x="1057" y="56"/>
                      <a:pt x="1057" y="56"/>
                      <a:pt x="1057" y="56"/>
                    </a:cubicBezTo>
                    <a:cubicBezTo>
                      <a:pt x="1056" y="56"/>
                      <a:pt x="1056" y="56"/>
                      <a:pt x="1056" y="56"/>
                    </a:cubicBezTo>
                    <a:close/>
                    <a:moveTo>
                      <a:pt x="920" y="216"/>
                    </a:moveTo>
                    <a:cubicBezTo>
                      <a:pt x="921" y="215"/>
                      <a:pt x="921" y="215"/>
                      <a:pt x="921" y="215"/>
                    </a:cubicBezTo>
                    <a:cubicBezTo>
                      <a:pt x="920" y="213"/>
                      <a:pt x="920" y="213"/>
                      <a:pt x="920" y="213"/>
                    </a:cubicBezTo>
                    <a:cubicBezTo>
                      <a:pt x="920" y="212"/>
                      <a:pt x="920" y="212"/>
                      <a:pt x="920" y="212"/>
                    </a:cubicBezTo>
                    <a:cubicBezTo>
                      <a:pt x="920" y="211"/>
                      <a:pt x="920" y="211"/>
                      <a:pt x="920" y="211"/>
                    </a:cubicBezTo>
                    <a:cubicBezTo>
                      <a:pt x="919" y="213"/>
                      <a:pt x="919" y="213"/>
                      <a:pt x="919" y="213"/>
                    </a:cubicBezTo>
                    <a:cubicBezTo>
                      <a:pt x="920" y="214"/>
                      <a:pt x="920" y="214"/>
                      <a:pt x="920" y="214"/>
                    </a:cubicBezTo>
                    <a:cubicBezTo>
                      <a:pt x="920" y="215"/>
                      <a:pt x="920" y="215"/>
                      <a:pt x="920" y="215"/>
                    </a:cubicBezTo>
                    <a:cubicBezTo>
                      <a:pt x="920" y="216"/>
                      <a:pt x="920" y="216"/>
                      <a:pt x="920" y="216"/>
                    </a:cubicBezTo>
                    <a:close/>
                    <a:moveTo>
                      <a:pt x="942" y="348"/>
                    </a:moveTo>
                    <a:cubicBezTo>
                      <a:pt x="943" y="348"/>
                      <a:pt x="943" y="348"/>
                      <a:pt x="943" y="348"/>
                    </a:cubicBezTo>
                    <a:cubicBezTo>
                      <a:pt x="942" y="347"/>
                      <a:pt x="942" y="347"/>
                      <a:pt x="942" y="347"/>
                    </a:cubicBezTo>
                    <a:cubicBezTo>
                      <a:pt x="942" y="348"/>
                      <a:pt x="942" y="348"/>
                      <a:pt x="942" y="348"/>
                    </a:cubicBezTo>
                    <a:close/>
                    <a:moveTo>
                      <a:pt x="957" y="323"/>
                    </a:moveTo>
                    <a:cubicBezTo>
                      <a:pt x="957" y="323"/>
                      <a:pt x="957" y="323"/>
                      <a:pt x="956" y="322"/>
                    </a:cubicBezTo>
                    <a:cubicBezTo>
                      <a:pt x="956" y="323"/>
                      <a:pt x="956" y="323"/>
                      <a:pt x="956" y="323"/>
                    </a:cubicBezTo>
                    <a:cubicBezTo>
                      <a:pt x="957" y="323"/>
                      <a:pt x="957" y="323"/>
                      <a:pt x="957" y="323"/>
                    </a:cubicBezTo>
                    <a:close/>
                    <a:moveTo>
                      <a:pt x="1026" y="50"/>
                    </a:moveTo>
                    <a:cubicBezTo>
                      <a:pt x="1028" y="51"/>
                      <a:pt x="1028" y="51"/>
                      <a:pt x="1028" y="51"/>
                    </a:cubicBezTo>
                    <a:cubicBezTo>
                      <a:pt x="1027" y="50"/>
                      <a:pt x="1027" y="50"/>
                      <a:pt x="1027" y="50"/>
                    </a:cubicBezTo>
                    <a:cubicBezTo>
                      <a:pt x="1026" y="49"/>
                      <a:pt x="1026" y="49"/>
                      <a:pt x="1026" y="49"/>
                    </a:cubicBezTo>
                    <a:cubicBezTo>
                      <a:pt x="1025" y="48"/>
                      <a:pt x="1025" y="48"/>
                      <a:pt x="1025" y="48"/>
                    </a:cubicBezTo>
                    <a:cubicBezTo>
                      <a:pt x="1024" y="48"/>
                      <a:pt x="1024" y="48"/>
                      <a:pt x="1024" y="48"/>
                    </a:cubicBezTo>
                    <a:cubicBezTo>
                      <a:pt x="1023" y="47"/>
                      <a:pt x="1023" y="47"/>
                      <a:pt x="1023" y="47"/>
                    </a:cubicBezTo>
                    <a:cubicBezTo>
                      <a:pt x="1023" y="46"/>
                      <a:pt x="1023" y="46"/>
                      <a:pt x="1023" y="46"/>
                    </a:cubicBezTo>
                    <a:cubicBezTo>
                      <a:pt x="1023" y="45"/>
                      <a:pt x="1023" y="45"/>
                      <a:pt x="1023" y="45"/>
                    </a:cubicBezTo>
                    <a:cubicBezTo>
                      <a:pt x="1022" y="44"/>
                      <a:pt x="1022" y="44"/>
                      <a:pt x="1022" y="44"/>
                    </a:cubicBezTo>
                    <a:cubicBezTo>
                      <a:pt x="1022" y="43"/>
                      <a:pt x="1022" y="43"/>
                      <a:pt x="1022" y="43"/>
                    </a:cubicBezTo>
                    <a:cubicBezTo>
                      <a:pt x="1023" y="41"/>
                      <a:pt x="1023" y="41"/>
                      <a:pt x="1023" y="41"/>
                    </a:cubicBezTo>
                    <a:cubicBezTo>
                      <a:pt x="1023" y="40"/>
                      <a:pt x="1023" y="40"/>
                      <a:pt x="1023" y="40"/>
                    </a:cubicBezTo>
                    <a:cubicBezTo>
                      <a:pt x="1023" y="39"/>
                      <a:pt x="1023" y="39"/>
                      <a:pt x="1023" y="39"/>
                    </a:cubicBezTo>
                    <a:cubicBezTo>
                      <a:pt x="1023" y="38"/>
                      <a:pt x="1023" y="38"/>
                      <a:pt x="1023" y="38"/>
                    </a:cubicBezTo>
                    <a:cubicBezTo>
                      <a:pt x="1022" y="38"/>
                      <a:pt x="1022" y="38"/>
                      <a:pt x="1022" y="38"/>
                    </a:cubicBezTo>
                    <a:cubicBezTo>
                      <a:pt x="1021" y="37"/>
                      <a:pt x="1021" y="37"/>
                      <a:pt x="1021" y="37"/>
                    </a:cubicBezTo>
                    <a:cubicBezTo>
                      <a:pt x="1020" y="35"/>
                      <a:pt x="1020" y="35"/>
                      <a:pt x="1020" y="35"/>
                    </a:cubicBezTo>
                    <a:cubicBezTo>
                      <a:pt x="1019" y="35"/>
                      <a:pt x="1019" y="35"/>
                      <a:pt x="1019" y="35"/>
                    </a:cubicBezTo>
                    <a:cubicBezTo>
                      <a:pt x="1018" y="35"/>
                      <a:pt x="1018" y="35"/>
                      <a:pt x="1018" y="35"/>
                    </a:cubicBezTo>
                    <a:cubicBezTo>
                      <a:pt x="1017" y="36"/>
                      <a:pt x="1017" y="36"/>
                      <a:pt x="1017" y="36"/>
                    </a:cubicBezTo>
                    <a:cubicBezTo>
                      <a:pt x="1018" y="37"/>
                      <a:pt x="1018" y="37"/>
                      <a:pt x="1018" y="37"/>
                    </a:cubicBezTo>
                    <a:cubicBezTo>
                      <a:pt x="1019" y="37"/>
                      <a:pt x="1019" y="37"/>
                      <a:pt x="1019" y="37"/>
                    </a:cubicBezTo>
                    <a:cubicBezTo>
                      <a:pt x="1020" y="38"/>
                      <a:pt x="1020" y="38"/>
                      <a:pt x="1020" y="38"/>
                    </a:cubicBezTo>
                    <a:cubicBezTo>
                      <a:pt x="1020" y="40"/>
                      <a:pt x="1020" y="40"/>
                      <a:pt x="1020" y="40"/>
                    </a:cubicBezTo>
                    <a:cubicBezTo>
                      <a:pt x="1022" y="42"/>
                      <a:pt x="1022" y="42"/>
                      <a:pt x="1022" y="42"/>
                    </a:cubicBezTo>
                    <a:cubicBezTo>
                      <a:pt x="1022" y="43"/>
                      <a:pt x="1022" y="43"/>
                      <a:pt x="1022" y="43"/>
                    </a:cubicBezTo>
                    <a:cubicBezTo>
                      <a:pt x="1021" y="44"/>
                      <a:pt x="1021" y="44"/>
                      <a:pt x="1021" y="44"/>
                    </a:cubicBezTo>
                    <a:cubicBezTo>
                      <a:pt x="1022" y="46"/>
                      <a:pt x="1022" y="46"/>
                      <a:pt x="1022" y="46"/>
                    </a:cubicBezTo>
                    <a:cubicBezTo>
                      <a:pt x="1022" y="47"/>
                      <a:pt x="1022" y="47"/>
                      <a:pt x="1022" y="47"/>
                    </a:cubicBezTo>
                    <a:cubicBezTo>
                      <a:pt x="1022" y="48"/>
                      <a:pt x="1022" y="48"/>
                      <a:pt x="1022" y="48"/>
                    </a:cubicBezTo>
                    <a:cubicBezTo>
                      <a:pt x="1023" y="49"/>
                      <a:pt x="1023" y="49"/>
                      <a:pt x="1023" y="49"/>
                    </a:cubicBezTo>
                    <a:cubicBezTo>
                      <a:pt x="1025" y="49"/>
                      <a:pt x="1025" y="49"/>
                      <a:pt x="1025" y="49"/>
                    </a:cubicBezTo>
                    <a:cubicBezTo>
                      <a:pt x="1026" y="50"/>
                      <a:pt x="1026" y="50"/>
                      <a:pt x="1026" y="50"/>
                    </a:cubicBezTo>
                    <a:close/>
                    <a:moveTo>
                      <a:pt x="909" y="309"/>
                    </a:moveTo>
                    <a:cubicBezTo>
                      <a:pt x="910" y="308"/>
                      <a:pt x="910" y="308"/>
                      <a:pt x="910" y="308"/>
                    </a:cubicBezTo>
                    <a:cubicBezTo>
                      <a:pt x="909" y="308"/>
                      <a:pt x="909" y="308"/>
                      <a:pt x="909" y="308"/>
                    </a:cubicBezTo>
                    <a:cubicBezTo>
                      <a:pt x="908" y="310"/>
                      <a:pt x="908" y="310"/>
                      <a:pt x="908" y="310"/>
                    </a:cubicBezTo>
                    <a:cubicBezTo>
                      <a:pt x="909" y="309"/>
                      <a:pt x="909" y="309"/>
                      <a:pt x="909" y="309"/>
                    </a:cubicBezTo>
                    <a:close/>
                    <a:moveTo>
                      <a:pt x="914" y="264"/>
                    </a:moveTo>
                    <a:cubicBezTo>
                      <a:pt x="914" y="265"/>
                      <a:pt x="914" y="265"/>
                      <a:pt x="914" y="265"/>
                    </a:cubicBezTo>
                    <a:cubicBezTo>
                      <a:pt x="915" y="265"/>
                      <a:pt x="915" y="265"/>
                      <a:pt x="915" y="265"/>
                    </a:cubicBezTo>
                    <a:cubicBezTo>
                      <a:pt x="917" y="265"/>
                      <a:pt x="917" y="265"/>
                      <a:pt x="917" y="265"/>
                    </a:cubicBezTo>
                    <a:cubicBezTo>
                      <a:pt x="917" y="264"/>
                      <a:pt x="917" y="264"/>
                      <a:pt x="917" y="264"/>
                    </a:cubicBezTo>
                    <a:cubicBezTo>
                      <a:pt x="916" y="264"/>
                      <a:pt x="916" y="264"/>
                      <a:pt x="916" y="264"/>
                    </a:cubicBezTo>
                    <a:cubicBezTo>
                      <a:pt x="915" y="264"/>
                      <a:pt x="915" y="264"/>
                      <a:pt x="915" y="264"/>
                    </a:cubicBezTo>
                    <a:cubicBezTo>
                      <a:pt x="914" y="264"/>
                      <a:pt x="914" y="264"/>
                      <a:pt x="914" y="264"/>
                    </a:cubicBezTo>
                    <a:close/>
                    <a:moveTo>
                      <a:pt x="908" y="308"/>
                    </a:moveTo>
                    <a:cubicBezTo>
                      <a:pt x="908" y="309"/>
                      <a:pt x="908" y="309"/>
                      <a:pt x="908" y="309"/>
                    </a:cubicBezTo>
                    <a:cubicBezTo>
                      <a:pt x="909" y="308"/>
                      <a:pt x="909" y="308"/>
                      <a:pt x="909" y="308"/>
                    </a:cubicBezTo>
                    <a:cubicBezTo>
                      <a:pt x="909" y="307"/>
                      <a:pt x="909" y="307"/>
                      <a:pt x="909" y="307"/>
                    </a:cubicBezTo>
                    <a:cubicBezTo>
                      <a:pt x="908" y="308"/>
                      <a:pt x="908" y="308"/>
                      <a:pt x="908" y="308"/>
                    </a:cubicBezTo>
                    <a:close/>
                    <a:moveTo>
                      <a:pt x="914" y="193"/>
                    </a:moveTo>
                    <a:cubicBezTo>
                      <a:pt x="914" y="194"/>
                      <a:pt x="914" y="194"/>
                      <a:pt x="914" y="194"/>
                    </a:cubicBezTo>
                    <a:cubicBezTo>
                      <a:pt x="915" y="193"/>
                      <a:pt x="915" y="193"/>
                      <a:pt x="915" y="193"/>
                    </a:cubicBezTo>
                    <a:cubicBezTo>
                      <a:pt x="914" y="192"/>
                      <a:pt x="914" y="192"/>
                      <a:pt x="914" y="192"/>
                    </a:cubicBezTo>
                    <a:cubicBezTo>
                      <a:pt x="914" y="193"/>
                      <a:pt x="914" y="193"/>
                      <a:pt x="914" y="193"/>
                    </a:cubicBezTo>
                    <a:close/>
                    <a:moveTo>
                      <a:pt x="925" y="245"/>
                    </a:moveTo>
                    <a:cubicBezTo>
                      <a:pt x="926" y="245"/>
                      <a:pt x="926" y="245"/>
                      <a:pt x="926" y="245"/>
                    </a:cubicBezTo>
                    <a:cubicBezTo>
                      <a:pt x="925" y="244"/>
                      <a:pt x="925" y="244"/>
                      <a:pt x="925" y="244"/>
                    </a:cubicBezTo>
                    <a:cubicBezTo>
                      <a:pt x="923" y="244"/>
                      <a:pt x="923" y="244"/>
                      <a:pt x="923" y="244"/>
                    </a:cubicBezTo>
                    <a:cubicBezTo>
                      <a:pt x="923" y="245"/>
                      <a:pt x="923" y="245"/>
                      <a:pt x="923" y="245"/>
                    </a:cubicBezTo>
                    <a:cubicBezTo>
                      <a:pt x="923" y="246"/>
                      <a:pt x="923" y="246"/>
                      <a:pt x="923" y="246"/>
                    </a:cubicBezTo>
                    <a:cubicBezTo>
                      <a:pt x="923" y="247"/>
                      <a:pt x="923" y="247"/>
                      <a:pt x="923" y="247"/>
                    </a:cubicBezTo>
                    <a:cubicBezTo>
                      <a:pt x="923" y="248"/>
                      <a:pt x="923" y="248"/>
                      <a:pt x="923" y="248"/>
                    </a:cubicBezTo>
                    <a:cubicBezTo>
                      <a:pt x="924" y="247"/>
                      <a:pt x="924" y="247"/>
                      <a:pt x="924" y="247"/>
                    </a:cubicBezTo>
                    <a:cubicBezTo>
                      <a:pt x="925" y="245"/>
                      <a:pt x="925" y="245"/>
                      <a:pt x="925" y="245"/>
                    </a:cubicBezTo>
                    <a:close/>
                    <a:moveTo>
                      <a:pt x="916" y="186"/>
                    </a:moveTo>
                    <a:cubicBezTo>
                      <a:pt x="914" y="185"/>
                      <a:pt x="914" y="185"/>
                      <a:pt x="914" y="185"/>
                    </a:cubicBezTo>
                    <a:cubicBezTo>
                      <a:pt x="913" y="185"/>
                      <a:pt x="913" y="185"/>
                      <a:pt x="913" y="185"/>
                    </a:cubicBezTo>
                    <a:cubicBezTo>
                      <a:pt x="914" y="186"/>
                      <a:pt x="914" y="186"/>
                      <a:pt x="914" y="186"/>
                    </a:cubicBezTo>
                    <a:cubicBezTo>
                      <a:pt x="915" y="186"/>
                      <a:pt x="915" y="186"/>
                      <a:pt x="915" y="186"/>
                    </a:cubicBezTo>
                    <a:cubicBezTo>
                      <a:pt x="915" y="187"/>
                      <a:pt x="915" y="187"/>
                      <a:pt x="915" y="187"/>
                    </a:cubicBezTo>
                    <a:cubicBezTo>
                      <a:pt x="916" y="186"/>
                      <a:pt x="916" y="186"/>
                      <a:pt x="916" y="186"/>
                    </a:cubicBezTo>
                    <a:close/>
                    <a:moveTo>
                      <a:pt x="912" y="188"/>
                    </a:moveTo>
                    <a:cubicBezTo>
                      <a:pt x="913" y="189"/>
                      <a:pt x="913" y="189"/>
                      <a:pt x="913" y="189"/>
                    </a:cubicBezTo>
                    <a:cubicBezTo>
                      <a:pt x="914" y="189"/>
                      <a:pt x="914" y="189"/>
                      <a:pt x="914" y="189"/>
                    </a:cubicBezTo>
                    <a:cubicBezTo>
                      <a:pt x="913" y="188"/>
                      <a:pt x="913" y="188"/>
                      <a:pt x="913" y="188"/>
                    </a:cubicBezTo>
                    <a:cubicBezTo>
                      <a:pt x="912" y="188"/>
                      <a:pt x="912" y="188"/>
                      <a:pt x="912" y="188"/>
                    </a:cubicBezTo>
                    <a:close/>
                    <a:moveTo>
                      <a:pt x="921" y="221"/>
                    </a:moveTo>
                    <a:cubicBezTo>
                      <a:pt x="922" y="221"/>
                      <a:pt x="922" y="221"/>
                      <a:pt x="922" y="221"/>
                    </a:cubicBezTo>
                    <a:cubicBezTo>
                      <a:pt x="922" y="220"/>
                      <a:pt x="922" y="220"/>
                      <a:pt x="922" y="220"/>
                    </a:cubicBezTo>
                    <a:cubicBezTo>
                      <a:pt x="921" y="220"/>
                      <a:pt x="921" y="220"/>
                      <a:pt x="921" y="220"/>
                    </a:cubicBezTo>
                    <a:cubicBezTo>
                      <a:pt x="920" y="220"/>
                      <a:pt x="920" y="220"/>
                      <a:pt x="920" y="220"/>
                    </a:cubicBezTo>
                    <a:cubicBezTo>
                      <a:pt x="919" y="220"/>
                      <a:pt x="919" y="220"/>
                      <a:pt x="919" y="220"/>
                    </a:cubicBezTo>
                    <a:cubicBezTo>
                      <a:pt x="919" y="221"/>
                      <a:pt x="919" y="221"/>
                      <a:pt x="919" y="221"/>
                    </a:cubicBezTo>
                    <a:cubicBezTo>
                      <a:pt x="919" y="222"/>
                      <a:pt x="919" y="222"/>
                      <a:pt x="919" y="222"/>
                    </a:cubicBezTo>
                    <a:cubicBezTo>
                      <a:pt x="920" y="222"/>
                      <a:pt x="920" y="222"/>
                      <a:pt x="920" y="222"/>
                    </a:cubicBezTo>
                    <a:cubicBezTo>
                      <a:pt x="921" y="221"/>
                      <a:pt x="921" y="221"/>
                      <a:pt x="921" y="221"/>
                    </a:cubicBezTo>
                    <a:close/>
                    <a:moveTo>
                      <a:pt x="911" y="215"/>
                    </a:moveTo>
                    <a:cubicBezTo>
                      <a:pt x="910" y="215"/>
                      <a:pt x="910" y="215"/>
                      <a:pt x="910" y="215"/>
                    </a:cubicBezTo>
                    <a:cubicBezTo>
                      <a:pt x="909" y="215"/>
                      <a:pt x="909" y="215"/>
                      <a:pt x="909" y="215"/>
                    </a:cubicBezTo>
                    <a:cubicBezTo>
                      <a:pt x="910" y="216"/>
                      <a:pt x="910" y="216"/>
                      <a:pt x="910" y="216"/>
                    </a:cubicBezTo>
                    <a:cubicBezTo>
                      <a:pt x="911" y="215"/>
                      <a:pt x="911" y="215"/>
                      <a:pt x="911" y="215"/>
                    </a:cubicBezTo>
                    <a:close/>
                    <a:moveTo>
                      <a:pt x="922" y="231"/>
                    </a:moveTo>
                    <a:cubicBezTo>
                      <a:pt x="924" y="232"/>
                      <a:pt x="924" y="232"/>
                      <a:pt x="924" y="232"/>
                    </a:cubicBezTo>
                    <a:cubicBezTo>
                      <a:pt x="924" y="231"/>
                      <a:pt x="924" y="231"/>
                      <a:pt x="924" y="231"/>
                    </a:cubicBezTo>
                    <a:cubicBezTo>
                      <a:pt x="923" y="230"/>
                      <a:pt x="923" y="230"/>
                      <a:pt x="923" y="230"/>
                    </a:cubicBezTo>
                    <a:cubicBezTo>
                      <a:pt x="922" y="231"/>
                      <a:pt x="922" y="231"/>
                      <a:pt x="922" y="231"/>
                    </a:cubicBezTo>
                    <a:close/>
                    <a:moveTo>
                      <a:pt x="924" y="235"/>
                    </a:moveTo>
                    <a:cubicBezTo>
                      <a:pt x="925" y="234"/>
                      <a:pt x="925" y="234"/>
                      <a:pt x="925" y="234"/>
                    </a:cubicBezTo>
                    <a:cubicBezTo>
                      <a:pt x="924" y="234"/>
                      <a:pt x="924" y="234"/>
                      <a:pt x="924" y="234"/>
                    </a:cubicBezTo>
                    <a:cubicBezTo>
                      <a:pt x="924" y="235"/>
                      <a:pt x="924" y="235"/>
                      <a:pt x="924" y="235"/>
                    </a:cubicBezTo>
                    <a:close/>
                    <a:moveTo>
                      <a:pt x="419" y="329"/>
                    </a:moveTo>
                    <a:cubicBezTo>
                      <a:pt x="419" y="329"/>
                      <a:pt x="419" y="329"/>
                      <a:pt x="420" y="329"/>
                    </a:cubicBezTo>
                    <a:cubicBezTo>
                      <a:pt x="420" y="329"/>
                      <a:pt x="420" y="329"/>
                      <a:pt x="420" y="327"/>
                    </a:cubicBezTo>
                    <a:cubicBezTo>
                      <a:pt x="420" y="327"/>
                      <a:pt x="420" y="327"/>
                      <a:pt x="419" y="328"/>
                    </a:cubicBezTo>
                    <a:cubicBezTo>
                      <a:pt x="419" y="328"/>
                      <a:pt x="419" y="328"/>
                      <a:pt x="419" y="329"/>
                    </a:cubicBezTo>
                    <a:close/>
                    <a:moveTo>
                      <a:pt x="385" y="283"/>
                    </a:moveTo>
                    <a:cubicBezTo>
                      <a:pt x="385" y="283"/>
                      <a:pt x="385" y="283"/>
                      <a:pt x="385" y="284"/>
                    </a:cubicBezTo>
                    <a:cubicBezTo>
                      <a:pt x="385" y="284"/>
                      <a:pt x="385" y="284"/>
                      <a:pt x="386" y="284"/>
                    </a:cubicBezTo>
                    <a:cubicBezTo>
                      <a:pt x="386" y="284"/>
                      <a:pt x="386" y="284"/>
                      <a:pt x="387" y="283"/>
                    </a:cubicBezTo>
                    <a:cubicBezTo>
                      <a:pt x="387" y="283"/>
                      <a:pt x="387" y="283"/>
                      <a:pt x="386" y="283"/>
                    </a:cubicBezTo>
                    <a:cubicBezTo>
                      <a:pt x="386" y="283"/>
                      <a:pt x="386" y="283"/>
                      <a:pt x="385" y="283"/>
                    </a:cubicBezTo>
                    <a:close/>
                    <a:moveTo>
                      <a:pt x="420" y="325"/>
                    </a:moveTo>
                    <a:cubicBezTo>
                      <a:pt x="420" y="325"/>
                      <a:pt x="420" y="325"/>
                      <a:pt x="420" y="326"/>
                    </a:cubicBezTo>
                    <a:cubicBezTo>
                      <a:pt x="420" y="326"/>
                      <a:pt x="420" y="326"/>
                      <a:pt x="419" y="327"/>
                    </a:cubicBezTo>
                    <a:cubicBezTo>
                      <a:pt x="419" y="327"/>
                      <a:pt x="419" y="327"/>
                      <a:pt x="420" y="327"/>
                    </a:cubicBezTo>
                    <a:cubicBezTo>
                      <a:pt x="420" y="327"/>
                      <a:pt x="420" y="327"/>
                      <a:pt x="421" y="326"/>
                    </a:cubicBezTo>
                    <a:cubicBezTo>
                      <a:pt x="421" y="326"/>
                      <a:pt x="421" y="326"/>
                      <a:pt x="420" y="325"/>
                    </a:cubicBezTo>
                    <a:close/>
                    <a:moveTo>
                      <a:pt x="376" y="270"/>
                    </a:moveTo>
                    <a:cubicBezTo>
                      <a:pt x="376" y="270"/>
                      <a:pt x="376" y="270"/>
                      <a:pt x="375" y="270"/>
                    </a:cubicBezTo>
                    <a:cubicBezTo>
                      <a:pt x="375" y="270"/>
                      <a:pt x="375" y="270"/>
                      <a:pt x="375" y="271"/>
                    </a:cubicBezTo>
                    <a:cubicBezTo>
                      <a:pt x="375" y="271"/>
                      <a:pt x="375" y="271"/>
                      <a:pt x="376" y="271"/>
                    </a:cubicBezTo>
                    <a:cubicBezTo>
                      <a:pt x="376" y="271"/>
                      <a:pt x="376" y="271"/>
                      <a:pt x="376" y="270"/>
                    </a:cubicBezTo>
                    <a:close/>
                    <a:moveTo>
                      <a:pt x="434" y="350"/>
                    </a:moveTo>
                    <a:cubicBezTo>
                      <a:pt x="434" y="350"/>
                      <a:pt x="434" y="350"/>
                      <a:pt x="433" y="351"/>
                    </a:cubicBezTo>
                    <a:cubicBezTo>
                      <a:pt x="433" y="351"/>
                      <a:pt x="433" y="351"/>
                      <a:pt x="434" y="352"/>
                    </a:cubicBezTo>
                    <a:cubicBezTo>
                      <a:pt x="434" y="352"/>
                      <a:pt x="434" y="352"/>
                      <a:pt x="434" y="353"/>
                    </a:cubicBezTo>
                    <a:cubicBezTo>
                      <a:pt x="434" y="353"/>
                      <a:pt x="434" y="353"/>
                      <a:pt x="435" y="352"/>
                    </a:cubicBezTo>
                    <a:cubicBezTo>
                      <a:pt x="435" y="352"/>
                      <a:pt x="435" y="352"/>
                      <a:pt x="434" y="350"/>
                    </a:cubicBezTo>
                    <a:close/>
                    <a:moveTo>
                      <a:pt x="371" y="274"/>
                    </a:moveTo>
                    <a:cubicBezTo>
                      <a:pt x="371" y="274"/>
                      <a:pt x="371" y="274"/>
                      <a:pt x="372" y="273"/>
                    </a:cubicBezTo>
                    <a:cubicBezTo>
                      <a:pt x="372" y="273"/>
                      <a:pt x="372" y="273"/>
                      <a:pt x="373" y="272"/>
                    </a:cubicBezTo>
                    <a:cubicBezTo>
                      <a:pt x="373" y="272"/>
                      <a:pt x="373" y="272"/>
                      <a:pt x="372" y="272"/>
                    </a:cubicBezTo>
                    <a:cubicBezTo>
                      <a:pt x="372" y="272"/>
                      <a:pt x="372" y="272"/>
                      <a:pt x="371" y="273"/>
                    </a:cubicBezTo>
                    <a:cubicBezTo>
                      <a:pt x="371" y="273"/>
                      <a:pt x="371" y="273"/>
                      <a:pt x="371" y="274"/>
                    </a:cubicBezTo>
                    <a:close/>
                    <a:moveTo>
                      <a:pt x="379" y="268"/>
                    </a:moveTo>
                    <a:cubicBezTo>
                      <a:pt x="379" y="268"/>
                      <a:pt x="379" y="268"/>
                      <a:pt x="378" y="267"/>
                    </a:cubicBezTo>
                    <a:cubicBezTo>
                      <a:pt x="378" y="267"/>
                      <a:pt x="378" y="267"/>
                      <a:pt x="377" y="268"/>
                    </a:cubicBezTo>
                    <a:cubicBezTo>
                      <a:pt x="377" y="268"/>
                      <a:pt x="377" y="268"/>
                      <a:pt x="378" y="268"/>
                    </a:cubicBezTo>
                    <a:cubicBezTo>
                      <a:pt x="378" y="268"/>
                      <a:pt x="378" y="268"/>
                      <a:pt x="379" y="268"/>
                    </a:cubicBezTo>
                    <a:close/>
                    <a:moveTo>
                      <a:pt x="434" y="355"/>
                    </a:moveTo>
                    <a:cubicBezTo>
                      <a:pt x="434" y="355"/>
                      <a:pt x="434" y="355"/>
                      <a:pt x="435" y="355"/>
                    </a:cubicBezTo>
                    <a:cubicBezTo>
                      <a:pt x="435" y="355"/>
                      <a:pt x="435" y="355"/>
                      <a:pt x="436" y="354"/>
                    </a:cubicBezTo>
                    <a:cubicBezTo>
                      <a:pt x="436" y="354"/>
                      <a:pt x="436" y="354"/>
                      <a:pt x="435" y="353"/>
                    </a:cubicBezTo>
                    <a:cubicBezTo>
                      <a:pt x="435" y="353"/>
                      <a:pt x="435" y="353"/>
                      <a:pt x="434" y="353"/>
                    </a:cubicBezTo>
                    <a:cubicBezTo>
                      <a:pt x="434" y="353"/>
                      <a:pt x="434" y="353"/>
                      <a:pt x="434" y="354"/>
                    </a:cubicBezTo>
                    <a:cubicBezTo>
                      <a:pt x="434" y="354"/>
                      <a:pt x="434" y="354"/>
                      <a:pt x="434" y="355"/>
                    </a:cubicBezTo>
                    <a:close/>
                    <a:moveTo>
                      <a:pt x="424" y="312"/>
                    </a:moveTo>
                    <a:cubicBezTo>
                      <a:pt x="424" y="312"/>
                      <a:pt x="424" y="312"/>
                      <a:pt x="423" y="313"/>
                    </a:cubicBezTo>
                    <a:cubicBezTo>
                      <a:pt x="423" y="313"/>
                      <a:pt x="423" y="313"/>
                      <a:pt x="423" y="314"/>
                    </a:cubicBezTo>
                    <a:cubicBezTo>
                      <a:pt x="423" y="314"/>
                      <a:pt x="423" y="314"/>
                      <a:pt x="424" y="313"/>
                    </a:cubicBezTo>
                    <a:cubicBezTo>
                      <a:pt x="424" y="313"/>
                      <a:pt x="424" y="313"/>
                      <a:pt x="424" y="312"/>
                    </a:cubicBezTo>
                    <a:close/>
                    <a:moveTo>
                      <a:pt x="369" y="276"/>
                    </a:moveTo>
                    <a:cubicBezTo>
                      <a:pt x="369" y="276"/>
                      <a:pt x="369" y="276"/>
                      <a:pt x="370" y="276"/>
                    </a:cubicBezTo>
                    <a:cubicBezTo>
                      <a:pt x="370" y="276"/>
                      <a:pt x="370" y="276"/>
                      <a:pt x="370" y="275"/>
                    </a:cubicBezTo>
                    <a:cubicBezTo>
                      <a:pt x="370" y="275"/>
                      <a:pt x="370" y="275"/>
                      <a:pt x="371" y="274"/>
                    </a:cubicBezTo>
                    <a:cubicBezTo>
                      <a:pt x="371" y="274"/>
                      <a:pt x="371" y="274"/>
                      <a:pt x="369" y="275"/>
                    </a:cubicBezTo>
                    <a:cubicBezTo>
                      <a:pt x="369" y="275"/>
                      <a:pt x="369" y="275"/>
                      <a:pt x="369" y="276"/>
                    </a:cubicBezTo>
                    <a:close/>
                    <a:moveTo>
                      <a:pt x="420" y="318"/>
                    </a:moveTo>
                    <a:cubicBezTo>
                      <a:pt x="420" y="318"/>
                      <a:pt x="420" y="318"/>
                      <a:pt x="419" y="319"/>
                    </a:cubicBezTo>
                    <a:cubicBezTo>
                      <a:pt x="419" y="319"/>
                      <a:pt x="419" y="319"/>
                      <a:pt x="420" y="321"/>
                    </a:cubicBezTo>
                    <a:cubicBezTo>
                      <a:pt x="420" y="321"/>
                      <a:pt x="420" y="321"/>
                      <a:pt x="420" y="322"/>
                    </a:cubicBezTo>
                    <a:cubicBezTo>
                      <a:pt x="420" y="322"/>
                      <a:pt x="420" y="322"/>
                      <a:pt x="421" y="322"/>
                    </a:cubicBezTo>
                    <a:cubicBezTo>
                      <a:pt x="421" y="322"/>
                      <a:pt x="421" y="322"/>
                      <a:pt x="420" y="323"/>
                    </a:cubicBezTo>
                    <a:cubicBezTo>
                      <a:pt x="420" y="323"/>
                      <a:pt x="420" y="323"/>
                      <a:pt x="421" y="325"/>
                    </a:cubicBezTo>
                    <a:cubicBezTo>
                      <a:pt x="421" y="325"/>
                      <a:pt x="421" y="325"/>
                      <a:pt x="422" y="325"/>
                    </a:cubicBezTo>
                    <a:cubicBezTo>
                      <a:pt x="422" y="325"/>
                      <a:pt x="422" y="325"/>
                      <a:pt x="423" y="324"/>
                    </a:cubicBezTo>
                    <a:cubicBezTo>
                      <a:pt x="423" y="324"/>
                      <a:pt x="423" y="324"/>
                      <a:pt x="423" y="322"/>
                    </a:cubicBezTo>
                    <a:cubicBezTo>
                      <a:pt x="423" y="322"/>
                      <a:pt x="423" y="322"/>
                      <a:pt x="422" y="321"/>
                    </a:cubicBezTo>
                    <a:cubicBezTo>
                      <a:pt x="422" y="321"/>
                      <a:pt x="422" y="321"/>
                      <a:pt x="422" y="319"/>
                    </a:cubicBezTo>
                    <a:cubicBezTo>
                      <a:pt x="422" y="319"/>
                      <a:pt x="422" y="319"/>
                      <a:pt x="424" y="322"/>
                    </a:cubicBezTo>
                    <a:cubicBezTo>
                      <a:pt x="424" y="322"/>
                      <a:pt x="424" y="322"/>
                      <a:pt x="424" y="323"/>
                    </a:cubicBezTo>
                    <a:cubicBezTo>
                      <a:pt x="424" y="323"/>
                      <a:pt x="424" y="323"/>
                      <a:pt x="425" y="325"/>
                    </a:cubicBezTo>
                    <a:cubicBezTo>
                      <a:pt x="425" y="325"/>
                      <a:pt x="425" y="325"/>
                      <a:pt x="426" y="325"/>
                    </a:cubicBezTo>
                    <a:cubicBezTo>
                      <a:pt x="426" y="325"/>
                      <a:pt x="426" y="325"/>
                      <a:pt x="426" y="323"/>
                    </a:cubicBezTo>
                    <a:cubicBezTo>
                      <a:pt x="426" y="323"/>
                      <a:pt x="426" y="323"/>
                      <a:pt x="427" y="322"/>
                    </a:cubicBezTo>
                    <a:cubicBezTo>
                      <a:pt x="427" y="322"/>
                      <a:pt x="427" y="322"/>
                      <a:pt x="426" y="321"/>
                    </a:cubicBezTo>
                    <a:cubicBezTo>
                      <a:pt x="426" y="321"/>
                      <a:pt x="426" y="321"/>
                      <a:pt x="425" y="321"/>
                    </a:cubicBezTo>
                    <a:cubicBezTo>
                      <a:pt x="425" y="321"/>
                      <a:pt x="425" y="321"/>
                      <a:pt x="425" y="320"/>
                    </a:cubicBezTo>
                    <a:cubicBezTo>
                      <a:pt x="425" y="320"/>
                      <a:pt x="425" y="320"/>
                      <a:pt x="423" y="318"/>
                    </a:cubicBezTo>
                    <a:cubicBezTo>
                      <a:pt x="423" y="318"/>
                      <a:pt x="423" y="318"/>
                      <a:pt x="423" y="317"/>
                    </a:cubicBezTo>
                    <a:cubicBezTo>
                      <a:pt x="423" y="317"/>
                      <a:pt x="423" y="317"/>
                      <a:pt x="425" y="319"/>
                    </a:cubicBezTo>
                    <a:cubicBezTo>
                      <a:pt x="425" y="319"/>
                      <a:pt x="425" y="319"/>
                      <a:pt x="426" y="320"/>
                    </a:cubicBezTo>
                    <a:cubicBezTo>
                      <a:pt x="426" y="320"/>
                      <a:pt x="426" y="320"/>
                      <a:pt x="427" y="320"/>
                    </a:cubicBezTo>
                    <a:cubicBezTo>
                      <a:pt x="427" y="320"/>
                      <a:pt x="427" y="320"/>
                      <a:pt x="427" y="319"/>
                    </a:cubicBezTo>
                    <a:cubicBezTo>
                      <a:pt x="427" y="319"/>
                      <a:pt x="427" y="319"/>
                      <a:pt x="428" y="318"/>
                    </a:cubicBezTo>
                    <a:cubicBezTo>
                      <a:pt x="428" y="318"/>
                      <a:pt x="428" y="318"/>
                      <a:pt x="427" y="316"/>
                    </a:cubicBezTo>
                    <a:cubicBezTo>
                      <a:pt x="427" y="316"/>
                      <a:pt x="427" y="316"/>
                      <a:pt x="426" y="317"/>
                    </a:cubicBezTo>
                    <a:cubicBezTo>
                      <a:pt x="426" y="317"/>
                      <a:pt x="426" y="317"/>
                      <a:pt x="425" y="318"/>
                    </a:cubicBezTo>
                    <a:cubicBezTo>
                      <a:pt x="425" y="318"/>
                      <a:pt x="425" y="318"/>
                      <a:pt x="425" y="317"/>
                    </a:cubicBezTo>
                    <a:cubicBezTo>
                      <a:pt x="425" y="317"/>
                      <a:pt x="425" y="317"/>
                      <a:pt x="425" y="316"/>
                    </a:cubicBezTo>
                    <a:cubicBezTo>
                      <a:pt x="425" y="316"/>
                      <a:pt x="425" y="316"/>
                      <a:pt x="425" y="315"/>
                    </a:cubicBezTo>
                    <a:cubicBezTo>
                      <a:pt x="425" y="315"/>
                      <a:pt x="425" y="315"/>
                      <a:pt x="424" y="314"/>
                    </a:cubicBezTo>
                    <a:cubicBezTo>
                      <a:pt x="424" y="314"/>
                      <a:pt x="424" y="314"/>
                      <a:pt x="422" y="315"/>
                    </a:cubicBezTo>
                    <a:cubicBezTo>
                      <a:pt x="422" y="315"/>
                      <a:pt x="422" y="315"/>
                      <a:pt x="422" y="316"/>
                    </a:cubicBezTo>
                    <a:cubicBezTo>
                      <a:pt x="422" y="316"/>
                      <a:pt x="422" y="316"/>
                      <a:pt x="421" y="314"/>
                    </a:cubicBezTo>
                    <a:cubicBezTo>
                      <a:pt x="421" y="314"/>
                      <a:pt x="421" y="314"/>
                      <a:pt x="420" y="316"/>
                    </a:cubicBezTo>
                    <a:cubicBezTo>
                      <a:pt x="420" y="316"/>
                      <a:pt x="420" y="316"/>
                      <a:pt x="421" y="317"/>
                    </a:cubicBezTo>
                    <a:cubicBezTo>
                      <a:pt x="421" y="317"/>
                      <a:pt x="421" y="317"/>
                      <a:pt x="421" y="318"/>
                    </a:cubicBezTo>
                    <a:cubicBezTo>
                      <a:pt x="421" y="318"/>
                      <a:pt x="421" y="318"/>
                      <a:pt x="420" y="318"/>
                    </a:cubicBezTo>
                    <a:close/>
                    <a:moveTo>
                      <a:pt x="426" y="329"/>
                    </a:moveTo>
                    <a:cubicBezTo>
                      <a:pt x="426" y="329"/>
                      <a:pt x="426" y="329"/>
                      <a:pt x="426" y="330"/>
                    </a:cubicBezTo>
                    <a:cubicBezTo>
                      <a:pt x="426" y="330"/>
                      <a:pt x="426" y="330"/>
                      <a:pt x="427" y="329"/>
                    </a:cubicBezTo>
                    <a:cubicBezTo>
                      <a:pt x="427" y="329"/>
                      <a:pt x="427" y="329"/>
                      <a:pt x="429" y="328"/>
                    </a:cubicBezTo>
                    <a:cubicBezTo>
                      <a:pt x="429" y="328"/>
                      <a:pt x="429" y="328"/>
                      <a:pt x="429" y="326"/>
                    </a:cubicBezTo>
                    <a:cubicBezTo>
                      <a:pt x="429" y="326"/>
                      <a:pt x="429" y="326"/>
                      <a:pt x="427" y="326"/>
                    </a:cubicBezTo>
                    <a:cubicBezTo>
                      <a:pt x="427" y="326"/>
                      <a:pt x="427" y="326"/>
                      <a:pt x="426" y="326"/>
                    </a:cubicBezTo>
                    <a:cubicBezTo>
                      <a:pt x="426" y="326"/>
                      <a:pt x="426" y="326"/>
                      <a:pt x="426" y="328"/>
                    </a:cubicBezTo>
                    <a:cubicBezTo>
                      <a:pt x="426" y="328"/>
                      <a:pt x="426" y="328"/>
                      <a:pt x="426" y="329"/>
                    </a:cubicBezTo>
                    <a:close/>
                    <a:moveTo>
                      <a:pt x="431" y="326"/>
                    </a:moveTo>
                    <a:cubicBezTo>
                      <a:pt x="431" y="326"/>
                      <a:pt x="431" y="326"/>
                      <a:pt x="431" y="325"/>
                    </a:cubicBezTo>
                    <a:cubicBezTo>
                      <a:pt x="431" y="325"/>
                      <a:pt x="431" y="325"/>
                      <a:pt x="431" y="324"/>
                    </a:cubicBezTo>
                    <a:cubicBezTo>
                      <a:pt x="431" y="324"/>
                      <a:pt x="431" y="324"/>
                      <a:pt x="431" y="320"/>
                    </a:cubicBezTo>
                    <a:cubicBezTo>
                      <a:pt x="431" y="320"/>
                      <a:pt x="431" y="320"/>
                      <a:pt x="432" y="319"/>
                    </a:cubicBezTo>
                    <a:cubicBezTo>
                      <a:pt x="432" y="319"/>
                      <a:pt x="432" y="319"/>
                      <a:pt x="432" y="321"/>
                    </a:cubicBezTo>
                    <a:cubicBezTo>
                      <a:pt x="432" y="321"/>
                      <a:pt x="432" y="321"/>
                      <a:pt x="432" y="324"/>
                    </a:cubicBezTo>
                    <a:cubicBezTo>
                      <a:pt x="432" y="324"/>
                      <a:pt x="432" y="324"/>
                      <a:pt x="433" y="324"/>
                    </a:cubicBezTo>
                    <a:cubicBezTo>
                      <a:pt x="433" y="324"/>
                      <a:pt x="433" y="324"/>
                      <a:pt x="433" y="323"/>
                    </a:cubicBezTo>
                    <a:cubicBezTo>
                      <a:pt x="433" y="323"/>
                      <a:pt x="433" y="323"/>
                      <a:pt x="433" y="318"/>
                    </a:cubicBezTo>
                    <a:cubicBezTo>
                      <a:pt x="433" y="318"/>
                      <a:pt x="433" y="318"/>
                      <a:pt x="432" y="317"/>
                    </a:cubicBezTo>
                    <a:cubicBezTo>
                      <a:pt x="432" y="317"/>
                      <a:pt x="432" y="317"/>
                      <a:pt x="431" y="316"/>
                    </a:cubicBezTo>
                    <a:cubicBezTo>
                      <a:pt x="431" y="316"/>
                      <a:pt x="431" y="316"/>
                      <a:pt x="431" y="315"/>
                    </a:cubicBezTo>
                    <a:cubicBezTo>
                      <a:pt x="431" y="315"/>
                      <a:pt x="431" y="315"/>
                      <a:pt x="430" y="314"/>
                    </a:cubicBezTo>
                    <a:cubicBezTo>
                      <a:pt x="430" y="314"/>
                      <a:pt x="430" y="314"/>
                      <a:pt x="429" y="316"/>
                    </a:cubicBezTo>
                    <a:cubicBezTo>
                      <a:pt x="429" y="316"/>
                      <a:pt x="429" y="316"/>
                      <a:pt x="429" y="320"/>
                    </a:cubicBezTo>
                    <a:cubicBezTo>
                      <a:pt x="429" y="320"/>
                      <a:pt x="429" y="320"/>
                      <a:pt x="428" y="321"/>
                    </a:cubicBezTo>
                    <a:cubicBezTo>
                      <a:pt x="428" y="321"/>
                      <a:pt x="428" y="321"/>
                      <a:pt x="428" y="323"/>
                    </a:cubicBezTo>
                    <a:cubicBezTo>
                      <a:pt x="428" y="323"/>
                      <a:pt x="428" y="323"/>
                      <a:pt x="429" y="324"/>
                    </a:cubicBezTo>
                    <a:cubicBezTo>
                      <a:pt x="429" y="324"/>
                      <a:pt x="429" y="324"/>
                      <a:pt x="428" y="325"/>
                    </a:cubicBezTo>
                    <a:cubicBezTo>
                      <a:pt x="428" y="325"/>
                      <a:pt x="428" y="325"/>
                      <a:pt x="429" y="326"/>
                    </a:cubicBezTo>
                    <a:cubicBezTo>
                      <a:pt x="429" y="326"/>
                      <a:pt x="429" y="326"/>
                      <a:pt x="430" y="326"/>
                    </a:cubicBezTo>
                    <a:cubicBezTo>
                      <a:pt x="430" y="326"/>
                      <a:pt x="430" y="326"/>
                      <a:pt x="431" y="326"/>
                    </a:cubicBezTo>
                    <a:close/>
                    <a:moveTo>
                      <a:pt x="426" y="326"/>
                    </a:moveTo>
                    <a:cubicBezTo>
                      <a:pt x="426" y="326"/>
                      <a:pt x="426" y="326"/>
                      <a:pt x="425" y="325"/>
                    </a:cubicBezTo>
                    <a:cubicBezTo>
                      <a:pt x="425" y="325"/>
                      <a:pt x="425" y="325"/>
                      <a:pt x="425" y="326"/>
                    </a:cubicBezTo>
                    <a:cubicBezTo>
                      <a:pt x="425" y="326"/>
                      <a:pt x="425" y="326"/>
                      <a:pt x="426" y="326"/>
                    </a:cubicBezTo>
                    <a:close/>
                    <a:moveTo>
                      <a:pt x="378" y="273"/>
                    </a:moveTo>
                    <a:cubicBezTo>
                      <a:pt x="378" y="273"/>
                      <a:pt x="378" y="273"/>
                      <a:pt x="377" y="273"/>
                    </a:cubicBezTo>
                    <a:cubicBezTo>
                      <a:pt x="377" y="273"/>
                      <a:pt x="377" y="273"/>
                      <a:pt x="376" y="274"/>
                    </a:cubicBezTo>
                    <a:cubicBezTo>
                      <a:pt x="376" y="274"/>
                      <a:pt x="376" y="274"/>
                      <a:pt x="376" y="276"/>
                    </a:cubicBezTo>
                    <a:cubicBezTo>
                      <a:pt x="376" y="276"/>
                      <a:pt x="376" y="276"/>
                      <a:pt x="378" y="276"/>
                    </a:cubicBezTo>
                    <a:cubicBezTo>
                      <a:pt x="378" y="276"/>
                      <a:pt x="378" y="276"/>
                      <a:pt x="379" y="275"/>
                    </a:cubicBezTo>
                    <a:cubicBezTo>
                      <a:pt x="379" y="275"/>
                      <a:pt x="379" y="275"/>
                      <a:pt x="378" y="275"/>
                    </a:cubicBezTo>
                    <a:cubicBezTo>
                      <a:pt x="378" y="275"/>
                      <a:pt x="378" y="275"/>
                      <a:pt x="378" y="273"/>
                    </a:cubicBezTo>
                    <a:close/>
                    <a:moveTo>
                      <a:pt x="314" y="310"/>
                    </a:moveTo>
                    <a:cubicBezTo>
                      <a:pt x="314" y="310"/>
                      <a:pt x="314" y="310"/>
                      <a:pt x="315" y="310"/>
                    </a:cubicBezTo>
                    <a:cubicBezTo>
                      <a:pt x="315" y="310"/>
                      <a:pt x="315" y="310"/>
                      <a:pt x="316" y="310"/>
                    </a:cubicBezTo>
                    <a:cubicBezTo>
                      <a:pt x="316" y="310"/>
                      <a:pt x="316" y="310"/>
                      <a:pt x="317" y="309"/>
                    </a:cubicBezTo>
                    <a:cubicBezTo>
                      <a:pt x="317" y="309"/>
                      <a:pt x="317" y="309"/>
                      <a:pt x="317" y="308"/>
                    </a:cubicBezTo>
                    <a:cubicBezTo>
                      <a:pt x="317" y="308"/>
                      <a:pt x="317" y="308"/>
                      <a:pt x="314" y="309"/>
                    </a:cubicBezTo>
                    <a:cubicBezTo>
                      <a:pt x="314" y="309"/>
                      <a:pt x="314" y="309"/>
                      <a:pt x="314" y="310"/>
                    </a:cubicBezTo>
                    <a:close/>
                    <a:moveTo>
                      <a:pt x="329" y="297"/>
                    </a:moveTo>
                    <a:cubicBezTo>
                      <a:pt x="329" y="297"/>
                      <a:pt x="329" y="297"/>
                      <a:pt x="328" y="298"/>
                    </a:cubicBezTo>
                    <a:cubicBezTo>
                      <a:pt x="328" y="298"/>
                      <a:pt x="328" y="298"/>
                      <a:pt x="327" y="298"/>
                    </a:cubicBezTo>
                    <a:cubicBezTo>
                      <a:pt x="327" y="298"/>
                      <a:pt x="327" y="298"/>
                      <a:pt x="327" y="297"/>
                    </a:cubicBezTo>
                    <a:cubicBezTo>
                      <a:pt x="327" y="297"/>
                      <a:pt x="327" y="297"/>
                      <a:pt x="327" y="296"/>
                    </a:cubicBezTo>
                    <a:cubicBezTo>
                      <a:pt x="327" y="296"/>
                      <a:pt x="327" y="296"/>
                      <a:pt x="326" y="295"/>
                    </a:cubicBezTo>
                    <a:cubicBezTo>
                      <a:pt x="326" y="295"/>
                      <a:pt x="326" y="295"/>
                      <a:pt x="326" y="296"/>
                    </a:cubicBezTo>
                    <a:cubicBezTo>
                      <a:pt x="326" y="296"/>
                      <a:pt x="326" y="296"/>
                      <a:pt x="326" y="298"/>
                    </a:cubicBezTo>
                    <a:cubicBezTo>
                      <a:pt x="326" y="298"/>
                      <a:pt x="326" y="298"/>
                      <a:pt x="325" y="297"/>
                    </a:cubicBezTo>
                    <a:cubicBezTo>
                      <a:pt x="325" y="297"/>
                      <a:pt x="325" y="297"/>
                      <a:pt x="324" y="298"/>
                    </a:cubicBezTo>
                    <a:cubicBezTo>
                      <a:pt x="324" y="298"/>
                      <a:pt x="324" y="298"/>
                      <a:pt x="323" y="299"/>
                    </a:cubicBezTo>
                    <a:cubicBezTo>
                      <a:pt x="323" y="299"/>
                      <a:pt x="323" y="299"/>
                      <a:pt x="323" y="298"/>
                    </a:cubicBezTo>
                    <a:cubicBezTo>
                      <a:pt x="323" y="298"/>
                      <a:pt x="323" y="298"/>
                      <a:pt x="322" y="299"/>
                    </a:cubicBezTo>
                    <a:cubicBezTo>
                      <a:pt x="322" y="299"/>
                      <a:pt x="322" y="299"/>
                      <a:pt x="321" y="298"/>
                    </a:cubicBezTo>
                    <a:cubicBezTo>
                      <a:pt x="321" y="298"/>
                      <a:pt x="321" y="298"/>
                      <a:pt x="321" y="299"/>
                    </a:cubicBezTo>
                    <a:cubicBezTo>
                      <a:pt x="321" y="299"/>
                      <a:pt x="321" y="299"/>
                      <a:pt x="321" y="300"/>
                    </a:cubicBezTo>
                    <a:cubicBezTo>
                      <a:pt x="321" y="300"/>
                      <a:pt x="321" y="300"/>
                      <a:pt x="320" y="301"/>
                    </a:cubicBezTo>
                    <a:cubicBezTo>
                      <a:pt x="320" y="301"/>
                      <a:pt x="320" y="301"/>
                      <a:pt x="320" y="298"/>
                    </a:cubicBezTo>
                    <a:cubicBezTo>
                      <a:pt x="320" y="298"/>
                      <a:pt x="320" y="298"/>
                      <a:pt x="319" y="298"/>
                    </a:cubicBezTo>
                    <a:cubicBezTo>
                      <a:pt x="319" y="298"/>
                      <a:pt x="319" y="298"/>
                      <a:pt x="318" y="298"/>
                    </a:cubicBezTo>
                    <a:cubicBezTo>
                      <a:pt x="318" y="298"/>
                      <a:pt x="318" y="298"/>
                      <a:pt x="315" y="300"/>
                    </a:cubicBezTo>
                    <a:cubicBezTo>
                      <a:pt x="315" y="300"/>
                      <a:pt x="315" y="300"/>
                      <a:pt x="313" y="301"/>
                    </a:cubicBezTo>
                    <a:cubicBezTo>
                      <a:pt x="313" y="301"/>
                      <a:pt x="313" y="301"/>
                      <a:pt x="313" y="302"/>
                    </a:cubicBezTo>
                    <a:cubicBezTo>
                      <a:pt x="313" y="302"/>
                      <a:pt x="313" y="302"/>
                      <a:pt x="314" y="302"/>
                    </a:cubicBezTo>
                    <a:cubicBezTo>
                      <a:pt x="314" y="302"/>
                      <a:pt x="314" y="302"/>
                      <a:pt x="314" y="304"/>
                    </a:cubicBezTo>
                    <a:cubicBezTo>
                      <a:pt x="314" y="304"/>
                      <a:pt x="314" y="304"/>
                      <a:pt x="313" y="305"/>
                    </a:cubicBezTo>
                    <a:cubicBezTo>
                      <a:pt x="313" y="305"/>
                      <a:pt x="313" y="305"/>
                      <a:pt x="313" y="306"/>
                    </a:cubicBezTo>
                    <a:cubicBezTo>
                      <a:pt x="313" y="306"/>
                      <a:pt x="313" y="306"/>
                      <a:pt x="313" y="307"/>
                    </a:cubicBezTo>
                    <a:cubicBezTo>
                      <a:pt x="313" y="307"/>
                      <a:pt x="313" y="307"/>
                      <a:pt x="314" y="308"/>
                    </a:cubicBezTo>
                    <a:cubicBezTo>
                      <a:pt x="314" y="308"/>
                      <a:pt x="314" y="308"/>
                      <a:pt x="314" y="307"/>
                    </a:cubicBezTo>
                    <a:cubicBezTo>
                      <a:pt x="314" y="307"/>
                      <a:pt x="314" y="307"/>
                      <a:pt x="315" y="307"/>
                    </a:cubicBezTo>
                    <a:cubicBezTo>
                      <a:pt x="315" y="307"/>
                      <a:pt x="315" y="307"/>
                      <a:pt x="314" y="306"/>
                    </a:cubicBezTo>
                    <a:cubicBezTo>
                      <a:pt x="314" y="306"/>
                      <a:pt x="314" y="306"/>
                      <a:pt x="315" y="306"/>
                    </a:cubicBezTo>
                    <a:cubicBezTo>
                      <a:pt x="315" y="306"/>
                      <a:pt x="315" y="306"/>
                      <a:pt x="316" y="307"/>
                    </a:cubicBezTo>
                    <a:cubicBezTo>
                      <a:pt x="316" y="307"/>
                      <a:pt x="316" y="307"/>
                      <a:pt x="317" y="306"/>
                    </a:cubicBezTo>
                    <a:cubicBezTo>
                      <a:pt x="317" y="306"/>
                      <a:pt x="317" y="306"/>
                      <a:pt x="317" y="307"/>
                    </a:cubicBezTo>
                    <a:cubicBezTo>
                      <a:pt x="317" y="307"/>
                      <a:pt x="317" y="307"/>
                      <a:pt x="317" y="308"/>
                    </a:cubicBezTo>
                    <a:cubicBezTo>
                      <a:pt x="317" y="308"/>
                      <a:pt x="317" y="308"/>
                      <a:pt x="318" y="307"/>
                    </a:cubicBezTo>
                    <a:cubicBezTo>
                      <a:pt x="318" y="307"/>
                      <a:pt x="318" y="307"/>
                      <a:pt x="318" y="306"/>
                    </a:cubicBezTo>
                    <a:cubicBezTo>
                      <a:pt x="318" y="306"/>
                      <a:pt x="318" y="306"/>
                      <a:pt x="319" y="306"/>
                    </a:cubicBezTo>
                    <a:cubicBezTo>
                      <a:pt x="319" y="306"/>
                      <a:pt x="319" y="306"/>
                      <a:pt x="320" y="305"/>
                    </a:cubicBezTo>
                    <a:cubicBezTo>
                      <a:pt x="320" y="305"/>
                      <a:pt x="320" y="305"/>
                      <a:pt x="321" y="305"/>
                    </a:cubicBezTo>
                    <a:cubicBezTo>
                      <a:pt x="321" y="305"/>
                      <a:pt x="321" y="305"/>
                      <a:pt x="322" y="305"/>
                    </a:cubicBezTo>
                    <a:cubicBezTo>
                      <a:pt x="322" y="305"/>
                      <a:pt x="322" y="305"/>
                      <a:pt x="323" y="304"/>
                    </a:cubicBezTo>
                    <a:cubicBezTo>
                      <a:pt x="323" y="304"/>
                      <a:pt x="323" y="304"/>
                      <a:pt x="322" y="303"/>
                    </a:cubicBezTo>
                    <a:cubicBezTo>
                      <a:pt x="322" y="303"/>
                      <a:pt x="322" y="303"/>
                      <a:pt x="324" y="303"/>
                    </a:cubicBezTo>
                    <a:cubicBezTo>
                      <a:pt x="324" y="303"/>
                      <a:pt x="324" y="303"/>
                      <a:pt x="325" y="304"/>
                    </a:cubicBezTo>
                    <a:cubicBezTo>
                      <a:pt x="325" y="304"/>
                      <a:pt x="325" y="304"/>
                      <a:pt x="326" y="304"/>
                    </a:cubicBezTo>
                    <a:cubicBezTo>
                      <a:pt x="326" y="304"/>
                      <a:pt x="326" y="304"/>
                      <a:pt x="326" y="303"/>
                    </a:cubicBezTo>
                    <a:cubicBezTo>
                      <a:pt x="326" y="303"/>
                      <a:pt x="326" y="303"/>
                      <a:pt x="326" y="302"/>
                    </a:cubicBezTo>
                    <a:cubicBezTo>
                      <a:pt x="326" y="302"/>
                      <a:pt x="326" y="302"/>
                      <a:pt x="325" y="301"/>
                    </a:cubicBezTo>
                    <a:cubicBezTo>
                      <a:pt x="325" y="301"/>
                      <a:pt x="325" y="301"/>
                      <a:pt x="326" y="301"/>
                    </a:cubicBezTo>
                    <a:cubicBezTo>
                      <a:pt x="326" y="301"/>
                      <a:pt x="326" y="301"/>
                      <a:pt x="327" y="301"/>
                    </a:cubicBezTo>
                    <a:cubicBezTo>
                      <a:pt x="327" y="301"/>
                      <a:pt x="327" y="301"/>
                      <a:pt x="328" y="301"/>
                    </a:cubicBezTo>
                    <a:cubicBezTo>
                      <a:pt x="328" y="301"/>
                      <a:pt x="328" y="301"/>
                      <a:pt x="329" y="302"/>
                    </a:cubicBezTo>
                    <a:cubicBezTo>
                      <a:pt x="329" y="302"/>
                      <a:pt x="329" y="302"/>
                      <a:pt x="330" y="300"/>
                    </a:cubicBezTo>
                    <a:cubicBezTo>
                      <a:pt x="330" y="300"/>
                      <a:pt x="330" y="300"/>
                      <a:pt x="330" y="299"/>
                    </a:cubicBezTo>
                    <a:cubicBezTo>
                      <a:pt x="330" y="299"/>
                      <a:pt x="330" y="299"/>
                      <a:pt x="329" y="299"/>
                    </a:cubicBezTo>
                    <a:cubicBezTo>
                      <a:pt x="329" y="299"/>
                      <a:pt x="329" y="299"/>
                      <a:pt x="329" y="298"/>
                    </a:cubicBezTo>
                    <a:cubicBezTo>
                      <a:pt x="329" y="298"/>
                      <a:pt x="329" y="298"/>
                      <a:pt x="330" y="298"/>
                    </a:cubicBezTo>
                    <a:cubicBezTo>
                      <a:pt x="330" y="298"/>
                      <a:pt x="330" y="298"/>
                      <a:pt x="331" y="298"/>
                    </a:cubicBezTo>
                    <a:cubicBezTo>
                      <a:pt x="331" y="298"/>
                      <a:pt x="331" y="298"/>
                      <a:pt x="331" y="297"/>
                    </a:cubicBezTo>
                    <a:cubicBezTo>
                      <a:pt x="331" y="297"/>
                      <a:pt x="331" y="297"/>
                      <a:pt x="330" y="296"/>
                    </a:cubicBezTo>
                    <a:cubicBezTo>
                      <a:pt x="330" y="296"/>
                      <a:pt x="330" y="296"/>
                      <a:pt x="329" y="297"/>
                    </a:cubicBezTo>
                    <a:close/>
                    <a:moveTo>
                      <a:pt x="313" y="312"/>
                    </a:moveTo>
                    <a:cubicBezTo>
                      <a:pt x="313" y="312"/>
                      <a:pt x="313" y="312"/>
                      <a:pt x="313" y="311"/>
                    </a:cubicBezTo>
                    <a:cubicBezTo>
                      <a:pt x="313" y="311"/>
                      <a:pt x="313" y="311"/>
                      <a:pt x="312" y="312"/>
                    </a:cubicBezTo>
                    <a:cubicBezTo>
                      <a:pt x="312" y="312"/>
                      <a:pt x="312" y="312"/>
                      <a:pt x="313" y="312"/>
                    </a:cubicBezTo>
                    <a:close/>
                    <a:moveTo>
                      <a:pt x="372" y="266"/>
                    </a:moveTo>
                    <a:cubicBezTo>
                      <a:pt x="372" y="266"/>
                      <a:pt x="372" y="266"/>
                      <a:pt x="371" y="267"/>
                    </a:cubicBezTo>
                    <a:cubicBezTo>
                      <a:pt x="371" y="267"/>
                      <a:pt x="371" y="267"/>
                      <a:pt x="372" y="269"/>
                    </a:cubicBezTo>
                    <a:cubicBezTo>
                      <a:pt x="372" y="269"/>
                      <a:pt x="372" y="269"/>
                      <a:pt x="373" y="268"/>
                    </a:cubicBezTo>
                    <a:cubicBezTo>
                      <a:pt x="373" y="268"/>
                      <a:pt x="373" y="268"/>
                      <a:pt x="372" y="267"/>
                    </a:cubicBezTo>
                    <a:cubicBezTo>
                      <a:pt x="372" y="267"/>
                      <a:pt x="372" y="267"/>
                      <a:pt x="373" y="267"/>
                    </a:cubicBezTo>
                    <a:cubicBezTo>
                      <a:pt x="373" y="267"/>
                      <a:pt x="373" y="267"/>
                      <a:pt x="372" y="266"/>
                    </a:cubicBezTo>
                    <a:close/>
                    <a:moveTo>
                      <a:pt x="310" y="311"/>
                    </a:moveTo>
                    <a:cubicBezTo>
                      <a:pt x="310" y="311"/>
                      <a:pt x="310" y="311"/>
                      <a:pt x="309" y="313"/>
                    </a:cubicBezTo>
                    <a:cubicBezTo>
                      <a:pt x="309" y="313"/>
                      <a:pt x="309" y="313"/>
                      <a:pt x="310" y="313"/>
                    </a:cubicBezTo>
                    <a:cubicBezTo>
                      <a:pt x="310" y="313"/>
                      <a:pt x="310" y="313"/>
                      <a:pt x="312" y="310"/>
                    </a:cubicBezTo>
                    <a:cubicBezTo>
                      <a:pt x="312" y="310"/>
                      <a:pt x="312" y="310"/>
                      <a:pt x="310" y="311"/>
                    </a:cubicBezTo>
                    <a:close/>
                    <a:moveTo>
                      <a:pt x="300" y="320"/>
                    </a:moveTo>
                    <a:cubicBezTo>
                      <a:pt x="300" y="320"/>
                      <a:pt x="300" y="320"/>
                      <a:pt x="301" y="320"/>
                    </a:cubicBezTo>
                    <a:cubicBezTo>
                      <a:pt x="301" y="320"/>
                      <a:pt x="301" y="320"/>
                      <a:pt x="301" y="319"/>
                    </a:cubicBezTo>
                    <a:cubicBezTo>
                      <a:pt x="301" y="319"/>
                      <a:pt x="301" y="319"/>
                      <a:pt x="300" y="319"/>
                    </a:cubicBezTo>
                    <a:cubicBezTo>
                      <a:pt x="300" y="319"/>
                      <a:pt x="300" y="319"/>
                      <a:pt x="300" y="320"/>
                    </a:cubicBezTo>
                    <a:close/>
                    <a:moveTo>
                      <a:pt x="324" y="296"/>
                    </a:moveTo>
                    <a:cubicBezTo>
                      <a:pt x="324" y="296"/>
                      <a:pt x="324" y="296"/>
                      <a:pt x="323" y="295"/>
                    </a:cubicBezTo>
                    <a:cubicBezTo>
                      <a:pt x="323" y="295"/>
                      <a:pt x="323" y="295"/>
                      <a:pt x="322" y="295"/>
                    </a:cubicBezTo>
                    <a:cubicBezTo>
                      <a:pt x="322" y="295"/>
                      <a:pt x="322" y="295"/>
                      <a:pt x="321" y="297"/>
                    </a:cubicBezTo>
                    <a:cubicBezTo>
                      <a:pt x="321" y="297"/>
                      <a:pt x="321" y="297"/>
                      <a:pt x="323" y="298"/>
                    </a:cubicBezTo>
                    <a:cubicBezTo>
                      <a:pt x="323" y="298"/>
                      <a:pt x="323" y="298"/>
                      <a:pt x="324" y="297"/>
                    </a:cubicBezTo>
                    <a:cubicBezTo>
                      <a:pt x="324" y="297"/>
                      <a:pt x="324" y="297"/>
                      <a:pt x="324" y="296"/>
                    </a:cubicBezTo>
                    <a:close/>
                    <a:moveTo>
                      <a:pt x="371" y="287"/>
                    </a:moveTo>
                    <a:cubicBezTo>
                      <a:pt x="371" y="287"/>
                      <a:pt x="371" y="287"/>
                      <a:pt x="373" y="287"/>
                    </a:cubicBezTo>
                    <a:cubicBezTo>
                      <a:pt x="373" y="287"/>
                      <a:pt x="373" y="287"/>
                      <a:pt x="372" y="286"/>
                    </a:cubicBezTo>
                    <a:cubicBezTo>
                      <a:pt x="372" y="286"/>
                      <a:pt x="372" y="286"/>
                      <a:pt x="371" y="287"/>
                    </a:cubicBezTo>
                    <a:close/>
                    <a:moveTo>
                      <a:pt x="335" y="292"/>
                    </a:moveTo>
                    <a:cubicBezTo>
                      <a:pt x="335" y="292"/>
                      <a:pt x="335" y="292"/>
                      <a:pt x="334" y="291"/>
                    </a:cubicBezTo>
                    <a:cubicBezTo>
                      <a:pt x="334" y="291"/>
                      <a:pt x="334" y="291"/>
                      <a:pt x="333" y="291"/>
                    </a:cubicBezTo>
                    <a:cubicBezTo>
                      <a:pt x="333" y="291"/>
                      <a:pt x="333" y="291"/>
                      <a:pt x="332" y="291"/>
                    </a:cubicBezTo>
                    <a:cubicBezTo>
                      <a:pt x="332" y="291"/>
                      <a:pt x="332" y="291"/>
                      <a:pt x="333" y="290"/>
                    </a:cubicBezTo>
                    <a:cubicBezTo>
                      <a:pt x="333" y="290"/>
                      <a:pt x="333" y="290"/>
                      <a:pt x="332" y="290"/>
                    </a:cubicBezTo>
                    <a:cubicBezTo>
                      <a:pt x="332" y="290"/>
                      <a:pt x="332" y="290"/>
                      <a:pt x="331" y="290"/>
                    </a:cubicBezTo>
                    <a:cubicBezTo>
                      <a:pt x="331" y="290"/>
                      <a:pt x="331" y="290"/>
                      <a:pt x="330" y="291"/>
                    </a:cubicBezTo>
                    <a:cubicBezTo>
                      <a:pt x="330" y="291"/>
                      <a:pt x="330" y="291"/>
                      <a:pt x="331" y="292"/>
                    </a:cubicBezTo>
                    <a:cubicBezTo>
                      <a:pt x="331" y="292"/>
                      <a:pt x="331" y="292"/>
                      <a:pt x="330" y="293"/>
                    </a:cubicBezTo>
                    <a:cubicBezTo>
                      <a:pt x="330" y="293"/>
                      <a:pt x="330" y="293"/>
                      <a:pt x="329" y="292"/>
                    </a:cubicBezTo>
                    <a:cubicBezTo>
                      <a:pt x="329" y="292"/>
                      <a:pt x="329" y="292"/>
                      <a:pt x="329" y="293"/>
                    </a:cubicBezTo>
                    <a:cubicBezTo>
                      <a:pt x="329" y="293"/>
                      <a:pt x="329" y="293"/>
                      <a:pt x="328" y="293"/>
                    </a:cubicBezTo>
                    <a:cubicBezTo>
                      <a:pt x="328" y="293"/>
                      <a:pt x="328" y="293"/>
                      <a:pt x="327" y="293"/>
                    </a:cubicBezTo>
                    <a:cubicBezTo>
                      <a:pt x="327" y="293"/>
                      <a:pt x="327" y="293"/>
                      <a:pt x="328" y="294"/>
                    </a:cubicBezTo>
                    <a:cubicBezTo>
                      <a:pt x="328" y="294"/>
                      <a:pt x="328" y="294"/>
                      <a:pt x="329" y="295"/>
                    </a:cubicBezTo>
                    <a:cubicBezTo>
                      <a:pt x="329" y="295"/>
                      <a:pt x="329" y="295"/>
                      <a:pt x="330" y="295"/>
                    </a:cubicBezTo>
                    <a:cubicBezTo>
                      <a:pt x="330" y="295"/>
                      <a:pt x="330" y="295"/>
                      <a:pt x="331" y="294"/>
                    </a:cubicBezTo>
                    <a:cubicBezTo>
                      <a:pt x="331" y="294"/>
                      <a:pt x="331" y="294"/>
                      <a:pt x="331" y="295"/>
                    </a:cubicBezTo>
                    <a:cubicBezTo>
                      <a:pt x="331" y="295"/>
                      <a:pt x="331" y="295"/>
                      <a:pt x="332" y="295"/>
                    </a:cubicBezTo>
                    <a:cubicBezTo>
                      <a:pt x="332" y="295"/>
                      <a:pt x="332" y="295"/>
                      <a:pt x="333" y="294"/>
                    </a:cubicBezTo>
                    <a:cubicBezTo>
                      <a:pt x="333" y="294"/>
                      <a:pt x="333" y="294"/>
                      <a:pt x="334" y="294"/>
                    </a:cubicBezTo>
                    <a:cubicBezTo>
                      <a:pt x="334" y="294"/>
                      <a:pt x="334" y="294"/>
                      <a:pt x="335" y="294"/>
                    </a:cubicBezTo>
                    <a:cubicBezTo>
                      <a:pt x="335" y="294"/>
                      <a:pt x="335" y="294"/>
                      <a:pt x="334" y="293"/>
                    </a:cubicBezTo>
                    <a:cubicBezTo>
                      <a:pt x="334" y="293"/>
                      <a:pt x="334" y="293"/>
                      <a:pt x="334" y="292"/>
                    </a:cubicBezTo>
                    <a:cubicBezTo>
                      <a:pt x="334" y="292"/>
                      <a:pt x="334" y="292"/>
                      <a:pt x="335" y="292"/>
                    </a:cubicBezTo>
                    <a:close/>
                    <a:moveTo>
                      <a:pt x="368" y="278"/>
                    </a:moveTo>
                    <a:cubicBezTo>
                      <a:pt x="368" y="278"/>
                      <a:pt x="368" y="278"/>
                      <a:pt x="368" y="277"/>
                    </a:cubicBezTo>
                    <a:cubicBezTo>
                      <a:pt x="368" y="277"/>
                      <a:pt x="368" y="277"/>
                      <a:pt x="366" y="278"/>
                    </a:cubicBezTo>
                    <a:cubicBezTo>
                      <a:pt x="367" y="279"/>
                      <a:pt x="367" y="279"/>
                      <a:pt x="367" y="279"/>
                    </a:cubicBezTo>
                    <a:cubicBezTo>
                      <a:pt x="367" y="279"/>
                      <a:pt x="367" y="279"/>
                      <a:pt x="368" y="278"/>
                    </a:cubicBezTo>
                    <a:close/>
                    <a:moveTo>
                      <a:pt x="374" y="274"/>
                    </a:moveTo>
                    <a:cubicBezTo>
                      <a:pt x="374" y="274"/>
                      <a:pt x="374" y="274"/>
                      <a:pt x="373" y="276"/>
                    </a:cubicBezTo>
                    <a:cubicBezTo>
                      <a:pt x="373" y="276"/>
                      <a:pt x="373" y="276"/>
                      <a:pt x="371" y="277"/>
                    </a:cubicBezTo>
                    <a:cubicBezTo>
                      <a:pt x="371" y="277"/>
                      <a:pt x="371" y="277"/>
                      <a:pt x="370" y="278"/>
                    </a:cubicBezTo>
                    <a:cubicBezTo>
                      <a:pt x="370" y="278"/>
                      <a:pt x="370" y="278"/>
                      <a:pt x="368" y="279"/>
                    </a:cubicBezTo>
                    <a:cubicBezTo>
                      <a:pt x="368" y="279"/>
                      <a:pt x="368" y="279"/>
                      <a:pt x="368" y="280"/>
                    </a:cubicBezTo>
                    <a:cubicBezTo>
                      <a:pt x="368" y="280"/>
                      <a:pt x="368" y="280"/>
                      <a:pt x="367" y="280"/>
                    </a:cubicBezTo>
                    <a:cubicBezTo>
                      <a:pt x="367" y="280"/>
                      <a:pt x="367" y="280"/>
                      <a:pt x="366" y="281"/>
                    </a:cubicBezTo>
                    <a:cubicBezTo>
                      <a:pt x="366" y="281"/>
                      <a:pt x="366" y="281"/>
                      <a:pt x="368" y="281"/>
                    </a:cubicBezTo>
                    <a:cubicBezTo>
                      <a:pt x="368" y="281"/>
                      <a:pt x="368" y="281"/>
                      <a:pt x="370" y="281"/>
                    </a:cubicBezTo>
                    <a:cubicBezTo>
                      <a:pt x="370" y="281"/>
                      <a:pt x="370" y="281"/>
                      <a:pt x="370" y="280"/>
                    </a:cubicBezTo>
                    <a:cubicBezTo>
                      <a:pt x="370" y="280"/>
                      <a:pt x="370" y="280"/>
                      <a:pt x="371" y="279"/>
                    </a:cubicBezTo>
                    <a:cubicBezTo>
                      <a:pt x="371" y="279"/>
                      <a:pt x="371" y="279"/>
                      <a:pt x="373" y="277"/>
                    </a:cubicBezTo>
                    <a:cubicBezTo>
                      <a:pt x="373" y="277"/>
                      <a:pt x="373" y="277"/>
                      <a:pt x="374" y="277"/>
                    </a:cubicBezTo>
                    <a:cubicBezTo>
                      <a:pt x="374" y="277"/>
                      <a:pt x="374" y="277"/>
                      <a:pt x="375" y="276"/>
                    </a:cubicBezTo>
                    <a:cubicBezTo>
                      <a:pt x="375" y="276"/>
                      <a:pt x="375" y="276"/>
                      <a:pt x="374" y="275"/>
                    </a:cubicBezTo>
                    <a:cubicBezTo>
                      <a:pt x="374" y="275"/>
                      <a:pt x="374" y="275"/>
                      <a:pt x="375" y="275"/>
                    </a:cubicBezTo>
                    <a:cubicBezTo>
                      <a:pt x="375" y="275"/>
                      <a:pt x="375" y="275"/>
                      <a:pt x="374" y="274"/>
                    </a:cubicBezTo>
                    <a:close/>
                    <a:moveTo>
                      <a:pt x="334" y="289"/>
                    </a:moveTo>
                    <a:cubicBezTo>
                      <a:pt x="334" y="289"/>
                      <a:pt x="334" y="289"/>
                      <a:pt x="334" y="288"/>
                    </a:cubicBezTo>
                    <a:cubicBezTo>
                      <a:pt x="334" y="288"/>
                      <a:pt x="334" y="288"/>
                      <a:pt x="333" y="287"/>
                    </a:cubicBezTo>
                    <a:cubicBezTo>
                      <a:pt x="333" y="287"/>
                      <a:pt x="333" y="287"/>
                      <a:pt x="333" y="288"/>
                    </a:cubicBezTo>
                    <a:cubicBezTo>
                      <a:pt x="333" y="288"/>
                      <a:pt x="333" y="288"/>
                      <a:pt x="332" y="289"/>
                    </a:cubicBezTo>
                    <a:cubicBezTo>
                      <a:pt x="332" y="289"/>
                      <a:pt x="332" y="289"/>
                      <a:pt x="333" y="289"/>
                    </a:cubicBezTo>
                    <a:cubicBezTo>
                      <a:pt x="333" y="289"/>
                      <a:pt x="333" y="289"/>
                      <a:pt x="334" y="289"/>
                    </a:cubicBezTo>
                    <a:close/>
                    <a:moveTo>
                      <a:pt x="333" y="277"/>
                    </a:moveTo>
                    <a:cubicBezTo>
                      <a:pt x="333" y="277"/>
                      <a:pt x="333" y="277"/>
                      <a:pt x="334" y="278"/>
                    </a:cubicBezTo>
                    <a:cubicBezTo>
                      <a:pt x="334" y="278"/>
                      <a:pt x="334" y="278"/>
                      <a:pt x="335" y="277"/>
                    </a:cubicBezTo>
                    <a:cubicBezTo>
                      <a:pt x="335" y="277"/>
                      <a:pt x="335" y="277"/>
                      <a:pt x="334" y="277"/>
                    </a:cubicBezTo>
                    <a:cubicBezTo>
                      <a:pt x="334" y="277"/>
                      <a:pt x="334" y="277"/>
                      <a:pt x="333" y="277"/>
                    </a:cubicBezTo>
                    <a:close/>
                    <a:moveTo>
                      <a:pt x="427" y="342"/>
                    </a:moveTo>
                    <a:cubicBezTo>
                      <a:pt x="427" y="342"/>
                      <a:pt x="427" y="342"/>
                      <a:pt x="428" y="342"/>
                    </a:cubicBezTo>
                    <a:cubicBezTo>
                      <a:pt x="428" y="342"/>
                      <a:pt x="428" y="342"/>
                      <a:pt x="428" y="341"/>
                    </a:cubicBezTo>
                    <a:cubicBezTo>
                      <a:pt x="428" y="341"/>
                      <a:pt x="428" y="341"/>
                      <a:pt x="426" y="341"/>
                    </a:cubicBezTo>
                    <a:cubicBezTo>
                      <a:pt x="426" y="341"/>
                      <a:pt x="426" y="341"/>
                      <a:pt x="426" y="343"/>
                    </a:cubicBezTo>
                    <a:cubicBezTo>
                      <a:pt x="426" y="343"/>
                      <a:pt x="426" y="343"/>
                      <a:pt x="427" y="342"/>
                    </a:cubicBezTo>
                    <a:close/>
                    <a:moveTo>
                      <a:pt x="262" y="323"/>
                    </a:moveTo>
                    <a:cubicBezTo>
                      <a:pt x="262" y="323"/>
                      <a:pt x="262" y="323"/>
                      <a:pt x="262" y="322"/>
                    </a:cubicBezTo>
                    <a:cubicBezTo>
                      <a:pt x="262" y="322"/>
                      <a:pt x="262" y="322"/>
                      <a:pt x="262" y="321"/>
                    </a:cubicBezTo>
                    <a:cubicBezTo>
                      <a:pt x="262" y="321"/>
                      <a:pt x="262" y="321"/>
                      <a:pt x="261" y="322"/>
                    </a:cubicBezTo>
                    <a:cubicBezTo>
                      <a:pt x="261" y="322"/>
                      <a:pt x="261" y="322"/>
                      <a:pt x="262" y="323"/>
                    </a:cubicBezTo>
                    <a:close/>
                    <a:moveTo>
                      <a:pt x="300" y="215"/>
                    </a:moveTo>
                    <a:cubicBezTo>
                      <a:pt x="300" y="215"/>
                      <a:pt x="300" y="215"/>
                      <a:pt x="300" y="213"/>
                    </a:cubicBezTo>
                    <a:cubicBezTo>
                      <a:pt x="300" y="213"/>
                      <a:pt x="300" y="213"/>
                      <a:pt x="299" y="212"/>
                    </a:cubicBezTo>
                    <a:cubicBezTo>
                      <a:pt x="299" y="212"/>
                      <a:pt x="299" y="212"/>
                      <a:pt x="298" y="213"/>
                    </a:cubicBezTo>
                    <a:cubicBezTo>
                      <a:pt x="298" y="213"/>
                      <a:pt x="298" y="213"/>
                      <a:pt x="295" y="217"/>
                    </a:cubicBezTo>
                    <a:cubicBezTo>
                      <a:pt x="295" y="217"/>
                      <a:pt x="295" y="217"/>
                      <a:pt x="296" y="218"/>
                    </a:cubicBezTo>
                    <a:cubicBezTo>
                      <a:pt x="296" y="218"/>
                      <a:pt x="296" y="218"/>
                      <a:pt x="297" y="218"/>
                    </a:cubicBezTo>
                    <a:cubicBezTo>
                      <a:pt x="297" y="218"/>
                      <a:pt x="297" y="218"/>
                      <a:pt x="298" y="218"/>
                    </a:cubicBezTo>
                    <a:cubicBezTo>
                      <a:pt x="298" y="218"/>
                      <a:pt x="298" y="218"/>
                      <a:pt x="298" y="219"/>
                    </a:cubicBezTo>
                    <a:cubicBezTo>
                      <a:pt x="298" y="219"/>
                      <a:pt x="298" y="219"/>
                      <a:pt x="299" y="220"/>
                    </a:cubicBezTo>
                    <a:cubicBezTo>
                      <a:pt x="299" y="220"/>
                      <a:pt x="299" y="220"/>
                      <a:pt x="299" y="217"/>
                    </a:cubicBezTo>
                    <a:cubicBezTo>
                      <a:pt x="299" y="217"/>
                      <a:pt x="299" y="217"/>
                      <a:pt x="300" y="215"/>
                    </a:cubicBezTo>
                    <a:close/>
                    <a:moveTo>
                      <a:pt x="283" y="276"/>
                    </a:moveTo>
                    <a:cubicBezTo>
                      <a:pt x="284" y="276"/>
                      <a:pt x="284" y="276"/>
                      <a:pt x="284" y="276"/>
                    </a:cubicBezTo>
                    <a:cubicBezTo>
                      <a:pt x="283" y="275"/>
                      <a:pt x="283" y="275"/>
                      <a:pt x="283" y="275"/>
                    </a:cubicBezTo>
                    <a:cubicBezTo>
                      <a:pt x="283" y="276"/>
                      <a:pt x="283" y="276"/>
                      <a:pt x="283" y="276"/>
                    </a:cubicBezTo>
                    <a:close/>
                    <a:moveTo>
                      <a:pt x="435" y="340"/>
                    </a:moveTo>
                    <a:cubicBezTo>
                      <a:pt x="435" y="340"/>
                      <a:pt x="435" y="340"/>
                      <a:pt x="433" y="342"/>
                    </a:cubicBezTo>
                    <a:cubicBezTo>
                      <a:pt x="433" y="342"/>
                      <a:pt x="433" y="342"/>
                      <a:pt x="433" y="343"/>
                    </a:cubicBezTo>
                    <a:cubicBezTo>
                      <a:pt x="433" y="343"/>
                      <a:pt x="433" y="343"/>
                      <a:pt x="434" y="342"/>
                    </a:cubicBezTo>
                    <a:cubicBezTo>
                      <a:pt x="434" y="342"/>
                      <a:pt x="434" y="342"/>
                      <a:pt x="435" y="341"/>
                    </a:cubicBezTo>
                    <a:cubicBezTo>
                      <a:pt x="435" y="341"/>
                      <a:pt x="435" y="341"/>
                      <a:pt x="435" y="340"/>
                    </a:cubicBezTo>
                    <a:close/>
                    <a:moveTo>
                      <a:pt x="438" y="346"/>
                    </a:moveTo>
                    <a:cubicBezTo>
                      <a:pt x="438" y="346"/>
                      <a:pt x="438" y="346"/>
                      <a:pt x="437" y="347"/>
                    </a:cubicBezTo>
                    <a:cubicBezTo>
                      <a:pt x="437" y="347"/>
                      <a:pt x="437" y="347"/>
                      <a:pt x="436" y="348"/>
                    </a:cubicBezTo>
                    <a:cubicBezTo>
                      <a:pt x="436" y="348"/>
                      <a:pt x="436" y="348"/>
                      <a:pt x="436" y="349"/>
                    </a:cubicBezTo>
                    <a:cubicBezTo>
                      <a:pt x="436" y="349"/>
                      <a:pt x="436" y="349"/>
                      <a:pt x="435" y="350"/>
                    </a:cubicBezTo>
                    <a:cubicBezTo>
                      <a:pt x="435" y="350"/>
                      <a:pt x="435" y="350"/>
                      <a:pt x="435" y="351"/>
                    </a:cubicBezTo>
                    <a:cubicBezTo>
                      <a:pt x="435" y="351"/>
                      <a:pt x="435" y="351"/>
                      <a:pt x="438" y="350"/>
                    </a:cubicBezTo>
                    <a:cubicBezTo>
                      <a:pt x="438" y="350"/>
                      <a:pt x="438" y="350"/>
                      <a:pt x="436" y="351"/>
                    </a:cubicBezTo>
                    <a:cubicBezTo>
                      <a:pt x="436" y="351"/>
                      <a:pt x="436" y="351"/>
                      <a:pt x="436" y="353"/>
                    </a:cubicBezTo>
                    <a:cubicBezTo>
                      <a:pt x="436" y="353"/>
                      <a:pt x="436" y="353"/>
                      <a:pt x="438" y="352"/>
                    </a:cubicBezTo>
                    <a:cubicBezTo>
                      <a:pt x="438" y="352"/>
                      <a:pt x="438" y="352"/>
                      <a:pt x="440" y="349"/>
                    </a:cubicBezTo>
                    <a:cubicBezTo>
                      <a:pt x="440" y="349"/>
                      <a:pt x="440" y="349"/>
                      <a:pt x="439" y="348"/>
                    </a:cubicBezTo>
                    <a:cubicBezTo>
                      <a:pt x="439" y="348"/>
                      <a:pt x="439" y="348"/>
                      <a:pt x="440" y="347"/>
                    </a:cubicBezTo>
                    <a:cubicBezTo>
                      <a:pt x="440" y="347"/>
                      <a:pt x="440" y="347"/>
                      <a:pt x="439" y="346"/>
                    </a:cubicBezTo>
                    <a:cubicBezTo>
                      <a:pt x="439" y="346"/>
                      <a:pt x="439" y="346"/>
                      <a:pt x="438" y="346"/>
                    </a:cubicBezTo>
                    <a:close/>
                    <a:moveTo>
                      <a:pt x="175" y="343"/>
                    </a:moveTo>
                    <a:cubicBezTo>
                      <a:pt x="174" y="342"/>
                      <a:pt x="174" y="342"/>
                      <a:pt x="174" y="342"/>
                    </a:cubicBezTo>
                    <a:cubicBezTo>
                      <a:pt x="173" y="343"/>
                      <a:pt x="173" y="343"/>
                      <a:pt x="173" y="343"/>
                    </a:cubicBezTo>
                    <a:cubicBezTo>
                      <a:pt x="173" y="344"/>
                      <a:pt x="173" y="344"/>
                      <a:pt x="173" y="344"/>
                    </a:cubicBezTo>
                    <a:cubicBezTo>
                      <a:pt x="172" y="344"/>
                      <a:pt x="172" y="344"/>
                      <a:pt x="172" y="344"/>
                    </a:cubicBezTo>
                    <a:cubicBezTo>
                      <a:pt x="171" y="345"/>
                      <a:pt x="171" y="345"/>
                      <a:pt x="171" y="345"/>
                    </a:cubicBezTo>
                    <a:cubicBezTo>
                      <a:pt x="170" y="345"/>
                      <a:pt x="170" y="345"/>
                      <a:pt x="170" y="345"/>
                    </a:cubicBezTo>
                    <a:cubicBezTo>
                      <a:pt x="169" y="345"/>
                      <a:pt x="169" y="345"/>
                      <a:pt x="169" y="345"/>
                    </a:cubicBezTo>
                    <a:cubicBezTo>
                      <a:pt x="169" y="346"/>
                      <a:pt x="169" y="346"/>
                      <a:pt x="169" y="346"/>
                    </a:cubicBezTo>
                    <a:cubicBezTo>
                      <a:pt x="170" y="346"/>
                      <a:pt x="170" y="346"/>
                      <a:pt x="170" y="346"/>
                    </a:cubicBezTo>
                    <a:cubicBezTo>
                      <a:pt x="171" y="346"/>
                      <a:pt x="171" y="346"/>
                      <a:pt x="171" y="346"/>
                    </a:cubicBezTo>
                    <a:cubicBezTo>
                      <a:pt x="173" y="345"/>
                      <a:pt x="173" y="345"/>
                      <a:pt x="173" y="345"/>
                    </a:cubicBezTo>
                    <a:cubicBezTo>
                      <a:pt x="174" y="346"/>
                      <a:pt x="174" y="346"/>
                      <a:pt x="174" y="346"/>
                    </a:cubicBezTo>
                    <a:cubicBezTo>
                      <a:pt x="174" y="345"/>
                      <a:pt x="174" y="345"/>
                      <a:pt x="174" y="345"/>
                    </a:cubicBezTo>
                    <a:cubicBezTo>
                      <a:pt x="175" y="344"/>
                      <a:pt x="175" y="344"/>
                      <a:pt x="175" y="344"/>
                    </a:cubicBezTo>
                    <a:cubicBezTo>
                      <a:pt x="175" y="343"/>
                      <a:pt x="175" y="343"/>
                      <a:pt x="175" y="343"/>
                    </a:cubicBezTo>
                    <a:close/>
                    <a:moveTo>
                      <a:pt x="430" y="356"/>
                    </a:moveTo>
                    <a:cubicBezTo>
                      <a:pt x="430" y="356"/>
                      <a:pt x="430" y="356"/>
                      <a:pt x="431" y="356"/>
                    </a:cubicBezTo>
                    <a:cubicBezTo>
                      <a:pt x="431" y="356"/>
                      <a:pt x="431" y="356"/>
                      <a:pt x="430" y="355"/>
                    </a:cubicBezTo>
                    <a:cubicBezTo>
                      <a:pt x="430" y="355"/>
                      <a:pt x="430" y="355"/>
                      <a:pt x="430" y="354"/>
                    </a:cubicBezTo>
                    <a:cubicBezTo>
                      <a:pt x="430" y="354"/>
                      <a:pt x="430" y="354"/>
                      <a:pt x="431" y="354"/>
                    </a:cubicBezTo>
                    <a:cubicBezTo>
                      <a:pt x="431" y="354"/>
                      <a:pt x="431" y="354"/>
                      <a:pt x="432" y="353"/>
                    </a:cubicBezTo>
                    <a:cubicBezTo>
                      <a:pt x="432" y="353"/>
                      <a:pt x="432" y="353"/>
                      <a:pt x="432" y="352"/>
                    </a:cubicBezTo>
                    <a:cubicBezTo>
                      <a:pt x="432" y="352"/>
                      <a:pt x="432" y="352"/>
                      <a:pt x="431" y="352"/>
                    </a:cubicBezTo>
                    <a:cubicBezTo>
                      <a:pt x="431" y="352"/>
                      <a:pt x="431" y="352"/>
                      <a:pt x="432" y="351"/>
                    </a:cubicBezTo>
                    <a:cubicBezTo>
                      <a:pt x="432" y="351"/>
                      <a:pt x="432" y="351"/>
                      <a:pt x="432" y="350"/>
                    </a:cubicBezTo>
                    <a:cubicBezTo>
                      <a:pt x="432" y="350"/>
                      <a:pt x="432" y="350"/>
                      <a:pt x="430" y="349"/>
                    </a:cubicBezTo>
                    <a:cubicBezTo>
                      <a:pt x="430" y="349"/>
                      <a:pt x="430" y="349"/>
                      <a:pt x="431" y="348"/>
                    </a:cubicBezTo>
                    <a:cubicBezTo>
                      <a:pt x="431" y="348"/>
                      <a:pt x="431" y="348"/>
                      <a:pt x="432" y="348"/>
                    </a:cubicBezTo>
                    <a:cubicBezTo>
                      <a:pt x="432" y="348"/>
                      <a:pt x="432" y="348"/>
                      <a:pt x="432" y="347"/>
                    </a:cubicBezTo>
                    <a:cubicBezTo>
                      <a:pt x="432" y="347"/>
                      <a:pt x="432" y="347"/>
                      <a:pt x="431" y="346"/>
                    </a:cubicBezTo>
                    <a:cubicBezTo>
                      <a:pt x="431" y="346"/>
                      <a:pt x="431" y="346"/>
                      <a:pt x="432" y="346"/>
                    </a:cubicBezTo>
                    <a:cubicBezTo>
                      <a:pt x="432" y="346"/>
                      <a:pt x="432" y="346"/>
                      <a:pt x="432" y="344"/>
                    </a:cubicBezTo>
                    <a:cubicBezTo>
                      <a:pt x="432" y="344"/>
                      <a:pt x="432" y="344"/>
                      <a:pt x="430" y="343"/>
                    </a:cubicBezTo>
                    <a:cubicBezTo>
                      <a:pt x="430" y="343"/>
                      <a:pt x="430" y="343"/>
                      <a:pt x="429" y="343"/>
                    </a:cubicBezTo>
                    <a:cubicBezTo>
                      <a:pt x="429" y="343"/>
                      <a:pt x="429" y="343"/>
                      <a:pt x="430" y="342"/>
                    </a:cubicBezTo>
                    <a:cubicBezTo>
                      <a:pt x="430" y="342"/>
                      <a:pt x="430" y="342"/>
                      <a:pt x="430" y="341"/>
                    </a:cubicBezTo>
                    <a:cubicBezTo>
                      <a:pt x="430" y="341"/>
                      <a:pt x="430" y="341"/>
                      <a:pt x="430" y="339"/>
                    </a:cubicBezTo>
                    <a:cubicBezTo>
                      <a:pt x="430" y="339"/>
                      <a:pt x="430" y="339"/>
                      <a:pt x="428" y="339"/>
                    </a:cubicBezTo>
                    <a:cubicBezTo>
                      <a:pt x="428" y="339"/>
                      <a:pt x="428" y="339"/>
                      <a:pt x="428" y="340"/>
                    </a:cubicBezTo>
                    <a:cubicBezTo>
                      <a:pt x="428" y="340"/>
                      <a:pt x="428" y="340"/>
                      <a:pt x="429" y="341"/>
                    </a:cubicBezTo>
                    <a:cubicBezTo>
                      <a:pt x="429" y="341"/>
                      <a:pt x="429" y="341"/>
                      <a:pt x="429" y="342"/>
                    </a:cubicBezTo>
                    <a:cubicBezTo>
                      <a:pt x="429" y="342"/>
                      <a:pt x="429" y="342"/>
                      <a:pt x="428" y="344"/>
                    </a:cubicBezTo>
                    <a:cubicBezTo>
                      <a:pt x="428" y="344"/>
                      <a:pt x="428" y="344"/>
                      <a:pt x="428" y="345"/>
                    </a:cubicBezTo>
                    <a:cubicBezTo>
                      <a:pt x="428" y="345"/>
                      <a:pt x="428" y="345"/>
                      <a:pt x="428" y="346"/>
                    </a:cubicBezTo>
                    <a:cubicBezTo>
                      <a:pt x="428" y="346"/>
                      <a:pt x="428" y="346"/>
                      <a:pt x="427" y="346"/>
                    </a:cubicBezTo>
                    <a:cubicBezTo>
                      <a:pt x="427" y="346"/>
                      <a:pt x="427" y="346"/>
                      <a:pt x="427" y="347"/>
                    </a:cubicBezTo>
                    <a:cubicBezTo>
                      <a:pt x="427" y="347"/>
                      <a:pt x="427" y="347"/>
                      <a:pt x="428" y="347"/>
                    </a:cubicBezTo>
                    <a:cubicBezTo>
                      <a:pt x="428" y="347"/>
                      <a:pt x="428" y="347"/>
                      <a:pt x="428" y="348"/>
                    </a:cubicBezTo>
                    <a:cubicBezTo>
                      <a:pt x="428" y="348"/>
                      <a:pt x="428" y="348"/>
                      <a:pt x="427" y="349"/>
                    </a:cubicBezTo>
                    <a:cubicBezTo>
                      <a:pt x="427" y="349"/>
                      <a:pt x="427" y="349"/>
                      <a:pt x="427" y="350"/>
                    </a:cubicBezTo>
                    <a:cubicBezTo>
                      <a:pt x="427" y="350"/>
                      <a:pt x="427" y="350"/>
                      <a:pt x="426" y="350"/>
                    </a:cubicBezTo>
                    <a:cubicBezTo>
                      <a:pt x="426" y="350"/>
                      <a:pt x="426" y="350"/>
                      <a:pt x="426" y="351"/>
                    </a:cubicBezTo>
                    <a:cubicBezTo>
                      <a:pt x="426" y="351"/>
                      <a:pt x="426" y="351"/>
                      <a:pt x="427" y="351"/>
                    </a:cubicBezTo>
                    <a:cubicBezTo>
                      <a:pt x="427" y="351"/>
                      <a:pt x="427" y="351"/>
                      <a:pt x="427" y="352"/>
                    </a:cubicBezTo>
                    <a:cubicBezTo>
                      <a:pt x="427" y="352"/>
                      <a:pt x="427" y="352"/>
                      <a:pt x="428" y="351"/>
                    </a:cubicBezTo>
                    <a:cubicBezTo>
                      <a:pt x="428" y="351"/>
                      <a:pt x="428" y="351"/>
                      <a:pt x="429" y="351"/>
                    </a:cubicBezTo>
                    <a:cubicBezTo>
                      <a:pt x="429" y="351"/>
                      <a:pt x="429" y="351"/>
                      <a:pt x="429" y="352"/>
                    </a:cubicBezTo>
                    <a:cubicBezTo>
                      <a:pt x="429" y="352"/>
                      <a:pt x="429" y="352"/>
                      <a:pt x="428" y="352"/>
                    </a:cubicBezTo>
                    <a:cubicBezTo>
                      <a:pt x="428" y="352"/>
                      <a:pt x="428" y="352"/>
                      <a:pt x="428" y="353"/>
                    </a:cubicBezTo>
                    <a:cubicBezTo>
                      <a:pt x="428" y="353"/>
                      <a:pt x="428" y="353"/>
                      <a:pt x="429" y="354"/>
                    </a:cubicBezTo>
                    <a:cubicBezTo>
                      <a:pt x="429" y="354"/>
                      <a:pt x="429" y="354"/>
                      <a:pt x="428" y="355"/>
                    </a:cubicBezTo>
                    <a:cubicBezTo>
                      <a:pt x="428" y="355"/>
                      <a:pt x="428" y="355"/>
                      <a:pt x="429" y="356"/>
                    </a:cubicBezTo>
                    <a:cubicBezTo>
                      <a:pt x="429" y="356"/>
                      <a:pt x="429" y="356"/>
                      <a:pt x="428" y="357"/>
                    </a:cubicBezTo>
                    <a:cubicBezTo>
                      <a:pt x="428" y="357"/>
                      <a:pt x="428" y="357"/>
                      <a:pt x="429" y="358"/>
                    </a:cubicBezTo>
                    <a:cubicBezTo>
                      <a:pt x="429" y="358"/>
                      <a:pt x="429" y="358"/>
                      <a:pt x="430" y="358"/>
                    </a:cubicBezTo>
                    <a:cubicBezTo>
                      <a:pt x="430" y="358"/>
                      <a:pt x="430" y="358"/>
                      <a:pt x="431" y="357"/>
                    </a:cubicBezTo>
                    <a:cubicBezTo>
                      <a:pt x="431" y="357"/>
                      <a:pt x="431" y="357"/>
                      <a:pt x="430" y="356"/>
                    </a:cubicBezTo>
                    <a:close/>
                    <a:moveTo>
                      <a:pt x="288" y="277"/>
                    </a:moveTo>
                    <a:cubicBezTo>
                      <a:pt x="288" y="277"/>
                      <a:pt x="288" y="277"/>
                      <a:pt x="288" y="278"/>
                    </a:cubicBezTo>
                    <a:cubicBezTo>
                      <a:pt x="288" y="278"/>
                      <a:pt x="288" y="278"/>
                      <a:pt x="289" y="277"/>
                    </a:cubicBezTo>
                    <a:cubicBezTo>
                      <a:pt x="289" y="277"/>
                      <a:pt x="289" y="277"/>
                      <a:pt x="290" y="276"/>
                    </a:cubicBezTo>
                    <a:cubicBezTo>
                      <a:pt x="290" y="276"/>
                      <a:pt x="290" y="276"/>
                      <a:pt x="290" y="275"/>
                    </a:cubicBezTo>
                    <a:cubicBezTo>
                      <a:pt x="290" y="275"/>
                      <a:pt x="290" y="275"/>
                      <a:pt x="289" y="276"/>
                    </a:cubicBezTo>
                    <a:cubicBezTo>
                      <a:pt x="289" y="276"/>
                      <a:pt x="289" y="276"/>
                      <a:pt x="288" y="277"/>
                    </a:cubicBezTo>
                    <a:close/>
                    <a:moveTo>
                      <a:pt x="291" y="277"/>
                    </a:moveTo>
                    <a:cubicBezTo>
                      <a:pt x="291" y="277"/>
                      <a:pt x="291" y="277"/>
                      <a:pt x="292" y="276"/>
                    </a:cubicBezTo>
                    <a:cubicBezTo>
                      <a:pt x="292" y="276"/>
                      <a:pt x="292" y="276"/>
                      <a:pt x="290" y="277"/>
                    </a:cubicBezTo>
                    <a:cubicBezTo>
                      <a:pt x="290" y="277"/>
                      <a:pt x="290" y="277"/>
                      <a:pt x="291" y="277"/>
                    </a:cubicBezTo>
                    <a:close/>
                    <a:moveTo>
                      <a:pt x="316" y="208"/>
                    </a:moveTo>
                    <a:cubicBezTo>
                      <a:pt x="316" y="208"/>
                      <a:pt x="316" y="208"/>
                      <a:pt x="315" y="207"/>
                    </a:cubicBezTo>
                    <a:cubicBezTo>
                      <a:pt x="315" y="207"/>
                      <a:pt x="315" y="207"/>
                      <a:pt x="314" y="207"/>
                    </a:cubicBezTo>
                    <a:cubicBezTo>
                      <a:pt x="314" y="207"/>
                      <a:pt x="314" y="207"/>
                      <a:pt x="313" y="207"/>
                    </a:cubicBezTo>
                    <a:cubicBezTo>
                      <a:pt x="313" y="207"/>
                      <a:pt x="313" y="207"/>
                      <a:pt x="315" y="209"/>
                    </a:cubicBezTo>
                    <a:cubicBezTo>
                      <a:pt x="315" y="209"/>
                      <a:pt x="315" y="209"/>
                      <a:pt x="316" y="208"/>
                    </a:cubicBezTo>
                    <a:close/>
                    <a:moveTo>
                      <a:pt x="346" y="161"/>
                    </a:moveTo>
                    <a:cubicBezTo>
                      <a:pt x="345" y="162"/>
                      <a:pt x="345" y="162"/>
                      <a:pt x="345" y="162"/>
                    </a:cubicBezTo>
                    <a:cubicBezTo>
                      <a:pt x="345" y="166"/>
                      <a:pt x="345" y="166"/>
                      <a:pt x="345" y="166"/>
                    </a:cubicBezTo>
                    <a:cubicBezTo>
                      <a:pt x="347" y="162"/>
                      <a:pt x="347" y="162"/>
                      <a:pt x="347" y="162"/>
                    </a:cubicBezTo>
                    <a:cubicBezTo>
                      <a:pt x="346" y="161"/>
                      <a:pt x="346" y="161"/>
                      <a:pt x="346" y="161"/>
                    </a:cubicBezTo>
                    <a:close/>
                    <a:moveTo>
                      <a:pt x="349" y="266"/>
                    </a:moveTo>
                    <a:cubicBezTo>
                      <a:pt x="349" y="266"/>
                      <a:pt x="349" y="266"/>
                      <a:pt x="348" y="266"/>
                    </a:cubicBezTo>
                    <a:cubicBezTo>
                      <a:pt x="348" y="266"/>
                      <a:pt x="348" y="266"/>
                      <a:pt x="346" y="268"/>
                    </a:cubicBezTo>
                    <a:cubicBezTo>
                      <a:pt x="346" y="268"/>
                      <a:pt x="346" y="268"/>
                      <a:pt x="347" y="268"/>
                    </a:cubicBezTo>
                    <a:cubicBezTo>
                      <a:pt x="347" y="268"/>
                      <a:pt x="347" y="268"/>
                      <a:pt x="349" y="267"/>
                    </a:cubicBezTo>
                    <a:cubicBezTo>
                      <a:pt x="349" y="267"/>
                      <a:pt x="349" y="267"/>
                      <a:pt x="349" y="266"/>
                    </a:cubicBezTo>
                    <a:close/>
                    <a:moveTo>
                      <a:pt x="306" y="213"/>
                    </a:moveTo>
                    <a:cubicBezTo>
                      <a:pt x="306" y="213"/>
                      <a:pt x="306" y="213"/>
                      <a:pt x="306" y="212"/>
                    </a:cubicBezTo>
                    <a:cubicBezTo>
                      <a:pt x="306" y="212"/>
                      <a:pt x="306" y="212"/>
                      <a:pt x="303" y="211"/>
                    </a:cubicBezTo>
                    <a:cubicBezTo>
                      <a:pt x="303" y="211"/>
                      <a:pt x="303" y="211"/>
                      <a:pt x="301" y="211"/>
                    </a:cubicBezTo>
                    <a:cubicBezTo>
                      <a:pt x="301" y="211"/>
                      <a:pt x="301" y="211"/>
                      <a:pt x="300" y="211"/>
                    </a:cubicBezTo>
                    <a:cubicBezTo>
                      <a:pt x="300" y="211"/>
                      <a:pt x="300" y="211"/>
                      <a:pt x="301" y="212"/>
                    </a:cubicBezTo>
                    <a:cubicBezTo>
                      <a:pt x="301" y="212"/>
                      <a:pt x="301" y="212"/>
                      <a:pt x="301" y="213"/>
                    </a:cubicBezTo>
                    <a:cubicBezTo>
                      <a:pt x="301" y="213"/>
                      <a:pt x="301" y="213"/>
                      <a:pt x="302" y="214"/>
                    </a:cubicBezTo>
                    <a:cubicBezTo>
                      <a:pt x="302" y="214"/>
                      <a:pt x="302" y="214"/>
                      <a:pt x="302" y="215"/>
                    </a:cubicBezTo>
                    <a:cubicBezTo>
                      <a:pt x="301" y="215"/>
                      <a:pt x="301" y="215"/>
                      <a:pt x="301" y="215"/>
                    </a:cubicBezTo>
                    <a:cubicBezTo>
                      <a:pt x="301" y="215"/>
                      <a:pt x="301" y="215"/>
                      <a:pt x="302" y="216"/>
                    </a:cubicBezTo>
                    <a:cubicBezTo>
                      <a:pt x="302" y="216"/>
                      <a:pt x="302" y="216"/>
                      <a:pt x="304" y="213"/>
                    </a:cubicBezTo>
                    <a:cubicBezTo>
                      <a:pt x="304" y="213"/>
                      <a:pt x="304" y="213"/>
                      <a:pt x="306" y="213"/>
                    </a:cubicBezTo>
                    <a:close/>
                    <a:moveTo>
                      <a:pt x="426" y="357"/>
                    </a:moveTo>
                    <a:cubicBezTo>
                      <a:pt x="426" y="357"/>
                      <a:pt x="426" y="357"/>
                      <a:pt x="425" y="355"/>
                    </a:cubicBezTo>
                    <a:cubicBezTo>
                      <a:pt x="425" y="355"/>
                      <a:pt x="425" y="355"/>
                      <a:pt x="425" y="354"/>
                    </a:cubicBezTo>
                    <a:cubicBezTo>
                      <a:pt x="425" y="354"/>
                      <a:pt x="425" y="354"/>
                      <a:pt x="424" y="354"/>
                    </a:cubicBezTo>
                    <a:cubicBezTo>
                      <a:pt x="424" y="354"/>
                      <a:pt x="424" y="354"/>
                      <a:pt x="424" y="355"/>
                    </a:cubicBezTo>
                    <a:cubicBezTo>
                      <a:pt x="424" y="355"/>
                      <a:pt x="424" y="355"/>
                      <a:pt x="424" y="356"/>
                    </a:cubicBezTo>
                    <a:cubicBezTo>
                      <a:pt x="424" y="356"/>
                      <a:pt x="424" y="356"/>
                      <a:pt x="425" y="358"/>
                    </a:cubicBezTo>
                    <a:cubicBezTo>
                      <a:pt x="425" y="358"/>
                      <a:pt x="425" y="358"/>
                      <a:pt x="426" y="357"/>
                    </a:cubicBezTo>
                    <a:close/>
                    <a:moveTo>
                      <a:pt x="426" y="339"/>
                    </a:moveTo>
                    <a:cubicBezTo>
                      <a:pt x="426" y="339"/>
                      <a:pt x="426" y="339"/>
                      <a:pt x="428" y="337"/>
                    </a:cubicBezTo>
                    <a:cubicBezTo>
                      <a:pt x="428" y="337"/>
                      <a:pt x="428" y="337"/>
                      <a:pt x="429" y="334"/>
                    </a:cubicBezTo>
                    <a:cubicBezTo>
                      <a:pt x="429" y="334"/>
                      <a:pt x="429" y="334"/>
                      <a:pt x="428" y="334"/>
                    </a:cubicBezTo>
                    <a:cubicBezTo>
                      <a:pt x="428" y="334"/>
                      <a:pt x="428" y="334"/>
                      <a:pt x="428" y="333"/>
                    </a:cubicBezTo>
                    <a:cubicBezTo>
                      <a:pt x="428" y="333"/>
                      <a:pt x="428" y="333"/>
                      <a:pt x="428" y="332"/>
                    </a:cubicBezTo>
                    <a:cubicBezTo>
                      <a:pt x="428" y="332"/>
                      <a:pt x="428" y="332"/>
                      <a:pt x="427" y="331"/>
                    </a:cubicBezTo>
                    <a:cubicBezTo>
                      <a:pt x="427" y="331"/>
                      <a:pt x="427" y="331"/>
                      <a:pt x="427" y="332"/>
                    </a:cubicBezTo>
                    <a:cubicBezTo>
                      <a:pt x="427" y="332"/>
                      <a:pt x="427" y="332"/>
                      <a:pt x="426" y="332"/>
                    </a:cubicBezTo>
                    <a:cubicBezTo>
                      <a:pt x="426" y="332"/>
                      <a:pt x="426" y="332"/>
                      <a:pt x="425" y="333"/>
                    </a:cubicBezTo>
                    <a:cubicBezTo>
                      <a:pt x="425" y="333"/>
                      <a:pt x="425" y="333"/>
                      <a:pt x="425" y="334"/>
                    </a:cubicBezTo>
                    <a:cubicBezTo>
                      <a:pt x="425" y="334"/>
                      <a:pt x="425" y="334"/>
                      <a:pt x="426" y="334"/>
                    </a:cubicBezTo>
                    <a:cubicBezTo>
                      <a:pt x="426" y="334"/>
                      <a:pt x="426" y="334"/>
                      <a:pt x="425" y="336"/>
                    </a:cubicBezTo>
                    <a:cubicBezTo>
                      <a:pt x="425" y="336"/>
                      <a:pt x="425" y="336"/>
                      <a:pt x="426" y="336"/>
                    </a:cubicBezTo>
                    <a:cubicBezTo>
                      <a:pt x="426" y="336"/>
                      <a:pt x="426" y="336"/>
                      <a:pt x="426" y="337"/>
                    </a:cubicBezTo>
                    <a:cubicBezTo>
                      <a:pt x="426" y="337"/>
                      <a:pt x="426" y="337"/>
                      <a:pt x="425" y="338"/>
                    </a:cubicBezTo>
                    <a:cubicBezTo>
                      <a:pt x="425" y="338"/>
                      <a:pt x="425" y="338"/>
                      <a:pt x="424" y="337"/>
                    </a:cubicBezTo>
                    <a:cubicBezTo>
                      <a:pt x="424" y="337"/>
                      <a:pt x="424" y="337"/>
                      <a:pt x="424" y="338"/>
                    </a:cubicBezTo>
                    <a:cubicBezTo>
                      <a:pt x="424" y="338"/>
                      <a:pt x="424" y="338"/>
                      <a:pt x="424" y="339"/>
                    </a:cubicBezTo>
                    <a:cubicBezTo>
                      <a:pt x="424" y="339"/>
                      <a:pt x="424" y="339"/>
                      <a:pt x="425" y="340"/>
                    </a:cubicBezTo>
                    <a:cubicBezTo>
                      <a:pt x="425" y="340"/>
                      <a:pt x="425" y="340"/>
                      <a:pt x="424" y="341"/>
                    </a:cubicBezTo>
                    <a:cubicBezTo>
                      <a:pt x="424" y="341"/>
                      <a:pt x="424" y="341"/>
                      <a:pt x="426" y="341"/>
                    </a:cubicBezTo>
                    <a:cubicBezTo>
                      <a:pt x="426" y="341"/>
                      <a:pt x="426" y="341"/>
                      <a:pt x="426" y="340"/>
                    </a:cubicBezTo>
                    <a:cubicBezTo>
                      <a:pt x="426" y="340"/>
                      <a:pt x="426" y="340"/>
                      <a:pt x="426" y="339"/>
                    </a:cubicBezTo>
                    <a:close/>
                    <a:moveTo>
                      <a:pt x="296" y="310"/>
                    </a:moveTo>
                    <a:cubicBezTo>
                      <a:pt x="296" y="310"/>
                      <a:pt x="296" y="310"/>
                      <a:pt x="297" y="310"/>
                    </a:cubicBezTo>
                    <a:cubicBezTo>
                      <a:pt x="297" y="310"/>
                      <a:pt x="297" y="310"/>
                      <a:pt x="297" y="309"/>
                    </a:cubicBezTo>
                    <a:cubicBezTo>
                      <a:pt x="297" y="309"/>
                      <a:pt x="297" y="309"/>
                      <a:pt x="295" y="309"/>
                    </a:cubicBezTo>
                    <a:cubicBezTo>
                      <a:pt x="295" y="309"/>
                      <a:pt x="295" y="309"/>
                      <a:pt x="296" y="310"/>
                    </a:cubicBezTo>
                    <a:close/>
                    <a:moveTo>
                      <a:pt x="423" y="340"/>
                    </a:moveTo>
                    <a:cubicBezTo>
                      <a:pt x="423" y="340"/>
                      <a:pt x="423" y="340"/>
                      <a:pt x="423" y="341"/>
                    </a:cubicBezTo>
                    <a:cubicBezTo>
                      <a:pt x="423" y="341"/>
                      <a:pt x="423" y="341"/>
                      <a:pt x="424" y="341"/>
                    </a:cubicBezTo>
                    <a:cubicBezTo>
                      <a:pt x="424" y="341"/>
                      <a:pt x="424" y="341"/>
                      <a:pt x="424" y="339"/>
                    </a:cubicBezTo>
                    <a:cubicBezTo>
                      <a:pt x="424" y="339"/>
                      <a:pt x="424" y="339"/>
                      <a:pt x="423" y="340"/>
                    </a:cubicBezTo>
                    <a:close/>
                    <a:moveTo>
                      <a:pt x="432" y="331"/>
                    </a:moveTo>
                    <a:cubicBezTo>
                      <a:pt x="432" y="331"/>
                      <a:pt x="432" y="331"/>
                      <a:pt x="431" y="330"/>
                    </a:cubicBezTo>
                    <a:cubicBezTo>
                      <a:pt x="431" y="330"/>
                      <a:pt x="431" y="330"/>
                      <a:pt x="429" y="330"/>
                    </a:cubicBezTo>
                    <a:cubicBezTo>
                      <a:pt x="429" y="330"/>
                      <a:pt x="429" y="330"/>
                      <a:pt x="429" y="331"/>
                    </a:cubicBezTo>
                    <a:cubicBezTo>
                      <a:pt x="429" y="331"/>
                      <a:pt x="429" y="331"/>
                      <a:pt x="429" y="332"/>
                    </a:cubicBezTo>
                    <a:cubicBezTo>
                      <a:pt x="429" y="332"/>
                      <a:pt x="429" y="332"/>
                      <a:pt x="430" y="333"/>
                    </a:cubicBezTo>
                    <a:cubicBezTo>
                      <a:pt x="430" y="333"/>
                      <a:pt x="430" y="333"/>
                      <a:pt x="430" y="334"/>
                    </a:cubicBezTo>
                    <a:cubicBezTo>
                      <a:pt x="430" y="334"/>
                      <a:pt x="430" y="334"/>
                      <a:pt x="429" y="337"/>
                    </a:cubicBezTo>
                    <a:cubicBezTo>
                      <a:pt x="429" y="337"/>
                      <a:pt x="429" y="337"/>
                      <a:pt x="429" y="338"/>
                    </a:cubicBezTo>
                    <a:cubicBezTo>
                      <a:pt x="429" y="338"/>
                      <a:pt x="429" y="338"/>
                      <a:pt x="430" y="338"/>
                    </a:cubicBezTo>
                    <a:cubicBezTo>
                      <a:pt x="430" y="338"/>
                      <a:pt x="430" y="338"/>
                      <a:pt x="430" y="337"/>
                    </a:cubicBezTo>
                    <a:cubicBezTo>
                      <a:pt x="430" y="337"/>
                      <a:pt x="430" y="337"/>
                      <a:pt x="431" y="338"/>
                    </a:cubicBezTo>
                    <a:cubicBezTo>
                      <a:pt x="431" y="338"/>
                      <a:pt x="431" y="338"/>
                      <a:pt x="432" y="337"/>
                    </a:cubicBezTo>
                    <a:cubicBezTo>
                      <a:pt x="432" y="337"/>
                      <a:pt x="432" y="337"/>
                      <a:pt x="431" y="336"/>
                    </a:cubicBezTo>
                    <a:cubicBezTo>
                      <a:pt x="431" y="336"/>
                      <a:pt x="431" y="336"/>
                      <a:pt x="432" y="336"/>
                    </a:cubicBezTo>
                    <a:cubicBezTo>
                      <a:pt x="432" y="336"/>
                      <a:pt x="432" y="336"/>
                      <a:pt x="433" y="336"/>
                    </a:cubicBezTo>
                    <a:cubicBezTo>
                      <a:pt x="433" y="336"/>
                      <a:pt x="433" y="336"/>
                      <a:pt x="434" y="334"/>
                    </a:cubicBezTo>
                    <a:cubicBezTo>
                      <a:pt x="434" y="334"/>
                      <a:pt x="434" y="334"/>
                      <a:pt x="434" y="332"/>
                    </a:cubicBezTo>
                    <a:cubicBezTo>
                      <a:pt x="434" y="332"/>
                      <a:pt x="434" y="332"/>
                      <a:pt x="433" y="331"/>
                    </a:cubicBezTo>
                    <a:cubicBezTo>
                      <a:pt x="433" y="331"/>
                      <a:pt x="433" y="331"/>
                      <a:pt x="432" y="331"/>
                    </a:cubicBezTo>
                    <a:close/>
                    <a:moveTo>
                      <a:pt x="436" y="336"/>
                    </a:moveTo>
                    <a:cubicBezTo>
                      <a:pt x="436" y="336"/>
                      <a:pt x="436" y="336"/>
                      <a:pt x="435" y="334"/>
                    </a:cubicBezTo>
                    <a:cubicBezTo>
                      <a:pt x="435" y="334"/>
                      <a:pt x="435" y="334"/>
                      <a:pt x="434" y="335"/>
                    </a:cubicBezTo>
                    <a:cubicBezTo>
                      <a:pt x="434" y="335"/>
                      <a:pt x="434" y="335"/>
                      <a:pt x="433" y="337"/>
                    </a:cubicBezTo>
                    <a:cubicBezTo>
                      <a:pt x="433" y="337"/>
                      <a:pt x="433" y="337"/>
                      <a:pt x="433" y="338"/>
                    </a:cubicBezTo>
                    <a:cubicBezTo>
                      <a:pt x="433" y="338"/>
                      <a:pt x="433" y="338"/>
                      <a:pt x="435" y="337"/>
                    </a:cubicBezTo>
                    <a:cubicBezTo>
                      <a:pt x="435" y="337"/>
                      <a:pt x="435" y="337"/>
                      <a:pt x="436" y="336"/>
                    </a:cubicBezTo>
                    <a:close/>
                    <a:moveTo>
                      <a:pt x="434" y="340"/>
                    </a:moveTo>
                    <a:cubicBezTo>
                      <a:pt x="434" y="340"/>
                      <a:pt x="434" y="340"/>
                      <a:pt x="434" y="339"/>
                    </a:cubicBezTo>
                    <a:cubicBezTo>
                      <a:pt x="434" y="339"/>
                      <a:pt x="434" y="339"/>
                      <a:pt x="432" y="339"/>
                    </a:cubicBezTo>
                    <a:cubicBezTo>
                      <a:pt x="432" y="339"/>
                      <a:pt x="432" y="339"/>
                      <a:pt x="431" y="340"/>
                    </a:cubicBezTo>
                    <a:cubicBezTo>
                      <a:pt x="431" y="340"/>
                      <a:pt x="431" y="340"/>
                      <a:pt x="432" y="341"/>
                    </a:cubicBezTo>
                    <a:cubicBezTo>
                      <a:pt x="432" y="341"/>
                      <a:pt x="432" y="341"/>
                      <a:pt x="433" y="341"/>
                    </a:cubicBezTo>
                    <a:cubicBezTo>
                      <a:pt x="433" y="341"/>
                      <a:pt x="433" y="341"/>
                      <a:pt x="434" y="340"/>
                    </a:cubicBezTo>
                    <a:close/>
                    <a:moveTo>
                      <a:pt x="435" y="356"/>
                    </a:moveTo>
                    <a:cubicBezTo>
                      <a:pt x="435" y="356"/>
                      <a:pt x="435" y="356"/>
                      <a:pt x="434" y="356"/>
                    </a:cubicBezTo>
                    <a:cubicBezTo>
                      <a:pt x="434" y="356"/>
                      <a:pt x="434" y="356"/>
                      <a:pt x="435" y="357"/>
                    </a:cubicBezTo>
                    <a:cubicBezTo>
                      <a:pt x="435" y="357"/>
                      <a:pt x="435" y="357"/>
                      <a:pt x="436" y="356"/>
                    </a:cubicBezTo>
                    <a:cubicBezTo>
                      <a:pt x="436" y="356"/>
                      <a:pt x="436" y="356"/>
                      <a:pt x="435" y="356"/>
                    </a:cubicBezTo>
                    <a:close/>
                    <a:moveTo>
                      <a:pt x="423" y="349"/>
                    </a:moveTo>
                    <a:cubicBezTo>
                      <a:pt x="423" y="349"/>
                      <a:pt x="423" y="349"/>
                      <a:pt x="422" y="351"/>
                    </a:cubicBezTo>
                    <a:cubicBezTo>
                      <a:pt x="422" y="351"/>
                      <a:pt x="422" y="351"/>
                      <a:pt x="424" y="349"/>
                    </a:cubicBezTo>
                    <a:cubicBezTo>
                      <a:pt x="424" y="349"/>
                      <a:pt x="424" y="349"/>
                      <a:pt x="423" y="349"/>
                    </a:cubicBezTo>
                    <a:close/>
                    <a:moveTo>
                      <a:pt x="426" y="345"/>
                    </a:moveTo>
                    <a:cubicBezTo>
                      <a:pt x="426" y="345"/>
                      <a:pt x="426" y="345"/>
                      <a:pt x="426" y="344"/>
                    </a:cubicBezTo>
                    <a:cubicBezTo>
                      <a:pt x="426" y="344"/>
                      <a:pt x="426" y="344"/>
                      <a:pt x="425" y="345"/>
                    </a:cubicBezTo>
                    <a:cubicBezTo>
                      <a:pt x="425" y="345"/>
                      <a:pt x="425" y="345"/>
                      <a:pt x="426" y="346"/>
                    </a:cubicBezTo>
                    <a:cubicBezTo>
                      <a:pt x="426" y="346"/>
                      <a:pt x="426" y="346"/>
                      <a:pt x="426" y="345"/>
                    </a:cubicBezTo>
                    <a:close/>
                    <a:moveTo>
                      <a:pt x="424" y="352"/>
                    </a:moveTo>
                    <a:cubicBezTo>
                      <a:pt x="424" y="352"/>
                      <a:pt x="424" y="352"/>
                      <a:pt x="425" y="353"/>
                    </a:cubicBezTo>
                    <a:cubicBezTo>
                      <a:pt x="425" y="353"/>
                      <a:pt x="425" y="353"/>
                      <a:pt x="426" y="353"/>
                    </a:cubicBezTo>
                    <a:cubicBezTo>
                      <a:pt x="426" y="353"/>
                      <a:pt x="426" y="353"/>
                      <a:pt x="425" y="352"/>
                    </a:cubicBezTo>
                    <a:cubicBezTo>
                      <a:pt x="425" y="352"/>
                      <a:pt x="425" y="352"/>
                      <a:pt x="424" y="352"/>
                    </a:cubicBezTo>
                    <a:close/>
                    <a:moveTo>
                      <a:pt x="422" y="343"/>
                    </a:moveTo>
                    <a:cubicBezTo>
                      <a:pt x="422" y="343"/>
                      <a:pt x="422" y="343"/>
                      <a:pt x="423" y="343"/>
                    </a:cubicBezTo>
                    <a:cubicBezTo>
                      <a:pt x="423" y="343"/>
                      <a:pt x="423" y="343"/>
                      <a:pt x="422" y="342"/>
                    </a:cubicBezTo>
                    <a:cubicBezTo>
                      <a:pt x="422" y="342"/>
                      <a:pt x="422" y="342"/>
                      <a:pt x="422" y="343"/>
                    </a:cubicBezTo>
                    <a:close/>
                    <a:moveTo>
                      <a:pt x="421" y="339"/>
                    </a:moveTo>
                    <a:cubicBezTo>
                      <a:pt x="421" y="339"/>
                      <a:pt x="421" y="339"/>
                      <a:pt x="422" y="339"/>
                    </a:cubicBezTo>
                    <a:cubicBezTo>
                      <a:pt x="422" y="339"/>
                      <a:pt x="422" y="339"/>
                      <a:pt x="422" y="338"/>
                    </a:cubicBezTo>
                    <a:cubicBezTo>
                      <a:pt x="422" y="338"/>
                      <a:pt x="422" y="338"/>
                      <a:pt x="422" y="336"/>
                    </a:cubicBezTo>
                    <a:cubicBezTo>
                      <a:pt x="422" y="336"/>
                      <a:pt x="422" y="336"/>
                      <a:pt x="423" y="334"/>
                    </a:cubicBezTo>
                    <a:cubicBezTo>
                      <a:pt x="423" y="334"/>
                      <a:pt x="423" y="334"/>
                      <a:pt x="424" y="334"/>
                    </a:cubicBezTo>
                    <a:cubicBezTo>
                      <a:pt x="424" y="334"/>
                      <a:pt x="424" y="334"/>
                      <a:pt x="424" y="331"/>
                    </a:cubicBezTo>
                    <a:cubicBezTo>
                      <a:pt x="424" y="331"/>
                      <a:pt x="424" y="331"/>
                      <a:pt x="425" y="329"/>
                    </a:cubicBezTo>
                    <a:cubicBezTo>
                      <a:pt x="425" y="329"/>
                      <a:pt x="425" y="329"/>
                      <a:pt x="425" y="327"/>
                    </a:cubicBezTo>
                    <a:cubicBezTo>
                      <a:pt x="425" y="327"/>
                      <a:pt x="425" y="327"/>
                      <a:pt x="424" y="325"/>
                    </a:cubicBezTo>
                    <a:cubicBezTo>
                      <a:pt x="424" y="325"/>
                      <a:pt x="424" y="325"/>
                      <a:pt x="423" y="325"/>
                    </a:cubicBezTo>
                    <a:cubicBezTo>
                      <a:pt x="423" y="325"/>
                      <a:pt x="423" y="325"/>
                      <a:pt x="422" y="326"/>
                    </a:cubicBezTo>
                    <a:cubicBezTo>
                      <a:pt x="422" y="326"/>
                      <a:pt x="422" y="326"/>
                      <a:pt x="422" y="327"/>
                    </a:cubicBezTo>
                    <a:cubicBezTo>
                      <a:pt x="422" y="327"/>
                      <a:pt x="422" y="327"/>
                      <a:pt x="423" y="327"/>
                    </a:cubicBezTo>
                    <a:cubicBezTo>
                      <a:pt x="423" y="327"/>
                      <a:pt x="423" y="327"/>
                      <a:pt x="422" y="328"/>
                    </a:cubicBezTo>
                    <a:cubicBezTo>
                      <a:pt x="422" y="328"/>
                      <a:pt x="422" y="328"/>
                      <a:pt x="422" y="329"/>
                    </a:cubicBezTo>
                    <a:cubicBezTo>
                      <a:pt x="422" y="329"/>
                      <a:pt x="422" y="329"/>
                      <a:pt x="421" y="330"/>
                    </a:cubicBezTo>
                    <a:cubicBezTo>
                      <a:pt x="421" y="330"/>
                      <a:pt x="421" y="330"/>
                      <a:pt x="420" y="330"/>
                    </a:cubicBezTo>
                    <a:cubicBezTo>
                      <a:pt x="420" y="330"/>
                      <a:pt x="420" y="330"/>
                      <a:pt x="420" y="331"/>
                    </a:cubicBezTo>
                    <a:cubicBezTo>
                      <a:pt x="420" y="331"/>
                      <a:pt x="420" y="331"/>
                      <a:pt x="422" y="331"/>
                    </a:cubicBezTo>
                    <a:cubicBezTo>
                      <a:pt x="422" y="331"/>
                      <a:pt x="422" y="331"/>
                      <a:pt x="421" y="332"/>
                    </a:cubicBezTo>
                    <a:cubicBezTo>
                      <a:pt x="421" y="332"/>
                      <a:pt x="421" y="332"/>
                      <a:pt x="421" y="333"/>
                    </a:cubicBezTo>
                    <a:cubicBezTo>
                      <a:pt x="421" y="333"/>
                      <a:pt x="421" y="333"/>
                      <a:pt x="422" y="333"/>
                    </a:cubicBezTo>
                    <a:cubicBezTo>
                      <a:pt x="422" y="333"/>
                      <a:pt x="422" y="333"/>
                      <a:pt x="422" y="334"/>
                    </a:cubicBezTo>
                    <a:cubicBezTo>
                      <a:pt x="422" y="334"/>
                      <a:pt x="422" y="334"/>
                      <a:pt x="421" y="334"/>
                    </a:cubicBezTo>
                    <a:cubicBezTo>
                      <a:pt x="421" y="334"/>
                      <a:pt x="421" y="334"/>
                      <a:pt x="420" y="335"/>
                    </a:cubicBezTo>
                    <a:cubicBezTo>
                      <a:pt x="420" y="335"/>
                      <a:pt x="420" y="335"/>
                      <a:pt x="421" y="337"/>
                    </a:cubicBezTo>
                    <a:cubicBezTo>
                      <a:pt x="421" y="337"/>
                      <a:pt x="421" y="337"/>
                      <a:pt x="421" y="338"/>
                    </a:cubicBezTo>
                    <a:cubicBezTo>
                      <a:pt x="421" y="338"/>
                      <a:pt x="421" y="338"/>
                      <a:pt x="421" y="339"/>
                    </a:cubicBezTo>
                    <a:close/>
                    <a:moveTo>
                      <a:pt x="427" y="353"/>
                    </a:moveTo>
                    <a:cubicBezTo>
                      <a:pt x="427" y="353"/>
                      <a:pt x="427" y="353"/>
                      <a:pt x="426" y="354"/>
                    </a:cubicBezTo>
                    <a:cubicBezTo>
                      <a:pt x="426" y="354"/>
                      <a:pt x="426" y="354"/>
                      <a:pt x="427" y="354"/>
                    </a:cubicBezTo>
                    <a:cubicBezTo>
                      <a:pt x="427" y="354"/>
                      <a:pt x="427" y="354"/>
                      <a:pt x="427" y="353"/>
                    </a:cubicBezTo>
                    <a:close/>
                    <a:moveTo>
                      <a:pt x="433" y="344"/>
                    </a:moveTo>
                    <a:cubicBezTo>
                      <a:pt x="433" y="344"/>
                      <a:pt x="433" y="344"/>
                      <a:pt x="434" y="344"/>
                    </a:cubicBezTo>
                    <a:cubicBezTo>
                      <a:pt x="434" y="344"/>
                      <a:pt x="434" y="344"/>
                      <a:pt x="435" y="344"/>
                    </a:cubicBezTo>
                    <a:cubicBezTo>
                      <a:pt x="435" y="344"/>
                      <a:pt x="435" y="344"/>
                      <a:pt x="435" y="342"/>
                    </a:cubicBezTo>
                    <a:cubicBezTo>
                      <a:pt x="435" y="342"/>
                      <a:pt x="435" y="342"/>
                      <a:pt x="434" y="342"/>
                    </a:cubicBezTo>
                    <a:cubicBezTo>
                      <a:pt x="434" y="342"/>
                      <a:pt x="434" y="342"/>
                      <a:pt x="433" y="344"/>
                    </a:cubicBezTo>
                    <a:close/>
                    <a:moveTo>
                      <a:pt x="202" y="339"/>
                    </a:moveTo>
                    <a:cubicBezTo>
                      <a:pt x="201" y="340"/>
                      <a:pt x="201" y="340"/>
                      <a:pt x="201" y="340"/>
                    </a:cubicBezTo>
                    <a:cubicBezTo>
                      <a:pt x="202" y="340"/>
                      <a:pt x="202" y="340"/>
                      <a:pt x="202" y="340"/>
                    </a:cubicBezTo>
                    <a:cubicBezTo>
                      <a:pt x="202" y="339"/>
                      <a:pt x="202" y="339"/>
                      <a:pt x="202" y="339"/>
                    </a:cubicBezTo>
                    <a:close/>
                    <a:moveTo>
                      <a:pt x="268" y="320"/>
                    </a:moveTo>
                    <a:cubicBezTo>
                      <a:pt x="268" y="320"/>
                      <a:pt x="268" y="320"/>
                      <a:pt x="267" y="320"/>
                    </a:cubicBezTo>
                    <a:cubicBezTo>
                      <a:pt x="267" y="320"/>
                      <a:pt x="267" y="320"/>
                      <a:pt x="267" y="322"/>
                    </a:cubicBezTo>
                    <a:cubicBezTo>
                      <a:pt x="267" y="322"/>
                      <a:pt x="267" y="322"/>
                      <a:pt x="268" y="322"/>
                    </a:cubicBezTo>
                    <a:cubicBezTo>
                      <a:pt x="268" y="322"/>
                      <a:pt x="268" y="322"/>
                      <a:pt x="269" y="321"/>
                    </a:cubicBezTo>
                    <a:cubicBezTo>
                      <a:pt x="269" y="321"/>
                      <a:pt x="269" y="321"/>
                      <a:pt x="268" y="320"/>
                    </a:cubicBezTo>
                    <a:close/>
                    <a:moveTo>
                      <a:pt x="235" y="235"/>
                    </a:moveTo>
                    <a:cubicBezTo>
                      <a:pt x="235" y="235"/>
                      <a:pt x="235" y="235"/>
                      <a:pt x="235" y="236"/>
                    </a:cubicBezTo>
                    <a:cubicBezTo>
                      <a:pt x="235" y="236"/>
                      <a:pt x="235" y="236"/>
                      <a:pt x="236" y="236"/>
                    </a:cubicBezTo>
                    <a:cubicBezTo>
                      <a:pt x="236" y="236"/>
                      <a:pt x="236" y="236"/>
                      <a:pt x="235" y="235"/>
                    </a:cubicBezTo>
                    <a:close/>
                    <a:moveTo>
                      <a:pt x="236" y="328"/>
                    </a:moveTo>
                    <a:cubicBezTo>
                      <a:pt x="236" y="328"/>
                      <a:pt x="236" y="328"/>
                      <a:pt x="235" y="328"/>
                    </a:cubicBezTo>
                    <a:cubicBezTo>
                      <a:pt x="235" y="328"/>
                      <a:pt x="235" y="328"/>
                      <a:pt x="235" y="329"/>
                    </a:cubicBezTo>
                    <a:cubicBezTo>
                      <a:pt x="235" y="329"/>
                      <a:pt x="235" y="329"/>
                      <a:pt x="235" y="330"/>
                    </a:cubicBezTo>
                    <a:cubicBezTo>
                      <a:pt x="235" y="330"/>
                      <a:pt x="235" y="330"/>
                      <a:pt x="236" y="329"/>
                    </a:cubicBezTo>
                    <a:cubicBezTo>
                      <a:pt x="236" y="329"/>
                      <a:pt x="236" y="329"/>
                      <a:pt x="236" y="328"/>
                    </a:cubicBezTo>
                    <a:close/>
                    <a:moveTo>
                      <a:pt x="203" y="341"/>
                    </a:moveTo>
                    <a:cubicBezTo>
                      <a:pt x="204" y="341"/>
                      <a:pt x="204" y="341"/>
                      <a:pt x="204" y="341"/>
                    </a:cubicBezTo>
                    <a:cubicBezTo>
                      <a:pt x="204" y="340"/>
                      <a:pt x="204" y="340"/>
                      <a:pt x="204" y="340"/>
                    </a:cubicBezTo>
                    <a:cubicBezTo>
                      <a:pt x="202" y="341"/>
                      <a:pt x="202" y="341"/>
                      <a:pt x="202" y="341"/>
                    </a:cubicBezTo>
                    <a:cubicBezTo>
                      <a:pt x="203" y="341"/>
                      <a:pt x="203" y="341"/>
                      <a:pt x="203" y="341"/>
                    </a:cubicBezTo>
                    <a:close/>
                    <a:moveTo>
                      <a:pt x="275" y="324"/>
                    </a:moveTo>
                    <a:cubicBezTo>
                      <a:pt x="275" y="324"/>
                      <a:pt x="275" y="324"/>
                      <a:pt x="275" y="323"/>
                    </a:cubicBezTo>
                    <a:cubicBezTo>
                      <a:pt x="275" y="323"/>
                      <a:pt x="275" y="323"/>
                      <a:pt x="274" y="325"/>
                    </a:cubicBezTo>
                    <a:lnTo>
                      <a:pt x="275" y="324"/>
                    </a:lnTo>
                    <a:close/>
                    <a:moveTo>
                      <a:pt x="266" y="254"/>
                    </a:moveTo>
                    <a:cubicBezTo>
                      <a:pt x="266" y="254"/>
                      <a:pt x="266" y="254"/>
                      <a:pt x="267" y="254"/>
                    </a:cubicBezTo>
                    <a:cubicBezTo>
                      <a:pt x="267" y="254"/>
                      <a:pt x="267" y="254"/>
                      <a:pt x="268" y="254"/>
                    </a:cubicBezTo>
                    <a:cubicBezTo>
                      <a:pt x="268" y="254"/>
                      <a:pt x="268" y="254"/>
                      <a:pt x="269" y="254"/>
                    </a:cubicBezTo>
                    <a:cubicBezTo>
                      <a:pt x="269" y="254"/>
                      <a:pt x="269" y="254"/>
                      <a:pt x="271" y="254"/>
                    </a:cubicBezTo>
                    <a:cubicBezTo>
                      <a:pt x="271" y="254"/>
                      <a:pt x="271" y="254"/>
                      <a:pt x="271" y="253"/>
                    </a:cubicBezTo>
                    <a:cubicBezTo>
                      <a:pt x="271" y="253"/>
                      <a:pt x="271" y="253"/>
                      <a:pt x="272" y="251"/>
                    </a:cubicBezTo>
                    <a:cubicBezTo>
                      <a:pt x="272" y="251"/>
                      <a:pt x="272" y="251"/>
                      <a:pt x="272" y="250"/>
                    </a:cubicBezTo>
                    <a:cubicBezTo>
                      <a:pt x="272" y="250"/>
                      <a:pt x="272" y="250"/>
                      <a:pt x="271" y="249"/>
                    </a:cubicBezTo>
                    <a:cubicBezTo>
                      <a:pt x="271" y="249"/>
                      <a:pt x="271" y="249"/>
                      <a:pt x="271" y="248"/>
                    </a:cubicBezTo>
                    <a:cubicBezTo>
                      <a:pt x="271" y="248"/>
                      <a:pt x="271" y="248"/>
                      <a:pt x="269" y="248"/>
                    </a:cubicBezTo>
                    <a:cubicBezTo>
                      <a:pt x="269" y="248"/>
                      <a:pt x="269" y="248"/>
                      <a:pt x="268" y="249"/>
                    </a:cubicBezTo>
                    <a:cubicBezTo>
                      <a:pt x="268" y="249"/>
                      <a:pt x="268" y="249"/>
                      <a:pt x="267" y="249"/>
                    </a:cubicBezTo>
                    <a:cubicBezTo>
                      <a:pt x="267" y="249"/>
                      <a:pt x="267" y="249"/>
                      <a:pt x="266" y="249"/>
                    </a:cubicBezTo>
                    <a:cubicBezTo>
                      <a:pt x="266" y="249"/>
                      <a:pt x="266" y="249"/>
                      <a:pt x="264" y="249"/>
                    </a:cubicBezTo>
                    <a:cubicBezTo>
                      <a:pt x="264" y="249"/>
                      <a:pt x="264" y="249"/>
                      <a:pt x="263" y="249"/>
                    </a:cubicBezTo>
                    <a:cubicBezTo>
                      <a:pt x="263" y="249"/>
                      <a:pt x="263" y="249"/>
                      <a:pt x="263" y="251"/>
                    </a:cubicBezTo>
                    <a:cubicBezTo>
                      <a:pt x="263" y="251"/>
                      <a:pt x="263" y="251"/>
                      <a:pt x="265" y="253"/>
                    </a:cubicBezTo>
                    <a:cubicBezTo>
                      <a:pt x="265" y="253"/>
                      <a:pt x="265" y="253"/>
                      <a:pt x="266" y="254"/>
                    </a:cubicBezTo>
                    <a:close/>
                    <a:moveTo>
                      <a:pt x="270" y="324"/>
                    </a:moveTo>
                    <a:cubicBezTo>
                      <a:pt x="270" y="324"/>
                      <a:pt x="270" y="324"/>
                      <a:pt x="269" y="326"/>
                    </a:cubicBezTo>
                    <a:cubicBezTo>
                      <a:pt x="269" y="326"/>
                      <a:pt x="269" y="326"/>
                      <a:pt x="270" y="325"/>
                    </a:cubicBezTo>
                    <a:cubicBezTo>
                      <a:pt x="270" y="325"/>
                      <a:pt x="270" y="325"/>
                      <a:pt x="272" y="324"/>
                    </a:cubicBezTo>
                    <a:cubicBezTo>
                      <a:pt x="272" y="324"/>
                      <a:pt x="272" y="324"/>
                      <a:pt x="273" y="323"/>
                    </a:cubicBezTo>
                    <a:cubicBezTo>
                      <a:pt x="273" y="323"/>
                      <a:pt x="273" y="323"/>
                      <a:pt x="271" y="323"/>
                    </a:cubicBezTo>
                    <a:cubicBezTo>
                      <a:pt x="271" y="323"/>
                      <a:pt x="271" y="323"/>
                      <a:pt x="270" y="324"/>
                    </a:cubicBezTo>
                    <a:close/>
                    <a:moveTo>
                      <a:pt x="230" y="331"/>
                    </a:moveTo>
                    <a:cubicBezTo>
                      <a:pt x="231" y="331"/>
                      <a:pt x="231" y="331"/>
                      <a:pt x="231" y="331"/>
                    </a:cubicBezTo>
                    <a:cubicBezTo>
                      <a:pt x="230" y="330"/>
                      <a:pt x="230" y="330"/>
                      <a:pt x="230" y="330"/>
                    </a:cubicBezTo>
                    <a:cubicBezTo>
                      <a:pt x="230" y="331"/>
                      <a:pt x="230" y="331"/>
                      <a:pt x="230" y="331"/>
                    </a:cubicBezTo>
                    <a:close/>
                    <a:moveTo>
                      <a:pt x="233" y="328"/>
                    </a:moveTo>
                    <a:cubicBezTo>
                      <a:pt x="232" y="329"/>
                      <a:pt x="232" y="329"/>
                      <a:pt x="232" y="329"/>
                    </a:cubicBezTo>
                    <a:cubicBezTo>
                      <a:pt x="232" y="330"/>
                      <a:pt x="232" y="330"/>
                      <a:pt x="232" y="330"/>
                    </a:cubicBezTo>
                    <a:cubicBezTo>
                      <a:pt x="233" y="331"/>
                      <a:pt x="233" y="331"/>
                      <a:pt x="233" y="331"/>
                    </a:cubicBezTo>
                    <a:cubicBezTo>
                      <a:pt x="234" y="330"/>
                      <a:pt x="234" y="330"/>
                      <a:pt x="234" y="330"/>
                    </a:cubicBezTo>
                    <a:cubicBezTo>
                      <a:pt x="234" y="329"/>
                      <a:pt x="234" y="329"/>
                      <a:pt x="234" y="329"/>
                    </a:cubicBezTo>
                    <a:cubicBezTo>
                      <a:pt x="233" y="329"/>
                      <a:pt x="233" y="329"/>
                      <a:pt x="233" y="329"/>
                    </a:cubicBezTo>
                    <a:cubicBezTo>
                      <a:pt x="233" y="328"/>
                      <a:pt x="233" y="328"/>
                      <a:pt x="233" y="328"/>
                    </a:cubicBezTo>
                    <a:close/>
                    <a:moveTo>
                      <a:pt x="236" y="331"/>
                    </a:moveTo>
                    <a:cubicBezTo>
                      <a:pt x="236" y="331"/>
                      <a:pt x="236" y="331"/>
                      <a:pt x="237" y="331"/>
                    </a:cubicBezTo>
                    <a:cubicBezTo>
                      <a:pt x="237" y="331"/>
                      <a:pt x="237" y="331"/>
                      <a:pt x="236" y="330"/>
                    </a:cubicBezTo>
                    <a:cubicBezTo>
                      <a:pt x="236" y="330"/>
                      <a:pt x="236" y="330"/>
                      <a:pt x="236" y="331"/>
                    </a:cubicBezTo>
                    <a:close/>
                    <a:moveTo>
                      <a:pt x="145" y="344"/>
                    </a:moveTo>
                    <a:cubicBezTo>
                      <a:pt x="145" y="343"/>
                      <a:pt x="145" y="343"/>
                      <a:pt x="145" y="343"/>
                    </a:cubicBezTo>
                    <a:cubicBezTo>
                      <a:pt x="144" y="344"/>
                      <a:pt x="144" y="344"/>
                      <a:pt x="144" y="344"/>
                    </a:cubicBezTo>
                    <a:cubicBezTo>
                      <a:pt x="145" y="344"/>
                      <a:pt x="145" y="344"/>
                      <a:pt x="145" y="344"/>
                    </a:cubicBezTo>
                    <a:close/>
                    <a:moveTo>
                      <a:pt x="142" y="347"/>
                    </a:moveTo>
                    <a:cubicBezTo>
                      <a:pt x="143" y="348"/>
                      <a:pt x="143" y="348"/>
                      <a:pt x="143" y="348"/>
                    </a:cubicBezTo>
                    <a:cubicBezTo>
                      <a:pt x="144" y="347"/>
                      <a:pt x="144" y="347"/>
                      <a:pt x="144" y="347"/>
                    </a:cubicBezTo>
                    <a:cubicBezTo>
                      <a:pt x="143" y="346"/>
                      <a:pt x="143" y="346"/>
                      <a:pt x="143" y="346"/>
                    </a:cubicBezTo>
                    <a:cubicBezTo>
                      <a:pt x="142" y="347"/>
                      <a:pt x="142" y="347"/>
                      <a:pt x="142" y="347"/>
                    </a:cubicBezTo>
                    <a:close/>
                    <a:moveTo>
                      <a:pt x="257" y="325"/>
                    </a:moveTo>
                    <a:cubicBezTo>
                      <a:pt x="257" y="325"/>
                      <a:pt x="257" y="325"/>
                      <a:pt x="258" y="324"/>
                    </a:cubicBezTo>
                    <a:cubicBezTo>
                      <a:pt x="258" y="324"/>
                      <a:pt x="258" y="324"/>
                      <a:pt x="258" y="323"/>
                    </a:cubicBezTo>
                    <a:cubicBezTo>
                      <a:pt x="258" y="323"/>
                      <a:pt x="258" y="323"/>
                      <a:pt x="257" y="324"/>
                    </a:cubicBezTo>
                    <a:cubicBezTo>
                      <a:pt x="257" y="324"/>
                      <a:pt x="257" y="324"/>
                      <a:pt x="257" y="325"/>
                    </a:cubicBezTo>
                    <a:close/>
                    <a:moveTo>
                      <a:pt x="235" y="237"/>
                    </a:moveTo>
                    <a:cubicBezTo>
                      <a:pt x="234" y="237"/>
                      <a:pt x="234" y="237"/>
                      <a:pt x="234" y="237"/>
                    </a:cubicBezTo>
                    <a:cubicBezTo>
                      <a:pt x="234" y="237"/>
                      <a:pt x="234" y="237"/>
                      <a:pt x="234" y="238"/>
                    </a:cubicBezTo>
                    <a:cubicBezTo>
                      <a:pt x="234" y="238"/>
                      <a:pt x="234" y="238"/>
                      <a:pt x="235" y="239"/>
                    </a:cubicBezTo>
                    <a:cubicBezTo>
                      <a:pt x="235" y="239"/>
                      <a:pt x="235" y="239"/>
                      <a:pt x="237" y="241"/>
                    </a:cubicBezTo>
                    <a:cubicBezTo>
                      <a:pt x="237" y="241"/>
                      <a:pt x="237" y="241"/>
                      <a:pt x="237" y="240"/>
                    </a:cubicBezTo>
                    <a:cubicBezTo>
                      <a:pt x="237" y="240"/>
                      <a:pt x="237" y="240"/>
                      <a:pt x="235" y="238"/>
                    </a:cubicBezTo>
                    <a:cubicBezTo>
                      <a:pt x="235" y="238"/>
                      <a:pt x="235" y="238"/>
                      <a:pt x="235" y="237"/>
                    </a:cubicBezTo>
                    <a:close/>
                    <a:moveTo>
                      <a:pt x="150" y="343"/>
                    </a:moveTo>
                    <a:cubicBezTo>
                      <a:pt x="149" y="344"/>
                      <a:pt x="149" y="344"/>
                      <a:pt x="149" y="344"/>
                    </a:cubicBezTo>
                    <a:cubicBezTo>
                      <a:pt x="150" y="345"/>
                      <a:pt x="150" y="345"/>
                      <a:pt x="150" y="345"/>
                    </a:cubicBezTo>
                    <a:cubicBezTo>
                      <a:pt x="149" y="345"/>
                      <a:pt x="149" y="345"/>
                      <a:pt x="149" y="345"/>
                    </a:cubicBezTo>
                    <a:cubicBezTo>
                      <a:pt x="150" y="346"/>
                      <a:pt x="150" y="346"/>
                      <a:pt x="150" y="346"/>
                    </a:cubicBezTo>
                    <a:cubicBezTo>
                      <a:pt x="151" y="346"/>
                      <a:pt x="151" y="346"/>
                      <a:pt x="151" y="346"/>
                    </a:cubicBezTo>
                    <a:cubicBezTo>
                      <a:pt x="151" y="345"/>
                      <a:pt x="151" y="345"/>
                      <a:pt x="151" y="345"/>
                    </a:cubicBezTo>
                    <a:cubicBezTo>
                      <a:pt x="152" y="345"/>
                      <a:pt x="152" y="345"/>
                      <a:pt x="152" y="345"/>
                    </a:cubicBezTo>
                    <a:cubicBezTo>
                      <a:pt x="151" y="343"/>
                      <a:pt x="151" y="343"/>
                      <a:pt x="151" y="343"/>
                    </a:cubicBezTo>
                    <a:cubicBezTo>
                      <a:pt x="150" y="343"/>
                      <a:pt x="150" y="343"/>
                      <a:pt x="150" y="343"/>
                    </a:cubicBezTo>
                    <a:close/>
                    <a:moveTo>
                      <a:pt x="158" y="346"/>
                    </a:moveTo>
                    <a:cubicBezTo>
                      <a:pt x="157" y="346"/>
                      <a:pt x="157" y="346"/>
                      <a:pt x="157" y="346"/>
                    </a:cubicBezTo>
                    <a:cubicBezTo>
                      <a:pt x="157" y="347"/>
                      <a:pt x="157" y="347"/>
                      <a:pt x="157" y="347"/>
                    </a:cubicBezTo>
                    <a:cubicBezTo>
                      <a:pt x="158" y="347"/>
                      <a:pt x="158" y="347"/>
                      <a:pt x="158" y="347"/>
                    </a:cubicBezTo>
                    <a:cubicBezTo>
                      <a:pt x="159" y="346"/>
                      <a:pt x="159" y="346"/>
                      <a:pt x="159" y="346"/>
                    </a:cubicBezTo>
                    <a:cubicBezTo>
                      <a:pt x="159" y="344"/>
                      <a:pt x="159" y="344"/>
                      <a:pt x="159" y="344"/>
                    </a:cubicBezTo>
                    <a:cubicBezTo>
                      <a:pt x="158" y="344"/>
                      <a:pt x="158" y="344"/>
                      <a:pt x="158" y="344"/>
                    </a:cubicBezTo>
                    <a:cubicBezTo>
                      <a:pt x="158" y="346"/>
                      <a:pt x="158" y="346"/>
                      <a:pt x="158" y="346"/>
                    </a:cubicBezTo>
                    <a:close/>
                    <a:moveTo>
                      <a:pt x="253" y="324"/>
                    </a:moveTo>
                    <a:cubicBezTo>
                      <a:pt x="253" y="324"/>
                      <a:pt x="253" y="324"/>
                      <a:pt x="251" y="323"/>
                    </a:cubicBezTo>
                    <a:cubicBezTo>
                      <a:pt x="251" y="323"/>
                      <a:pt x="251" y="323"/>
                      <a:pt x="251" y="322"/>
                    </a:cubicBezTo>
                    <a:cubicBezTo>
                      <a:pt x="251" y="322"/>
                      <a:pt x="251" y="322"/>
                      <a:pt x="251" y="321"/>
                    </a:cubicBezTo>
                    <a:cubicBezTo>
                      <a:pt x="251" y="321"/>
                      <a:pt x="251" y="321"/>
                      <a:pt x="249" y="321"/>
                    </a:cubicBezTo>
                    <a:cubicBezTo>
                      <a:pt x="249" y="321"/>
                      <a:pt x="249" y="321"/>
                      <a:pt x="248" y="322"/>
                    </a:cubicBezTo>
                    <a:cubicBezTo>
                      <a:pt x="248" y="322"/>
                      <a:pt x="248" y="322"/>
                      <a:pt x="246" y="321"/>
                    </a:cubicBezTo>
                    <a:cubicBezTo>
                      <a:pt x="246" y="321"/>
                      <a:pt x="246" y="321"/>
                      <a:pt x="246" y="322"/>
                    </a:cubicBezTo>
                    <a:cubicBezTo>
                      <a:pt x="246" y="322"/>
                      <a:pt x="246" y="322"/>
                      <a:pt x="245" y="321"/>
                    </a:cubicBezTo>
                    <a:cubicBezTo>
                      <a:pt x="245" y="321"/>
                      <a:pt x="245" y="321"/>
                      <a:pt x="244" y="321"/>
                    </a:cubicBezTo>
                    <a:cubicBezTo>
                      <a:pt x="244" y="321"/>
                      <a:pt x="244" y="321"/>
                      <a:pt x="243" y="323"/>
                    </a:cubicBezTo>
                    <a:cubicBezTo>
                      <a:pt x="243" y="323"/>
                      <a:pt x="243" y="323"/>
                      <a:pt x="242" y="324"/>
                    </a:cubicBezTo>
                    <a:cubicBezTo>
                      <a:pt x="242" y="324"/>
                      <a:pt x="242" y="324"/>
                      <a:pt x="241" y="324"/>
                    </a:cubicBezTo>
                    <a:cubicBezTo>
                      <a:pt x="241" y="324"/>
                      <a:pt x="241" y="324"/>
                      <a:pt x="240" y="326"/>
                    </a:cubicBezTo>
                    <a:cubicBezTo>
                      <a:pt x="241" y="327"/>
                      <a:pt x="241" y="327"/>
                      <a:pt x="241" y="327"/>
                    </a:cubicBezTo>
                    <a:cubicBezTo>
                      <a:pt x="241" y="327"/>
                      <a:pt x="241" y="327"/>
                      <a:pt x="242" y="327"/>
                    </a:cubicBezTo>
                    <a:cubicBezTo>
                      <a:pt x="242" y="327"/>
                      <a:pt x="242" y="327"/>
                      <a:pt x="243" y="327"/>
                    </a:cubicBezTo>
                    <a:cubicBezTo>
                      <a:pt x="243" y="327"/>
                      <a:pt x="243" y="327"/>
                      <a:pt x="244" y="325"/>
                    </a:cubicBezTo>
                    <a:cubicBezTo>
                      <a:pt x="244" y="325"/>
                      <a:pt x="244" y="325"/>
                      <a:pt x="247" y="325"/>
                    </a:cubicBezTo>
                    <a:cubicBezTo>
                      <a:pt x="247" y="325"/>
                      <a:pt x="247" y="325"/>
                      <a:pt x="248" y="326"/>
                    </a:cubicBezTo>
                    <a:cubicBezTo>
                      <a:pt x="248" y="326"/>
                      <a:pt x="248" y="326"/>
                      <a:pt x="250" y="326"/>
                    </a:cubicBezTo>
                    <a:cubicBezTo>
                      <a:pt x="250" y="326"/>
                      <a:pt x="250" y="326"/>
                      <a:pt x="251" y="325"/>
                    </a:cubicBezTo>
                    <a:cubicBezTo>
                      <a:pt x="251" y="325"/>
                      <a:pt x="251" y="325"/>
                      <a:pt x="253" y="325"/>
                    </a:cubicBezTo>
                    <a:cubicBezTo>
                      <a:pt x="253" y="325"/>
                      <a:pt x="253" y="325"/>
                      <a:pt x="253" y="324"/>
                    </a:cubicBezTo>
                    <a:close/>
                    <a:moveTo>
                      <a:pt x="238" y="331"/>
                    </a:moveTo>
                    <a:cubicBezTo>
                      <a:pt x="238" y="331"/>
                      <a:pt x="238" y="331"/>
                      <a:pt x="239" y="331"/>
                    </a:cubicBezTo>
                    <a:cubicBezTo>
                      <a:pt x="239" y="331"/>
                      <a:pt x="239" y="331"/>
                      <a:pt x="239" y="330"/>
                    </a:cubicBezTo>
                    <a:cubicBezTo>
                      <a:pt x="239" y="330"/>
                      <a:pt x="239" y="330"/>
                      <a:pt x="238" y="330"/>
                    </a:cubicBezTo>
                    <a:cubicBezTo>
                      <a:pt x="238" y="330"/>
                      <a:pt x="238" y="330"/>
                      <a:pt x="238" y="331"/>
                    </a:cubicBezTo>
                    <a:close/>
                    <a:moveTo>
                      <a:pt x="142" y="350"/>
                    </a:moveTo>
                    <a:cubicBezTo>
                      <a:pt x="142" y="349"/>
                      <a:pt x="142" y="349"/>
                      <a:pt x="142" y="349"/>
                    </a:cubicBezTo>
                    <a:cubicBezTo>
                      <a:pt x="141" y="350"/>
                      <a:pt x="141" y="350"/>
                      <a:pt x="141" y="350"/>
                    </a:cubicBezTo>
                    <a:cubicBezTo>
                      <a:pt x="142" y="350"/>
                      <a:pt x="142" y="350"/>
                      <a:pt x="142" y="350"/>
                    </a:cubicBezTo>
                    <a:close/>
                    <a:moveTo>
                      <a:pt x="252" y="328"/>
                    </a:moveTo>
                    <a:cubicBezTo>
                      <a:pt x="252" y="328"/>
                      <a:pt x="252" y="328"/>
                      <a:pt x="253" y="329"/>
                    </a:cubicBezTo>
                    <a:cubicBezTo>
                      <a:pt x="253" y="329"/>
                      <a:pt x="253" y="329"/>
                      <a:pt x="254" y="329"/>
                    </a:cubicBezTo>
                    <a:cubicBezTo>
                      <a:pt x="254" y="329"/>
                      <a:pt x="254" y="329"/>
                      <a:pt x="253" y="328"/>
                    </a:cubicBezTo>
                    <a:cubicBezTo>
                      <a:pt x="253" y="328"/>
                      <a:pt x="253" y="328"/>
                      <a:pt x="252" y="328"/>
                    </a:cubicBezTo>
                    <a:close/>
                    <a:moveTo>
                      <a:pt x="154" y="345"/>
                    </a:moveTo>
                    <a:cubicBezTo>
                      <a:pt x="154" y="346"/>
                      <a:pt x="154" y="346"/>
                      <a:pt x="154" y="346"/>
                    </a:cubicBezTo>
                    <a:cubicBezTo>
                      <a:pt x="153" y="347"/>
                      <a:pt x="153" y="347"/>
                      <a:pt x="153" y="347"/>
                    </a:cubicBezTo>
                    <a:cubicBezTo>
                      <a:pt x="154" y="347"/>
                      <a:pt x="154" y="347"/>
                      <a:pt x="154" y="347"/>
                    </a:cubicBezTo>
                    <a:cubicBezTo>
                      <a:pt x="155" y="346"/>
                      <a:pt x="155" y="346"/>
                      <a:pt x="155" y="346"/>
                    </a:cubicBezTo>
                    <a:cubicBezTo>
                      <a:pt x="155" y="345"/>
                      <a:pt x="155" y="345"/>
                      <a:pt x="155" y="345"/>
                    </a:cubicBezTo>
                    <a:cubicBezTo>
                      <a:pt x="156" y="344"/>
                      <a:pt x="156" y="344"/>
                      <a:pt x="156" y="344"/>
                    </a:cubicBezTo>
                    <a:cubicBezTo>
                      <a:pt x="155" y="344"/>
                      <a:pt x="155" y="344"/>
                      <a:pt x="155" y="344"/>
                    </a:cubicBezTo>
                    <a:cubicBezTo>
                      <a:pt x="154" y="345"/>
                      <a:pt x="154" y="345"/>
                      <a:pt x="154" y="345"/>
                    </a:cubicBezTo>
                    <a:close/>
                    <a:moveTo>
                      <a:pt x="180" y="346"/>
                    </a:moveTo>
                    <a:cubicBezTo>
                      <a:pt x="180" y="346"/>
                      <a:pt x="180" y="346"/>
                      <a:pt x="180" y="347"/>
                    </a:cubicBezTo>
                    <a:cubicBezTo>
                      <a:pt x="180" y="347"/>
                      <a:pt x="180" y="347"/>
                      <a:pt x="177" y="346"/>
                    </a:cubicBezTo>
                    <a:cubicBezTo>
                      <a:pt x="175" y="346"/>
                      <a:pt x="175" y="346"/>
                      <a:pt x="175" y="346"/>
                    </a:cubicBezTo>
                    <a:cubicBezTo>
                      <a:pt x="175" y="346"/>
                      <a:pt x="175" y="346"/>
                      <a:pt x="176" y="347"/>
                    </a:cubicBezTo>
                    <a:cubicBezTo>
                      <a:pt x="176" y="347"/>
                      <a:pt x="176" y="347"/>
                      <a:pt x="177" y="347"/>
                    </a:cubicBezTo>
                    <a:cubicBezTo>
                      <a:pt x="177" y="347"/>
                      <a:pt x="177" y="347"/>
                      <a:pt x="180" y="348"/>
                    </a:cubicBezTo>
                    <a:cubicBezTo>
                      <a:pt x="180" y="348"/>
                      <a:pt x="180" y="348"/>
                      <a:pt x="181" y="347"/>
                    </a:cubicBezTo>
                    <a:cubicBezTo>
                      <a:pt x="181" y="347"/>
                      <a:pt x="181" y="347"/>
                      <a:pt x="180" y="346"/>
                    </a:cubicBezTo>
                    <a:close/>
                    <a:moveTo>
                      <a:pt x="229" y="331"/>
                    </a:moveTo>
                    <a:cubicBezTo>
                      <a:pt x="228" y="330"/>
                      <a:pt x="228" y="330"/>
                      <a:pt x="228" y="330"/>
                    </a:cubicBezTo>
                    <a:cubicBezTo>
                      <a:pt x="227" y="330"/>
                      <a:pt x="227" y="330"/>
                      <a:pt x="227" y="330"/>
                    </a:cubicBezTo>
                    <a:cubicBezTo>
                      <a:pt x="226" y="330"/>
                      <a:pt x="226" y="330"/>
                      <a:pt x="226" y="330"/>
                    </a:cubicBezTo>
                    <a:cubicBezTo>
                      <a:pt x="225" y="331"/>
                      <a:pt x="225" y="331"/>
                      <a:pt x="225" y="331"/>
                    </a:cubicBezTo>
                    <a:cubicBezTo>
                      <a:pt x="225" y="332"/>
                      <a:pt x="225" y="332"/>
                      <a:pt x="225" y="332"/>
                    </a:cubicBezTo>
                    <a:cubicBezTo>
                      <a:pt x="226" y="333"/>
                      <a:pt x="226" y="333"/>
                      <a:pt x="226" y="333"/>
                    </a:cubicBezTo>
                    <a:cubicBezTo>
                      <a:pt x="224" y="333"/>
                      <a:pt x="224" y="333"/>
                      <a:pt x="224" y="333"/>
                    </a:cubicBezTo>
                    <a:cubicBezTo>
                      <a:pt x="223" y="333"/>
                      <a:pt x="223" y="333"/>
                      <a:pt x="223" y="333"/>
                    </a:cubicBezTo>
                    <a:cubicBezTo>
                      <a:pt x="223" y="334"/>
                      <a:pt x="223" y="334"/>
                      <a:pt x="223" y="334"/>
                    </a:cubicBezTo>
                    <a:cubicBezTo>
                      <a:pt x="222" y="336"/>
                      <a:pt x="222" y="336"/>
                      <a:pt x="222" y="336"/>
                    </a:cubicBezTo>
                    <a:cubicBezTo>
                      <a:pt x="221" y="336"/>
                      <a:pt x="221" y="336"/>
                      <a:pt x="221" y="336"/>
                    </a:cubicBezTo>
                    <a:cubicBezTo>
                      <a:pt x="219" y="337"/>
                      <a:pt x="219" y="337"/>
                      <a:pt x="219" y="337"/>
                    </a:cubicBezTo>
                    <a:cubicBezTo>
                      <a:pt x="218" y="337"/>
                      <a:pt x="218" y="337"/>
                      <a:pt x="218" y="337"/>
                    </a:cubicBezTo>
                    <a:cubicBezTo>
                      <a:pt x="218" y="338"/>
                      <a:pt x="218" y="338"/>
                      <a:pt x="218" y="338"/>
                    </a:cubicBezTo>
                    <a:cubicBezTo>
                      <a:pt x="220" y="338"/>
                      <a:pt x="220" y="338"/>
                      <a:pt x="220" y="338"/>
                    </a:cubicBezTo>
                    <a:cubicBezTo>
                      <a:pt x="222" y="337"/>
                      <a:pt x="222" y="337"/>
                      <a:pt x="222" y="337"/>
                    </a:cubicBezTo>
                    <a:cubicBezTo>
                      <a:pt x="223" y="336"/>
                      <a:pt x="223" y="336"/>
                      <a:pt x="223" y="336"/>
                    </a:cubicBezTo>
                    <a:cubicBezTo>
                      <a:pt x="224" y="337"/>
                      <a:pt x="224" y="337"/>
                      <a:pt x="224" y="337"/>
                    </a:cubicBezTo>
                    <a:cubicBezTo>
                      <a:pt x="225" y="336"/>
                      <a:pt x="225" y="336"/>
                      <a:pt x="225" y="336"/>
                    </a:cubicBezTo>
                    <a:cubicBezTo>
                      <a:pt x="225" y="335"/>
                      <a:pt x="225" y="335"/>
                      <a:pt x="225" y="335"/>
                    </a:cubicBezTo>
                    <a:cubicBezTo>
                      <a:pt x="226" y="335"/>
                      <a:pt x="226" y="335"/>
                      <a:pt x="226" y="335"/>
                    </a:cubicBezTo>
                    <a:cubicBezTo>
                      <a:pt x="226" y="336"/>
                      <a:pt x="226" y="336"/>
                      <a:pt x="226" y="336"/>
                    </a:cubicBezTo>
                    <a:cubicBezTo>
                      <a:pt x="227" y="336"/>
                      <a:pt x="227" y="336"/>
                      <a:pt x="227" y="336"/>
                    </a:cubicBezTo>
                    <a:cubicBezTo>
                      <a:pt x="228" y="334"/>
                      <a:pt x="228" y="334"/>
                      <a:pt x="228" y="334"/>
                    </a:cubicBezTo>
                    <a:cubicBezTo>
                      <a:pt x="229" y="334"/>
                      <a:pt x="229" y="334"/>
                      <a:pt x="229" y="334"/>
                    </a:cubicBezTo>
                    <a:cubicBezTo>
                      <a:pt x="229" y="333"/>
                      <a:pt x="229" y="333"/>
                      <a:pt x="229" y="333"/>
                    </a:cubicBezTo>
                    <a:cubicBezTo>
                      <a:pt x="228" y="333"/>
                      <a:pt x="228" y="333"/>
                      <a:pt x="228" y="333"/>
                    </a:cubicBezTo>
                    <a:cubicBezTo>
                      <a:pt x="230" y="332"/>
                      <a:pt x="230" y="332"/>
                      <a:pt x="230" y="332"/>
                    </a:cubicBezTo>
                    <a:cubicBezTo>
                      <a:pt x="229" y="331"/>
                      <a:pt x="229" y="331"/>
                      <a:pt x="229" y="331"/>
                    </a:cubicBezTo>
                    <a:close/>
                    <a:moveTo>
                      <a:pt x="187" y="345"/>
                    </a:moveTo>
                    <a:cubicBezTo>
                      <a:pt x="186" y="344"/>
                      <a:pt x="186" y="344"/>
                      <a:pt x="186" y="344"/>
                    </a:cubicBezTo>
                    <a:cubicBezTo>
                      <a:pt x="184" y="344"/>
                      <a:pt x="184" y="344"/>
                      <a:pt x="184" y="344"/>
                    </a:cubicBezTo>
                    <a:cubicBezTo>
                      <a:pt x="184" y="345"/>
                      <a:pt x="184" y="345"/>
                      <a:pt x="184" y="345"/>
                    </a:cubicBezTo>
                    <a:cubicBezTo>
                      <a:pt x="186" y="345"/>
                      <a:pt x="186" y="345"/>
                      <a:pt x="186" y="345"/>
                    </a:cubicBezTo>
                    <a:cubicBezTo>
                      <a:pt x="187" y="345"/>
                      <a:pt x="187" y="345"/>
                      <a:pt x="187" y="345"/>
                    </a:cubicBezTo>
                    <a:close/>
                    <a:moveTo>
                      <a:pt x="266" y="199"/>
                    </a:moveTo>
                    <a:cubicBezTo>
                      <a:pt x="266" y="199"/>
                      <a:pt x="266" y="199"/>
                      <a:pt x="267" y="197"/>
                    </a:cubicBezTo>
                    <a:cubicBezTo>
                      <a:pt x="267" y="197"/>
                      <a:pt x="267" y="197"/>
                      <a:pt x="269" y="198"/>
                    </a:cubicBezTo>
                    <a:cubicBezTo>
                      <a:pt x="269" y="198"/>
                      <a:pt x="269" y="198"/>
                      <a:pt x="270" y="199"/>
                    </a:cubicBezTo>
                    <a:cubicBezTo>
                      <a:pt x="270" y="199"/>
                      <a:pt x="270" y="199"/>
                      <a:pt x="271" y="201"/>
                    </a:cubicBezTo>
                    <a:cubicBezTo>
                      <a:pt x="271" y="201"/>
                      <a:pt x="271" y="201"/>
                      <a:pt x="270" y="202"/>
                    </a:cubicBezTo>
                    <a:cubicBezTo>
                      <a:pt x="270" y="202"/>
                      <a:pt x="270" y="202"/>
                      <a:pt x="272" y="203"/>
                    </a:cubicBezTo>
                    <a:cubicBezTo>
                      <a:pt x="272" y="203"/>
                      <a:pt x="272" y="203"/>
                      <a:pt x="272" y="204"/>
                    </a:cubicBezTo>
                    <a:cubicBezTo>
                      <a:pt x="272" y="204"/>
                      <a:pt x="272" y="204"/>
                      <a:pt x="271" y="206"/>
                    </a:cubicBezTo>
                    <a:cubicBezTo>
                      <a:pt x="271" y="206"/>
                      <a:pt x="271" y="206"/>
                      <a:pt x="272" y="207"/>
                    </a:cubicBezTo>
                    <a:cubicBezTo>
                      <a:pt x="272" y="207"/>
                      <a:pt x="272" y="207"/>
                      <a:pt x="274" y="205"/>
                    </a:cubicBezTo>
                    <a:cubicBezTo>
                      <a:pt x="274" y="205"/>
                      <a:pt x="274" y="205"/>
                      <a:pt x="275" y="205"/>
                    </a:cubicBezTo>
                    <a:cubicBezTo>
                      <a:pt x="275" y="205"/>
                      <a:pt x="275" y="205"/>
                      <a:pt x="276" y="204"/>
                    </a:cubicBezTo>
                    <a:cubicBezTo>
                      <a:pt x="276" y="204"/>
                      <a:pt x="276" y="204"/>
                      <a:pt x="278" y="205"/>
                    </a:cubicBezTo>
                    <a:cubicBezTo>
                      <a:pt x="278" y="205"/>
                      <a:pt x="278" y="205"/>
                      <a:pt x="279" y="205"/>
                    </a:cubicBezTo>
                    <a:cubicBezTo>
                      <a:pt x="279" y="205"/>
                      <a:pt x="279" y="205"/>
                      <a:pt x="279" y="203"/>
                    </a:cubicBezTo>
                    <a:cubicBezTo>
                      <a:pt x="279" y="203"/>
                      <a:pt x="279" y="203"/>
                      <a:pt x="276" y="201"/>
                    </a:cubicBezTo>
                    <a:cubicBezTo>
                      <a:pt x="276" y="201"/>
                      <a:pt x="276" y="201"/>
                      <a:pt x="276" y="200"/>
                    </a:cubicBezTo>
                    <a:cubicBezTo>
                      <a:pt x="276" y="200"/>
                      <a:pt x="276" y="200"/>
                      <a:pt x="275" y="199"/>
                    </a:cubicBezTo>
                    <a:cubicBezTo>
                      <a:pt x="275" y="199"/>
                      <a:pt x="275" y="199"/>
                      <a:pt x="274" y="197"/>
                    </a:cubicBezTo>
                    <a:cubicBezTo>
                      <a:pt x="274" y="197"/>
                      <a:pt x="274" y="197"/>
                      <a:pt x="275" y="197"/>
                    </a:cubicBezTo>
                    <a:cubicBezTo>
                      <a:pt x="275" y="197"/>
                      <a:pt x="275" y="197"/>
                      <a:pt x="275" y="196"/>
                    </a:cubicBezTo>
                    <a:cubicBezTo>
                      <a:pt x="275" y="196"/>
                      <a:pt x="275" y="196"/>
                      <a:pt x="274" y="195"/>
                    </a:cubicBezTo>
                    <a:cubicBezTo>
                      <a:pt x="274" y="195"/>
                      <a:pt x="274" y="195"/>
                      <a:pt x="272" y="195"/>
                    </a:cubicBezTo>
                    <a:cubicBezTo>
                      <a:pt x="272" y="195"/>
                      <a:pt x="272" y="195"/>
                      <a:pt x="271" y="195"/>
                    </a:cubicBezTo>
                    <a:cubicBezTo>
                      <a:pt x="271" y="195"/>
                      <a:pt x="271" y="195"/>
                      <a:pt x="270" y="195"/>
                    </a:cubicBezTo>
                    <a:cubicBezTo>
                      <a:pt x="270" y="195"/>
                      <a:pt x="270" y="195"/>
                      <a:pt x="270" y="194"/>
                    </a:cubicBezTo>
                    <a:cubicBezTo>
                      <a:pt x="270" y="194"/>
                      <a:pt x="270" y="194"/>
                      <a:pt x="268" y="194"/>
                    </a:cubicBezTo>
                    <a:cubicBezTo>
                      <a:pt x="268" y="194"/>
                      <a:pt x="268" y="194"/>
                      <a:pt x="268" y="193"/>
                    </a:cubicBezTo>
                    <a:cubicBezTo>
                      <a:pt x="268" y="193"/>
                      <a:pt x="268" y="193"/>
                      <a:pt x="268" y="190"/>
                    </a:cubicBezTo>
                    <a:cubicBezTo>
                      <a:pt x="268" y="190"/>
                      <a:pt x="268" y="190"/>
                      <a:pt x="267" y="193"/>
                    </a:cubicBezTo>
                    <a:cubicBezTo>
                      <a:pt x="267" y="193"/>
                      <a:pt x="267" y="193"/>
                      <a:pt x="264" y="195"/>
                    </a:cubicBezTo>
                    <a:cubicBezTo>
                      <a:pt x="264" y="195"/>
                      <a:pt x="264" y="195"/>
                      <a:pt x="264" y="197"/>
                    </a:cubicBezTo>
                    <a:cubicBezTo>
                      <a:pt x="264" y="197"/>
                      <a:pt x="264" y="197"/>
                      <a:pt x="265" y="199"/>
                    </a:cubicBezTo>
                    <a:cubicBezTo>
                      <a:pt x="265" y="199"/>
                      <a:pt x="265" y="199"/>
                      <a:pt x="266" y="199"/>
                    </a:cubicBezTo>
                    <a:close/>
                    <a:moveTo>
                      <a:pt x="297" y="180"/>
                    </a:moveTo>
                    <a:cubicBezTo>
                      <a:pt x="297" y="180"/>
                      <a:pt x="297" y="180"/>
                      <a:pt x="296" y="180"/>
                    </a:cubicBezTo>
                    <a:cubicBezTo>
                      <a:pt x="295" y="180"/>
                      <a:pt x="295" y="180"/>
                      <a:pt x="295" y="180"/>
                    </a:cubicBezTo>
                    <a:cubicBezTo>
                      <a:pt x="295" y="180"/>
                      <a:pt x="295" y="180"/>
                      <a:pt x="296" y="181"/>
                    </a:cubicBezTo>
                    <a:cubicBezTo>
                      <a:pt x="296" y="181"/>
                      <a:pt x="296" y="181"/>
                      <a:pt x="297" y="180"/>
                    </a:cubicBezTo>
                    <a:close/>
                    <a:moveTo>
                      <a:pt x="193" y="344"/>
                    </a:moveTo>
                    <a:cubicBezTo>
                      <a:pt x="194" y="344"/>
                      <a:pt x="194" y="344"/>
                      <a:pt x="194" y="344"/>
                    </a:cubicBezTo>
                    <a:cubicBezTo>
                      <a:pt x="193" y="342"/>
                      <a:pt x="193" y="342"/>
                      <a:pt x="193" y="342"/>
                    </a:cubicBezTo>
                    <a:cubicBezTo>
                      <a:pt x="193" y="344"/>
                      <a:pt x="193" y="344"/>
                      <a:pt x="193" y="344"/>
                    </a:cubicBezTo>
                    <a:close/>
                    <a:moveTo>
                      <a:pt x="217" y="335"/>
                    </a:moveTo>
                    <a:cubicBezTo>
                      <a:pt x="217" y="335"/>
                      <a:pt x="217" y="335"/>
                      <a:pt x="217" y="334"/>
                    </a:cubicBezTo>
                    <a:cubicBezTo>
                      <a:pt x="216" y="335"/>
                      <a:pt x="216" y="335"/>
                      <a:pt x="216" y="335"/>
                    </a:cubicBezTo>
                    <a:cubicBezTo>
                      <a:pt x="216" y="335"/>
                      <a:pt x="216" y="335"/>
                      <a:pt x="214" y="335"/>
                    </a:cubicBezTo>
                    <a:cubicBezTo>
                      <a:pt x="214" y="335"/>
                      <a:pt x="214" y="335"/>
                      <a:pt x="214" y="337"/>
                    </a:cubicBezTo>
                    <a:cubicBezTo>
                      <a:pt x="214" y="337"/>
                      <a:pt x="214" y="337"/>
                      <a:pt x="212" y="337"/>
                    </a:cubicBezTo>
                    <a:cubicBezTo>
                      <a:pt x="212" y="337"/>
                      <a:pt x="212" y="337"/>
                      <a:pt x="211" y="338"/>
                    </a:cubicBezTo>
                    <a:cubicBezTo>
                      <a:pt x="211" y="338"/>
                      <a:pt x="211" y="338"/>
                      <a:pt x="211" y="339"/>
                    </a:cubicBezTo>
                    <a:cubicBezTo>
                      <a:pt x="211" y="339"/>
                      <a:pt x="211" y="339"/>
                      <a:pt x="210" y="339"/>
                    </a:cubicBezTo>
                    <a:cubicBezTo>
                      <a:pt x="210" y="339"/>
                      <a:pt x="210" y="339"/>
                      <a:pt x="209" y="341"/>
                    </a:cubicBezTo>
                    <a:cubicBezTo>
                      <a:pt x="209" y="341"/>
                      <a:pt x="209" y="341"/>
                      <a:pt x="208" y="341"/>
                    </a:cubicBezTo>
                    <a:cubicBezTo>
                      <a:pt x="208" y="341"/>
                      <a:pt x="208" y="341"/>
                      <a:pt x="207" y="342"/>
                    </a:cubicBezTo>
                    <a:cubicBezTo>
                      <a:pt x="207" y="342"/>
                      <a:pt x="207" y="342"/>
                      <a:pt x="210" y="342"/>
                    </a:cubicBezTo>
                    <a:cubicBezTo>
                      <a:pt x="210" y="342"/>
                      <a:pt x="210" y="342"/>
                      <a:pt x="211" y="340"/>
                    </a:cubicBezTo>
                    <a:cubicBezTo>
                      <a:pt x="211" y="340"/>
                      <a:pt x="211" y="340"/>
                      <a:pt x="213" y="340"/>
                    </a:cubicBezTo>
                    <a:cubicBezTo>
                      <a:pt x="213" y="340"/>
                      <a:pt x="213" y="340"/>
                      <a:pt x="215" y="338"/>
                    </a:cubicBezTo>
                    <a:cubicBezTo>
                      <a:pt x="215" y="338"/>
                      <a:pt x="215" y="338"/>
                      <a:pt x="216" y="337"/>
                    </a:cubicBezTo>
                    <a:cubicBezTo>
                      <a:pt x="216" y="337"/>
                      <a:pt x="216" y="337"/>
                      <a:pt x="217" y="336"/>
                    </a:cubicBezTo>
                    <a:cubicBezTo>
                      <a:pt x="217" y="336"/>
                      <a:pt x="217" y="336"/>
                      <a:pt x="218" y="335"/>
                    </a:cubicBezTo>
                    <a:cubicBezTo>
                      <a:pt x="218" y="335"/>
                      <a:pt x="218" y="335"/>
                      <a:pt x="217" y="335"/>
                    </a:cubicBezTo>
                    <a:close/>
                    <a:moveTo>
                      <a:pt x="201" y="341"/>
                    </a:moveTo>
                    <a:cubicBezTo>
                      <a:pt x="200" y="342"/>
                      <a:pt x="200" y="342"/>
                      <a:pt x="200" y="342"/>
                    </a:cubicBezTo>
                    <a:cubicBezTo>
                      <a:pt x="201" y="342"/>
                      <a:pt x="201" y="342"/>
                      <a:pt x="201" y="342"/>
                    </a:cubicBezTo>
                    <a:cubicBezTo>
                      <a:pt x="202" y="342"/>
                      <a:pt x="202" y="342"/>
                      <a:pt x="202" y="342"/>
                    </a:cubicBezTo>
                    <a:cubicBezTo>
                      <a:pt x="201" y="341"/>
                      <a:pt x="201" y="341"/>
                      <a:pt x="201" y="341"/>
                    </a:cubicBezTo>
                    <a:close/>
                    <a:moveTo>
                      <a:pt x="196" y="342"/>
                    </a:moveTo>
                    <a:cubicBezTo>
                      <a:pt x="196" y="343"/>
                      <a:pt x="196" y="343"/>
                      <a:pt x="196" y="343"/>
                    </a:cubicBezTo>
                    <a:cubicBezTo>
                      <a:pt x="198" y="342"/>
                      <a:pt x="198" y="342"/>
                      <a:pt x="198" y="342"/>
                    </a:cubicBezTo>
                    <a:cubicBezTo>
                      <a:pt x="199" y="342"/>
                      <a:pt x="199" y="342"/>
                      <a:pt x="199" y="342"/>
                    </a:cubicBezTo>
                    <a:cubicBezTo>
                      <a:pt x="197" y="341"/>
                      <a:pt x="197" y="341"/>
                      <a:pt x="197" y="341"/>
                    </a:cubicBezTo>
                    <a:cubicBezTo>
                      <a:pt x="196" y="342"/>
                      <a:pt x="196" y="342"/>
                      <a:pt x="196" y="342"/>
                    </a:cubicBezTo>
                    <a:close/>
                    <a:moveTo>
                      <a:pt x="673" y="675"/>
                    </a:moveTo>
                    <a:cubicBezTo>
                      <a:pt x="674" y="674"/>
                      <a:pt x="674" y="674"/>
                      <a:pt x="674" y="674"/>
                    </a:cubicBezTo>
                    <a:cubicBezTo>
                      <a:pt x="673" y="674"/>
                      <a:pt x="673" y="674"/>
                      <a:pt x="673" y="674"/>
                    </a:cubicBezTo>
                    <a:cubicBezTo>
                      <a:pt x="672" y="675"/>
                      <a:pt x="672" y="675"/>
                      <a:pt x="672" y="675"/>
                    </a:cubicBezTo>
                    <a:cubicBezTo>
                      <a:pt x="673" y="675"/>
                      <a:pt x="673" y="675"/>
                      <a:pt x="673" y="675"/>
                    </a:cubicBezTo>
                    <a:close/>
                    <a:moveTo>
                      <a:pt x="695" y="685"/>
                    </a:moveTo>
                    <a:cubicBezTo>
                      <a:pt x="697" y="685"/>
                      <a:pt x="697" y="685"/>
                      <a:pt x="697" y="685"/>
                    </a:cubicBezTo>
                    <a:cubicBezTo>
                      <a:pt x="698" y="685"/>
                      <a:pt x="698" y="685"/>
                      <a:pt x="698" y="685"/>
                    </a:cubicBezTo>
                    <a:cubicBezTo>
                      <a:pt x="699" y="686"/>
                      <a:pt x="699" y="686"/>
                      <a:pt x="699" y="686"/>
                    </a:cubicBezTo>
                    <a:cubicBezTo>
                      <a:pt x="699" y="684"/>
                      <a:pt x="699" y="684"/>
                      <a:pt x="699" y="684"/>
                    </a:cubicBezTo>
                    <a:cubicBezTo>
                      <a:pt x="700" y="684"/>
                      <a:pt x="700" y="684"/>
                      <a:pt x="700" y="684"/>
                    </a:cubicBezTo>
                    <a:cubicBezTo>
                      <a:pt x="701" y="685"/>
                      <a:pt x="701" y="685"/>
                      <a:pt x="701" y="685"/>
                    </a:cubicBezTo>
                    <a:cubicBezTo>
                      <a:pt x="702" y="684"/>
                      <a:pt x="702" y="684"/>
                      <a:pt x="702" y="684"/>
                    </a:cubicBezTo>
                    <a:cubicBezTo>
                      <a:pt x="703" y="684"/>
                      <a:pt x="703" y="684"/>
                      <a:pt x="703" y="684"/>
                    </a:cubicBezTo>
                    <a:cubicBezTo>
                      <a:pt x="705" y="684"/>
                      <a:pt x="705" y="684"/>
                      <a:pt x="705" y="684"/>
                    </a:cubicBezTo>
                    <a:cubicBezTo>
                      <a:pt x="705" y="683"/>
                      <a:pt x="705" y="683"/>
                      <a:pt x="705" y="683"/>
                    </a:cubicBezTo>
                    <a:cubicBezTo>
                      <a:pt x="704" y="682"/>
                      <a:pt x="704" y="682"/>
                      <a:pt x="704" y="682"/>
                    </a:cubicBezTo>
                    <a:cubicBezTo>
                      <a:pt x="702" y="682"/>
                      <a:pt x="702" y="682"/>
                      <a:pt x="702" y="682"/>
                    </a:cubicBezTo>
                    <a:cubicBezTo>
                      <a:pt x="701" y="680"/>
                      <a:pt x="701" y="680"/>
                      <a:pt x="701" y="680"/>
                    </a:cubicBezTo>
                    <a:cubicBezTo>
                      <a:pt x="696" y="680"/>
                      <a:pt x="696" y="680"/>
                      <a:pt x="696" y="680"/>
                    </a:cubicBezTo>
                    <a:cubicBezTo>
                      <a:pt x="694" y="680"/>
                      <a:pt x="694" y="680"/>
                      <a:pt x="694" y="680"/>
                    </a:cubicBezTo>
                    <a:cubicBezTo>
                      <a:pt x="693" y="680"/>
                      <a:pt x="693" y="680"/>
                      <a:pt x="693" y="680"/>
                    </a:cubicBezTo>
                    <a:cubicBezTo>
                      <a:pt x="692" y="680"/>
                      <a:pt x="692" y="680"/>
                      <a:pt x="692" y="680"/>
                    </a:cubicBezTo>
                    <a:cubicBezTo>
                      <a:pt x="691" y="681"/>
                      <a:pt x="691" y="681"/>
                      <a:pt x="691" y="681"/>
                    </a:cubicBezTo>
                    <a:cubicBezTo>
                      <a:pt x="692" y="682"/>
                      <a:pt x="692" y="682"/>
                      <a:pt x="692" y="682"/>
                    </a:cubicBezTo>
                    <a:cubicBezTo>
                      <a:pt x="693" y="682"/>
                      <a:pt x="693" y="682"/>
                      <a:pt x="693" y="682"/>
                    </a:cubicBezTo>
                    <a:cubicBezTo>
                      <a:pt x="694" y="682"/>
                      <a:pt x="694" y="682"/>
                      <a:pt x="694" y="682"/>
                    </a:cubicBezTo>
                    <a:cubicBezTo>
                      <a:pt x="694" y="684"/>
                      <a:pt x="694" y="684"/>
                      <a:pt x="694" y="684"/>
                    </a:cubicBezTo>
                    <a:cubicBezTo>
                      <a:pt x="695" y="685"/>
                      <a:pt x="695" y="685"/>
                      <a:pt x="695" y="685"/>
                    </a:cubicBezTo>
                    <a:close/>
                    <a:moveTo>
                      <a:pt x="726" y="669"/>
                    </a:moveTo>
                    <a:cubicBezTo>
                      <a:pt x="726" y="669"/>
                      <a:pt x="726" y="669"/>
                      <a:pt x="727" y="670"/>
                    </a:cubicBezTo>
                    <a:cubicBezTo>
                      <a:pt x="727" y="670"/>
                      <a:pt x="727" y="670"/>
                      <a:pt x="729" y="670"/>
                    </a:cubicBezTo>
                    <a:cubicBezTo>
                      <a:pt x="729" y="670"/>
                      <a:pt x="729" y="670"/>
                      <a:pt x="727" y="669"/>
                    </a:cubicBezTo>
                    <a:cubicBezTo>
                      <a:pt x="727" y="669"/>
                      <a:pt x="727" y="669"/>
                      <a:pt x="726" y="669"/>
                    </a:cubicBezTo>
                    <a:close/>
                    <a:moveTo>
                      <a:pt x="726" y="678"/>
                    </a:moveTo>
                    <a:cubicBezTo>
                      <a:pt x="726" y="678"/>
                      <a:pt x="726" y="678"/>
                      <a:pt x="726" y="677"/>
                    </a:cubicBezTo>
                    <a:cubicBezTo>
                      <a:pt x="726" y="677"/>
                      <a:pt x="726" y="677"/>
                      <a:pt x="725" y="676"/>
                    </a:cubicBezTo>
                    <a:cubicBezTo>
                      <a:pt x="725" y="676"/>
                      <a:pt x="725" y="676"/>
                      <a:pt x="723" y="677"/>
                    </a:cubicBezTo>
                    <a:cubicBezTo>
                      <a:pt x="724" y="678"/>
                      <a:pt x="724" y="678"/>
                      <a:pt x="724" y="678"/>
                    </a:cubicBezTo>
                    <a:cubicBezTo>
                      <a:pt x="724" y="678"/>
                      <a:pt x="724" y="678"/>
                      <a:pt x="726" y="678"/>
                    </a:cubicBezTo>
                    <a:close/>
                    <a:moveTo>
                      <a:pt x="708" y="672"/>
                    </a:moveTo>
                    <a:cubicBezTo>
                      <a:pt x="712" y="671"/>
                      <a:pt x="712" y="671"/>
                      <a:pt x="712" y="671"/>
                    </a:cubicBezTo>
                    <a:cubicBezTo>
                      <a:pt x="712" y="670"/>
                      <a:pt x="712" y="670"/>
                      <a:pt x="712" y="670"/>
                    </a:cubicBezTo>
                    <a:cubicBezTo>
                      <a:pt x="713" y="670"/>
                      <a:pt x="713" y="670"/>
                      <a:pt x="713" y="670"/>
                    </a:cubicBezTo>
                    <a:cubicBezTo>
                      <a:pt x="714" y="669"/>
                      <a:pt x="714" y="669"/>
                      <a:pt x="714" y="669"/>
                    </a:cubicBezTo>
                    <a:cubicBezTo>
                      <a:pt x="716" y="670"/>
                      <a:pt x="716" y="670"/>
                      <a:pt x="716" y="670"/>
                    </a:cubicBezTo>
                    <a:cubicBezTo>
                      <a:pt x="717" y="669"/>
                      <a:pt x="717" y="669"/>
                      <a:pt x="717" y="669"/>
                    </a:cubicBezTo>
                    <a:cubicBezTo>
                      <a:pt x="718" y="668"/>
                      <a:pt x="718" y="668"/>
                      <a:pt x="718" y="668"/>
                    </a:cubicBezTo>
                    <a:cubicBezTo>
                      <a:pt x="718" y="667"/>
                      <a:pt x="718" y="667"/>
                      <a:pt x="718" y="667"/>
                    </a:cubicBezTo>
                    <a:cubicBezTo>
                      <a:pt x="716" y="667"/>
                      <a:pt x="716" y="667"/>
                      <a:pt x="716" y="667"/>
                    </a:cubicBezTo>
                    <a:cubicBezTo>
                      <a:pt x="716" y="666"/>
                      <a:pt x="716" y="666"/>
                      <a:pt x="716" y="666"/>
                    </a:cubicBezTo>
                    <a:cubicBezTo>
                      <a:pt x="713" y="665"/>
                      <a:pt x="713" y="665"/>
                      <a:pt x="713" y="665"/>
                    </a:cubicBezTo>
                    <a:cubicBezTo>
                      <a:pt x="710" y="665"/>
                      <a:pt x="710" y="665"/>
                      <a:pt x="710" y="665"/>
                    </a:cubicBezTo>
                    <a:cubicBezTo>
                      <a:pt x="709" y="664"/>
                      <a:pt x="709" y="664"/>
                      <a:pt x="709" y="664"/>
                    </a:cubicBezTo>
                    <a:cubicBezTo>
                      <a:pt x="710" y="662"/>
                      <a:pt x="710" y="662"/>
                      <a:pt x="710" y="662"/>
                    </a:cubicBezTo>
                    <a:cubicBezTo>
                      <a:pt x="709" y="662"/>
                      <a:pt x="709" y="662"/>
                      <a:pt x="709" y="662"/>
                    </a:cubicBezTo>
                    <a:cubicBezTo>
                      <a:pt x="708" y="662"/>
                      <a:pt x="708" y="662"/>
                      <a:pt x="708" y="662"/>
                    </a:cubicBezTo>
                    <a:cubicBezTo>
                      <a:pt x="707" y="662"/>
                      <a:pt x="707" y="662"/>
                      <a:pt x="707" y="662"/>
                    </a:cubicBezTo>
                    <a:cubicBezTo>
                      <a:pt x="705" y="660"/>
                      <a:pt x="705" y="660"/>
                      <a:pt x="705" y="660"/>
                    </a:cubicBezTo>
                    <a:cubicBezTo>
                      <a:pt x="704" y="661"/>
                      <a:pt x="704" y="661"/>
                      <a:pt x="704" y="661"/>
                    </a:cubicBezTo>
                    <a:cubicBezTo>
                      <a:pt x="703" y="660"/>
                      <a:pt x="703" y="660"/>
                      <a:pt x="703" y="660"/>
                    </a:cubicBezTo>
                    <a:cubicBezTo>
                      <a:pt x="701" y="659"/>
                      <a:pt x="701" y="659"/>
                      <a:pt x="701" y="659"/>
                    </a:cubicBezTo>
                    <a:cubicBezTo>
                      <a:pt x="700" y="660"/>
                      <a:pt x="700" y="660"/>
                      <a:pt x="700" y="660"/>
                    </a:cubicBezTo>
                    <a:cubicBezTo>
                      <a:pt x="700" y="659"/>
                      <a:pt x="700" y="659"/>
                      <a:pt x="700" y="659"/>
                    </a:cubicBezTo>
                    <a:cubicBezTo>
                      <a:pt x="700" y="658"/>
                      <a:pt x="700" y="658"/>
                      <a:pt x="700" y="658"/>
                    </a:cubicBezTo>
                    <a:cubicBezTo>
                      <a:pt x="699" y="658"/>
                      <a:pt x="699" y="658"/>
                      <a:pt x="699" y="658"/>
                    </a:cubicBezTo>
                    <a:cubicBezTo>
                      <a:pt x="699" y="659"/>
                      <a:pt x="699" y="659"/>
                      <a:pt x="699" y="659"/>
                    </a:cubicBezTo>
                    <a:cubicBezTo>
                      <a:pt x="698" y="658"/>
                      <a:pt x="698" y="658"/>
                      <a:pt x="698" y="658"/>
                    </a:cubicBezTo>
                    <a:cubicBezTo>
                      <a:pt x="696" y="658"/>
                      <a:pt x="696" y="658"/>
                      <a:pt x="696" y="658"/>
                    </a:cubicBezTo>
                    <a:cubicBezTo>
                      <a:pt x="694" y="656"/>
                      <a:pt x="694" y="656"/>
                      <a:pt x="694" y="656"/>
                    </a:cubicBezTo>
                    <a:cubicBezTo>
                      <a:pt x="693" y="655"/>
                      <a:pt x="693" y="655"/>
                      <a:pt x="693" y="655"/>
                    </a:cubicBezTo>
                    <a:cubicBezTo>
                      <a:pt x="691" y="654"/>
                      <a:pt x="691" y="654"/>
                      <a:pt x="691" y="654"/>
                    </a:cubicBezTo>
                    <a:cubicBezTo>
                      <a:pt x="688" y="654"/>
                      <a:pt x="688" y="654"/>
                      <a:pt x="688" y="654"/>
                    </a:cubicBezTo>
                    <a:cubicBezTo>
                      <a:pt x="687" y="653"/>
                      <a:pt x="687" y="653"/>
                      <a:pt x="687" y="653"/>
                    </a:cubicBezTo>
                    <a:cubicBezTo>
                      <a:pt x="686" y="652"/>
                      <a:pt x="686" y="652"/>
                      <a:pt x="686" y="652"/>
                    </a:cubicBezTo>
                    <a:cubicBezTo>
                      <a:pt x="685" y="650"/>
                      <a:pt x="685" y="650"/>
                      <a:pt x="685" y="650"/>
                    </a:cubicBezTo>
                    <a:cubicBezTo>
                      <a:pt x="683" y="651"/>
                      <a:pt x="683" y="651"/>
                      <a:pt x="683" y="651"/>
                    </a:cubicBezTo>
                    <a:cubicBezTo>
                      <a:pt x="683" y="650"/>
                      <a:pt x="683" y="650"/>
                      <a:pt x="683" y="650"/>
                    </a:cubicBezTo>
                    <a:cubicBezTo>
                      <a:pt x="678" y="649"/>
                      <a:pt x="678" y="649"/>
                      <a:pt x="678" y="649"/>
                    </a:cubicBezTo>
                    <a:cubicBezTo>
                      <a:pt x="677" y="650"/>
                      <a:pt x="677" y="650"/>
                      <a:pt x="677" y="650"/>
                    </a:cubicBezTo>
                    <a:cubicBezTo>
                      <a:pt x="675" y="649"/>
                      <a:pt x="675" y="649"/>
                      <a:pt x="675" y="649"/>
                    </a:cubicBezTo>
                    <a:cubicBezTo>
                      <a:pt x="674" y="648"/>
                      <a:pt x="674" y="648"/>
                      <a:pt x="674" y="648"/>
                    </a:cubicBezTo>
                    <a:cubicBezTo>
                      <a:pt x="671" y="648"/>
                      <a:pt x="671" y="648"/>
                      <a:pt x="671" y="648"/>
                    </a:cubicBezTo>
                    <a:cubicBezTo>
                      <a:pt x="668" y="648"/>
                      <a:pt x="668" y="648"/>
                      <a:pt x="668" y="648"/>
                    </a:cubicBezTo>
                    <a:cubicBezTo>
                      <a:pt x="667" y="649"/>
                      <a:pt x="667" y="649"/>
                      <a:pt x="667" y="649"/>
                    </a:cubicBezTo>
                    <a:cubicBezTo>
                      <a:pt x="663" y="649"/>
                      <a:pt x="663" y="649"/>
                      <a:pt x="663" y="649"/>
                    </a:cubicBezTo>
                    <a:cubicBezTo>
                      <a:pt x="661" y="649"/>
                      <a:pt x="661" y="649"/>
                      <a:pt x="661" y="649"/>
                    </a:cubicBezTo>
                    <a:cubicBezTo>
                      <a:pt x="660" y="650"/>
                      <a:pt x="660" y="650"/>
                      <a:pt x="660" y="650"/>
                    </a:cubicBezTo>
                    <a:cubicBezTo>
                      <a:pt x="657" y="651"/>
                      <a:pt x="657" y="651"/>
                      <a:pt x="657" y="651"/>
                    </a:cubicBezTo>
                    <a:cubicBezTo>
                      <a:pt x="656" y="652"/>
                      <a:pt x="656" y="652"/>
                      <a:pt x="656" y="652"/>
                    </a:cubicBezTo>
                    <a:cubicBezTo>
                      <a:pt x="655" y="653"/>
                      <a:pt x="655" y="653"/>
                      <a:pt x="655" y="653"/>
                    </a:cubicBezTo>
                    <a:cubicBezTo>
                      <a:pt x="655" y="654"/>
                      <a:pt x="655" y="654"/>
                      <a:pt x="655" y="654"/>
                    </a:cubicBezTo>
                    <a:cubicBezTo>
                      <a:pt x="656" y="655"/>
                      <a:pt x="656" y="655"/>
                      <a:pt x="656" y="655"/>
                    </a:cubicBezTo>
                    <a:cubicBezTo>
                      <a:pt x="655" y="656"/>
                      <a:pt x="655" y="656"/>
                      <a:pt x="655" y="656"/>
                    </a:cubicBezTo>
                    <a:cubicBezTo>
                      <a:pt x="654" y="655"/>
                      <a:pt x="654" y="655"/>
                      <a:pt x="654" y="655"/>
                    </a:cubicBezTo>
                    <a:cubicBezTo>
                      <a:pt x="652" y="657"/>
                      <a:pt x="652" y="657"/>
                      <a:pt x="652" y="657"/>
                    </a:cubicBezTo>
                    <a:cubicBezTo>
                      <a:pt x="651" y="656"/>
                      <a:pt x="651" y="656"/>
                      <a:pt x="651" y="656"/>
                    </a:cubicBezTo>
                    <a:cubicBezTo>
                      <a:pt x="651" y="657"/>
                      <a:pt x="651" y="657"/>
                      <a:pt x="651" y="657"/>
                    </a:cubicBezTo>
                    <a:cubicBezTo>
                      <a:pt x="652" y="658"/>
                      <a:pt x="652" y="658"/>
                      <a:pt x="652" y="658"/>
                    </a:cubicBezTo>
                    <a:cubicBezTo>
                      <a:pt x="654" y="656"/>
                      <a:pt x="654" y="656"/>
                      <a:pt x="654" y="656"/>
                    </a:cubicBezTo>
                    <a:cubicBezTo>
                      <a:pt x="654" y="657"/>
                      <a:pt x="654" y="657"/>
                      <a:pt x="654" y="657"/>
                    </a:cubicBezTo>
                    <a:cubicBezTo>
                      <a:pt x="656" y="657"/>
                      <a:pt x="656" y="657"/>
                      <a:pt x="656" y="657"/>
                    </a:cubicBezTo>
                    <a:cubicBezTo>
                      <a:pt x="657" y="656"/>
                      <a:pt x="657" y="656"/>
                      <a:pt x="657" y="656"/>
                    </a:cubicBezTo>
                    <a:cubicBezTo>
                      <a:pt x="658" y="655"/>
                      <a:pt x="658" y="655"/>
                      <a:pt x="658" y="655"/>
                    </a:cubicBezTo>
                    <a:cubicBezTo>
                      <a:pt x="660" y="655"/>
                      <a:pt x="660" y="655"/>
                      <a:pt x="660" y="655"/>
                    </a:cubicBezTo>
                    <a:cubicBezTo>
                      <a:pt x="660" y="654"/>
                      <a:pt x="660" y="654"/>
                      <a:pt x="660" y="654"/>
                    </a:cubicBezTo>
                    <a:cubicBezTo>
                      <a:pt x="661" y="655"/>
                      <a:pt x="661" y="655"/>
                      <a:pt x="661" y="655"/>
                    </a:cubicBezTo>
                    <a:cubicBezTo>
                      <a:pt x="662" y="655"/>
                      <a:pt x="662" y="655"/>
                      <a:pt x="662" y="655"/>
                    </a:cubicBezTo>
                    <a:cubicBezTo>
                      <a:pt x="664" y="652"/>
                      <a:pt x="664" y="652"/>
                      <a:pt x="664" y="652"/>
                    </a:cubicBezTo>
                    <a:cubicBezTo>
                      <a:pt x="665" y="652"/>
                      <a:pt x="665" y="652"/>
                      <a:pt x="665" y="652"/>
                    </a:cubicBezTo>
                    <a:cubicBezTo>
                      <a:pt x="666" y="651"/>
                      <a:pt x="666" y="651"/>
                      <a:pt x="666" y="651"/>
                    </a:cubicBezTo>
                    <a:cubicBezTo>
                      <a:pt x="668" y="652"/>
                      <a:pt x="668" y="652"/>
                      <a:pt x="668" y="652"/>
                    </a:cubicBezTo>
                    <a:cubicBezTo>
                      <a:pt x="669" y="652"/>
                      <a:pt x="669" y="652"/>
                      <a:pt x="669" y="652"/>
                    </a:cubicBezTo>
                    <a:cubicBezTo>
                      <a:pt x="672" y="652"/>
                      <a:pt x="672" y="652"/>
                      <a:pt x="672" y="652"/>
                    </a:cubicBezTo>
                    <a:cubicBezTo>
                      <a:pt x="673" y="653"/>
                      <a:pt x="673" y="653"/>
                      <a:pt x="673" y="653"/>
                    </a:cubicBezTo>
                    <a:cubicBezTo>
                      <a:pt x="672" y="653"/>
                      <a:pt x="672" y="653"/>
                      <a:pt x="672" y="653"/>
                    </a:cubicBezTo>
                    <a:cubicBezTo>
                      <a:pt x="670" y="653"/>
                      <a:pt x="670" y="653"/>
                      <a:pt x="670" y="653"/>
                    </a:cubicBezTo>
                    <a:cubicBezTo>
                      <a:pt x="669" y="654"/>
                      <a:pt x="669" y="654"/>
                      <a:pt x="669" y="654"/>
                    </a:cubicBezTo>
                    <a:cubicBezTo>
                      <a:pt x="670" y="655"/>
                      <a:pt x="670" y="655"/>
                      <a:pt x="670" y="655"/>
                    </a:cubicBezTo>
                    <a:cubicBezTo>
                      <a:pt x="674" y="655"/>
                      <a:pt x="674" y="655"/>
                      <a:pt x="674" y="655"/>
                    </a:cubicBezTo>
                    <a:cubicBezTo>
                      <a:pt x="675" y="655"/>
                      <a:pt x="675" y="655"/>
                      <a:pt x="675" y="655"/>
                    </a:cubicBezTo>
                    <a:cubicBezTo>
                      <a:pt x="676" y="655"/>
                      <a:pt x="676" y="655"/>
                      <a:pt x="676" y="655"/>
                    </a:cubicBezTo>
                    <a:cubicBezTo>
                      <a:pt x="677" y="656"/>
                      <a:pt x="677" y="656"/>
                      <a:pt x="677" y="656"/>
                    </a:cubicBezTo>
                    <a:cubicBezTo>
                      <a:pt x="679" y="656"/>
                      <a:pt x="679" y="656"/>
                      <a:pt x="679" y="656"/>
                    </a:cubicBezTo>
                    <a:cubicBezTo>
                      <a:pt x="680" y="656"/>
                      <a:pt x="680" y="656"/>
                      <a:pt x="680" y="656"/>
                    </a:cubicBezTo>
                    <a:cubicBezTo>
                      <a:pt x="680" y="655"/>
                      <a:pt x="680" y="655"/>
                      <a:pt x="680" y="655"/>
                    </a:cubicBezTo>
                    <a:cubicBezTo>
                      <a:pt x="681" y="656"/>
                      <a:pt x="681" y="656"/>
                      <a:pt x="681" y="656"/>
                    </a:cubicBezTo>
                    <a:cubicBezTo>
                      <a:pt x="683" y="658"/>
                      <a:pt x="683" y="658"/>
                      <a:pt x="683" y="658"/>
                    </a:cubicBezTo>
                    <a:cubicBezTo>
                      <a:pt x="685" y="658"/>
                      <a:pt x="685" y="658"/>
                      <a:pt x="685" y="658"/>
                    </a:cubicBezTo>
                    <a:cubicBezTo>
                      <a:pt x="686" y="659"/>
                      <a:pt x="686" y="659"/>
                      <a:pt x="686" y="659"/>
                    </a:cubicBezTo>
                    <a:cubicBezTo>
                      <a:pt x="688" y="659"/>
                      <a:pt x="688" y="659"/>
                      <a:pt x="688" y="659"/>
                    </a:cubicBezTo>
                    <a:cubicBezTo>
                      <a:pt x="689" y="659"/>
                      <a:pt x="689" y="659"/>
                      <a:pt x="689" y="659"/>
                    </a:cubicBezTo>
                    <a:cubicBezTo>
                      <a:pt x="690" y="658"/>
                      <a:pt x="690" y="658"/>
                      <a:pt x="690" y="658"/>
                    </a:cubicBezTo>
                    <a:cubicBezTo>
                      <a:pt x="691" y="659"/>
                      <a:pt x="691" y="659"/>
                      <a:pt x="691" y="659"/>
                    </a:cubicBezTo>
                    <a:cubicBezTo>
                      <a:pt x="692" y="662"/>
                      <a:pt x="692" y="662"/>
                      <a:pt x="692" y="662"/>
                    </a:cubicBezTo>
                    <a:cubicBezTo>
                      <a:pt x="694" y="665"/>
                      <a:pt x="694" y="665"/>
                      <a:pt x="694" y="665"/>
                    </a:cubicBezTo>
                    <a:cubicBezTo>
                      <a:pt x="695" y="665"/>
                      <a:pt x="695" y="665"/>
                      <a:pt x="695" y="665"/>
                    </a:cubicBezTo>
                    <a:cubicBezTo>
                      <a:pt x="696" y="664"/>
                      <a:pt x="696" y="664"/>
                      <a:pt x="696" y="664"/>
                    </a:cubicBezTo>
                    <a:cubicBezTo>
                      <a:pt x="697" y="665"/>
                      <a:pt x="697" y="665"/>
                      <a:pt x="697" y="665"/>
                    </a:cubicBezTo>
                    <a:cubicBezTo>
                      <a:pt x="699" y="665"/>
                      <a:pt x="699" y="665"/>
                      <a:pt x="699" y="665"/>
                    </a:cubicBezTo>
                    <a:cubicBezTo>
                      <a:pt x="700" y="666"/>
                      <a:pt x="700" y="666"/>
                      <a:pt x="700" y="666"/>
                    </a:cubicBezTo>
                    <a:cubicBezTo>
                      <a:pt x="701" y="666"/>
                      <a:pt x="701" y="666"/>
                      <a:pt x="701" y="666"/>
                    </a:cubicBezTo>
                    <a:cubicBezTo>
                      <a:pt x="700" y="668"/>
                      <a:pt x="700" y="668"/>
                      <a:pt x="700" y="668"/>
                    </a:cubicBezTo>
                    <a:cubicBezTo>
                      <a:pt x="699" y="668"/>
                      <a:pt x="699" y="668"/>
                      <a:pt x="699" y="668"/>
                    </a:cubicBezTo>
                    <a:cubicBezTo>
                      <a:pt x="697" y="670"/>
                      <a:pt x="697" y="670"/>
                      <a:pt x="697" y="670"/>
                    </a:cubicBezTo>
                    <a:cubicBezTo>
                      <a:pt x="697" y="671"/>
                      <a:pt x="697" y="671"/>
                      <a:pt x="697" y="671"/>
                    </a:cubicBezTo>
                    <a:cubicBezTo>
                      <a:pt x="699" y="671"/>
                      <a:pt x="699" y="671"/>
                      <a:pt x="699" y="671"/>
                    </a:cubicBezTo>
                    <a:cubicBezTo>
                      <a:pt x="700" y="671"/>
                      <a:pt x="700" y="671"/>
                      <a:pt x="700" y="671"/>
                    </a:cubicBezTo>
                    <a:cubicBezTo>
                      <a:pt x="701" y="671"/>
                      <a:pt x="701" y="671"/>
                      <a:pt x="701" y="671"/>
                    </a:cubicBezTo>
                    <a:cubicBezTo>
                      <a:pt x="704" y="670"/>
                      <a:pt x="704" y="670"/>
                      <a:pt x="704" y="670"/>
                    </a:cubicBezTo>
                    <a:cubicBezTo>
                      <a:pt x="706" y="671"/>
                      <a:pt x="706" y="671"/>
                      <a:pt x="706" y="671"/>
                    </a:cubicBezTo>
                    <a:cubicBezTo>
                      <a:pt x="708" y="672"/>
                      <a:pt x="708" y="672"/>
                      <a:pt x="708" y="672"/>
                    </a:cubicBezTo>
                    <a:close/>
                    <a:moveTo>
                      <a:pt x="663" y="658"/>
                    </a:moveTo>
                    <a:cubicBezTo>
                      <a:pt x="663" y="659"/>
                      <a:pt x="663" y="659"/>
                      <a:pt x="663" y="659"/>
                    </a:cubicBezTo>
                    <a:cubicBezTo>
                      <a:pt x="665" y="660"/>
                      <a:pt x="665" y="660"/>
                      <a:pt x="665" y="660"/>
                    </a:cubicBezTo>
                    <a:cubicBezTo>
                      <a:pt x="666" y="659"/>
                      <a:pt x="666" y="659"/>
                      <a:pt x="666" y="659"/>
                    </a:cubicBezTo>
                    <a:cubicBezTo>
                      <a:pt x="667" y="658"/>
                      <a:pt x="667" y="658"/>
                      <a:pt x="667" y="658"/>
                    </a:cubicBezTo>
                    <a:cubicBezTo>
                      <a:pt x="665" y="657"/>
                      <a:pt x="665" y="657"/>
                      <a:pt x="665" y="657"/>
                    </a:cubicBezTo>
                    <a:cubicBezTo>
                      <a:pt x="664" y="656"/>
                      <a:pt x="664" y="656"/>
                      <a:pt x="664" y="656"/>
                    </a:cubicBezTo>
                    <a:cubicBezTo>
                      <a:pt x="664" y="657"/>
                      <a:pt x="664" y="657"/>
                      <a:pt x="664" y="657"/>
                    </a:cubicBezTo>
                    <a:cubicBezTo>
                      <a:pt x="664" y="658"/>
                      <a:pt x="664" y="658"/>
                      <a:pt x="664" y="658"/>
                    </a:cubicBezTo>
                    <a:cubicBezTo>
                      <a:pt x="665" y="658"/>
                      <a:pt x="665" y="658"/>
                      <a:pt x="665" y="658"/>
                    </a:cubicBezTo>
                    <a:cubicBezTo>
                      <a:pt x="664" y="659"/>
                      <a:pt x="664" y="659"/>
                      <a:pt x="664" y="659"/>
                    </a:cubicBezTo>
                    <a:cubicBezTo>
                      <a:pt x="663" y="658"/>
                      <a:pt x="663" y="658"/>
                      <a:pt x="663" y="658"/>
                    </a:cubicBezTo>
                    <a:close/>
                    <a:moveTo>
                      <a:pt x="725" y="662"/>
                    </a:moveTo>
                    <a:cubicBezTo>
                      <a:pt x="723" y="661"/>
                      <a:pt x="723" y="661"/>
                      <a:pt x="723" y="661"/>
                    </a:cubicBezTo>
                    <a:cubicBezTo>
                      <a:pt x="722" y="662"/>
                      <a:pt x="722" y="662"/>
                      <a:pt x="722" y="662"/>
                    </a:cubicBezTo>
                    <a:cubicBezTo>
                      <a:pt x="721" y="664"/>
                      <a:pt x="721" y="664"/>
                      <a:pt x="721" y="664"/>
                    </a:cubicBezTo>
                    <a:cubicBezTo>
                      <a:pt x="725" y="664"/>
                      <a:pt x="725" y="664"/>
                      <a:pt x="725" y="664"/>
                    </a:cubicBezTo>
                    <a:cubicBezTo>
                      <a:pt x="726" y="662"/>
                      <a:pt x="726" y="662"/>
                      <a:pt x="726" y="662"/>
                    </a:cubicBezTo>
                    <a:cubicBezTo>
                      <a:pt x="726" y="661"/>
                      <a:pt x="726" y="661"/>
                      <a:pt x="726" y="661"/>
                    </a:cubicBezTo>
                    <a:cubicBezTo>
                      <a:pt x="725" y="661"/>
                      <a:pt x="725" y="661"/>
                      <a:pt x="725" y="661"/>
                    </a:cubicBezTo>
                    <a:cubicBezTo>
                      <a:pt x="725" y="662"/>
                      <a:pt x="725" y="662"/>
                      <a:pt x="725" y="662"/>
                    </a:cubicBezTo>
                    <a:close/>
                    <a:moveTo>
                      <a:pt x="725" y="654"/>
                    </a:moveTo>
                    <a:cubicBezTo>
                      <a:pt x="726" y="654"/>
                      <a:pt x="726" y="654"/>
                      <a:pt x="726" y="654"/>
                    </a:cubicBezTo>
                    <a:cubicBezTo>
                      <a:pt x="727" y="654"/>
                      <a:pt x="727" y="654"/>
                      <a:pt x="727" y="654"/>
                    </a:cubicBezTo>
                    <a:cubicBezTo>
                      <a:pt x="728" y="655"/>
                      <a:pt x="728" y="655"/>
                      <a:pt x="728" y="655"/>
                    </a:cubicBezTo>
                    <a:cubicBezTo>
                      <a:pt x="728" y="654"/>
                      <a:pt x="728" y="654"/>
                      <a:pt x="728" y="654"/>
                    </a:cubicBezTo>
                    <a:cubicBezTo>
                      <a:pt x="726" y="653"/>
                      <a:pt x="726" y="653"/>
                      <a:pt x="726" y="653"/>
                    </a:cubicBezTo>
                    <a:cubicBezTo>
                      <a:pt x="725" y="654"/>
                      <a:pt x="725" y="654"/>
                      <a:pt x="725" y="654"/>
                    </a:cubicBezTo>
                    <a:close/>
                    <a:moveTo>
                      <a:pt x="698" y="645"/>
                    </a:moveTo>
                    <a:cubicBezTo>
                      <a:pt x="699" y="645"/>
                      <a:pt x="699" y="645"/>
                      <a:pt x="699" y="645"/>
                    </a:cubicBezTo>
                    <a:cubicBezTo>
                      <a:pt x="700" y="643"/>
                      <a:pt x="700" y="643"/>
                      <a:pt x="700" y="643"/>
                    </a:cubicBezTo>
                    <a:cubicBezTo>
                      <a:pt x="700" y="642"/>
                      <a:pt x="700" y="642"/>
                      <a:pt x="700" y="642"/>
                    </a:cubicBezTo>
                    <a:cubicBezTo>
                      <a:pt x="699" y="641"/>
                      <a:pt x="699" y="641"/>
                      <a:pt x="699" y="641"/>
                    </a:cubicBezTo>
                    <a:cubicBezTo>
                      <a:pt x="698" y="642"/>
                      <a:pt x="698" y="642"/>
                      <a:pt x="698" y="642"/>
                    </a:cubicBezTo>
                    <a:cubicBezTo>
                      <a:pt x="698" y="643"/>
                      <a:pt x="698" y="643"/>
                      <a:pt x="698" y="643"/>
                    </a:cubicBezTo>
                    <a:cubicBezTo>
                      <a:pt x="698" y="645"/>
                      <a:pt x="698" y="645"/>
                      <a:pt x="698" y="645"/>
                    </a:cubicBezTo>
                    <a:close/>
                    <a:moveTo>
                      <a:pt x="700" y="635"/>
                    </a:moveTo>
                    <a:cubicBezTo>
                      <a:pt x="701" y="635"/>
                      <a:pt x="701" y="635"/>
                      <a:pt x="701" y="635"/>
                    </a:cubicBezTo>
                    <a:cubicBezTo>
                      <a:pt x="703" y="635"/>
                      <a:pt x="703" y="635"/>
                      <a:pt x="703" y="635"/>
                    </a:cubicBezTo>
                    <a:cubicBezTo>
                      <a:pt x="703" y="634"/>
                      <a:pt x="703" y="634"/>
                      <a:pt x="703" y="634"/>
                    </a:cubicBezTo>
                    <a:cubicBezTo>
                      <a:pt x="702" y="634"/>
                      <a:pt x="702" y="634"/>
                      <a:pt x="702" y="634"/>
                    </a:cubicBezTo>
                    <a:cubicBezTo>
                      <a:pt x="700" y="635"/>
                      <a:pt x="700" y="635"/>
                      <a:pt x="700" y="635"/>
                    </a:cubicBezTo>
                    <a:close/>
                    <a:moveTo>
                      <a:pt x="702" y="622"/>
                    </a:moveTo>
                    <a:cubicBezTo>
                      <a:pt x="702" y="624"/>
                      <a:pt x="702" y="624"/>
                      <a:pt x="702" y="624"/>
                    </a:cubicBezTo>
                    <a:cubicBezTo>
                      <a:pt x="703" y="625"/>
                      <a:pt x="703" y="625"/>
                      <a:pt x="703" y="625"/>
                    </a:cubicBezTo>
                    <a:cubicBezTo>
                      <a:pt x="703" y="626"/>
                      <a:pt x="703" y="626"/>
                      <a:pt x="703" y="626"/>
                    </a:cubicBezTo>
                    <a:cubicBezTo>
                      <a:pt x="703" y="627"/>
                      <a:pt x="703" y="627"/>
                      <a:pt x="703" y="627"/>
                    </a:cubicBezTo>
                    <a:cubicBezTo>
                      <a:pt x="703" y="629"/>
                      <a:pt x="703" y="629"/>
                      <a:pt x="703" y="629"/>
                    </a:cubicBezTo>
                    <a:cubicBezTo>
                      <a:pt x="704" y="628"/>
                      <a:pt x="704" y="628"/>
                      <a:pt x="704" y="628"/>
                    </a:cubicBezTo>
                    <a:cubicBezTo>
                      <a:pt x="704" y="627"/>
                      <a:pt x="704" y="627"/>
                      <a:pt x="704" y="627"/>
                    </a:cubicBezTo>
                    <a:cubicBezTo>
                      <a:pt x="705" y="627"/>
                      <a:pt x="705" y="627"/>
                      <a:pt x="705" y="627"/>
                    </a:cubicBezTo>
                    <a:cubicBezTo>
                      <a:pt x="705" y="625"/>
                      <a:pt x="705" y="625"/>
                      <a:pt x="705" y="625"/>
                    </a:cubicBezTo>
                    <a:cubicBezTo>
                      <a:pt x="704" y="624"/>
                      <a:pt x="704" y="624"/>
                      <a:pt x="704" y="624"/>
                    </a:cubicBezTo>
                    <a:cubicBezTo>
                      <a:pt x="704" y="623"/>
                      <a:pt x="704" y="623"/>
                      <a:pt x="704" y="623"/>
                    </a:cubicBezTo>
                    <a:cubicBezTo>
                      <a:pt x="702" y="622"/>
                      <a:pt x="702" y="622"/>
                      <a:pt x="702" y="622"/>
                    </a:cubicBezTo>
                    <a:close/>
                    <a:moveTo>
                      <a:pt x="718" y="641"/>
                    </a:moveTo>
                    <a:cubicBezTo>
                      <a:pt x="718" y="643"/>
                      <a:pt x="718" y="643"/>
                      <a:pt x="718" y="643"/>
                    </a:cubicBezTo>
                    <a:cubicBezTo>
                      <a:pt x="719" y="642"/>
                      <a:pt x="719" y="642"/>
                      <a:pt x="719" y="642"/>
                    </a:cubicBezTo>
                    <a:cubicBezTo>
                      <a:pt x="718" y="641"/>
                      <a:pt x="718" y="641"/>
                      <a:pt x="718" y="641"/>
                    </a:cubicBezTo>
                    <a:close/>
                    <a:moveTo>
                      <a:pt x="698" y="640"/>
                    </a:moveTo>
                    <a:cubicBezTo>
                      <a:pt x="698" y="641"/>
                      <a:pt x="698" y="641"/>
                      <a:pt x="698" y="641"/>
                    </a:cubicBezTo>
                    <a:cubicBezTo>
                      <a:pt x="699" y="640"/>
                      <a:pt x="699" y="640"/>
                      <a:pt x="699" y="640"/>
                    </a:cubicBezTo>
                    <a:cubicBezTo>
                      <a:pt x="698" y="640"/>
                      <a:pt x="698" y="640"/>
                      <a:pt x="698" y="640"/>
                    </a:cubicBezTo>
                    <a:close/>
                    <a:moveTo>
                      <a:pt x="697" y="641"/>
                    </a:moveTo>
                    <a:cubicBezTo>
                      <a:pt x="698" y="642"/>
                      <a:pt x="698" y="642"/>
                      <a:pt x="698" y="642"/>
                    </a:cubicBezTo>
                    <a:cubicBezTo>
                      <a:pt x="698" y="641"/>
                      <a:pt x="698" y="641"/>
                      <a:pt x="698" y="641"/>
                    </a:cubicBezTo>
                    <a:cubicBezTo>
                      <a:pt x="697" y="641"/>
                      <a:pt x="697" y="641"/>
                      <a:pt x="697" y="641"/>
                    </a:cubicBezTo>
                    <a:close/>
                    <a:moveTo>
                      <a:pt x="697" y="635"/>
                    </a:moveTo>
                    <a:cubicBezTo>
                      <a:pt x="696" y="636"/>
                      <a:pt x="696" y="636"/>
                      <a:pt x="696" y="636"/>
                    </a:cubicBezTo>
                    <a:cubicBezTo>
                      <a:pt x="695" y="638"/>
                      <a:pt x="695" y="638"/>
                      <a:pt x="695" y="638"/>
                    </a:cubicBezTo>
                    <a:cubicBezTo>
                      <a:pt x="696" y="639"/>
                      <a:pt x="696" y="639"/>
                      <a:pt x="696" y="639"/>
                    </a:cubicBezTo>
                    <a:cubicBezTo>
                      <a:pt x="697" y="638"/>
                      <a:pt x="697" y="638"/>
                      <a:pt x="697" y="638"/>
                    </a:cubicBezTo>
                    <a:cubicBezTo>
                      <a:pt x="697" y="640"/>
                      <a:pt x="697" y="640"/>
                      <a:pt x="697" y="640"/>
                    </a:cubicBezTo>
                    <a:cubicBezTo>
                      <a:pt x="699" y="639"/>
                      <a:pt x="699" y="639"/>
                      <a:pt x="699" y="639"/>
                    </a:cubicBezTo>
                    <a:cubicBezTo>
                      <a:pt x="698" y="637"/>
                      <a:pt x="698" y="637"/>
                      <a:pt x="698" y="637"/>
                    </a:cubicBezTo>
                    <a:cubicBezTo>
                      <a:pt x="698" y="635"/>
                      <a:pt x="698" y="635"/>
                      <a:pt x="698" y="635"/>
                    </a:cubicBezTo>
                    <a:cubicBezTo>
                      <a:pt x="697" y="635"/>
                      <a:pt x="697" y="635"/>
                      <a:pt x="697" y="635"/>
                    </a:cubicBezTo>
                    <a:close/>
                    <a:moveTo>
                      <a:pt x="697" y="622"/>
                    </a:moveTo>
                    <a:cubicBezTo>
                      <a:pt x="695" y="624"/>
                      <a:pt x="695" y="624"/>
                      <a:pt x="695" y="624"/>
                    </a:cubicBezTo>
                    <a:cubicBezTo>
                      <a:pt x="694" y="623"/>
                      <a:pt x="694" y="623"/>
                      <a:pt x="694" y="623"/>
                    </a:cubicBezTo>
                    <a:cubicBezTo>
                      <a:pt x="692" y="623"/>
                      <a:pt x="692" y="623"/>
                      <a:pt x="692" y="623"/>
                    </a:cubicBezTo>
                    <a:cubicBezTo>
                      <a:pt x="694" y="625"/>
                      <a:pt x="694" y="625"/>
                      <a:pt x="694" y="625"/>
                    </a:cubicBezTo>
                    <a:cubicBezTo>
                      <a:pt x="695" y="625"/>
                      <a:pt x="695" y="625"/>
                      <a:pt x="695" y="625"/>
                    </a:cubicBezTo>
                    <a:cubicBezTo>
                      <a:pt x="698" y="623"/>
                      <a:pt x="698" y="623"/>
                      <a:pt x="698" y="623"/>
                    </a:cubicBezTo>
                    <a:cubicBezTo>
                      <a:pt x="699" y="624"/>
                      <a:pt x="699" y="624"/>
                      <a:pt x="699" y="624"/>
                    </a:cubicBezTo>
                    <a:cubicBezTo>
                      <a:pt x="700" y="624"/>
                      <a:pt x="700" y="624"/>
                      <a:pt x="700" y="624"/>
                    </a:cubicBezTo>
                    <a:cubicBezTo>
                      <a:pt x="698" y="622"/>
                      <a:pt x="698" y="622"/>
                      <a:pt x="698" y="622"/>
                    </a:cubicBezTo>
                    <a:cubicBezTo>
                      <a:pt x="697" y="622"/>
                      <a:pt x="697" y="622"/>
                      <a:pt x="697" y="622"/>
                    </a:cubicBezTo>
                    <a:close/>
                    <a:moveTo>
                      <a:pt x="709" y="645"/>
                    </a:moveTo>
                    <a:cubicBezTo>
                      <a:pt x="709" y="644"/>
                      <a:pt x="709" y="644"/>
                      <a:pt x="709" y="644"/>
                    </a:cubicBezTo>
                    <a:cubicBezTo>
                      <a:pt x="708" y="645"/>
                      <a:pt x="708" y="645"/>
                      <a:pt x="708" y="645"/>
                    </a:cubicBezTo>
                    <a:cubicBezTo>
                      <a:pt x="709" y="645"/>
                      <a:pt x="709" y="645"/>
                      <a:pt x="709" y="645"/>
                    </a:cubicBezTo>
                    <a:close/>
                    <a:moveTo>
                      <a:pt x="713" y="647"/>
                    </a:moveTo>
                    <a:cubicBezTo>
                      <a:pt x="714" y="649"/>
                      <a:pt x="714" y="649"/>
                      <a:pt x="714" y="649"/>
                    </a:cubicBezTo>
                    <a:cubicBezTo>
                      <a:pt x="715" y="650"/>
                      <a:pt x="715" y="650"/>
                      <a:pt x="715" y="650"/>
                    </a:cubicBezTo>
                    <a:cubicBezTo>
                      <a:pt x="716" y="650"/>
                      <a:pt x="716" y="650"/>
                      <a:pt x="716" y="650"/>
                    </a:cubicBezTo>
                    <a:cubicBezTo>
                      <a:pt x="715" y="648"/>
                      <a:pt x="715" y="648"/>
                      <a:pt x="715" y="648"/>
                    </a:cubicBezTo>
                    <a:cubicBezTo>
                      <a:pt x="714" y="647"/>
                      <a:pt x="714" y="647"/>
                      <a:pt x="714" y="647"/>
                    </a:cubicBezTo>
                    <a:cubicBezTo>
                      <a:pt x="713" y="647"/>
                      <a:pt x="713" y="647"/>
                      <a:pt x="713" y="647"/>
                    </a:cubicBezTo>
                    <a:close/>
                    <a:moveTo>
                      <a:pt x="719" y="651"/>
                    </a:moveTo>
                    <a:cubicBezTo>
                      <a:pt x="720" y="651"/>
                      <a:pt x="720" y="651"/>
                      <a:pt x="720" y="651"/>
                    </a:cubicBezTo>
                    <a:cubicBezTo>
                      <a:pt x="719" y="650"/>
                      <a:pt x="719" y="650"/>
                      <a:pt x="719" y="650"/>
                    </a:cubicBezTo>
                    <a:cubicBezTo>
                      <a:pt x="718" y="650"/>
                      <a:pt x="718" y="650"/>
                      <a:pt x="718" y="650"/>
                    </a:cubicBezTo>
                    <a:cubicBezTo>
                      <a:pt x="719" y="651"/>
                      <a:pt x="719" y="651"/>
                      <a:pt x="719" y="651"/>
                    </a:cubicBezTo>
                    <a:close/>
                    <a:moveTo>
                      <a:pt x="719" y="653"/>
                    </a:moveTo>
                    <a:cubicBezTo>
                      <a:pt x="719" y="654"/>
                      <a:pt x="719" y="654"/>
                      <a:pt x="719" y="654"/>
                    </a:cubicBezTo>
                    <a:cubicBezTo>
                      <a:pt x="722" y="653"/>
                      <a:pt x="722" y="653"/>
                      <a:pt x="722" y="653"/>
                    </a:cubicBezTo>
                    <a:cubicBezTo>
                      <a:pt x="722" y="651"/>
                      <a:pt x="722" y="651"/>
                      <a:pt x="722" y="651"/>
                    </a:cubicBezTo>
                    <a:cubicBezTo>
                      <a:pt x="720" y="651"/>
                      <a:pt x="720" y="651"/>
                      <a:pt x="720" y="651"/>
                    </a:cubicBezTo>
                    <a:cubicBezTo>
                      <a:pt x="720" y="652"/>
                      <a:pt x="720" y="652"/>
                      <a:pt x="720" y="652"/>
                    </a:cubicBezTo>
                    <a:cubicBezTo>
                      <a:pt x="719" y="653"/>
                      <a:pt x="719" y="653"/>
                      <a:pt x="719" y="653"/>
                    </a:cubicBezTo>
                    <a:close/>
                    <a:moveTo>
                      <a:pt x="712" y="638"/>
                    </a:moveTo>
                    <a:cubicBezTo>
                      <a:pt x="711" y="639"/>
                      <a:pt x="711" y="639"/>
                      <a:pt x="711" y="639"/>
                    </a:cubicBezTo>
                    <a:cubicBezTo>
                      <a:pt x="712" y="640"/>
                      <a:pt x="712" y="640"/>
                      <a:pt x="712" y="640"/>
                    </a:cubicBezTo>
                    <a:cubicBezTo>
                      <a:pt x="713" y="642"/>
                      <a:pt x="713" y="642"/>
                      <a:pt x="713" y="642"/>
                    </a:cubicBezTo>
                    <a:cubicBezTo>
                      <a:pt x="712" y="642"/>
                      <a:pt x="712" y="642"/>
                      <a:pt x="712" y="642"/>
                    </a:cubicBezTo>
                    <a:cubicBezTo>
                      <a:pt x="713" y="643"/>
                      <a:pt x="713" y="643"/>
                      <a:pt x="713" y="643"/>
                    </a:cubicBezTo>
                    <a:cubicBezTo>
                      <a:pt x="714" y="643"/>
                      <a:pt x="714" y="643"/>
                      <a:pt x="714" y="643"/>
                    </a:cubicBezTo>
                    <a:cubicBezTo>
                      <a:pt x="714" y="642"/>
                      <a:pt x="714" y="642"/>
                      <a:pt x="714" y="642"/>
                    </a:cubicBezTo>
                    <a:cubicBezTo>
                      <a:pt x="713" y="640"/>
                      <a:pt x="713" y="640"/>
                      <a:pt x="713" y="640"/>
                    </a:cubicBezTo>
                    <a:cubicBezTo>
                      <a:pt x="713" y="639"/>
                      <a:pt x="713" y="639"/>
                      <a:pt x="713" y="639"/>
                    </a:cubicBezTo>
                    <a:cubicBezTo>
                      <a:pt x="712" y="638"/>
                      <a:pt x="712" y="638"/>
                      <a:pt x="712" y="638"/>
                    </a:cubicBezTo>
                    <a:close/>
                    <a:moveTo>
                      <a:pt x="706" y="634"/>
                    </a:moveTo>
                    <a:cubicBezTo>
                      <a:pt x="708" y="634"/>
                      <a:pt x="708" y="634"/>
                      <a:pt x="708" y="634"/>
                    </a:cubicBezTo>
                    <a:cubicBezTo>
                      <a:pt x="706" y="633"/>
                      <a:pt x="706" y="633"/>
                      <a:pt x="706" y="633"/>
                    </a:cubicBezTo>
                    <a:cubicBezTo>
                      <a:pt x="706" y="634"/>
                      <a:pt x="706" y="634"/>
                      <a:pt x="706" y="634"/>
                    </a:cubicBezTo>
                    <a:close/>
                    <a:moveTo>
                      <a:pt x="709" y="635"/>
                    </a:moveTo>
                    <a:cubicBezTo>
                      <a:pt x="708" y="636"/>
                      <a:pt x="708" y="636"/>
                      <a:pt x="708" y="636"/>
                    </a:cubicBezTo>
                    <a:cubicBezTo>
                      <a:pt x="708" y="637"/>
                      <a:pt x="708" y="637"/>
                      <a:pt x="708" y="637"/>
                    </a:cubicBezTo>
                    <a:cubicBezTo>
                      <a:pt x="709" y="637"/>
                      <a:pt x="709" y="637"/>
                      <a:pt x="709" y="637"/>
                    </a:cubicBezTo>
                    <a:cubicBezTo>
                      <a:pt x="709" y="635"/>
                      <a:pt x="709" y="635"/>
                      <a:pt x="709" y="635"/>
                    </a:cubicBezTo>
                    <a:close/>
                    <a:moveTo>
                      <a:pt x="721" y="166"/>
                    </a:moveTo>
                    <a:cubicBezTo>
                      <a:pt x="721" y="166"/>
                      <a:pt x="721" y="166"/>
                      <a:pt x="721" y="167"/>
                    </a:cubicBezTo>
                    <a:cubicBezTo>
                      <a:pt x="721" y="167"/>
                      <a:pt x="721" y="167"/>
                      <a:pt x="722" y="166"/>
                    </a:cubicBezTo>
                    <a:cubicBezTo>
                      <a:pt x="722" y="166"/>
                      <a:pt x="722" y="166"/>
                      <a:pt x="721" y="166"/>
                    </a:cubicBezTo>
                    <a:close/>
                    <a:moveTo>
                      <a:pt x="806" y="35"/>
                    </a:moveTo>
                    <a:cubicBezTo>
                      <a:pt x="806" y="35"/>
                      <a:pt x="806" y="35"/>
                      <a:pt x="806" y="34"/>
                    </a:cubicBezTo>
                    <a:cubicBezTo>
                      <a:pt x="806" y="34"/>
                      <a:pt x="806" y="34"/>
                      <a:pt x="805" y="34"/>
                    </a:cubicBezTo>
                    <a:cubicBezTo>
                      <a:pt x="805" y="34"/>
                      <a:pt x="805" y="34"/>
                      <a:pt x="804" y="34"/>
                    </a:cubicBezTo>
                    <a:cubicBezTo>
                      <a:pt x="804" y="34"/>
                      <a:pt x="804" y="34"/>
                      <a:pt x="805" y="35"/>
                    </a:cubicBezTo>
                    <a:cubicBezTo>
                      <a:pt x="805" y="35"/>
                      <a:pt x="805" y="35"/>
                      <a:pt x="806" y="35"/>
                    </a:cubicBezTo>
                    <a:close/>
                    <a:moveTo>
                      <a:pt x="721" y="164"/>
                    </a:moveTo>
                    <a:cubicBezTo>
                      <a:pt x="720" y="165"/>
                      <a:pt x="720" y="165"/>
                      <a:pt x="720" y="165"/>
                    </a:cubicBezTo>
                    <a:cubicBezTo>
                      <a:pt x="720" y="166"/>
                      <a:pt x="720" y="166"/>
                      <a:pt x="720" y="166"/>
                    </a:cubicBezTo>
                    <a:cubicBezTo>
                      <a:pt x="721" y="166"/>
                      <a:pt x="721" y="166"/>
                      <a:pt x="721" y="166"/>
                    </a:cubicBezTo>
                    <a:cubicBezTo>
                      <a:pt x="722" y="164"/>
                      <a:pt x="722" y="164"/>
                      <a:pt x="722" y="164"/>
                    </a:cubicBezTo>
                    <a:cubicBezTo>
                      <a:pt x="721" y="164"/>
                      <a:pt x="721" y="164"/>
                      <a:pt x="721" y="164"/>
                    </a:cubicBezTo>
                    <a:close/>
                    <a:moveTo>
                      <a:pt x="737" y="241"/>
                    </a:moveTo>
                    <a:cubicBezTo>
                      <a:pt x="737" y="241"/>
                      <a:pt x="737" y="241"/>
                      <a:pt x="737" y="243"/>
                    </a:cubicBezTo>
                    <a:cubicBezTo>
                      <a:pt x="737" y="243"/>
                      <a:pt x="737" y="243"/>
                      <a:pt x="737" y="244"/>
                    </a:cubicBezTo>
                    <a:cubicBezTo>
                      <a:pt x="737" y="245"/>
                      <a:pt x="737" y="245"/>
                      <a:pt x="737" y="245"/>
                    </a:cubicBezTo>
                    <a:cubicBezTo>
                      <a:pt x="737" y="246"/>
                      <a:pt x="737" y="246"/>
                      <a:pt x="737" y="246"/>
                    </a:cubicBezTo>
                    <a:cubicBezTo>
                      <a:pt x="738" y="246"/>
                      <a:pt x="738" y="246"/>
                      <a:pt x="738" y="246"/>
                    </a:cubicBezTo>
                    <a:cubicBezTo>
                      <a:pt x="739" y="245"/>
                      <a:pt x="739" y="245"/>
                      <a:pt x="739" y="245"/>
                    </a:cubicBezTo>
                    <a:cubicBezTo>
                      <a:pt x="739" y="244"/>
                      <a:pt x="739" y="244"/>
                      <a:pt x="739" y="244"/>
                    </a:cubicBezTo>
                    <a:cubicBezTo>
                      <a:pt x="739" y="244"/>
                      <a:pt x="739" y="244"/>
                      <a:pt x="740" y="244"/>
                    </a:cubicBezTo>
                    <a:cubicBezTo>
                      <a:pt x="740" y="244"/>
                      <a:pt x="740" y="244"/>
                      <a:pt x="740" y="242"/>
                    </a:cubicBezTo>
                    <a:cubicBezTo>
                      <a:pt x="740" y="242"/>
                      <a:pt x="740" y="242"/>
                      <a:pt x="740" y="241"/>
                    </a:cubicBezTo>
                    <a:cubicBezTo>
                      <a:pt x="740" y="241"/>
                      <a:pt x="740" y="241"/>
                      <a:pt x="740" y="240"/>
                    </a:cubicBezTo>
                    <a:cubicBezTo>
                      <a:pt x="740" y="240"/>
                      <a:pt x="740" y="240"/>
                      <a:pt x="740" y="239"/>
                    </a:cubicBezTo>
                    <a:cubicBezTo>
                      <a:pt x="740" y="239"/>
                      <a:pt x="740" y="239"/>
                      <a:pt x="739" y="240"/>
                    </a:cubicBezTo>
                    <a:cubicBezTo>
                      <a:pt x="739" y="240"/>
                      <a:pt x="739" y="240"/>
                      <a:pt x="737" y="241"/>
                    </a:cubicBezTo>
                    <a:close/>
                    <a:moveTo>
                      <a:pt x="742" y="172"/>
                    </a:moveTo>
                    <a:cubicBezTo>
                      <a:pt x="742" y="172"/>
                      <a:pt x="742" y="172"/>
                      <a:pt x="744" y="170"/>
                    </a:cubicBezTo>
                    <a:cubicBezTo>
                      <a:pt x="744" y="170"/>
                      <a:pt x="744" y="170"/>
                      <a:pt x="745" y="169"/>
                    </a:cubicBezTo>
                    <a:cubicBezTo>
                      <a:pt x="745" y="169"/>
                      <a:pt x="745" y="169"/>
                      <a:pt x="747" y="167"/>
                    </a:cubicBezTo>
                    <a:cubicBezTo>
                      <a:pt x="747" y="167"/>
                      <a:pt x="747" y="167"/>
                      <a:pt x="748" y="166"/>
                    </a:cubicBezTo>
                    <a:cubicBezTo>
                      <a:pt x="748" y="166"/>
                      <a:pt x="748" y="166"/>
                      <a:pt x="747" y="166"/>
                    </a:cubicBezTo>
                    <a:cubicBezTo>
                      <a:pt x="747" y="166"/>
                      <a:pt x="747" y="166"/>
                      <a:pt x="748" y="165"/>
                    </a:cubicBezTo>
                    <a:cubicBezTo>
                      <a:pt x="748" y="165"/>
                      <a:pt x="748" y="165"/>
                      <a:pt x="749" y="165"/>
                    </a:cubicBezTo>
                    <a:cubicBezTo>
                      <a:pt x="749" y="165"/>
                      <a:pt x="749" y="165"/>
                      <a:pt x="750" y="164"/>
                    </a:cubicBezTo>
                    <a:cubicBezTo>
                      <a:pt x="750" y="164"/>
                      <a:pt x="750" y="164"/>
                      <a:pt x="753" y="162"/>
                    </a:cubicBezTo>
                    <a:cubicBezTo>
                      <a:pt x="753" y="162"/>
                      <a:pt x="753" y="162"/>
                      <a:pt x="753" y="161"/>
                    </a:cubicBezTo>
                    <a:cubicBezTo>
                      <a:pt x="753" y="161"/>
                      <a:pt x="753" y="161"/>
                      <a:pt x="754" y="161"/>
                    </a:cubicBezTo>
                    <a:cubicBezTo>
                      <a:pt x="754" y="161"/>
                      <a:pt x="754" y="161"/>
                      <a:pt x="755" y="159"/>
                    </a:cubicBezTo>
                    <a:cubicBezTo>
                      <a:pt x="755" y="159"/>
                      <a:pt x="755" y="159"/>
                      <a:pt x="757" y="158"/>
                    </a:cubicBezTo>
                    <a:cubicBezTo>
                      <a:pt x="757" y="158"/>
                      <a:pt x="757" y="158"/>
                      <a:pt x="757" y="156"/>
                    </a:cubicBezTo>
                    <a:cubicBezTo>
                      <a:pt x="757" y="156"/>
                      <a:pt x="757" y="156"/>
                      <a:pt x="758" y="156"/>
                    </a:cubicBezTo>
                    <a:cubicBezTo>
                      <a:pt x="758" y="156"/>
                      <a:pt x="758" y="156"/>
                      <a:pt x="757" y="155"/>
                    </a:cubicBezTo>
                    <a:cubicBezTo>
                      <a:pt x="757" y="155"/>
                      <a:pt x="757" y="155"/>
                      <a:pt x="757" y="154"/>
                    </a:cubicBezTo>
                    <a:cubicBezTo>
                      <a:pt x="757" y="154"/>
                      <a:pt x="757" y="154"/>
                      <a:pt x="756" y="153"/>
                    </a:cubicBezTo>
                    <a:cubicBezTo>
                      <a:pt x="756" y="153"/>
                      <a:pt x="756" y="153"/>
                      <a:pt x="753" y="153"/>
                    </a:cubicBezTo>
                    <a:cubicBezTo>
                      <a:pt x="753" y="153"/>
                      <a:pt x="753" y="153"/>
                      <a:pt x="751" y="153"/>
                    </a:cubicBezTo>
                    <a:cubicBezTo>
                      <a:pt x="751" y="153"/>
                      <a:pt x="751" y="153"/>
                      <a:pt x="750" y="153"/>
                    </a:cubicBezTo>
                    <a:cubicBezTo>
                      <a:pt x="750" y="153"/>
                      <a:pt x="750" y="153"/>
                      <a:pt x="750" y="152"/>
                    </a:cubicBezTo>
                    <a:cubicBezTo>
                      <a:pt x="750" y="152"/>
                      <a:pt x="750" y="152"/>
                      <a:pt x="749" y="150"/>
                    </a:cubicBezTo>
                    <a:cubicBezTo>
                      <a:pt x="749" y="150"/>
                      <a:pt x="749" y="150"/>
                      <a:pt x="748" y="150"/>
                    </a:cubicBezTo>
                    <a:cubicBezTo>
                      <a:pt x="748" y="150"/>
                      <a:pt x="748" y="150"/>
                      <a:pt x="747" y="150"/>
                    </a:cubicBezTo>
                    <a:cubicBezTo>
                      <a:pt x="747" y="150"/>
                      <a:pt x="747" y="150"/>
                      <a:pt x="746" y="148"/>
                    </a:cubicBezTo>
                    <a:cubicBezTo>
                      <a:pt x="746" y="148"/>
                      <a:pt x="746" y="148"/>
                      <a:pt x="745" y="148"/>
                    </a:cubicBezTo>
                    <a:cubicBezTo>
                      <a:pt x="745" y="148"/>
                      <a:pt x="745" y="148"/>
                      <a:pt x="744" y="149"/>
                    </a:cubicBezTo>
                    <a:cubicBezTo>
                      <a:pt x="744" y="149"/>
                      <a:pt x="744" y="149"/>
                      <a:pt x="743" y="148"/>
                    </a:cubicBezTo>
                    <a:cubicBezTo>
                      <a:pt x="743" y="148"/>
                      <a:pt x="743" y="148"/>
                      <a:pt x="742" y="148"/>
                    </a:cubicBezTo>
                    <a:cubicBezTo>
                      <a:pt x="742" y="148"/>
                      <a:pt x="742" y="148"/>
                      <a:pt x="741" y="148"/>
                    </a:cubicBezTo>
                    <a:cubicBezTo>
                      <a:pt x="741" y="148"/>
                      <a:pt x="741" y="148"/>
                      <a:pt x="739" y="148"/>
                    </a:cubicBezTo>
                    <a:cubicBezTo>
                      <a:pt x="739" y="148"/>
                      <a:pt x="739" y="148"/>
                      <a:pt x="736" y="149"/>
                    </a:cubicBezTo>
                    <a:cubicBezTo>
                      <a:pt x="736" y="149"/>
                      <a:pt x="736" y="149"/>
                      <a:pt x="735" y="150"/>
                    </a:cubicBezTo>
                    <a:cubicBezTo>
                      <a:pt x="735" y="150"/>
                      <a:pt x="735" y="150"/>
                      <a:pt x="736" y="152"/>
                    </a:cubicBezTo>
                    <a:cubicBezTo>
                      <a:pt x="736" y="152"/>
                      <a:pt x="736" y="152"/>
                      <a:pt x="735" y="152"/>
                    </a:cubicBezTo>
                    <a:cubicBezTo>
                      <a:pt x="735" y="152"/>
                      <a:pt x="735" y="152"/>
                      <a:pt x="736" y="154"/>
                    </a:cubicBezTo>
                    <a:cubicBezTo>
                      <a:pt x="736" y="154"/>
                      <a:pt x="736" y="154"/>
                      <a:pt x="736" y="155"/>
                    </a:cubicBezTo>
                    <a:cubicBezTo>
                      <a:pt x="736" y="155"/>
                      <a:pt x="736" y="155"/>
                      <a:pt x="735" y="155"/>
                    </a:cubicBezTo>
                    <a:cubicBezTo>
                      <a:pt x="735" y="155"/>
                      <a:pt x="735" y="155"/>
                      <a:pt x="734" y="154"/>
                    </a:cubicBezTo>
                    <a:cubicBezTo>
                      <a:pt x="734" y="154"/>
                      <a:pt x="734" y="154"/>
                      <a:pt x="733" y="152"/>
                    </a:cubicBezTo>
                    <a:cubicBezTo>
                      <a:pt x="733" y="152"/>
                      <a:pt x="733" y="152"/>
                      <a:pt x="732" y="153"/>
                    </a:cubicBezTo>
                    <a:cubicBezTo>
                      <a:pt x="732" y="153"/>
                      <a:pt x="732" y="153"/>
                      <a:pt x="732" y="154"/>
                    </a:cubicBezTo>
                    <a:cubicBezTo>
                      <a:pt x="732" y="154"/>
                      <a:pt x="732" y="154"/>
                      <a:pt x="732" y="155"/>
                    </a:cubicBezTo>
                    <a:cubicBezTo>
                      <a:pt x="732" y="155"/>
                      <a:pt x="732" y="155"/>
                      <a:pt x="731" y="155"/>
                    </a:cubicBezTo>
                    <a:cubicBezTo>
                      <a:pt x="731" y="155"/>
                      <a:pt x="731" y="155"/>
                      <a:pt x="731" y="157"/>
                    </a:cubicBezTo>
                    <a:cubicBezTo>
                      <a:pt x="731" y="157"/>
                      <a:pt x="731" y="157"/>
                      <a:pt x="729" y="158"/>
                    </a:cubicBezTo>
                    <a:cubicBezTo>
                      <a:pt x="729" y="158"/>
                      <a:pt x="729" y="158"/>
                      <a:pt x="729" y="160"/>
                    </a:cubicBezTo>
                    <a:cubicBezTo>
                      <a:pt x="729" y="160"/>
                      <a:pt x="729" y="160"/>
                      <a:pt x="728" y="160"/>
                    </a:cubicBezTo>
                    <a:cubicBezTo>
                      <a:pt x="728" y="160"/>
                      <a:pt x="728" y="160"/>
                      <a:pt x="728" y="162"/>
                    </a:cubicBezTo>
                    <a:cubicBezTo>
                      <a:pt x="728" y="162"/>
                      <a:pt x="728" y="162"/>
                      <a:pt x="727" y="163"/>
                    </a:cubicBezTo>
                    <a:cubicBezTo>
                      <a:pt x="727" y="163"/>
                      <a:pt x="727" y="163"/>
                      <a:pt x="727" y="164"/>
                    </a:cubicBezTo>
                    <a:cubicBezTo>
                      <a:pt x="727" y="164"/>
                      <a:pt x="727" y="164"/>
                      <a:pt x="726" y="164"/>
                    </a:cubicBezTo>
                    <a:cubicBezTo>
                      <a:pt x="726" y="164"/>
                      <a:pt x="726" y="164"/>
                      <a:pt x="725" y="167"/>
                    </a:cubicBezTo>
                    <a:cubicBezTo>
                      <a:pt x="725" y="167"/>
                      <a:pt x="725" y="167"/>
                      <a:pt x="725" y="168"/>
                    </a:cubicBezTo>
                    <a:cubicBezTo>
                      <a:pt x="725" y="168"/>
                      <a:pt x="725" y="168"/>
                      <a:pt x="724" y="169"/>
                    </a:cubicBezTo>
                    <a:cubicBezTo>
                      <a:pt x="724" y="169"/>
                      <a:pt x="724" y="169"/>
                      <a:pt x="725" y="170"/>
                    </a:cubicBezTo>
                    <a:cubicBezTo>
                      <a:pt x="725" y="170"/>
                      <a:pt x="725" y="170"/>
                      <a:pt x="725" y="171"/>
                    </a:cubicBezTo>
                    <a:cubicBezTo>
                      <a:pt x="725" y="171"/>
                      <a:pt x="725" y="171"/>
                      <a:pt x="724" y="171"/>
                    </a:cubicBezTo>
                    <a:cubicBezTo>
                      <a:pt x="724" y="171"/>
                      <a:pt x="724" y="171"/>
                      <a:pt x="724" y="172"/>
                    </a:cubicBezTo>
                    <a:cubicBezTo>
                      <a:pt x="724" y="172"/>
                      <a:pt x="724" y="172"/>
                      <a:pt x="724" y="174"/>
                    </a:cubicBezTo>
                    <a:cubicBezTo>
                      <a:pt x="724" y="174"/>
                      <a:pt x="724" y="174"/>
                      <a:pt x="722" y="176"/>
                    </a:cubicBezTo>
                    <a:cubicBezTo>
                      <a:pt x="722" y="176"/>
                      <a:pt x="722" y="176"/>
                      <a:pt x="723" y="177"/>
                    </a:cubicBezTo>
                    <a:cubicBezTo>
                      <a:pt x="723" y="177"/>
                      <a:pt x="723" y="177"/>
                      <a:pt x="724" y="177"/>
                    </a:cubicBezTo>
                    <a:cubicBezTo>
                      <a:pt x="724" y="177"/>
                      <a:pt x="724" y="177"/>
                      <a:pt x="723" y="178"/>
                    </a:cubicBezTo>
                    <a:cubicBezTo>
                      <a:pt x="723" y="178"/>
                      <a:pt x="723" y="178"/>
                      <a:pt x="723" y="177"/>
                    </a:cubicBezTo>
                    <a:cubicBezTo>
                      <a:pt x="723" y="177"/>
                      <a:pt x="723" y="177"/>
                      <a:pt x="722" y="178"/>
                    </a:cubicBezTo>
                    <a:cubicBezTo>
                      <a:pt x="722" y="178"/>
                      <a:pt x="722" y="178"/>
                      <a:pt x="721" y="179"/>
                    </a:cubicBezTo>
                    <a:cubicBezTo>
                      <a:pt x="721" y="179"/>
                      <a:pt x="721" y="179"/>
                      <a:pt x="723" y="179"/>
                    </a:cubicBezTo>
                    <a:cubicBezTo>
                      <a:pt x="723" y="179"/>
                      <a:pt x="723" y="179"/>
                      <a:pt x="724" y="179"/>
                    </a:cubicBezTo>
                    <a:cubicBezTo>
                      <a:pt x="724" y="179"/>
                      <a:pt x="724" y="179"/>
                      <a:pt x="726" y="181"/>
                    </a:cubicBezTo>
                    <a:cubicBezTo>
                      <a:pt x="726" y="180"/>
                      <a:pt x="726" y="180"/>
                      <a:pt x="726" y="180"/>
                    </a:cubicBezTo>
                    <a:cubicBezTo>
                      <a:pt x="726" y="180"/>
                      <a:pt x="726" y="180"/>
                      <a:pt x="726" y="179"/>
                    </a:cubicBezTo>
                    <a:cubicBezTo>
                      <a:pt x="726" y="179"/>
                      <a:pt x="726" y="179"/>
                      <a:pt x="727" y="179"/>
                    </a:cubicBezTo>
                    <a:cubicBezTo>
                      <a:pt x="727" y="179"/>
                      <a:pt x="727" y="179"/>
                      <a:pt x="728" y="178"/>
                    </a:cubicBezTo>
                    <a:cubicBezTo>
                      <a:pt x="728" y="178"/>
                      <a:pt x="728" y="178"/>
                      <a:pt x="729" y="177"/>
                    </a:cubicBezTo>
                    <a:cubicBezTo>
                      <a:pt x="729" y="177"/>
                      <a:pt x="729" y="177"/>
                      <a:pt x="729" y="176"/>
                    </a:cubicBezTo>
                    <a:cubicBezTo>
                      <a:pt x="729" y="176"/>
                      <a:pt x="729" y="176"/>
                      <a:pt x="731" y="176"/>
                    </a:cubicBezTo>
                    <a:cubicBezTo>
                      <a:pt x="731" y="176"/>
                      <a:pt x="731" y="176"/>
                      <a:pt x="732" y="175"/>
                    </a:cubicBezTo>
                    <a:cubicBezTo>
                      <a:pt x="732" y="175"/>
                      <a:pt x="732" y="175"/>
                      <a:pt x="733" y="174"/>
                    </a:cubicBezTo>
                    <a:cubicBezTo>
                      <a:pt x="733" y="174"/>
                      <a:pt x="733" y="174"/>
                      <a:pt x="733" y="173"/>
                    </a:cubicBezTo>
                    <a:cubicBezTo>
                      <a:pt x="733" y="173"/>
                      <a:pt x="733" y="173"/>
                      <a:pt x="732" y="172"/>
                    </a:cubicBezTo>
                    <a:cubicBezTo>
                      <a:pt x="732" y="172"/>
                      <a:pt x="732" y="172"/>
                      <a:pt x="733" y="171"/>
                    </a:cubicBezTo>
                    <a:cubicBezTo>
                      <a:pt x="733" y="171"/>
                      <a:pt x="733" y="171"/>
                      <a:pt x="733" y="170"/>
                    </a:cubicBezTo>
                    <a:cubicBezTo>
                      <a:pt x="733" y="170"/>
                      <a:pt x="733" y="170"/>
                      <a:pt x="731" y="170"/>
                    </a:cubicBezTo>
                    <a:cubicBezTo>
                      <a:pt x="731" y="170"/>
                      <a:pt x="731" y="170"/>
                      <a:pt x="730" y="169"/>
                    </a:cubicBezTo>
                    <a:cubicBezTo>
                      <a:pt x="730" y="169"/>
                      <a:pt x="730" y="169"/>
                      <a:pt x="731" y="169"/>
                    </a:cubicBezTo>
                    <a:cubicBezTo>
                      <a:pt x="731" y="169"/>
                      <a:pt x="731" y="169"/>
                      <a:pt x="732" y="169"/>
                    </a:cubicBezTo>
                    <a:cubicBezTo>
                      <a:pt x="732" y="169"/>
                      <a:pt x="732" y="169"/>
                      <a:pt x="734" y="169"/>
                    </a:cubicBezTo>
                    <a:cubicBezTo>
                      <a:pt x="734" y="169"/>
                      <a:pt x="734" y="169"/>
                      <a:pt x="735" y="169"/>
                    </a:cubicBezTo>
                    <a:cubicBezTo>
                      <a:pt x="735" y="169"/>
                      <a:pt x="735" y="169"/>
                      <a:pt x="736" y="169"/>
                    </a:cubicBezTo>
                    <a:cubicBezTo>
                      <a:pt x="736" y="169"/>
                      <a:pt x="736" y="169"/>
                      <a:pt x="737" y="170"/>
                    </a:cubicBezTo>
                    <a:cubicBezTo>
                      <a:pt x="737" y="170"/>
                      <a:pt x="737" y="170"/>
                      <a:pt x="738" y="172"/>
                    </a:cubicBezTo>
                    <a:cubicBezTo>
                      <a:pt x="738" y="172"/>
                      <a:pt x="738" y="172"/>
                      <a:pt x="739" y="172"/>
                    </a:cubicBezTo>
                    <a:cubicBezTo>
                      <a:pt x="739" y="172"/>
                      <a:pt x="739" y="172"/>
                      <a:pt x="740" y="173"/>
                    </a:cubicBezTo>
                    <a:cubicBezTo>
                      <a:pt x="740" y="173"/>
                      <a:pt x="740" y="173"/>
                      <a:pt x="742" y="172"/>
                    </a:cubicBezTo>
                    <a:close/>
                    <a:moveTo>
                      <a:pt x="782" y="226"/>
                    </a:moveTo>
                    <a:cubicBezTo>
                      <a:pt x="781" y="225"/>
                      <a:pt x="781" y="225"/>
                      <a:pt x="781" y="225"/>
                    </a:cubicBezTo>
                    <a:cubicBezTo>
                      <a:pt x="779" y="225"/>
                      <a:pt x="779" y="225"/>
                      <a:pt x="779" y="225"/>
                    </a:cubicBezTo>
                    <a:cubicBezTo>
                      <a:pt x="778" y="226"/>
                      <a:pt x="778" y="226"/>
                      <a:pt x="778" y="226"/>
                    </a:cubicBezTo>
                    <a:cubicBezTo>
                      <a:pt x="779" y="226"/>
                      <a:pt x="779" y="226"/>
                      <a:pt x="779" y="226"/>
                    </a:cubicBezTo>
                    <a:cubicBezTo>
                      <a:pt x="780" y="227"/>
                      <a:pt x="780" y="227"/>
                      <a:pt x="780" y="227"/>
                    </a:cubicBezTo>
                    <a:cubicBezTo>
                      <a:pt x="780" y="228"/>
                      <a:pt x="780" y="228"/>
                      <a:pt x="780" y="228"/>
                    </a:cubicBezTo>
                    <a:cubicBezTo>
                      <a:pt x="780" y="229"/>
                      <a:pt x="780" y="229"/>
                      <a:pt x="780" y="229"/>
                    </a:cubicBezTo>
                    <a:cubicBezTo>
                      <a:pt x="781" y="228"/>
                      <a:pt x="781" y="228"/>
                      <a:pt x="781" y="228"/>
                    </a:cubicBezTo>
                    <a:cubicBezTo>
                      <a:pt x="781" y="227"/>
                      <a:pt x="781" y="227"/>
                      <a:pt x="781" y="227"/>
                    </a:cubicBezTo>
                    <a:cubicBezTo>
                      <a:pt x="782" y="228"/>
                      <a:pt x="782" y="228"/>
                      <a:pt x="782" y="228"/>
                    </a:cubicBezTo>
                    <a:cubicBezTo>
                      <a:pt x="783" y="227"/>
                      <a:pt x="783" y="227"/>
                      <a:pt x="783" y="227"/>
                    </a:cubicBezTo>
                    <a:cubicBezTo>
                      <a:pt x="783" y="228"/>
                      <a:pt x="783" y="228"/>
                      <a:pt x="783" y="228"/>
                    </a:cubicBezTo>
                    <a:cubicBezTo>
                      <a:pt x="784" y="227"/>
                      <a:pt x="784" y="227"/>
                      <a:pt x="784" y="227"/>
                    </a:cubicBezTo>
                    <a:cubicBezTo>
                      <a:pt x="783" y="226"/>
                      <a:pt x="783" y="226"/>
                      <a:pt x="783" y="226"/>
                    </a:cubicBezTo>
                    <a:cubicBezTo>
                      <a:pt x="782" y="226"/>
                      <a:pt x="782" y="226"/>
                      <a:pt x="782" y="226"/>
                    </a:cubicBezTo>
                    <a:close/>
                    <a:moveTo>
                      <a:pt x="751" y="217"/>
                    </a:moveTo>
                    <a:cubicBezTo>
                      <a:pt x="751" y="217"/>
                      <a:pt x="751" y="217"/>
                      <a:pt x="751" y="216"/>
                    </a:cubicBezTo>
                    <a:cubicBezTo>
                      <a:pt x="751" y="216"/>
                      <a:pt x="751" y="216"/>
                      <a:pt x="750" y="215"/>
                    </a:cubicBezTo>
                    <a:cubicBezTo>
                      <a:pt x="750" y="215"/>
                      <a:pt x="750" y="215"/>
                      <a:pt x="749" y="215"/>
                    </a:cubicBezTo>
                    <a:cubicBezTo>
                      <a:pt x="749" y="215"/>
                      <a:pt x="749" y="215"/>
                      <a:pt x="748" y="214"/>
                    </a:cubicBezTo>
                    <a:cubicBezTo>
                      <a:pt x="748" y="214"/>
                      <a:pt x="748" y="214"/>
                      <a:pt x="748" y="215"/>
                    </a:cubicBezTo>
                    <a:cubicBezTo>
                      <a:pt x="748" y="215"/>
                      <a:pt x="748" y="215"/>
                      <a:pt x="746" y="215"/>
                    </a:cubicBezTo>
                    <a:cubicBezTo>
                      <a:pt x="746" y="215"/>
                      <a:pt x="746" y="215"/>
                      <a:pt x="747" y="216"/>
                    </a:cubicBezTo>
                    <a:cubicBezTo>
                      <a:pt x="747" y="216"/>
                      <a:pt x="747" y="216"/>
                      <a:pt x="747" y="217"/>
                    </a:cubicBezTo>
                    <a:cubicBezTo>
                      <a:pt x="747" y="217"/>
                      <a:pt x="747" y="217"/>
                      <a:pt x="748" y="217"/>
                    </a:cubicBezTo>
                    <a:cubicBezTo>
                      <a:pt x="748" y="217"/>
                      <a:pt x="748" y="217"/>
                      <a:pt x="748" y="216"/>
                    </a:cubicBezTo>
                    <a:cubicBezTo>
                      <a:pt x="748" y="216"/>
                      <a:pt x="748" y="216"/>
                      <a:pt x="749" y="217"/>
                    </a:cubicBezTo>
                    <a:cubicBezTo>
                      <a:pt x="749" y="217"/>
                      <a:pt x="749" y="217"/>
                      <a:pt x="750" y="217"/>
                    </a:cubicBezTo>
                    <a:cubicBezTo>
                      <a:pt x="750" y="217"/>
                      <a:pt x="750" y="217"/>
                      <a:pt x="750" y="218"/>
                    </a:cubicBezTo>
                    <a:lnTo>
                      <a:pt x="751" y="217"/>
                    </a:lnTo>
                    <a:close/>
                    <a:moveTo>
                      <a:pt x="782" y="242"/>
                    </a:moveTo>
                    <a:cubicBezTo>
                      <a:pt x="782" y="242"/>
                      <a:pt x="782" y="242"/>
                      <a:pt x="782" y="243"/>
                    </a:cubicBezTo>
                    <a:cubicBezTo>
                      <a:pt x="782" y="243"/>
                      <a:pt x="782" y="243"/>
                      <a:pt x="782" y="244"/>
                    </a:cubicBezTo>
                    <a:cubicBezTo>
                      <a:pt x="782" y="244"/>
                      <a:pt x="782" y="244"/>
                      <a:pt x="783" y="243"/>
                    </a:cubicBezTo>
                    <a:cubicBezTo>
                      <a:pt x="783" y="243"/>
                      <a:pt x="783" y="243"/>
                      <a:pt x="783" y="242"/>
                    </a:cubicBezTo>
                    <a:cubicBezTo>
                      <a:pt x="783" y="242"/>
                      <a:pt x="783" y="242"/>
                      <a:pt x="782" y="241"/>
                    </a:cubicBezTo>
                    <a:cubicBezTo>
                      <a:pt x="782" y="241"/>
                      <a:pt x="782" y="241"/>
                      <a:pt x="782" y="242"/>
                    </a:cubicBezTo>
                    <a:close/>
                    <a:moveTo>
                      <a:pt x="795" y="237"/>
                    </a:moveTo>
                    <a:cubicBezTo>
                      <a:pt x="795" y="237"/>
                      <a:pt x="795" y="237"/>
                      <a:pt x="796" y="236"/>
                    </a:cubicBezTo>
                    <a:cubicBezTo>
                      <a:pt x="796" y="236"/>
                      <a:pt x="796" y="236"/>
                      <a:pt x="796" y="235"/>
                    </a:cubicBezTo>
                    <a:cubicBezTo>
                      <a:pt x="796" y="235"/>
                      <a:pt x="796" y="235"/>
                      <a:pt x="796" y="234"/>
                    </a:cubicBezTo>
                    <a:cubicBezTo>
                      <a:pt x="796" y="234"/>
                      <a:pt x="796" y="234"/>
                      <a:pt x="795" y="234"/>
                    </a:cubicBezTo>
                    <a:cubicBezTo>
                      <a:pt x="795" y="234"/>
                      <a:pt x="795" y="234"/>
                      <a:pt x="794" y="234"/>
                    </a:cubicBezTo>
                    <a:cubicBezTo>
                      <a:pt x="794" y="234"/>
                      <a:pt x="794" y="234"/>
                      <a:pt x="793" y="235"/>
                    </a:cubicBezTo>
                    <a:cubicBezTo>
                      <a:pt x="793" y="235"/>
                      <a:pt x="793" y="235"/>
                      <a:pt x="793" y="236"/>
                    </a:cubicBezTo>
                    <a:cubicBezTo>
                      <a:pt x="793" y="236"/>
                      <a:pt x="793" y="236"/>
                      <a:pt x="793" y="237"/>
                    </a:cubicBezTo>
                    <a:cubicBezTo>
                      <a:pt x="793" y="237"/>
                      <a:pt x="793" y="237"/>
                      <a:pt x="794" y="238"/>
                    </a:cubicBezTo>
                    <a:cubicBezTo>
                      <a:pt x="794" y="238"/>
                      <a:pt x="794" y="238"/>
                      <a:pt x="795" y="237"/>
                    </a:cubicBezTo>
                    <a:close/>
                    <a:moveTo>
                      <a:pt x="782" y="42"/>
                    </a:moveTo>
                    <a:cubicBezTo>
                      <a:pt x="782" y="44"/>
                      <a:pt x="782" y="44"/>
                      <a:pt x="782" y="44"/>
                    </a:cubicBezTo>
                    <a:cubicBezTo>
                      <a:pt x="781" y="45"/>
                      <a:pt x="781" y="45"/>
                      <a:pt x="781" y="45"/>
                    </a:cubicBezTo>
                    <a:cubicBezTo>
                      <a:pt x="781" y="46"/>
                      <a:pt x="781" y="46"/>
                      <a:pt x="781" y="46"/>
                    </a:cubicBezTo>
                    <a:cubicBezTo>
                      <a:pt x="781" y="47"/>
                      <a:pt x="781" y="47"/>
                      <a:pt x="781" y="47"/>
                    </a:cubicBezTo>
                    <a:cubicBezTo>
                      <a:pt x="783" y="46"/>
                      <a:pt x="783" y="46"/>
                      <a:pt x="783" y="46"/>
                    </a:cubicBezTo>
                    <a:cubicBezTo>
                      <a:pt x="784" y="44"/>
                      <a:pt x="784" y="44"/>
                      <a:pt x="784" y="44"/>
                    </a:cubicBezTo>
                    <a:cubicBezTo>
                      <a:pt x="784" y="43"/>
                      <a:pt x="784" y="43"/>
                      <a:pt x="784" y="43"/>
                    </a:cubicBezTo>
                    <a:cubicBezTo>
                      <a:pt x="785" y="42"/>
                      <a:pt x="785" y="42"/>
                      <a:pt x="785" y="42"/>
                    </a:cubicBezTo>
                    <a:cubicBezTo>
                      <a:pt x="786" y="40"/>
                      <a:pt x="786" y="40"/>
                      <a:pt x="786" y="40"/>
                    </a:cubicBezTo>
                    <a:cubicBezTo>
                      <a:pt x="786" y="39"/>
                      <a:pt x="786" y="39"/>
                      <a:pt x="786" y="39"/>
                    </a:cubicBezTo>
                    <a:cubicBezTo>
                      <a:pt x="784" y="39"/>
                      <a:pt x="784" y="39"/>
                      <a:pt x="784" y="39"/>
                    </a:cubicBezTo>
                    <a:cubicBezTo>
                      <a:pt x="783" y="39"/>
                      <a:pt x="783" y="39"/>
                      <a:pt x="783" y="39"/>
                    </a:cubicBezTo>
                    <a:cubicBezTo>
                      <a:pt x="784" y="38"/>
                      <a:pt x="784" y="38"/>
                      <a:pt x="784" y="38"/>
                    </a:cubicBezTo>
                    <a:cubicBezTo>
                      <a:pt x="783" y="38"/>
                      <a:pt x="783" y="38"/>
                      <a:pt x="783" y="38"/>
                    </a:cubicBezTo>
                    <a:cubicBezTo>
                      <a:pt x="782" y="39"/>
                      <a:pt x="782" y="39"/>
                      <a:pt x="782" y="39"/>
                    </a:cubicBezTo>
                    <a:cubicBezTo>
                      <a:pt x="780" y="40"/>
                      <a:pt x="780" y="40"/>
                      <a:pt x="780" y="40"/>
                    </a:cubicBezTo>
                    <a:cubicBezTo>
                      <a:pt x="780" y="41"/>
                      <a:pt x="780" y="41"/>
                      <a:pt x="780" y="41"/>
                    </a:cubicBezTo>
                    <a:cubicBezTo>
                      <a:pt x="779" y="41"/>
                      <a:pt x="779" y="41"/>
                      <a:pt x="779" y="41"/>
                    </a:cubicBezTo>
                    <a:cubicBezTo>
                      <a:pt x="779" y="42"/>
                      <a:pt x="779" y="42"/>
                      <a:pt x="779" y="42"/>
                    </a:cubicBezTo>
                    <a:cubicBezTo>
                      <a:pt x="781" y="43"/>
                      <a:pt x="781" y="43"/>
                      <a:pt x="781" y="43"/>
                    </a:cubicBezTo>
                    <a:cubicBezTo>
                      <a:pt x="782" y="42"/>
                      <a:pt x="782" y="42"/>
                      <a:pt x="782" y="42"/>
                    </a:cubicBezTo>
                    <a:close/>
                    <a:moveTo>
                      <a:pt x="792" y="248"/>
                    </a:moveTo>
                    <a:cubicBezTo>
                      <a:pt x="792" y="248"/>
                      <a:pt x="792" y="248"/>
                      <a:pt x="791" y="248"/>
                    </a:cubicBezTo>
                    <a:cubicBezTo>
                      <a:pt x="791" y="248"/>
                      <a:pt x="791" y="248"/>
                      <a:pt x="789" y="251"/>
                    </a:cubicBezTo>
                    <a:cubicBezTo>
                      <a:pt x="789" y="251"/>
                      <a:pt x="789" y="251"/>
                      <a:pt x="788" y="252"/>
                    </a:cubicBezTo>
                    <a:cubicBezTo>
                      <a:pt x="788" y="252"/>
                      <a:pt x="788" y="252"/>
                      <a:pt x="787" y="253"/>
                    </a:cubicBezTo>
                    <a:cubicBezTo>
                      <a:pt x="787" y="253"/>
                      <a:pt x="787" y="253"/>
                      <a:pt x="785" y="255"/>
                    </a:cubicBezTo>
                    <a:cubicBezTo>
                      <a:pt x="785" y="255"/>
                      <a:pt x="785" y="255"/>
                      <a:pt x="785" y="256"/>
                    </a:cubicBezTo>
                    <a:cubicBezTo>
                      <a:pt x="785" y="256"/>
                      <a:pt x="785" y="256"/>
                      <a:pt x="785" y="257"/>
                    </a:cubicBezTo>
                    <a:cubicBezTo>
                      <a:pt x="785" y="257"/>
                      <a:pt x="785" y="257"/>
                      <a:pt x="786" y="258"/>
                    </a:cubicBezTo>
                    <a:cubicBezTo>
                      <a:pt x="786" y="258"/>
                      <a:pt x="786" y="258"/>
                      <a:pt x="785" y="259"/>
                    </a:cubicBezTo>
                    <a:cubicBezTo>
                      <a:pt x="785" y="259"/>
                      <a:pt x="785" y="259"/>
                      <a:pt x="785" y="260"/>
                    </a:cubicBezTo>
                    <a:cubicBezTo>
                      <a:pt x="785" y="260"/>
                      <a:pt x="785" y="260"/>
                      <a:pt x="786" y="260"/>
                    </a:cubicBezTo>
                    <a:cubicBezTo>
                      <a:pt x="786" y="260"/>
                      <a:pt x="786" y="260"/>
                      <a:pt x="787" y="260"/>
                    </a:cubicBezTo>
                    <a:cubicBezTo>
                      <a:pt x="787" y="260"/>
                      <a:pt x="787" y="260"/>
                      <a:pt x="789" y="260"/>
                    </a:cubicBezTo>
                    <a:cubicBezTo>
                      <a:pt x="789" y="260"/>
                      <a:pt x="789" y="260"/>
                      <a:pt x="790" y="260"/>
                    </a:cubicBezTo>
                    <a:cubicBezTo>
                      <a:pt x="790" y="260"/>
                      <a:pt x="790" y="260"/>
                      <a:pt x="791" y="260"/>
                    </a:cubicBezTo>
                    <a:cubicBezTo>
                      <a:pt x="791" y="260"/>
                      <a:pt x="791" y="260"/>
                      <a:pt x="792" y="259"/>
                    </a:cubicBezTo>
                    <a:cubicBezTo>
                      <a:pt x="792" y="259"/>
                      <a:pt x="792" y="259"/>
                      <a:pt x="794" y="258"/>
                    </a:cubicBezTo>
                    <a:cubicBezTo>
                      <a:pt x="794" y="258"/>
                      <a:pt x="794" y="258"/>
                      <a:pt x="795" y="258"/>
                    </a:cubicBezTo>
                    <a:cubicBezTo>
                      <a:pt x="795" y="258"/>
                      <a:pt x="795" y="258"/>
                      <a:pt x="795" y="257"/>
                    </a:cubicBezTo>
                    <a:cubicBezTo>
                      <a:pt x="795" y="257"/>
                      <a:pt x="795" y="257"/>
                      <a:pt x="797" y="254"/>
                    </a:cubicBezTo>
                    <a:cubicBezTo>
                      <a:pt x="797" y="254"/>
                      <a:pt x="797" y="254"/>
                      <a:pt x="797" y="253"/>
                    </a:cubicBezTo>
                    <a:cubicBezTo>
                      <a:pt x="797" y="253"/>
                      <a:pt x="797" y="253"/>
                      <a:pt x="798" y="252"/>
                    </a:cubicBezTo>
                    <a:cubicBezTo>
                      <a:pt x="798" y="252"/>
                      <a:pt x="798" y="252"/>
                      <a:pt x="799" y="251"/>
                    </a:cubicBezTo>
                    <a:cubicBezTo>
                      <a:pt x="799" y="251"/>
                      <a:pt x="799" y="251"/>
                      <a:pt x="799" y="250"/>
                    </a:cubicBezTo>
                    <a:cubicBezTo>
                      <a:pt x="799" y="250"/>
                      <a:pt x="799" y="250"/>
                      <a:pt x="798" y="249"/>
                    </a:cubicBezTo>
                    <a:cubicBezTo>
                      <a:pt x="798" y="249"/>
                      <a:pt x="798" y="249"/>
                      <a:pt x="797" y="248"/>
                    </a:cubicBezTo>
                    <a:cubicBezTo>
                      <a:pt x="797" y="248"/>
                      <a:pt x="797" y="248"/>
                      <a:pt x="796" y="247"/>
                    </a:cubicBezTo>
                    <a:cubicBezTo>
                      <a:pt x="796" y="247"/>
                      <a:pt x="796" y="247"/>
                      <a:pt x="795" y="247"/>
                    </a:cubicBezTo>
                    <a:cubicBezTo>
                      <a:pt x="795" y="247"/>
                      <a:pt x="795" y="247"/>
                      <a:pt x="794" y="247"/>
                    </a:cubicBezTo>
                    <a:cubicBezTo>
                      <a:pt x="794" y="247"/>
                      <a:pt x="794" y="247"/>
                      <a:pt x="793" y="247"/>
                    </a:cubicBezTo>
                    <a:cubicBezTo>
                      <a:pt x="793" y="247"/>
                      <a:pt x="793" y="247"/>
                      <a:pt x="792" y="248"/>
                    </a:cubicBezTo>
                    <a:close/>
                    <a:moveTo>
                      <a:pt x="780" y="245"/>
                    </a:moveTo>
                    <a:cubicBezTo>
                      <a:pt x="780" y="245"/>
                      <a:pt x="780" y="245"/>
                      <a:pt x="780" y="246"/>
                    </a:cubicBezTo>
                    <a:cubicBezTo>
                      <a:pt x="780" y="246"/>
                      <a:pt x="780" y="246"/>
                      <a:pt x="780" y="247"/>
                    </a:cubicBezTo>
                    <a:cubicBezTo>
                      <a:pt x="780" y="247"/>
                      <a:pt x="780" y="247"/>
                      <a:pt x="781" y="247"/>
                    </a:cubicBezTo>
                    <a:cubicBezTo>
                      <a:pt x="781" y="247"/>
                      <a:pt x="781" y="247"/>
                      <a:pt x="781" y="246"/>
                    </a:cubicBezTo>
                    <a:cubicBezTo>
                      <a:pt x="781" y="246"/>
                      <a:pt x="781" y="246"/>
                      <a:pt x="782" y="246"/>
                    </a:cubicBezTo>
                    <a:cubicBezTo>
                      <a:pt x="782" y="246"/>
                      <a:pt x="782" y="246"/>
                      <a:pt x="782" y="245"/>
                    </a:cubicBezTo>
                    <a:cubicBezTo>
                      <a:pt x="782" y="245"/>
                      <a:pt x="782" y="245"/>
                      <a:pt x="781" y="245"/>
                    </a:cubicBezTo>
                    <a:cubicBezTo>
                      <a:pt x="781" y="245"/>
                      <a:pt x="781" y="245"/>
                      <a:pt x="780" y="245"/>
                    </a:cubicBezTo>
                    <a:close/>
                    <a:moveTo>
                      <a:pt x="762" y="222"/>
                    </a:moveTo>
                    <a:cubicBezTo>
                      <a:pt x="762" y="222"/>
                      <a:pt x="762" y="222"/>
                      <a:pt x="763" y="223"/>
                    </a:cubicBezTo>
                    <a:cubicBezTo>
                      <a:pt x="763" y="223"/>
                      <a:pt x="763" y="223"/>
                      <a:pt x="764" y="223"/>
                    </a:cubicBezTo>
                    <a:cubicBezTo>
                      <a:pt x="764" y="223"/>
                      <a:pt x="764" y="223"/>
                      <a:pt x="764" y="222"/>
                    </a:cubicBezTo>
                    <a:cubicBezTo>
                      <a:pt x="764" y="222"/>
                      <a:pt x="764" y="222"/>
                      <a:pt x="763" y="222"/>
                    </a:cubicBezTo>
                    <a:cubicBezTo>
                      <a:pt x="763" y="222"/>
                      <a:pt x="763" y="222"/>
                      <a:pt x="762" y="222"/>
                    </a:cubicBezTo>
                    <a:close/>
                    <a:moveTo>
                      <a:pt x="766" y="224"/>
                    </a:moveTo>
                    <a:cubicBezTo>
                      <a:pt x="766" y="223"/>
                      <a:pt x="766" y="223"/>
                      <a:pt x="766" y="223"/>
                    </a:cubicBezTo>
                    <a:cubicBezTo>
                      <a:pt x="765" y="223"/>
                      <a:pt x="765" y="223"/>
                      <a:pt x="765" y="223"/>
                    </a:cubicBezTo>
                    <a:cubicBezTo>
                      <a:pt x="766" y="224"/>
                      <a:pt x="766" y="224"/>
                      <a:pt x="766" y="224"/>
                    </a:cubicBezTo>
                    <a:close/>
                    <a:moveTo>
                      <a:pt x="800" y="244"/>
                    </a:moveTo>
                    <a:cubicBezTo>
                      <a:pt x="799" y="246"/>
                      <a:pt x="799" y="246"/>
                      <a:pt x="799" y="246"/>
                    </a:cubicBezTo>
                    <a:cubicBezTo>
                      <a:pt x="800" y="247"/>
                      <a:pt x="800" y="247"/>
                      <a:pt x="800" y="247"/>
                    </a:cubicBezTo>
                    <a:cubicBezTo>
                      <a:pt x="800" y="248"/>
                      <a:pt x="800" y="248"/>
                      <a:pt x="800" y="248"/>
                    </a:cubicBezTo>
                    <a:cubicBezTo>
                      <a:pt x="801" y="248"/>
                      <a:pt x="801" y="248"/>
                      <a:pt x="801" y="248"/>
                    </a:cubicBezTo>
                    <a:cubicBezTo>
                      <a:pt x="801" y="246"/>
                      <a:pt x="801" y="246"/>
                      <a:pt x="801" y="246"/>
                    </a:cubicBezTo>
                    <a:cubicBezTo>
                      <a:pt x="801" y="244"/>
                      <a:pt x="801" y="244"/>
                      <a:pt x="801" y="244"/>
                    </a:cubicBezTo>
                    <a:cubicBezTo>
                      <a:pt x="801" y="243"/>
                      <a:pt x="801" y="243"/>
                      <a:pt x="801" y="243"/>
                    </a:cubicBezTo>
                    <a:cubicBezTo>
                      <a:pt x="800" y="243"/>
                      <a:pt x="800" y="243"/>
                      <a:pt x="800" y="243"/>
                    </a:cubicBezTo>
                    <a:cubicBezTo>
                      <a:pt x="800" y="244"/>
                      <a:pt x="800" y="244"/>
                      <a:pt x="800" y="244"/>
                    </a:cubicBezTo>
                    <a:close/>
                    <a:moveTo>
                      <a:pt x="803" y="246"/>
                    </a:moveTo>
                    <a:cubicBezTo>
                      <a:pt x="803" y="246"/>
                      <a:pt x="803" y="246"/>
                      <a:pt x="802" y="244"/>
                    </a:cubicBezTo>
                    <a:cubicBezTo>
                      <a:pt x="802" y="244"/>
                      <a:pt x="802" y="244"/>
                      <a:pt x="802" y="246"/>
                    </a:cubicBezTo>
                    <a:cubicBezTo>
                      <a:pt x="802" y="246"/>
                      <a:pt x="802" y="246"/>
                      <a:pt x="802" y="247"/>
                    </a:cubicBezTo>
                    <a:cubicBezTo>
                      <a:pt x="802" y="247"/>
                      <a:pt x="802" y="247"/>
                      <a:pt x="803" y="247"/>
                    </a:cubicBezTo>
                    <a:cubicBezTo>
                      <a:pt x="803" y="247"/>
                      <a:pt x="803" y="247"/>
                      <a:pt x="803" y="246"/>
                    </a:cubicBezTo>
                    <a:close/>
                    <a:moveTo>
                      <a:pt x="801" y="252"/>
                    </a:moveTo>
                    <a:cubicBezTo>
                      <a:pt x="800" y="252"/>
                      <a:pt x="800" y="252"/>
                      <a:pt x="800" y="252"/>
                    </a:cubicBezTo>
                    <a:cubicBezTo>
                      <a:pt x="800" y="254"/>
                      <a:pt x="800" y="254"/>
                      <a:pt x="800" y="254"/>
                    </a:cubicBezTo>
                    <a:cubicBezTo>
                      <a:pt x="800" y="255"/>
                      <a:pt x="800" y="255"/>
                      <a:pt x="800" y="255"/>
                    </a:cubicBezTo>
                    <a:cubicBezTo>
                      <a:pt x="801" y="255"/>
                      <a:pt x="801" y="255"/>
                      <a:pt x="801" y="255"/>
                    </a:cubicBezTo>
                    <a:cubicBezTo>
                      <a:pt x="803" y="255"/>
                      <a:pt x="803" y="255"/>
                      <a:pt x="803" y="255"/>
                    </a:cubicBezTo>
                    <a:cubicBezTo>
                      <a:pt x="803" y="256"/>
                      <a:pt x="803" y="256"/>
                      <a:pt x="803" y="256"/>
                    </a:cubicBezTo>
                    <a:cubicBezTo>
                      <a:pt x="804" y="256"/>
                      <a:pt x="804" y="256"/>
                      <a:pt x="804" y="256"/>
                    </a:cubicBezTo>
                    <a:cubicBezTo>
                      <a:pt x="805" y="256"/>
                      <a:pt x="805" y="256"/>
                      <a:pt x="805" y="256"/>
                    </a:cubicBezTo>
                    <a:cubicBezTo>
                      <a:pt x="806" y="255"/>
                      <a:pt x="806" y="255"/>
                      <a:pt x="806" y="255"/>
                    </a:cubicBezTo>
                    <a:cubicBezTo>
                      <a:pt x="805" y="254"/>
                      <a:pt x="805" y="254"/>
                      <a:pt x="805" y="254"/>
                    </a:cubicBezTo>
                    <a:cubicBezTo>
                      <a:pt x="805" y="253"/>
                      <a:pt x="805" y="253"/>
                      <a:pt x="805" y="253"/>
                    </a:cubicBezTo>
                    <a:cubicBezTo>
                      <a:pt x="804" y="253"/>
                      <a:pt x="804" y="253"/>
                      <a:pt x="804" y="253"/>
                    </a:cubicBezTo>
                    <a:cubicBezTo>
                      <a:pt x="804" y="252"/>
                      <a:pt x="804" y="252"/>
                      <a:pt x="804" y="252"/>
                    </a:cubicBezTo>
                    <a:cubicBezTo>
                      <a:pt x="803" y="252"/>
                      <a:pt x="803" y="252"/>
                      <a:pt x="803" y="252"/>
                    </a:cubicBezTo>
                    <a:cubicBezTo>
                      <a:pt x="802" y="252"/>
                      <a:pt x="802" y="252"/>
                      <a:pt x="802" y="252"/>
                    </a:cubicBezTo>
                    <a:cubicBezTo>
                      <a:pt x="802" y="251"/>
                      <a:pt x="802" y="251"/>
                      <a:pt x="802" y="251"/>
                    </a:cubicBezTo>
                    <a:cubicBezTo>
                      <a:pt x="801" y="252"/>
                      <a:pt x="801" y="252"/>
                      <a:pt x="801" y="252"/>
                    </a:cubicBezTo>
                    <a:close/>
                    <a:moveTo>
                      <a:pt x="716" y="176"/>
                    </a:moveTo>
                    <a:cubicBezTo>
                      <a:pt x="716" y="176"/>
                      <a:pt x="716" y="176"/>
                      <a:pt x="717" y="176"/>
                    </a:cubicBezTo>
                    <a:cubicBezTo>
                      <a:pt x="717" y="176"/>
                      <a:pt x="717" y="176"/>
                      <a:pt x="717" y="174"/>
                    </a:cubicBezTo>
                    <a:cubicBezTo>
                      <a:pt x="717" y="174"/>
                      <a:pt x="717" y="174"/>
                      <a:pt x="717" y="173"/>
                    </a:cubicBezTo>
                    <a:cubicBezTo>
                      <a:pt x="717" y="173"/>
                      <a:pt x="717" y="173"/>
                      <a:pt x="718" y="173"/>
                    </a:cubicBezTo>
                    <a:cubicBezTo>
                      <a:pt x="718" y="173"/>
                      <a:pt x="718" y="173"/>
                      <a:pt x="720" y="172"/>
                    </a:cubicBezTo>
                    <a:cubicBezTo>
                      <a:pt x="720" y="172"/>
                      <a:pt x="720" y="172"/>
                      <a:pt x="720" y="171"/>
                    </a:cubicBezTo>
                    <a:cubicBezTo>
                      <a:pt x="720" y="171"/>
                      <a:pt x="720" y="171"/>
                      <a:pt x="721" y="169"/>
                    </a:cubicBezTo>
                    <a:cubicBezTo>
                      <a:pt x="721" y="169"/>
                      <a:pt x="721" y="169"/>
                      <a:pt x="721" y="167"/>
                    </a:cubicBezTo>
                    <a:cubicBezTo>
                      <a:pt x="721" y="167"/>
                      <a:pt x="721" y="167"/>
                      <a:pt x="719" y="167"/>
                    </a:cubicBezTo>
                    <a:cubicBezTo>
                      <a:pt x="719" y="167"/>
                      <a:pt x="719" y="167"/>
                      <a:pt x="718" y="169"/>
                    </a:cubicBezTo>
                    <a:cubicBezTo>
                      <a:pt x="718" y="169"/>
                      <a:pt x="718" y="169"/>
                      <a:pt x="718" y="168"/>
                    </a:cubicBezTo>
                    <a:cubicBezTo>
                      <a:pt x="718" y="168"/>
                      <a:pt x="718" y="168"/>
                      <a:pt x="718" y="167"/>
                    </a:cubicBezTo>
                    <a:cubicBezTo>
                      <a:pt x="718" y="167"/>
                      <a:pt x="718" y="167"/>
                      <a:pt x="719" y="166"/>
                    </a:cubicBezTo>
                    <a:cubicBezTo>
                      <a:pt x="719" y="166"/>
                      <a:pt x="719" y="166"/>
                      <a:pt x="719" y="165"/>
                    </a:cubicBezTo>
                    <a:cubicBezTo>
                      <a:pt x="719" y="165"/>
                      <a:pt x="719" y="165"/>
                      <a:pt x="719" y="164"/>
                    </a:cubicBezTo>
                    <a:cubicBezTo>
                      <a:pt x="719" y="164"/>
                      <a:pt x="719" y="164"/>
                      <a:pt x="719" y="163"/>
                    </a:cubicBezTo>
                    <a:cubicBezTo>
                      <a:pt x="719" y="163"/>
                      <a:pt x="719" y="163"/>
                      <a:pt x="719" y="162"/>
                    </a:cubicBezTo>
                    <a:cubicBezTo>
                      <a:pt x="719" y="162"/>
                      <a:pt x="719" y="162"/>
                      <a:pt x="717" y="161"/>
                    </a:cubicBezTo>
                    <a:cubicBezTo>
                      <a:pt x="717" y="161"/>
                      <a:pt x="717" y="161"/>
                      <a:pt x="716" y="161"/>
                    </a:cubicBezTo>
                    <a:cubicBezTo>
                      <a:pt x="716" y="161"/>
                      <a:pt x="716" y="161"/>
                      <a:pt x="715" y="161"/>
                    </a:cubicBezTo>
                    <a:cubicBezTo>
                      <a:pt x="715" y="161"/>
                      <a:pt x="715" y="161"/>
                      <a:pt x="714" y="162"/>
                    </a:cubicBezTo>
                    <a:cubicBezTo>
                      <a:pt x="714" y="162"/>
                      <a:pt x="714" y="162"/>
                      <a:pt x="713" y="162"/>
                    </a:cubicBezTo>
                    <a:cubicBezTo>
                      <a:pt x="713" y="162"/>
                      <a:pt x="713" y="162"/>
                      <a:pt x="713" y="161"/>
                    </a:cubicBezTo>
                    <a:cubicBezTo>
                      <a:pt x="713" y="161"/>
                      <a:pt x="713" y="161"/>
                      <a:pt x="714" y="160"/>
                    </a:cubicBezTo>
                    <a:cubicBezTo>
                      <a:pt x="714" y="160"/>
                      <a:pt x="714" y="160"/>
                      <a:pt x="715" y="160"/>
                    </a:cubicBezTo>
                    <a:cubicBezTo>
                      <a:pt x="715" y="160"/>
                      <a:pt x="715" y="160"/>
                      <a:pt x="717" y="159"/>
                    </a:cubicBezTo>
                    <a:cubicBezTo>
                      <a:pt x="717" y="159"/>
                      <a:pt x="717" y="159"/>
                      <a:pt x="719" y="158"/>
                    </a:cubicBezTo>
                    <a:cubicBezTo>
                      <a:pt x="719" y="158"/>
                      <a:pt x="719" y="158"/>
                      <a:pt x="719" y="157"/>
                    </a:cubicBezTo>
                    <a:cubicBezTo>
                      <a:pt x="719" y="157"/>
                      <a:pt x="719" y="157"/>
                      <a:pt x="721" y="157"/>
                    </a:cubicBezTo>
                    <a:cubicBezTo>
                      <a:pt x="721" y="157"/>
                      <a:pt x="721" y="157"/>
                      <a:pt x="722" y="157"/>
                    </a:cubicBezTo>
                    <a:cubicBezTo>
                      <a:pt x="722" y="157"/>
                      <a:pt x="722" y="157"/>
                      <a:pt x="723" y="157"/>
                    </a:cubicBezTo>
                    <a:cubicBezTo>
                      <a:pt x="723" y="157"/>
                      <a:pt x="723" y="157"/>
                      <a:pt x="723" y="155"/>
                    </a:cubicBezTo>
                    <a:cubicBezTo>
                      <a:pt x="723" y="155"/>
                      <a:pt x="723" y="155"/>
                      <a:pt x="722" y="154"/>
                    </a:cubicBezTo>
                    <a:cubicBezTo>
                      <a:pt x="722" y="154"/>
                      <a:pt x="722" y="154"/>
                      <a:pt x="722" y="153"/>
                    </a:cubicBezTo>
                    <a:cubicBezTo>
                      <a:pt x="722" y="153"/>
                      <a:pt x="722" y="153"/>
                      <a:pt x="723" y="153"/>
                    </a:cubicBezTo>
                    <a:cubicBezTo>
                      <a:pt x="723" y="153"/>
                      <a:pt x="723" y="153"/>
                      <a:pt x="724" y="153"/>
                    </a:cubicBezTo>
                    <a:cubicBezTo>
                      <a:pt x="724" y="153"/>
                      <a:pt x="724" y="153"/>
                      <a:pt x="726" y="152"/>
                    </a:cubicBezTo>
                    <a:cubicBezTo>
                      <a:pt x="726" y="152"/>
                      <a:pt x="726" y="152"/>
                      <a:pt x="727" y="151"/>
                    </a:cubicBezTo>
                    <a:cubicBezTo>
                      <a:pt x="727" y="151"/>
                      <a:pt x="727" y="151"/>
                      <a:pt x="726" y="150"/>
                    </a:cubicBezTo>
                    <a:cubicBezTo>
                      <a:pt x="726" y="150"/>
                      <a:pt x="726" y="150"/>
                      <a:pt x="726" y="149"/>
                    </a:cubicBezTo>
                    <a:cubicBezTo>
                      <a:pt x="726" y="149"/>
                      <a:pt x="726" y="149"/>
                      <a:pt x="725" y="149"/>
                    </a:cubicBezTo>
                    <a:cubicBezTo>
                      <a:pt x="725" y="149"/>
                      <a:pt x="725" y="149"/>
                      <a:pt x="724" y="148"/>
                    </a:cubicBezTo>
                    <a:cubicBezTo>
                      <a:pt x="724" y="148"/>
                      <a:pt x="724" y="148"/>
                      <a:pt x="721" y="148"/>
                    </a:cubicBezTo>
                    <a:cubicBezTo>
                      <a:pt x="721" y="148"/>
                      <a:pt x="721" y="148"/>
                      <a:pt x="720" y="148"/>
                    </a:cubicBezTo>
                    <a:cubicBezTo>
                      <a:pt x="720" y="148"/>
                      <a:pt x="720" y="148"/>
                      <a:pt x="718" y="148"/>
                    </a:cubicBezTo>
                    <a:cubicBezTo>
                      <a:pt x="718" y="148"/>
                      <a:pt x="718" y="148"/>
                      <a:pt x="717" y="148"/>
                    </a:cubicBezTo>
                    <a:cubicBezTo>
                      <a:pt x="717" y="148"/>
                      <a:pt x="717" y="148"/>
                      <a:pt x="716" y="148"/>
                    </a:cubicBezTo>
                    <a:cubicBezTo>
                      <a:pt x="716" y="148"/>
                      <a:pt x="716" y="148"/>
                      <a:pt x="715" y="147"/>
                    </a:cubicBezTo>
                    <a:cubicBezTo>
                      <a:pt x="715" y="147"/>
                      <a:pt x="715" y="147"/>
                      <a:pt x="714" y="146"/>
                    </a:cubicBezTo>
                    <a:cubicBezTo>
                      <a:pt x="714" y="146"/>
                      <a:pt x="714" y="146"/>
                      <a:pt x="715" y="145"/>
                    </a:cubicBezTo>
                    <a:cubicBezTo>
                      <a:pt x="715" y="145"/>
                      <a:pt x="715" y="145"/>
                      <a:pt x="713" y="144"/>
                    </a:cubicBezTo>
                    <a:cubicBezTo>
                      <a:pt x="713" y="144"/>
                      <a:pt x="713" y="144"/>
                      <a:pt x="712" y="145"/>
                    </a:cubicBezTo>
                    <a:cubicBezTo>
                      <a:pt x="712" y="145"/>
                      <a:pt x="712" y="145"/>
                      <a:pt x="711" y="145"/>
                    </a:cubicBezTo>
                    <a:cubicBezTo>
                      <a:pt x="711" y="145"/>
                      <a:pt x="711" y="145"/>
                      <a:pt x="712" y="146"/>
                    </a:cubicBezTo>
                    <a:cubicBezTo>
                      <a:pt x="712" y="146"/>
                      <a:pt x="712" y="146"/>
                      <a:pt x="713" y="146"/>
                    </a:cubicBezTo>
                    <a:cubicBezTo>
                      <a:pt x="713" y="146"/>
                      <a:pt x="713" y="146"/>
                      <a:pt x="713" y="147"/>
                    </a:cubicBezTo>
                    <a:cubicBezTo>
                      <a:pt x="713" y="147"/>
                      <a:pt x="713" y="147"/>
                      <a:pt x="711" y="147"/>
                    </a:cubicBezTo>
                    <a:cubicBezTo>
                      <a:pt x="711" y="147"/>
                      <a:pt x="711" y="147"/>
                      <a:pt x="710" y="145"/>
                    </a:cubicBezTo>
                    <a:cubicBezTo>
                      <a:pt x="710" y="145"/>
                      <a:pt x="710" y="145"/>
                      <a:pt x="709" y="145"/>
                    </a:cubicBezTo>
                    <a:cubicBezTo>
                      <a:pt x="709" y="145"/>
                      <a:pt x="709" y="145"/>
                      <a:pt x="708" y="146"/>
                    </a:cubicBezTo>
                    <a:cubicBezTo>
                      <a:pt x="708" y="146"/>
                      <a:pt x="708" y="146"/>
                      <a:pt x="707" y="147"/>
                    </a:cubicBezTo>
                    <a:cubicBezTo>
                      <a:pt x="707" y="147"/>
                      <a:pt x="707" y="147"/>
                      <a:pt x="707" y="148"/>
                    </a:cubicBezTo>
                    <a:cubicBezTo>
                      <a:pt x="707" y="148"/>
                      <a:pt x="707" y="148"/>
                      <a:pt x="707" y="150"/>
                    </a:cubicBezTo>
                    <a:cubicBezTo>
                      <a:pt x="707" y="150"/>
                      <a:pt x="707" y="150"/>
                      <a:pt x="708" y="150"/>
                    </a:cubicBezTo>
                    <a:cubicBezTo>
                      <a:pt x="708" y="150"/>
                      <a:pt x="708" y="150"/>
                      <a:pt x="708" y="151"/>
                    </a:cubicBezTo>
                    <a:cubicBezTo>
                      <a:pt x="708" y="151"/>
                      <a:pt x="708" y="151"/>
                      <a:pt x="708" y="152"/>
                    </a:cubicBezTo>
                    <a:cubicBezTo>
                      <a:pt x="708" y="152"/>
                      <a:pt x="708" y="152"/>
                      <a:pt x="708" y="153"/>
                    </a:cubicBezTo>
                    <a:cubicBezTo>
                      <a:pt x="708" y="153"/>
                      <a:pt x="708" y="153"/>
                      <a:pt x="707" y="153"/>
                    </a:cubicBezTo>
                    <a:cubicBezTo>
                      <a:pt x="707" y="153"/>
                      <a:pt x="707" y="153"/>
                      <a:pt x="707" y="151"/>
                    </a:cubicBezTo>
                    <a:cubicBezTo>
                      <a:pt x="707" y="151"/>
                      <a:pt x="707" y="151"/>
                      <a:pt x="706" y="150"/>
                    </a:cubicBezTo>
                    <a:cubicBezTo>
                      <a:pt x="706" y="150"/>
                      <a:pt x="706" y="150"/>
                      <a:pt x="705" y="149"/>
                    </a:cubicBezTo>
                    <a:cubicBezTo>
                      <a:pt x="705" y="149"/>
                      <a:pt x="705" y="149"/>
                      <a:pt x="705" y="150"/>
                    </a:cubicBezTo>
                    <a:cubicBezTo>
                      <a:pt x="705" y="150"/>
                      <a:pt x="705" y="150"/>
                      <a:pt x="704" y="150"/>
                    </a:cubicBezTo>
                    <a:cubicBezTo>
                      <a:pt x="704" y="150"/>
                      <a:pt x="704" y="150"/>
                      <a:pt x="703" y="151"/>
                    </a:cubicBezTo>
                    <a:cubicBezTo>
                      <a:pt x="703" y="151"/>
                      <a:pt x="703" y="151"/>
                      <a:pt x="703" y="152"/>
                    </a:cubicBezTo>
                    <a:cubicBezTo>
                      <a:pt x="703" y="152"/>
                      <a:pt x="703" y="152"/>
                      <a:pt x="704" y="154"/>
                    </a:cubicBezTo>
                    <a:cubicBezTo>
                      <a:pt x="704" y="154"/>
                      <a:pt x="704" y="154"/>
                      <a:pt x="705" y="156"/>
                    </a:cubicBezTo>
                    <a:cubicBezTo>
                      <a:pt x="705" y="156"/>
                      <a:pt x="705" y="156"/>
                      <a:pt x="707" y="156"/>
                    </a:cubicBezTo>
                    <a:cubicBezTo>
                      <a:pt x="707" y="156"/>
                      <a:pt x="707" y="156"/>
                      <a:pt x="707" y="155"/>
                    </a:cubicBezTo>
                    <a:cubicBezTo>
                      <a:pt x="707" y="155"/>
                      <a:pt x="707" y="155"/>
                      <a:pt x="708" y="155"/>
                    </a:cubicBezTo>
                    <a:cubicBezTo>
                      <a:pt x="708" y="155"/>
                      <a:pt x="708" y="155"/>
                      <a:pt x="708" y="156"/>
                    </a:cubicBezTo>
                    <a:cubicBezTo>
                      <a:pt x="708" y="156"/>
                      <a:pt x="708" y="156"/>
                      <a:pt x="709" y="157"/>
                    </a:cubicBezTo>
                    <a:cubicBezTo>
                      <a:pt x="709" y="157"/>
                      <a:pt x="709" y="157"/>
                      <a:pt x="709" y="158"/>
                    </a:cubicBezTo>
                    <a:cubicBezTo>
                      <a:pt x="709" y="158"/>
                      <a:pt x="709" y="158"/>
                      <a:pt x="708" y="158"/>
                    </a:cubicBezTo>
                    <a:cubicBezTo>
                      <a:pt x="708" y="158"/>
                      <a:pt x="708" y="158"/>
                      <a:pt x="708" y="157"/>
                    </a:cubicBezTo>
                    <a:cubicBezTo>
                      <a:pt x="708" y="157"/>
                      <a:pt x="708" y="157"/>
                      <a:pt x="707" y="156"/>
                    </a:cubicBezTo>
                    <a:cubicBezTo>
                      <a:pt x="707" y="156"/>
                      <a:pt x="707" y="156"/>
                      <a:pt x="706" y="157"/>
                    </a:cubicBezTo>
                    <a:cubicBezTo>
                      <a:pt x="706" y="157"/>
                      <a:pt x="706" y="157"/>
                      <a:pt x="705" y="157"/>
                    </a:cubicBezTo>
                    <a:cubicBezTo>
                      <a:pt x="705" y="157"/>
                      <a:pt x="705" y="157"/>
                      <a:pt x="706" y="158"/>
                    </a:cubicBezTo>
                    <a:cubicBezTo>
                      <a:pt x="706" y="158"/>
                      <a:pt x="706" y="158"/>
                      <a:pt x="706" y="159"/>
                    </a:cubicBezTo>
                    <a:cubicBezTo>
                      <a:pt x="706" y="159"/>
                      <a:pt x="706" y="159"/>
                      <a:pt x="705" y="160"/>
                    </a:cubicBezTo>
                    <a:cubicBezTo>
                      <a:pt x="705" y="160"/>
                      <a:pt x="705" y="160"/>
                      <a:pt x="705" y="161"/>
                    </a:cubicBezTo>
                    <a:cubicBezTo>
                      <a:pt x="705" y="161"/>
                      <a:pt x="705" y="161"/>
                      <a:pt x="704" y="162"/>
                    </a:cubicBezTo>
                    <a:cubicBezTo>
                      <a:pt x="704" y="162"/>
                      <a:pt x="704" y="162"/>
                      <a:pt x="703" y="163"/>
                    </a:cubicBezTo>
                    <a:cubicBezTo>
                      <a:pt x="703" y="163"/>
                      <a:pt x="703" y="163"/>
                      <a:pt x="704" y="164"/>
                    </a:cubicBezTo>
                    <a:cubicBezTo>
                      <a:pt x="704" y="164"/>
                      <a:pt x="704" y="164"/>
                      <a:pt x="703" y="164"/>
                    </a:cubicBezTo>
                    <a:cubicBezTo>
                      <a:pt x="703" y="164"/>
                      <a:pt x="703" y="164"/>
                      <a:pt x="702" y="164"/>
                    </a:cubicBezTo>
                    <a:cubicBezTo>
                      <a:pt x="702" y="164"/>
                      <a:pt x="702" y="164"/>
                      <a:pt x="701" y="163"/>
                    </a:cubicBezTo>
                    <a:cubicBezTo>
                      <a:pt x="701" y="163"/>
                      <a:pt x="701" y="163"/>
                      <a:pt x="701" y="162"/>
                    </a:cubicBezTo>
                    <a:cubicBezTo>
                      <a:pt x="701" y="162"/>
                      <a:pt x="701" y="162"/>
                      <a:pt x="700" y="160"/>
                    </a:cubicBezTo>
                    <a:cubicBezTo>
                      <a:pt x="700" y="160"/>
                      <a:pt x="700" y="160"/>
                      <a:pt x="700" y="159"/>
                    </a:cubicBezTo>
                    <a:cubicBezTo>
                      <a:pt x="700" y="159"/>
                      <a:pt x="700" y="159"/>
                      <a:pt x="699" y="158"/>
                    </a:cubicBezTo>
                    <a:cubicBezTo>
                      <a:pt x="699" y="158"/>
                      <a:pt x="699" y="158"/>
                      <a:pt x="699" y="157"/>
                    </a:cubicBezTo>
                    <a:cubicBezTo>
                      <a:pt x="699" y="157"/>
                      <a:pt x="699" y="157"/>
                      <a:pt x="700" y="157"/>
                    </a:cubicBezTo>
                    <a:cubicBezTo>
                      <a:pt x="700" y="157"/>
                      <a:pt x="700" y="157"/>
                      <a:pt x="699" y="156"/>
                    </a:cubicBezTo>
                    <a:cubicBezTo>
                      <a:pt x="699" y="156"/>
                      <a:pt x="699" y="156"/>
                      <a:pt x="698" y="156"/>
                    </a:cubicBezTo>
                    <a:cubicBezTo>
                      <a:pt x="698" y="156"/>
                      <a:pt x="698" y="156"/>
                      <a:pt x="696" y="156"/>
                    </a:cubicBezTo>
                    <a:cubicBezTo>
                      <a:pt x="696" y="156"/>
                      <a:pt x="696" y="156"/>
                      <a:pt x="695" y="156"/>
                    </a:cubicBezTo>
                    <a:cubicBezTo>
                      <a:pt x="695" y="156"/>
                      <a:pt x="695" y="156"/>
                      <a:pt x="695" y="157"/>
                    </a:cubicBezTo>
                    <a:cubicBezTo>
                      <a:pt x="695" y="157"/>
                      <a:pt x="695" y="157"/>
                      <a:pt x="693" y="157"/>
                    </a:cubicBezTo>
                    <a:cubicBezTo>
                      <a:pt x="693" y="157"/>
                      <a:pt x="693" y="157"/>
                      <a:pt x="692" y="159"/>
                    </a:cubicBezTo>
                    <a:cubicBezTo>
                      <a:pt x="692" y="159"/>
                      <a:pt x="692" y="159"/>
                      <a:pt x="692" y="160"/>
                    </a:cubicBezTo>
                    <a:cubicBezTo>
                      <a:pt x="692" y="160"/>
                      <a:pt x="692" y="160"/>
                      <a:pt x="692" y="162"/>
                    </a:cubicBezTo>
                    <a:cubicBezTo>
                      <a:pt x="692" y="162"/>
                      <a:pt x="692" y="162"/>
                      <a:pt x="692" y="163"/>
                    </a:cubicBezTo>
                    <a:cubicBezTo>
                      <a:pt x="692" y="163"/>
                      <a:pt x="692" y="163"/>
                      <a:pt x="693" y="164"/>
                    </a:cubicBezTo>
                    <a:cubicBezTo>
                      <a:pt x="693" y="164"/>
                      <a:pt x="693" y="164"/>
                      <a:pt x="692" y="165"/>
                    </a:cubicBezTo>
                    <a:cubicBezTo>
                      <a:pt x="692" y="165"/>
                      <a:pt x="692" y="165"/>
                      <a:pt x="691" y="166"/>
                    </a:cubicBezTo>
                    <a:cubicBezTo>
                      <a:pt x="691" y="166"/>
                      <a:pt x="691" y="166"/>
                      <a:pt x="691" y="168"/>
                    </a:cubicBezTo>
                    <a:cubicBezTo>
                      <a:pt x="691" y="168"/>
                      <a:pt x="691" y="168"/>
                      <a:pt x="692" y="168"/>
                    </a:cubicBezTo>
                    <a:cubicBezTo>
                      <a:pt x="692" y="168"/>
                      <a:pt x="692" y="168"/>
                      <a:pt x="693" y="168"/>
                    </a:cubicBezTo>
                    <a:cubicBezTo>
                      <a:pt x="693" y="168"/>
                      <a:pt x="693" y="168"/>
                      <a:pt x="694" y="168"/>
                    </a:cubicBezTo>
                    <a:cubicBezTo>
                      <a:pt x="694" y="168"/>
                      <a:pt x="694" y="168"/>
                      <a:pt x="695" y="168"/>
                    </a:cubicBezTo>
                    <a:cubicBezTo>
                      <a:pt x="695" y="168"/>
                      <a:pt x="695" y="168"/>
                      <a:pt x="695" y="170"/>
                    </a:cubicBezTo>
                    <a:cubicBezTo>
                      <a:pt x="695" y="170"/>
                      <a:pt x="695" y="170"/>
                      <a:pt x="696" y="170"/>
                    </a:cubicBezTo>
                    <a:cubicBezTo>
                      <a:pt x="696" y="170"/>
                      <a:pt x="696" y="170"/>
                      <a:pt x="697" y="172"/>
                    </a:cubicBezTo>
                    <a:cubicBezTo>
                      <a:pt x="697" y="172"/>
                      <a:pt x="697" y="172"/>
                      <a:pt x="696" y="174"/>
                    </a:cubicBezTo>
                    <a:cubicBezTo>
                      <a:pt x="696" y="174"/>
                      <a:pt x="696" y="174"/>
                      <a:pt x="698" y="175"/>
                    </a:cubicBezTo>
                    <a:cubicBezTo>
                      <a:pt x="698" y="175"/>
                      <a:pt x="698" y="175"/>
                      <a:pt x="698" y="176"/>
                    </a:cubicBezTo>
                    <a:cubicBezTo>
                      <a:pt x="698" y="176"/>
                      <a:pt x="698" y="176"/>
                      <a:pt x="698" y="177"/>
                    </a:cubicBezTo>
                    <a:cubicBezTo>
                      <a:pt x="698" y="177"/>
                      <a:pt x="698" y="177"/>
                      <a:pt x="699" y="177"/>
                    </a:cubicBezTo>
                    <a:cubicBezTo>
                      <a:pt x="699" y="177"/>
                      <a:pt x="699" y="177"/>
                      <a:pt x="699" y="178"/>
                    </a:cubicBezTo>
                    <a:cubicBezTo>
                      <a:pt x="699" y="178"/>
                      <a:pt x="699" y="178"/>
                      <a:pt x="699" y="180"/>
                    </a:cubicBezTo>
                    <a:cubicBezTo>
                      <a:pt x="699" y="180"/>
                      <a:pt x="699" y="180"/>
                      <a:pt x="698" y="181"/>
                    </a:cubicBezTo>
                    <a:cubicBezTo>
                      <a:pt x="698" y="181"/>
                      <a:pt x="698" y="181"/>
                      <a:pt x="699" y="182"/>
                    </a:cubicBezTo>
                    <a:cubicBezTo>
                      <a:pt x="699" y="182"/>
                      <a:pt x="699" y="182"/>
                      <a:pt x="699" y="184"/>
                    </a:cubicBezTo>
                    <a:cubicBezTo>
                      <a:pt x="699" y="184"/>
                      <a:pt x="699" y="184"/>
                      <a:pt x="699" y="185"/>
                    </a:cubicBezTo>
                    <a:cubicBezTo>
                      <a:pt x="699" y="185"/>
                      <a:pt x="699" y="185"/>
                      <a:pt x="699" y="186"/>
                    </a:cubicBezTo>
                    <a:cubicBezTo>
                      <a:pt x="699" y="186"/>
                      <a:pt x="699" y="186"/>
                      <a:pt x="700" y="185"/>
                    </a:cubicBezTo>
                    <a:cubicBezTo>
                      <a:pt x="700" y="185"/>
                      <a:pt x="700" y="185"/>
                      <a:pt x="700" y="187"/>
                    </a:cubicBezTo>
                    <a:cubicBezTo>
                      <a:pt x="700" y="187"/>
                      <a:pt x="700" y="187"/>
                      <a:pt x="701" y="187"/>
                    </a:cubicBezTo>
                    <a:cubicBezTo>
                      <a:pt x="703" y="187"/>
                      <a:pt x="703" y="187"/>
                      <a:pt x="703" y="187"/>
                    </a:cubicBezTo>
                    <a:cubicBezTo>
                      <a:pt x="703" y="187"/>
                      <a:pt x="703" y="187"/>
                      <a:pt x="704" y="186"/>
                    </a:cubicBezTo>
                    <a:cubicBezTo>
                      <a:pt x="704" y="186"/>
                      <a:pt x="704" y="186"/>
                      <a:pt x="705" y="185"/>
                    </a:cubicBezTo>
                    <a:cubicBezTo>
                      <a:pt x="705" y="185"/>
                      <a:pt x="705" y="185"/>
                      <a:pt x="705" y="184"/>
                    </a:cubicBezTo>
                    <a:cubicBezTo>
                      <a:pt x="705" y="184"/>
                      <a:pt x="705" y="184"/>
                      <a:pt x="705" y="183"/>
                    </a:cubicBezTo>
                    <a:cubicBezTo>
                      <a:pt x="705" y="183"/>
                      <a:pt x="705" y="183"/>
                      <a:pt x="704" y="181"/>
                    </a:cubicBezTo>
                    <a:cubicBezTo>
                      <a:pt x="704" y="181"/>
                      <a:pt x="704" y="181"/>
                      <a:pt x="704" y="179"/>
                    </a:cubicBezTo>
                    <a:cubicBezTo>
                      <a:pt x="704" y="179"/>
                      <a:pt x="704" y="179"/>
                      <a:pt x="706" y="177"/>
                    </a:cubicBezTo>
                    <a:cubicBezTo>
                      <a:pt x="706" y="177"/>
                      <a:pt x="706" y="177"/>
                      <a:pt x="706" y="178"/>
                    </a:cubicBezTo>
                    <a:cubicBezTo>
                      <a:pt x="706" y="178"/>
                      <a:pt x="706" y="178"/>
                      <a:pt x="705" y="180"/>
                    </a:cubicBezTo>
                    <a:cubicBezTo>
                      <a:pt x="705" y="180"/>
                      <a:pt x="705" y="180"/>
                      <a:pt x="705" y="182"/>
                    </a:cubicBezTo>
                    <a:cubicBezTo>
                      <a:pt x="705" y="182"/>
                      <a:pt x="705" y="182"/>
                      <a:pt x="706" y="183"/>
                    </a:cubicBezTo>
                    <a:cubicBezTo>
                      <a:pt x="706" y="183"/>
                      <a:pt x="706" y="183"/>
                      <a:pt x="707" y="182"/>
                    </a:cubicBezTo>
                    <a:cubicBezTo>
                      <a:pt x="707" y="182"/>
                      <a:pt x="707" y="182"/>
                      <a:pt x="709" y="183"/>
                    </a:cubicBezTo>
                    <a:cubicBezTo>
                      <a:pt x="709" y="183"/>
                      <a:pt x="709" y="183"/>
                      <a:pt x="711" y="182"/>
                    </a:cubicBezTo>
                    <a:cubicBezTo>
                      <a:pt x="711" y="182"/>
                      <a:pt x="711" y="182"/>
                      <a:pt x="711" y="181"/>
                    </a:cubicBezTo>
                    <a:cubicBezTo>
                      <a:pt x="711" y="181"/>
                      <a:pt x="711" y="181"/>
                      <a:pt x="712" y="181"/>
                    </a:cubicBezTo>
                    <a:cubicBezTo>
                      <a:pt x="712" y="181"/>
                      <a:pt x="712" y="181"/>
                      <a:pt x="713" y="181"/>
                    </a:cubicBezTo>
                    <a:cubicBezTo>
                      <a:pt x="713" y="181"/>
                      <a:pt x="713" y="181"/>
                      <a:pt x="714" y="180"/>
                    </a:cubicBezTo>
                    <a:cubicBezTo>
                      <a:pt x="714" y="180"/>
                      <a:pt x="714" y="180"/>
                      <a:pt x="715" y="181"/>
                    </a:cubicBezTo>
                    <a:cubicBezTo>
                      <a:pt x="715" y="181"/>
                      <a:pt x="715" y="181"/>
                      <a:pt x="716" y="179"/>
                    </a:cubicBezTo>
                    <a:cubicBezTo>
                      <a:pt x="716" y="179"/>
                      <a:pt x="716" y="179"/>
                      <a:pt x="715" y="178"/>
                    </a:cubicBezTo>
                    <a:cubicBezTo>
                      <a:pt x="715" y="178"/>
                      <a:pt x="715" y="178"/>
                      <a:pt x="716" y="178"/>
                    </a:cubicBezTo>
                    <a:cubicBezTo>
                      <a:pt x="716" y="178"/>
                      <a:pt x="716" y="178"/>
                      <a:pt x="717" y="178"/>
                    </a:cubicBezTo>
                    <a:cubicBezTo>
                      <a:pt x="717" y="178"/>
                      <a:pt x="717" y="178"/>
                      <a:pt x="715" y="177"/>
                    </a:cubicBezTo>
                    <a:cubicBezTo>
                      <a:pt x="715" y="177"/>
                      <a:pt x="715" y="177"/>
                      <a:pt x="715" y="176"/>
                    </a:cubicBezTo>
                    <a:cubicBezTo>
                      <a:pt x="715" y="176"/>
                      <a:pt x="715" y="176"/>
                      <a:pt x="716" y="176"/>
                    </a:cubicBezTo>
                    <a:close/>
                    <a:moveTo>
                      <a:pt x="624" y="229"/>
                    </a:moveTo>
                    <a:cubicBezTo>
                      <a:pt x="624" y="229"/>
                      <a:pt x="624" y="229"/>
                      <a:pt x="623" y="231"/>
                    </a:cubicBezTo>
                    <a:cubicBezTo>
                      <a:pt x="623" y="231"/>
                      <a:pt x="623" y="231"/>
                      <a:pt x="623" y="232"/>
                    </a:cubicBezTo>
                    <a:cubicBezTo>
                      <a:pt x="623" y="232"/>
                      <a:pt x="623" y="232"/>
                      <a:pt x="623" y="234"/>
                    </a:cubicBezTo>
                    <a:cubicBezTo>
                      <a:pt x="623" y="234"/>
                      <a:pt x="623" y="234"/>
                      <a:pt x="624" y="234"/>
                    </a:cubicBezTo>
                    <a:cubicBezTo>
                      <a:pt x="624" y="234"/>
                      <a:pt x="624" y="234"/>
                      <a:pt x="624" y="233"/>
                    </a:cubicBezTo>
                    <a:cubicBezTo>
                      <a:pt x="624" y="233"/>
                      <a:pt x="624" y="233"/>
                      <a:pt x="625" y="233"/>
                    </a:cubicBezTo>
                    <a:cubicBezTo>
                      <a:pt x="625" y="233"/>
                      <a:pt x="625" y="233"/>
                      <a:pt x="625" y="232"/>
                    </a:cubicBezTo>
                    <a:cubicBezTo>
                      <a:pt x="625" y="232"/>
                      <a:pt x="625" y="232"/>
                      <a:pt x="625" y="231"/>
                    </a:cubicBezTo>
                    <a:cubicBezTo>
                      <a:pt x="625" y="231"/>
                      <a:pt x="625" y="231"/>
                      <a:pt x="624" y="231"/>
                    </a:cubicBezTo>
                    <a:cubicBezTo>
                      <a:pt x="624" y="231"/>
                      <a:pt x="624" y="231"/>
                      <a:pt x="625" y="230"/>
                    </a:cubicBezTo>
                    <a:cubicBezTo>
                      <a:pt x="625" y="230"/>
                      <a:pt x="625" y="230"/>
                      <a:pt x="624" y="229"/>
                    </a:cubicBezTo>
                    <a:close/>
                    <a:moveTo>
                      <a:pt x="622" y="222"/>
                    </a:moveTo>
                    <a:cubicBezTo>
                      <a:pt x="622" y="223"/>
                      <a:pt x="622" y="223"/>
                      <a:pt x="622" y="223"/>
                    </a:cubicBezTo>
                    <a:cubicBezTo>
                      <a:pt x="623" y="224"/>
                      <a:pt x="623" y="224"/>
                      <a:pt x="623" y="224"/>
                    </a:cubicBezTo>
                    <a:cubicBezTo>
                      <a:pt x="622" y="222"/>
                      <a:pt x="622" y="222"/>
                      <a:pt x="622" y="222"/>
                    </a:cubicBezTo>
                    <a:close/>
                    <a:moveTo>
                      <a:pt x="663" y="219"/>
                    </a:moveTo>
                    <a:cubicBezTo>
                      <a:pt x="662" y="219"/>
                      <a:pt x="662" y="219"/>
                      <a:pt x="662" y="219"/>
                    </a:cubicBezTo>
                    <a:cubicBezTo>
                      <a:pt x="663" y="221"/>
                      <a:pt x="663" y="221"/>
                      <a:pt x="663" y="221"/>
                    </a:cubicBezTo>
                    <a:cubicBezTo>
                      <a:pt x="664" y="220"/>
                      <a:pt x="664" y="220"/>
                      <a:pt x="664" y="220"/>
                    </a:cubicBezTo>
                    <a:cubicBezTo>
                      <a:pt x="664" y="219"/>
                      <a:pt x="664" y="219"/>
                      <a:pt x="664" y="219"/>
                    </a:cubicBezTo>
                    <a:cubicBezTo>
                      <a:pt x="665" y="218"/>
                      <a:pt x="665" y="218"/>
                      <a:pt x="665" y="218"/>
                    </a:cubicBezTo>
                    <a:cubicBezTo>
                      <a:pt x="664" y="218"/>
                      <a:pt x="664" y="218"/>
                      <a:pt x="664" y="218"/>
                    </a:cubicBezTo>
                    <a:cubicBezTo>
                      <a:pt x="663" y="219"/>
                      <a:pt x="663" y="219"/>
                      <a:pt x="663" y="219"/>
                    </a:cubicBezTo>
                    <a:close/>
                    <a:moveTo>
                      <a:pt x="626" y="216"/>
                    </a:moveTo>
                    <a:cubicBezTo>
                      <a:pt x="626" y="216"/>
                      <a:pt x="626" y="216"/>
                      <a:pt x="625" y="217"/>
                    </a:cubicBezTo>
                    <a:cubicBezTo>
                      <a:pt x="626" y="217"/>
                      <a:pt x="626" y="217"/>
                      <a:pt x="626" y="217"/>
                    </a:cubicBezTo>
                    <a:cubicBezTo>
                      <a:pt x="626" y="217"/>
                      <a:pt x="626" y="217"/>
                      <a:pt x="627" y="216"/>
                    </a:cubicBezTo>
                    <a:cubicBezTo>
                      <a:pt x="627" y="216"/>
                      <a:pt x="627" y="216"/>
                      <a:pt x="626" y="216"/>
                    </a:cubicBezTo>
                    <a:close/>
                    <a:moveTo>
                      <a:pt x="626" y="226"/>
                    </a:moveTo>
                    <a:cubicBezTo>
                      <a:pt x="625" y="227"/>
                      <a:pt x="625" y="227"/>
                      <a:pt x="625" y="227"/>
                    </a:cubicBezTo>
                    <a:cubicBezTo>
                      <a:pt x="625" y="228"/>
                      <a:pt x="625" y="228"/>
                      <a:pt x="625" y="228"/>
                    </a:cubicBezTo>
                    <a:cubicBezTo>
                      <a:pt x="626" y="228"/>
                      <a:pt x="626" y="228"/>
                      <a:pt x="626" y="228"/>
                    </a:cubicBezTo>
                    <a:cubicBezTo>
                      <a:pt x="627" y="227"/>
                      <a:pt x="627" y="227"/>
                      <a:pt x="627" y="227"/>
                    </a:cubicBezTo>
                    <a:cubicBezTo>
                      <a:pt x="626" y="227"/>
                      <a:pt x="626" y="227"/>
                      <a:pt x="626" y="227"/>
                    </a:cubicBezTo>
                    <a:cubicBezTo>
                      <a:pt x="627" y="226"/>
                      <a:pt x="627" y="226"/>
                      <a:pt x="627" y="226"/>
                    </a:cubicBezTo>
                    <a:cubicBezTo>
                      <a:pt x="626" y="226"/>
                      <a:pt x="626" y="226"/>
                      <a:pt x="626" y="226"/>
                    </a:cubicBezTo>
                    <a:close/>
                    <a:moveTo>
                      <a:pt x="622" y="218"/>
                    </a:moveTo>
                    <a:cubicBezTo>
                      <a:pt x="621" y="218"/>
                      <a:pt x="621" y="218"/>
                      <a:pt x="621" y="218"/>
                    </a:cubicBezTo>
                    <a:cubicBezTo>
                      <a:pt x="621" y="219"/>
                      <a:pt x="621" y="219"/>
                      <a:pt x="621" y="219"/>
                    </a:cubicBezTo>
                    <a:cubicBezTo>
                      <a:pt x="622" y="219"/>
                      <a:pt x="622" y="219"/>
                      <a:pt x="622" y="219"/>
                    </a:cubicBezTo>
                    <a:cubicBezTo>
                      <a:pt x="622" y="218"/>
                      <a:pt x="622" y="218"/>
                      <a:pt x="622" y="218"/>
                    </a:cubicBezTo>
                    <a:close/>
                    <a:moveTo>
                      <a:pt x="690" y="142"/>
                    </a:moveTo>
                    <a:cubicBezTo>
                      <a:pt x="690" y="142"/>
                      <a:pt x="690" y="142"/>
                      <a:pt x="689" y="141"/>
                    </a:cubicBezTo>
                    <a:cubicBezTo>
                      <a:pt x="689" y="141"/>
                      <a:pt x="689" y="141"/>
                      <a:pt x="688" y="141"/>
                    </a:cubicBezTo>
                    <a:cubicBezTo>
                      <a:pt x="688" y="141"/>
                      <a:pt x="688" y="141"/>
                      <a:pt x="687" y="141"/>
                    </a:cubicBezTo>
                    <a:cubicBezTo>
                      <a:pt x="687" y="141"/>
                      <a:pt x="687" y="141"/>
                      <a:pt x="686" y="140"/>
                    </a:cubicBezTo>
                    <a:cubicBezTo>
                      <a:pt x="686" y="140"/>
                      <a:pt x="686" y="140"/>
                      <a:pt x="685" y="141"/>
                    </a:cubicBezTo>
                    <a:cubicBezTo>
                      <a:pt x="685" y="141"/>
                      <a:pt x="685" y="141"/>
                      <a:pt x="684" y="140"/>
                    </a:cubicBezTo>
                    <a:cubicBezTo>
                      <a:pt x="684" y="140"/>
                      <a:pt x="684" y="140"/>
                      <a:pt x="683" y="139"/>
                    </a:cubicBezTo>
                    <a:cubicBezTo>
                      <a:pt x="683" y="139"/>
                      <a:pt x="683" y="139"/>
                      <a:pt x="681" y="139"/>
                    </a:cubicBezTo>
                    <a:cubicBezTo>
                      <a:pt x="681" y="139"/>
                      <a:pt x="681" y="139"/>
                      <a:pt x="680" y="140"/>
                    </a:cubicBezTo>
                    <a:cubicBezTo>
                      <a:pt x="680" y="140"/>
                      <a:pt x="680" y="140"/>
                      <a:pt x="679" y="141"/>
                    </a:cubicBezTo>
                    <a:cubicBezTo>
                      <a:pt x="679" y="141"/>
                      <a:pt x="679" y="141"/>
                      <a:pt x="677" y="142"/>
                    </a:cubicBezTo>
                    <a:cubicBezTo>
                      <a:pt x="677" y="142"/>
                      <a:pt x="677" y="142"/>
                      <a:pt x="677" y="143"/>
                    </a:cubicBezTo>
                    <a:cubicBezTo>
                      <a:pt x="677" y="143"/>
                      <a:pt x="677" y="143"/>
                      <a:pt x="678" y="144"/>
                    </a:cubicBezTo>
                    <a:cubicBezTo>
                      <a:pt x="678" y="144"/>
                      <a:pt x="678" y="144"/>
                      <a:pt x="679" y="145"/>
                    </a:cubicBezTo>
                    <a:cubicBezTo>
                      <a:pt x="679" y="145"/>
                      <a:pt x="679" y="145"/>
                      <a:pt x="679" y="147"/>
                    </a:cubicBezTo>
                    <a:cubicBezTo>
                      <a:pt x="679" y="147"/>
                      <a:pt x="679" y="147"/>
                      <a:pt x="679" y="148"/>
                    </a:cubicBezTo>
                    <a:cubicBezTo>
                      <a:pt x="679" y="148"/>
                      <a:pt x="679" y="148"/>
                      <a:pt x="679" y="149"/>
                    </a:cubicBezTo>
                    <a:cubicBezTo>
                      <a:pt x="679" y="149"/>
                      <a:pt x="679" y="149"/>
                      <a:pt x="679" y="150"/>
                    </a:cubicBezTo>
                    <a:cubicBezTo>
                      <a:pt x="679" y="150"/>
                      <a:pt x="679" y="150"/>
                      <a:pt x="680" y="151"/>
                    </a:cubicBezTo>
                    <a:cubicBezTo>
                      <a:pt x="680" y="151"/>
                      <a:pt x="680" y="151"/>
                      <a:pt x="680" y="154"/>
                    </a:cubicBezTo>
                    <a:cubicBezTo>
                      <a:pt x="680" y="154"/>
                      <a:pt x="680" y="154"/>
                      <a:pt x="681" y="155"/>
                    </a:cubicBezTo>
                    <a:cubicBezTo>
                      <a:pt x="681" y="155"/>
                      <a:pt x="681" y="155"/>
                      <a:pt x="681" y="154"/>
                    </a:cubicBezTo>
                    <a:cubicBezTo>
                      <a:pt x="681" y="154"/>
                      <a:pt x="681" y="154"/>
                      <a:pt x="682" y="153"/>
                    </a:cubicBezTo>
                    <a:cubicBezTo>
                      <a:pt x="682" y="153"/>
                      <a:pt x="682" y="153"/>
                      <a:pt x="683" y="153"/>
                    </a:cubicBezTo>
                    <a:cubicBezTo>
                      <a:pt x="683" y="153"/>
                      <a:pt x="683" y="153"/>
                      <a:pt x="685" y="151"/>
                    </a:cubicBezTo>
                    <a:cubicBezTo>
                      <a:pt x="685" y="151"/>
                      <a:pt x="685" y="151"/>
                      <a:pt x="686" y="150"/>
                    </a:cubicBezTo>
                    <a:cubicBezTo>
                      <a:pt x="686" y="150"/>
                      <a:pt x="686" y="150"/>
                      <a:pt x="688" y="149"/>
                    </a:cubicBezTo>
                    <a:cubicBezTo>
                      <a:pt x="688" y="149"/>
                      <a:pt x="688" y="149"/>
                      <a:pt x="689" y="149"/>
                    </a:cubicBezTo>
                    <a:cubicBezTo>
                      <a:pt x="689" y="149"/>
                      <a:pt x="689" y="149"/>
                      <a:pt x="690" y="147"/>
                    </a:cubicBezTo>
                    <a:cubicBezTo>
                      <a:pt x="690" y="147"/>
                      <a:pt x="690" y="147"/>
                      <a:pt x="690" y="146"/>
                    </a:cubicBezTo>
                    <a:cubicBezTo>
                      <a:pt x="690" y="146"/>
                      <a:pt x="690" y="146"/>
                      <a:pt x="691" y="146"/>
                    </a:cubicBezTo>
                    <a:cubicBezTo>
                      <a:pt x="691" y="146"/>
                      <a:pt x="691" y="146"/>
                      <a:pt x="691" y="145"/>
                    </a:cubicBezTo>
                    <a:cubicBezTo>
                      <a:pt x="691" y="145"/>
                      <a:pt x="691" y="145"/>
                      <a:pt x="690" y="144"/>
                    </a:cubicBezTo>
                    <a:cubicBezTo>
                      <a:pt x="690" y="144"/>
                      <a:pt x="690" y="144"/>
                      <a:pt x="690" y="143"/>
                    </a:cubicBezTo>
                    <a:cubicBezTo>
                      <a:pt x="690" y="143"/>
                      <a:pt x="690" y="143"/>
                      <a:pt x="690" y="142"/>
                    </a:cubicBezTo>
                    <a:close/>
                    <a:moveTo>
                      <a:pt x="638" y="86"/>
                    </a:moveTo>
                    <a:cubicBezTo>
                      <a:pt x="638" y="86"/>
                      <a:pt x="638" y="86"/>
                      <a:pt x="639" y="85"/>
                    </a:cubicBezTo>
                    <a:cubicBezTo>
                      <a:pt x="639" y="85"/>
                      <a:pt x="639" y="85"/>
                      <a:pt x="639" y="84"/>
                    </a:cubicBezTo>
                    <a:cubicBezTo>
                      <a:pt x="639" y="84"/>
                      <a:pt x="639" y="84"/>
                      <a:pt x="638" y="85"/>
                    </a:cubicBezTo>
                    <a:lnTo>
                      <a:pt x="638" y="86"/>
                    </a:lnTo>
                    <a:close/>
                    <a:moveTo>
                      <a:pt x="675" y="140"/>
                    </a:moveTo>
                    <a:cubicBezTo>
                      <a:pt x="675" y="139"/>
                      <a:pt x="675" y="139"/>
                      <a:pt x="675" y="139"/>
                    </a:cubicBezTo>
                    <a:cubicBezTo>
                      <a:pt x="673" y="139"/>
                      <a:pt x="673" y="139"/>
                      <a:pt x="673" y="139"/>
                    </a:cubicBezTo>
                    <a:cubicBezTo>
                      <a:pt x="673" y="140"/>
                      <a:pt x="673" y="140"/>
                      <a:pt x="673" y="140"/>
                    </a:cubicBezTo>
                    <a:cubicBezTo>
                      <a:pt x="674" y="140"/>
                      <a:pt x="674" y="140"/>
                      <a:pt x="674" y="140"/>
                    </a:cubicBezTo>
                    <a:cubicBezTo>
                      <a:pt x="675" y="140"/>
                      <a:pt x="675" y="140"/>
                      <a:pt x="675" y="140"/>
                    </a:cubicBezTo>
                    <a:close/>
                    <a:moveTo>
                      <a:pt x="645" y="95"/>
                    </a:moveTo>
                    <a:cubicBezTo>
                      <a:pt x="645" y="95"/>
                      <a:pt x="645" y="95"/>
                      <a:pt x="646" y="94"/>
                    </a:cubicBezTo>
                    <a:cubicBezTo>
                      <a:pt x="646" y="94"/>
                      <a:pt x="646" y="94"/>
                      <a:pt x="647" y="94"/>
                    </a:cubicBezTo>
                    <a:cubicBezTo>
                      <a:pt x="647" y="94"/>
                      <a:pt x="647" y="94"/>
                      <a:pt x="648" y="94"/>
                    </a:cubicBezTo>
                    <a:cubicBezTo>
                      <a:pt x="648" y="94"/>
                      <a:pt x="648" y="94"/>
                      <a:pt x="649" y="92"/>
                    </a:cubicBezTo>
                    <a:cubicBezTo>
                      <a:pt x="649" y="92"/>
                      <a:pt x="649" y="92"/>
                      <a:pt x="653" y="89"/>
                    </a:cubicBezTo>
                    <a:cubicBezTo>
                      <a:pt x="653" y="89"/>
                      <a:pt x="653" y="89"/>
                      <a:pt x="655" y="88"/>
                    </a:cubicBezTo>
                    <a:cubicBezTo>
                      <a:pt x="655" y="88"/>
                      <a:pt x="655" y="88"/>
                      <a:pt x="656" y="87"/>
                    </a:cubicBezTo>
                    <a:cubicBezTo>
                      <a:pt x="656" y="87"/>
                      <a:pt x="656" y="87"/>
                      <a:pt x="657" y="86"/>
                    </a:cubicBezTo>
                    <a:cubicBezTo>
                      <a:pt x="657" y="86"/>
                      <a:pt x="657" y="86"/>
                      <a:pt x="656" y="86"/>
                    </a:cubicBezTo>
                    <a:cubicBezTo>
                      <a:pt x="656" y="86"/>
                      <a:pt x="656" y="86"/>
                      <a:pt x="654" y="86"/>
                    </a:cubicBezTo>
                    <a:cubicBezTo>
                      <a:pt x="654" y="86"/>
                      <a:pt x="654" y="86"/>
                      <a:pt x="653" y="87"/>
                    </a:cubicBezTo>
                    <a:cubicBezTo>
                      <a:pt x="653" y="87"/>
                      <a:pt x="653" y="87"/>
                      <a:pt x="651" y="87"/>
                    </a:cubicBezTo>
                    <a:cubicBezTo>
                      <a:pt x="651" y="87"/>
                      <a:pt x="651" y="87"/>
                      <a:pt x="649" y="88"/>
                    </a:cubicBezTo>
                    <a:cubicBezTo>
                      <a:pt x="649" y="88"/>
                      <a:pt x="649" y="88"/>
                      <a:pt x="648" y="88"/>
                    </a:cubicBezTo>
                    <a:cubicBezTo>
                      <a:pt x="648" y="88"/>
                      <a:pt x="648" y="88"/>
                      <a:pt x="647" y="89"/>
                    </a:cubicBezTo>
                    <a:cubicBezTo>
                      <a:pt x="647" y="89"/>
                      <a:pt x="647" y="89"/>
                      <a:pt x="646" y="90"/>
                    </a:cubicBezTo>
                    <a:cubicBezTo>
                      <a:pt x="646" y="90"/>
                      <a:pt x="646" y="90"/>
                      <a:pt x="643" y="92"/>
                    </a:cubicBezTo>
                    <a:cubicBezTo>
                      <a:pt x="643" y="92"/>
                      <a:pt x="643" y="92"/>
                      <a:pt x="642" y="93"/>
                    </a:cubicBezTo>
                    <a:cubicBezTo>
                      <a:pt x="642" y="93"/>
                      <a:pt x="642" y="93"/>
                      <a:pt x="643" y="93"/>
                    </a:cubicBezTo>
                    <a:cubicBezTo>
                      <a:pt x="643" y="93"/>
                      <a:pt x="643" y="93"/>
                      <a:pt x="644" y="93"/>
                    </a:cubicBezTo>
                    <a:cubicBezTo>
                      <a:pt x="644" y="93"/>
                      <a:pt x="644" y="93"/>
                      <a:pt x="644" y="94"/>
                    </a:cubicBezTo>
                    <a:cubicBezTo>
                      <a:pt x="644" y="94"/>
                      <a:pt x="644" y="94"/>
                      <a:pt x="645" y="95"/>
                    </a:cubicBezTo>
                    <a:close/>
                    <a:moveTo>
                      <a:pt x="679" y="203"/>
                    </a:moveTo>
                    <a:cubicBezTo>
                      <a:pt x="680" y="202"/>
                      <a:pt x="680" y="202"/>
                      <a:pt x="680" y="202"/>
                    </a:cubicBezTo>
                    <a:cubicBezTo>
                      <a:pt x="679" y="201"/>
                      <a:pt x="679" y="201"/>
                      <a:pt x="679" y="201"/>
                    </a:cubicBezTo>
                    <a:cubicBezTo>
                      <a:pt x="680" y="200"/>
                      <a:pt x="680" y="200"/>
                      <a:pt x="680" y="200"/>
                    </a:cubicBezTo>
                    <a:cubicBezTo>
                      <a:pt x="680" y="199"/>
                      <a:pt x="680" y="199"/>
                      <a:pt x="680" y="199"/>
                    </a:cubicBezTo>
                    <a:cubicBezTo>
                      <a:pt x="679" y="200"/>
                      <a:pt x="679" y="200"/>
                      <a:pt x="679" y="200"/>
                    </a:cubicBezTo>
                    <a:cubicBezTo>
                      <a:pt x="678" y="199"/>
                      <a:pt x="678" y="199"/>
                      <a:pt x="678" y="199"/>
                    </a:cubicBezTo>
                    <a:cubicBezTo>
                      <a:pt x="677" y="200"/>
                      <a:pt x="677" y="200"/>
                      <a:pt x="677" y="200"/>
                    </a:cubicBezTo>
                    <a:cubicBezTo>
                      <a:pt x="677" y="198"/>
                      <a:pt x="677" y="198"/>
                      <a:pt x="677" y="198"/>
                    </a:cubicBezTo>
                    <a:cubicBezTo>
                      <a:pt x="678" y="198"/>
                      <a:pt x="678" y="198"/>
                      <a:pt x="678" y="198"/>
                    </a:cubicBezTo>
                    <a:cubicBezTo>
                      <a:pt x="678" y="197"/>
                      <a:pt x="678" y="197"/>
                      <a:pt x="678" y="197"/>
                    </a:cubicBezTo>
                    <a:cubicBezTo>
                      <a:pt x="676" y="198"/>
                      <a:pt x="676" y="198"/>
                      <a:pt x="676" y="198"/>
                    </a:cubicBezTo>
                    <a:cubicBezTo>
                      <a:pt x="676" y="197"/>
                      <a:pt x="676" y="197"/>
                      <a:pt x="676" y="197"/>
                    </a:cubicBezTo>
                    <a:cubicBezTo>
                      <a:pt x="675" y="196"/>
                      <a:pt x="675" y="196"/>
                      <a:pt x="675" y="196"/>
                    </a:cubicBezTo>
                    <a:cubicBezTo>
                      <a:pt x="675" y="195"/>
                      <a:pt x="675" y="195"/>
                      <a:pt x="675" y="195"/>
                    </a:cubicBezTo>
                    <a:cubicBezTo>
                      <a:pt x="674" y="193"/>
                      <a:pt x="674" y="193"/>
                      <a:pt x="674" y="193"/>
                    </a:cubicBezTo>
                    <a:cubicBezTo>
                      <a:pt x="674" y="192"/>
                      <a:pt x="674" y="192"/>
                      <a:pt x="674" y="192"/>
                    </a:cubicBezTo>
                    <a:cubicBezTo>
                      <a:pt x="675" y="190"/>
                      <a:pt x="675" y="190"/>
                      <a:pt x="675" y="190"/>
                    </a:cubicBezTo>
                    <a:cubicBezTo>
                      <a:pt x="674" y="189"/>
                      <a:pt x="674" y="189"/>
                      <a:pt x="674" y="189"/>
                    </a:cubicBezTo>
                    <a:cubicBezTo>
                      <a:pt x="673" y="190"/>
                      <a:pt x="673" y="190"/>
                      <a:pt x="673" y="190"/>
                    </a:cubicBezTo>
                    <a:cubicBezTo>
                      <a:pt x="671" y="189"/>
                      <a:pt x="671" y="189"/>
                      <a:pt x="671" y="189"/>
                    </a:cubicBezTo>
                    <a:cubicBezTo>
                      <a:pt x="671" y="187"/>
                      <a:pt x="671" y="187"/>
                      <a:pt x="671" y="187"/>
                    </a:cubicBezTo>
                    <a:cubicBezTo>
                      <a:pt x="670" y="186"/>
                      <a:pt x="670" y="186"/>
                      <a:pt x="670" y="186"/>
                    </a:cubicBezTo>
                    <a:cubicBezTo>
                      <a:pt x="670" y="184"/>
                      <a:pt x="670" y="184"/>
                      <a:pt x="670" y="184"/>
                    </a:cubicBezTo>
                    <a:cubicBezTo>
                      <a:pt x="669" y="183"/>
                      <a:pt x="669" y="183"/>
                      <a:pt x="669" y="183"/>
                    </a:cubicBezTo>
                    <a:cubicBezTo>
                      <a:pt x="669" y="182"/>
                      <a:pt x="669" y="182"/>
                      <a:pt x="669" y="182"/>
                    </a:cubicBezTo>
                    <a:cubicBezTo>
                      <a:pt x="669" y="181"/>
                      <a:pt x="669" y="181"/>
                      <a:pt x="669" y="181"/>
                    </a:cubicBezTo>
                    <a:cubicBezTo>
                      <a:pt x="669" y="180"/>
                      <a:pt x="669" y="180"/>
                      <a:pt x="669" y="180"/>
                    </a:cubicBezTo>
                    <a:cubicBezTo>
                      <a:pt x="670" y="180"/>
                      <a:pt x="670" y="180"/>
                      <a:pt x="670" y="180"/>
                    </a:cubicBezTo>
                    <a:cubicBezTo>
                      <a:pt x="670" y="179"/>
                      <a:pt x="670" y="179"/>
                      <a:pt x="670" y="179"/>
                    </a:cubicBezTo>
                    <a:cubicBezTo>
                      <a:pt x="671" y="179"/>
                      <a:pt x="671" y="179"/>
                      <a:pt x="671" y="179"/>
                    </a:cubicBezTo>
                    <a:cubicBezTo>
                      <a:pt x="672" y="178"/>
                      <a:pt x="672" y="178"/>
                      <a:pt x="672" y="178"/>
                    </a:cubicBezTo>
                    <a:cubicBezTo>
                      <a:pt x="672" y="177"/>
                      <a:pt x="672" y="177"/>
                      <a:pt x="672" y="177"/>
                    </a:cubicBezTo>
                    <a:cubicBezTo>
                      <a:pt x="673" y="175"/>
                      <a:pt x="673" y="175"/>
                      <a:pt x="673" y="175"/>
                    </a:cubicBezTo>
                    <a:cubicBezTo>
                      <a:pt x="673" y="173"/>
                      <a:pt x="673" y="173"/>
                      <a:pt x="673" y="173"/>
                    </a:cubicBezTo>
                    <a:cubicBezTo>
                      <a:pt x="673" y="171"/>
                      <a:pt x="673" y="171"/>
                      <a:pt x="673" y="171"/>
                    </a:cubicBezTo>
                    <a:cubicBezTo>
                      <a:pt x="673" y="169"/>
                      <a:pt x="673" y="169"/>
                      <a:pt x="673" y="169"/>
                    </a:cubicBezTo>
                    <a:cubicBezTo>
                      <a:pt x="674" y="169"/>
                      <a:pt x="674" y="169"/>
                      <a:pt x="674" y="169"/>
                    </a:cubicBezTo>
                    <a:cubicBezTo>
                      <a:pt x="674" y="167"/>
                      <a:pt x="674" y="167"/>
                      <a:pt x="674" y="167"/>
                    </a:cubicBezTo>
                    <a:cubicBezTo>
                      <a:pt x="675" y="166"/>
                      <a:pt x="675" y="166"/>
                      <a:pt x="675" y="166"/>
                    </a:cubicBezTo>
                    <a:cubicBezTo>
                      <a:pt x="675" y="164"/>
                      <a:pt x="675" y="164"/>
                      <a:pt x="675" y="164"/>
                    </a:cubicBezTo>
                    <a:cubicBezTo>
                      <a:pt x="676" y="164"/>
                      <a:pt x="676" y="164"/>
                      <a:pt x="676" y="164"/>
                    </a:cubicBezTo>
                    <a:cubicBezTo>
                      <a:pt x="676" y="161"/>
                      <a:pt x="676" y="161"/>
                      <a:pt x="676" y="161"/>
                    </a:cubicBezTo>
                    <a:cubicBezTo>
                      <a:pt x="677" y="161"/>
                      <a:pt x="677" y="161"/>
                      <a:pt x="677" y="161"/>
                    </a:cubicBezTo>
                    <a:cubicBezTo>
                      <a:pt x="677" y="160"/>
                      <a:pt x="677" y="160"/>
                      <a:pt x="677" y="160"/>
                    </a:cubicBezTo>
                    <a:cubicBezTo>
                      <a:pt x="678" y="158"/>
                      <a:pt x="678" y="158"/>
                      <a:pt x="678" y="158"/>
                    </a:cubicBezTo>
                    <a:cubicBezTo>
                      <a:pt x="678" y="157"/>
                      <a:pt x="678" y="157"/>
                      <a:pt x="678" y="157"/>
                    </a:cubicBezTo>
                    <a:cubicBezTo>
                      <a:pt x="678" y="156"/>
                      <a:pt x="678" y="156"/>
                      <a:pt x="678" y="156"/>
                    </a:cubicBezTo>
                    <a:cubicBezTo>
                      <a:pt x="679" y="156"/>
                      <a:pt x="679" y="156"/>
                      <a:pt x="679" y="156"/>
                    </a:cubicBezTo>
                    <a:cubicBezTo>
                      <a:pt x="679" y="155"/>
                      <a:pt x="679" y="155"/>
                      <a:pt x="679" y="155"/>
                    </a:cubicBezTo>
                    <a:cubicBezTo>
                      <a:pt x="678" y="153"/>
                      <a:pt x="678" y="153"/>
                      <a:pt x="678" y="153"/>
                    </a:cubicBezTo>
                    <a:cubicBezTo>
                      <a:pt x="679" y="152"/>
                      <a:pt x="679" y="152"/>
                      <a:pt x="679" y="152"/>
                    </a:cubicBezTo>
                    <a:cubicBezTo>
                      <a:pt x="677" y="151"/>
                      <a:pt x="677" y="151"/>
                      <a:pt x="677" y="151"/>
                    </a:cubicBezTo>
                    <a:cubicBezTo>
                      <a:pt x="677" y="149"/>
                      <a:pt x="677" y="149"/>
                      <a:pt x="677" y="149"/>
                    </a:cubicBezTo>
                    <a:cubicBezTo>
                      <a:pt x="676" y="146"/>
                      <a:pt x="676" y="146"/>
                      <a:pt x="676" y="146"/>
                    </a:cubicBezTo>
                    <a:cubicBezTo>
                      <a:pt x="675" y="146"/>
                      <a:pt x="675" y="146"/>
                      <a:pt x="675" y="146"/>
                    </a:cubicBezTo>
                    <a:cubicBezTo>
                      <a:pt x="674" y="146"/>
                      <a:pt x="674" y="146"/>
                      <a:pt x="674" y="146"/>
                    </a:cubicBezTo>
                    <a:cubicBezTo>
                      <a:pt x="674" y="147"/>
                      <a:pt x="674" y="147"/>
                      <a:pt x="674" y="147"/>
                    </a:cubicBezTo>
                    <a:cubicBezTo>
                      <a:pt x="672" y="145"/>
                      <a:pt x="672" y="145"/>
                      <a:pt x="672" y="145"/>
                    </a:cubicBezTo>
                    <a:cubicBezTo>
                      <a:pt x="671" y="145"/>
                      <a:pt x="671" y="145"/>
                      <a:pt x="671" y="145"/>
                    </a:cubicBezTo>
                    <a:cubicBezTo>
                      <a:pt x="671" y="144"/>
                      <a:pt x="671" y="144"/>
                      <a:pt x="671" y="144"/>
                    </a:cubicBezTo>
                    <a:cubicBezTo>
                      <a:pt x="670" y="144"/>
                      <a:pt x="670" y="144"/>
                      <a:pt x="670" y="144"/>
                    </a:cubicBezTo>
                    <a:cubicBezTo>
                      <a:pt x="670" y="146"/>
                      <a:pt x="670" y="146"/>
                      <a:pt x="670" y="146"/>
                    </a:cubicBezTo>
                    <a:cubicBezTo>
                      <a:pt x="669" y="146"/>
                      <a:pt x="669" y="146"/>
                      <a:pt x="669" y="146"/>
                    </a:cubicBezTo>
                    <a:cubicBezTo>
                      <a:pt x="668" y="147"/>
                      <a:pt x="668" y="147"/>
                      <a:pt x="668" y="147"/>
                    </a:cubicBezTo>
                    <a:cubicBezTo>
                      <a:pt x="668" y="148"/>
                      <a:pt x="668" y="148"/>
                      <a:pt x="668" y="148"/>
                    </a:cubicBezTo>
                    <a:cubicBezTo>
                      <a:pt x="667" y="149"/>
                      <a:pt x="667" y="149"/>
                      <a:pt x="667" y="149"/>
                    </a:cubicBezTo>
                    <a:cubicBezTo>
                      <a:pt x="666" y="152"/>
                      <a:pt x="666" y="152"/>
                      <a:pt x="666" y="152"/>
                    </a:cubicBezTo>
                    <a:cubicBezTo>
                      <a:pt x="666" y="153"/>
                      <a:pt x="666" y="153"/>
                      <a:pt x="666" y="153"/>
                    </a:cubicBezTo>
                    <a:cubicBezTo>
                      <a:pt x="666" y="154"/>
                      <a:pt x="666" y="154"/>
                      <a:pt x="666" y="154"/>
                    </a:cubicBezTo>
                    <a:cubicBezTo>
                      <a:pt x="665" y="155"/>
                      <a:pt x="665" y="155"/>
                      <a:pt x="665" y="155"/>
                    </a:cubicBezTo>
                    <a:cubicBezTo>
                      <a:pt x="665" y="156"/>
                      <a:pt x="665" y="156"/>
                      <a:pt x="665" y="156"/>
                    </a:cubicBezTo>
                    <a:cubicBezTo>
                      <a:pt x="665" y="157"/>
                      <a:pt x="665" y="157"/>
                      <a:pt x="665" y="157"/>
                    </a:cubicBezTo>
                    <a:cubicBezTo>
                      <a:pt x="664" y="157"/>
                      <a:pt x="664" y="157"/>
                      <a:pt x="664" y="157"/>
                    </a:cubicBezTo>
                    <a:cubicBezTo>
                      <a:pt x="664" y="160"/>
                      <a:pt x="664" y="160"/>
                      <a:pt x="664" y="160"/>
                    </a:cubicBezTo>
                    <a:cubicBezTo>
                      <a:pt x="663" y="161"/>
                      <a:pt x="663" y="161"/>
                      <a:pt x="663" y="161"/>
                    </a:cubicBezTo>
                    <a:cubicBezTo>
                      <a:pt x="662" y="160"/>
                      <a:pt x="662" y="160"/>
                      <a:pt x="662" y="160"/>
                    </a:cubicBezTo>
                    <a:cubicBezTo>
                      <a:pt x="662" y="162"/>
                      <a:pt x="662" y="162"/>
                      <a:pt x="662" y="162"/>
                    </a:cubicBezTo>
                    <a:cubicBezTo>
                      <a:pt x="662" y="163"/>
                      <a:pt x="662" y="163"/>
                      <a:pt x="662" y="163"/>
                    </a:cubicBezTo>
                    <a:cubicBezTo>
                      <a:pt x="662" y="164"/>
                      <a:pt x="662" y="164"/>
                      <a:pt x="662" y="164"/>
                    </a:cubicBezTo>
                    <a:cubicBezTo>
                      <a:pt x="661" y="166"/>
                      <a:pt x="661" y="166"/>
                      <a:pt x="661" y="166"/>
                    </a:cubicBezTo>
                    <a:cubicBezTo>
                      <a:pt x="661" y="167"/>
                      <a:pt x="661" y="167"/>
                      <a:pt x="661" y="167"/>
                    </a:cubicBezTo>
                    <a:cubicBezTo>
                      <a:pt x="661" y="168"/>
                      <a:pt x="661" y="168"/>
                      <a:pt x="661" y="168"/>
                    </a:cubicBezTo>
                    <a:cubicBezTo>
                      <a:pt x="661" y="169"/>
                      <a:pt x="661" y="169"/>
                      <a:pt x="661" y="169"/>
                    </a:cubicBezTo>
                    <a:cubicBezTo>
                      <a:pt x="660" y="169"/>
                      <a:pt x="660" y="169"/>
                      <a:pt x="660" y="169"/>
                    </a:cubicBezTo>
                    <a:cubicBezTo>
                      <a:pt x="661" y="170"/>
                      <a:pt x="661" y="170"/>
                      <a:pt x="661" y="170"/>
                    </a:cubicBezTo>
                    <a:cubicBezTo>
                      <a:pt x="660" y="171"/>
                      <a:pt x="660" y="171"/>
                      <a:pt x="660" y="171"/>
                    </a:cubicBezTo>
                    <a:cubicBezTo>
                      <a:pt x="659" y="171"/>
                      <a:pt x="659" y="171"/>
                      <a:pt x="659" y="171"/>
                    </a:cubicBezTo>
                    <a:cubicBezTo>
                      <a:pt x="658" y="171"/>
                      <a:pt x="658" y="171"/>
                      <a:pt x="658" y="171"/>
                    </a:cubicBezTo>
                    <a:cubicBezTo>
                      <a:pt x="657" y="172"/>
                      <a:pt x="657" y="172"/>
                      <a:pt x="657" y="172"/>
                    </a:cubicBezTo>
                    <a:cubicBezTo>
                      <a:pt x="658" y="173"/>
                      <a:pt x="658" y="173"/>
                      <a:pt x="658" y="173"/>
                    </a:cubicBezTo>
                    <a:cubicBezTo>
                      <a:pt x="657" y="173"/>
                      <a:pt x="657" y="173"/>
                      <a:pt x="657" y="173"/>
                    </a:cubicBezTo>
                    <a:cubicBezTo>
                      <a:pt x="656" y="173"/>
                      <a:pt x="656" y="173"/>
                      <a:pt x="656" y="173"/>
                    </a:cubicBezTo>
                    <a:cubicBezTo>
                      <a:pt x="656" y="172"/>
                      <a:pt x="656" y="172"/>
                      <a:pt x="656" y="172"/>
                    </a:cubicBezTo>
                    <a:cubicBezTo>
                      <a:pt x="656" y="171"/>
                      <a:pt x="656" y="171"/>
                      <a:pt x="656" y="171"/>
                    </a:cubicBezTo>
                    <a:cubicBezTo>
                      <a:pt x="656" y="170"/>
                      <a:pt x="656" y="170"/>
                      <a:pt x="656" y="170"/>
                    </a:cubicBezTo>
                    <a:cubicBezTo>
                      <a:pt x="656" y="168"/>
                      <a:pt x="656" y="168"/>
                      <a:pt x="656" y="168"/>
                    </a:cubicBezTo>
                    <a:cubicBezTo>
                      <a:pt x="657" y="166"/>
                      <a:pt x="657" y="166"/>
                      <a:pt x="657" y="166"/>
                    </a:cubicBezTo>
                    <a:cubicBezTo>
                      <a:pt x="657" y="165"/>
                      <a:pt x="657" y="165"/>
                      <a:pt x="657" y="165"/>
                    </a:cubicBezTo>
                    <a:cubicBezTo>
                      <a:pt x="658" y="164"/>
                      <a:pt x="658" y="164"/>
                      <a:pt x="658" y="164"/>
                    </a:cubicBezTo>
                    <a:cubicBezTo>
                      <a:pt x="658" y="163"/>
                      <a:pt x="658" y="163"/>
                      <a:pt x="658" y="163"/>
                    </a:cubicBezTo>
                    <a:cubicBezTo>
                      <a:pt x="658" y="162"/>
                      <a:pt x="658" y="162"/>
                      <a:pt x="658" y="162"/>
                    </a:cubicBezTo>
                    <a:cubicBezTo>
                      <a:pt x="659" y="159"/>
                      <a:pt x="659" y="159"/>
                      <a:pt x="659" y="159"/>
                    </a:cubicBezTo>
                    <a:cubicBezTo>
                      <a:pt x="660" y="158"/>
                      <a:pt x="660" y="158"/>
                      <a:pt x="660" y="158"/>
                    </a:cubicBezTo>
                    <a:cubicBezTo>
                      <a:pt x="660" y="157"/>
                      <a:pt x="660" y="157"/>
                      <a:pt x="660" y="157"/>
                    </a:cubicBezTo>
                    <a:cubicBezTo>
                      <a:pt x="659" y="157"/>
                      <a:pt x="659" y="157"/>
                      <a:pt x="659" y="157"/>
                    </a:cubicBezTo>
                    <a:cubicBezTo>
                      <a:pt x="659" y="156"/>
                      <a:pt x="659" y="156"/>
                      <a:pt x="659" y="156"/>
                    </a:cubicBezTo>
                    <a:cubicBezTo>
                      <a:pt x="660" y="155"/>
                      <a:pt x="660" y="155"/>
                      <a:pt x="660" y="155"/>
                    </a:cubicBezTo>
                    <a:cubicBezTo>
                      <a:pt x="660" y="153"/>
                      <a:pt x="660" y="153"/>
                      <a:pt x="660" y="153"/>
                    </a:cubicBezTo>
                    <a:cubicBezTo>
                      <a:pt x="659" y="152"/>
                      <a:pt x="659" y="152"/>
                      <a:pt x="659" y="152"/>
                    </a:cubicBezTo>
                    <a:cubicBezTo>
                      <a:pt x="659" y="151"/>
                      <a:pt x="659" y="151"/>
                      <a:pt x="659" y="151"/>
                    </a:cubicBezTo>
                    <a:cubicBezTo>
                      <a:pt x="659" y="150"/>
                      <a:pt x="659" y="150"/>
                      <a:pt x="659" y="150"/>
                    </a:cubicBezTo>
                    <a:cubicBezTo>
                      <a:pt x="659" y="149"/>
                      <a:pt x="659" y="149"/>
                      <a:pt x="659" y="149"/>
                    </a:cubicBezTo>
                    <a:cubicBezTo>
                      <a:pt x="658" y="149"/>
                      <a:pt x="658" y="149"/>
                      <a:pt x="658" y="149"/>
                    </a:cubicBezTo>
                    <a:cubicBezTo>
                      <a:pt x="657" y="147"/>
                      <a:pt x="657" y="147"/>
                      <a:pt x="657" y="147"/>
                    </a:cubicBezTo>
                    <a:cubicBezTo>
                      <a:pt x="656" y="148"/>
                      <a:pt x="656" y="148"/>
                      <a:pt x="656" y="148"/>
                    </a:cubicBezTo>
                    <a:cubicBezTo>
                      <a:pt x="655" y="149"/>
                      <a:pt x="655" y="149"/>
                      <a:pt x="655" y="149"/>
                    </a:cubicBezTo>
                    <a:cubicBezTo>
                      <a:pt x="656" y="150"/>
                      <a:pt x="656" y="150"/>
                      <a:pt x="656" y="150"/>
                    </a:cubicBezTo>
                    <a:cubicBezTo>
                      <a:pt x="656" y="151"/>
                      <a:pt x="656" y="151"/>
                      <a:pt x="656" y="151"/>
                    </a:cubicBezTo>
                    <a:cubicBezTo>
                      <a:pt x="657" y="152"/>
                      <a:pt x="657" y="152"/>
                      <a:pt x="657" y="152"/>
                    </a:cubicBezTo>
                    <a:cubicBezTo>
                      <a:pt x="657" y="153"/>
                      <a:pt x="657" y="153"/>
                      <a:pt x="657" y="153"/>
                    </a:cubicBezTo>
                    <a:cubicBezTo>
                      <a:pt x="656" y="153"/>
                      <a:pt x="656" y="153"/>
                      <a:pt x="656" y="153"/>
                    </a:cubicBezTo>
                    <a:cubicBezTo>
                      <a:pt x="656" y="151"/>
                      <a:pt x="656" y="151"/>
                      <a:pt x="656" y="151"/>
                    </a:cubicBezTo>
                    <a:cubicBezTo>
                      <a:pt x="655" y="151"/>
                      <a:pt x="655" y="151"/>
                      <a:pt x="655" y="151"/>
                    </a:cubicBezTo>
                    <a:cubicBezTo>
                      <a:pt x="654" y="153"/>
                      <a:pt x="654" y="153"/>
                      <a:pt x="654" y="153"/>
                    </a:cubicBezTo>
                    <a:cubicBezTo>
                      <a:pt x="655" y="153"/>
                      <a:pt x="655" y="153"/>
                      <a:pt x="655" y="153"/>
                    </a:cubicBezTo>
                    <a:cubicBezTo>
                      <a:pt x="655" y="154"/>
                      <a:pt x="655" y="154"/>
                      <a:pt x="655" y="154"/>
                    </a:cubicBezTo>
                    <a:cubicBezTo>
                      <a:pt x="656" y="156"/>
                      <a:pt x="656" y="156"/>
                      <a:pt x="656" y="156"/>
                    </a:cubicBezTo>
                    <a:cubicBezTo>
                      <a:pt x="655" y="156"/>
                      <a:pt x="655" y="156"/>
                      <a:pt x="655" y="156"/>
                    </a:cubicBezTo>
                    <a:cubicBezTo>
                      <a:pt x="654" y="155"/>
                      <a:pt x="654" y="155"/>
                      <a:pt x="654" y="155"/>
                    </a:cubicBezTo>
                    <a:cubicBezTo>
                      <a:pt x="654" y="157"/>
                      <a:pt x="654" y="157"/>
                      <a:pt x="654" y="157"/>
                    </a:cubicBezTo>
                    <a:cubicBezTo>
                      <a:pt x="653" y="156"/>
                      <a:pt x="653" y="156"/>
                      <a:pt x="653" y="156"/>
                    </a:cubicBezTo>
                    <a:cubicBezTo>
                      <a:pt x="653" y="155"/>
                      <a:pt x="653" y="155"/>
                      <a:pt x="653" y="155"/>
                    </a:cubicBezTo>
                    <a:cubicBezTo>
                      <a:pt x="652" y="155"/>
                      <a:pt x="652" y="155"/>
                      <a:pt x="652" y="155"/>
                    </a:cubicBezTo>
                    <a:cubicBezTo>
                      <a:pt x="652" y="156"/>
                      <a:pt x="652" y="156"/>
                      <a:pt x="652" y="156"/>
                    </a:cubicBezTo>
                    <a:cubicBezTo>
                      <a:pt x="651" y="156"/>
                      <a:pt x="651" y="156"/>
                      <a:pt x="651" y="156"/>
                    </a:cubicBezTo>
                    <a:cubicBezTo>
                      <a:pt x="651" y="155"/>
                      <a:pt x="651" y="155"/>
                      <a:pt x="651" y="155"/>
                    </a:cubicBezTo>
                    <a:cubicBezTo>
                      <a:pt x="652" y="154"/>
                      <a:pt x="652" y="154"/>
                      <a:pt x="652" y="154"/>
                    </a:cubicBezTo>
                    <a:cubicBezTo>
                      <a:pt x="651" y="154"/>
                      <a:pt x="651" y="154"/>
                      <a:pt x="651" y="154"/>
                    </a:cubicBezTo>
                    <a:cubicBezTo>
                      <a:pt x="650" y="154"/>
                      <a:pt x="650" y="154"/>
                      <a:pt x="650" y="154"/>
                    </a:cubicBezTo>
                    <a:cubicBezTo>
                      <a:pt x="648" y="156"/>
                      <a:pt x="648" y="156"/>
                      <a:pt x="648" y="156"/>
                    </a:cubicBezTo>
                    <a:cubicBezTo>
                      <a:pt x="648" y="154"/>
                      <a:pt x="648" y="154"/>
                      <a:pt x="648" y="154"/>
                    </a:cubicBezTo>
                    <a:cubicBezTo>
                      <a:pt x="647" y="154"/>
                      <a:pt x="647" y="154"/>
                      <a:pt x="647" y="154"/>
                    </a:cubicBezTo>
                    <a:cubicBezTo>
                      <a:pt x="646" y="155"/>
                      <a:pt x="646" y="155"/>
                      <a:pt x="646" y="155"/>
                    </a:cubicBezTo>
                    <a:cubicBezTo>
                      <a:pt x="645" y="155"/>
                      <a:pt x="645" y="155"/>
                      <a:pt x="645" y="155"/>
                    </a:cubicBezTo>
                    <a:cubicBezTo>
                      <a:pt x="644" y="154"/>
                      <a:pt x="644" y="154"/>
                      <a:pt x="644" y="154"/>
                    </a:cubicBezTo>
                    <a:cubicBezTo>
                      <a:pt x="643" y="154"/>
                      <a:pt x="643" y="154"/>
                      <a:pt x="643" y="154"/>
                    </a:cubicBezTo>
                    <a:cubicBezTo>
                      <a:pt x="642" y="154"/>
                      <a:pt x="642" y="154"/>
                      <a:pt x="642" y="154"/>
                    </a:cubicBezTo>
                    <a:cubicBezTo>
                      <a:pt x="643" y="153"/>
                      <a:pt x="643" y="153"/>
                      <a:pt x="643" y="153"/>
                    </a:cubicBezTo>
                    <a:cubicBezTo>
                      <a:pt x="645" y="153"/>
                      <a:pt x="645" y="153"/>
                      <a:pt x="645" y="153"/>
                    </a:cubicBezTo>
                    <a:cubicBezTo>
                      <a:pt x="646" y="153"/>
                      <a:pt x="646" y="153"/>
                      <a:pt x="646" y="153"/>
                    </a:cubicBezTo>
                    <a:cubicBezTo>
                      <a:pt x="647" y="153"/>
                      <a:pt x="647" y="153"/>
                      <a:pt x="647" y="153"/>
                    </a:cubicBezTo>
                    <a:cubicBezTo>
                      <a:pt x="647" y="152"/>
                      <a:pt x="647" y="152"/>
                      <a:pt x="647" y="152"/>
                    </a:cubicBezTo>
                    <a:cubicBezTo>
                      <a:pt x="648" y="152"/>
                      <a:pt x="648" y="152"/>
                      <a:pt x="648" y="152"/>
                    </a:cubicBezTo>
                    <a:cubicBezTo>
                      <a:pt x="649" y="152"/>
                      <a:pt x="649" y="152"/>
                      <a:pt x="649" y="152"/>
                    </a:cubicBezTo>
                    <a:cubicBezTo>
                      <a:pt x="650" y="151"/>
                      <a:pt x="650" y="151"/>
                      <a:pt x="650" y="151"/>
                    </a:cubicBezTo>
                    <a:cubicBezTo>
                      <a:pt x="650" y="150"/>
                      <a:pt x="650" y="150"/>
                      <a:pt x="650" y="150"/>
                    </a:cubicBezTo>
                    <a:cubicBezTo>
                      <a:pt x="650" y="149"/>
                      <a:pt x="650" y="149"/>
                      <a:pt x="650" y="149"/>
                    </a:cubicBezTo>
                    <a:cubicBezTo>
                      <a:pt x="650" y="148"/>
                      <a:pt x="650" y="148"/>
                      <a:pt x="650" y="148"/>
                    </a:cubicBezTo>
                    <a:cubicBezTo>
                      <a:pt x="648" y="146"/>
                      <a:pt x="648" y="146"/>
                      <a:pt x="648" y="146"/>
                    </a:cubicBezTo>
                    <a:cubicBezTo>
                      <a:pt x="647" y="146"/>
                      <a:pt x="647" y="146"/>
                      <a:pt x="647" y="146"/>
                    </a:cubicBezTo>
                    <a:cubicBezTo>
                      <a:pt x="647" y="145"/>
                      <a:pt x="647" y="145"/>
                      <a:pt x="647" y="145"/>
                    </a:cubicBezTo>
                    <a:cubicBezTo>
                      <a:pt x="645" y="143"/>
                      <a:pt x="645" y="143"/>
                      <a:pt x="645" y="143"/>
                    </a:cubicBezTo>
                    <a:cubicBezTo>
                      <a:pt x="644" y="143"/>
                      <a:pt x="644" y="143"/>
                      <a:pt x="644" y="143"/>
                    </a:cubicBezTo>
                    <a:cubicBezTo>
                      <a:pt x="642" y="144"/>
                      <a:pt x="642" y="144"/>
                      <a:pt x="642" y="144"/>
                    </a:cubicBezTo>
                    <a:cubicBezTo>
                      <a:pt x="640" y="146"/>
                      <a:pt x="640" y="146"/>
                      <a:pt x="640" y="146"/>
                    </a:cubicBezTo>
                    <a:cubicBezTo>
                      <a:pt x="640" y="147"/>
                      <a:pt x="640" y="147"/>
                      <a:pt x="640" y="147"/>
                    </a:cubicBezTo>
                    <a:cubicBezTo>
                      <a:pt x="639" y="147"/>
                      <a:pt x="639" y="147"/>
                      <a:pt x="639" y="147"/>
                    </a:cubicBezTo>
                    <a:cubicBezTo>
                      <a:pt x="638" y="148"/>
                      <a:pt x="638" y="148"/>
                      <a:pt x="638" y="148"/>
                    </a:cubicBezTo>
                    <a:cubicBezTo>
                      <a:pt x="638" y="147"/>
                      <a:pt x="638" y="147"/>
                      <a:pt x="638" y="147"/>
                    </a:cubicBezTo>
                    <a:cubicBezTo>
                      <a:pt x="637" y="147"/>
                      <a:pt x="637" y="147"/>
                      <a:pt x="637" y="147"/>
                    </a:cubicBezTo>
                    <a:cubicBezTo>
                      <a:pt x="636" y="147"/>
                      <a:pt x="636" y="147"/>
                      <a:pt x="636" y="147"/>
                    </a:cubicBezTo>
                    <a:cubicBezTo>
                      <a:pt x="635" y="147"/>
                      <a:pt x="635" y="147"/>
                      <a:pt x="635" y="147"/>
                    </a:cubicBezTo>
                    <a:cubicBezTo>
                      <a:pt x="633" y="147"/>
                      <a:pt x="633" y="147"/>
                      <a:pt x="633" y="147"/>
                    </a:cubicBezTo>
                    <a:cubicBezTo>
                      <a:pt x="633" y="146"/>
                      <a:pt x="633" y="146"/>
                      <a:pt x="633" y="146"/>
                    </a:cubicBezTo>
                    <a:cubicBezTo>
                      <a:pt x="635" y="146"/>
                      <a:pt x="635" y="146"/>
                      <a:pt x="635" y="146"/>
                    </a:cubicBezTo>
                    <a:cubicBezTo>
                      <a:pt x="636" y="145"/>
                      <a:pt x="636" y="145"/>
                      <a:pt x="636" y="145"/>
                    </a:cubicBezTo>
                    <a:cubicBezTo>
                      <a:pt x="637" y="144"/>
                      <a:pt x="637" y="144"/>
                      <a:pt x="637" y="144"/>
                    </a:cubicBezTo>
                    <a:cubicBezTo>
                      <a:pt x="637" y="145"/>
                      <a:pt x="637" y="145"/>
                      <a:pt x="637" y="145"/>
                    </a:cubicBezTo>
                    <a:cubicBezTo>
                      <a:pt x="638" y="143"/>
                      <a:pt x="638" y="143"/>
                      <a:pt x="638" y="143"/>
                    </a:cubicBezTo>
                    <a:cubicBezTo>
                      <a:pt x="638" y="142"/>
                      <a:pt x="638" y="142"/>
                      <a:pt x="638" y="142"/>
                    </a:cubicBezTo>
                    <a:cubicBezTo>
                      <a:pt x="639" y="141"/>
                      <a:pt x="639" y="141"/>
                      <a:pt x="639" y="141"/>
                    </a:cubicBezTo>
                    <a:cubicBezTo>
                      <a:pt x="640" y="141"/>
                      <a:pt x="640" y="141"/>
                      <a:pt x="640" y="141"/>
                    </a:cubicBezTo>
                    <a:cubicBezTo>
                      <a:pt x="641" y="139"/>
                      <a:pt x="641" y="139"/>
                      <a:pt x="641" y="139"/>
                    </a:cubicBezTo>
                    <a:cubicBezTo>
                      <a:pt x="641" y="138"/>
                      <a:pt x="641" y="138"/>
                      <a:pt x="641" y="138"/>
                    </a:cubicBezTo>
                    <a:cubicBezTo>
                      <a:pt x="641" y="137"/>
                      <a:pt x="641" y="137"/>
                      <a:pt x="641" y="137"/>
                    </a:cubicBezTo>
                    <a:cubicBezTo>
                      <a:pt x="641" y="135"/>
                      <a:pt x="641" y="135"/>
                      <a:pt x="641" y="135"/>
                    </a:cubicBezTo>
                    <a:cubicBezTo>
                      <a:pt x="640" y="135"/>
                      <a:pt x="640" y="135"/>
                      <a:pt x="640" y="135"/>
                    </a:cubicBezTo>
                    <a:cubicBezTo>
                      <a:pt x="638" y="136"/>
                      <a:pt x="638" y="136"/>
                      <a:pt x="638" y="136"/>
                    </a:cubicBezTo>
                    <a:cubicBezTo>
                      <a:pt x="635" y="137"/>
                      <a:pt x="635" y="137"/>
                      <a:pt x="635" y="137"/>
                    </a:cubicBezTo>
                    <a:cubicBezTo>
                      <a:pt x="633" y="137"/>
                      <a:pt x="633" y="137"/>
                      <a:pt x="633" y="137"/>
                    </a:cubicBezTo>
                    <a:cubicBezTo>
                      <a:pt x="628" y="138"/>
                      <a:pt x="628" y="138"/>
                      <a:pt x="628" y="138"/>
                    </a:cubicBezTo>
                    <a:cubicBezTo>
                      <a:pt x="623" y="140"/>
                      <a:pt x="623" y="140"/>
                      <a:pt x="623" y="140"/>
                    </a:cubicBezTo>
                    <a:cubicBezTo>
                      <a:pt x="621" y="142"/>
                      <a:pt x="621" y="142"/>
                      <a:pt x="621" y="142"/>
                    </a:cubicBezTo>
                    <a:cubicBezTo>
                      <a:pt x="618" y="142"/>
                      <a:pt x="618" y="142"/>
                      <a:pt x="618" y="142"/>
                    </a:cubicBezTo>
                    <a:cubicBezTo>
                      <a:pt x="613" y="145"/>
                      <a:pt x="613" y="145"/>
                      <a:pt x="613" y="145"/>
                    </a:cubicBezTo>
                    <a:cubicBezTo>
                      <a:pt x="612" y="146"/>
                      <a:pt x="612" y="146"/>
                      <a:pt x="612" y="146"/>
                    </a:cubicBezTo>
                    <a:cubicBezTo>
                      <a:pt x="612" y="147"/>
                      <a:pt x="612" y="147"/>
                      <a:pt x="612" y="147"/>
                    </a:cubicBezTo>
                    <a:cubicBezTo>
                      <a:pt x="613" y="147"/>
                      <a:pt x="613" y="147"/>
                      <a:pt x="613" y="147"/>
                    </a:cubicBezTo>
                    <a:cubicBezTo>
                      <a:pt x="613" y="148"/>
                      <a:pt x="613" y="148"/>
                      <a:pt x="613" y="148"/>
                    </a:cubicBezTo>
                    <a:cubicBezTo>
                      <a:pt x="612" y="148"/>
                      <a:pt x="612" y="148"/>
                      <a:pt x="612" y="148"/>
                    </a:cubicBezTo>
                    <a:cubicBezTo>
                      <a:pt x="611" y="148"/>
                      <a:pt x="611" y="148"/>
                      <a:pt x="611" y="148"/>
                    </a:cubicBezTo>
                    <a:cubicBezTo>
                      <a:pt x="609" y="150"/>
                      <a:pt x="609" y="150"/>
                      <a:pt x="609" y="150"/>
                    </a:cubicBezTo>
                    <a:cubicBezTo>
                      <a:pt x="607" y="150"/>
                      <a:pt x="607" y="150"/>
                      <a:pt x="607" y="150"/>
                    </a:cubicBezTo>
                    <a:cubicBezTo>
                      <a:pt x="606" y="151"/>
                      <a:pt x="606" y="151"/>
                      <a:pt x="606" y="151"/>
                    </a:cubicBezTo>
                    <a:cubicBezTo>
                      <a:pt x="606" y="152"/>
                      <a:pt x="606" y="152"/>
                      <a:pt x="606" y="152"/>
                    </a:cubicBezTo>
                    <a:cubicBezTo>
                      <a:pt x="604" y="153"/>
                      <a:pt x="604" y="153"/>
                      <a:pt x="604" y="153"/>
                    </a:cubicBezTo>
                    <a:cubicBezTo>
                      <a:pt x="604" y="154"/>
                      <a:pt x="604" y="154"/>
                      <a:pt x="604" y="154"/>
                    </a:cubicBezTo>
                    <a:cubicBezTo>
                      <a:pt x="604" y="156"/>
                      <a:pt x="604" y="156"/>
                      <a:pt x="604" y="156"/>
                    </a:cubicBezTo>
                    <a:cubicBezTo>
                      <a:pt x="605" y="156"/>
                      <a:pt x="605" y="156"/>
                      <a:pt x="605" y="156"/>
                    </a:cubicBezTo>
                    <a:cubicBezTo>
                      <a:pt x="605" y="157"/>
                      <a:pt x="605" y="157"/>
                      <a:pt x="605" y="157"/>
                    </a:cubicBezTo>
                    <a:cubicBezTo>
                      <a:pt x="606" y="157"/>
                      <a:pt x="606" y="157"/>
                      <a:pt x="606" y="157"/>
                    </a:cubicBezTo>
                    <a:cubicBezTo>
                      <a:pt x="607" y="157"/>
                      <a:pt x="607" y="157"/>
                      <a:pt x="607" y="157"/>
                    </a:cubicBezTo>
                    <a:cubicBezTo>
                      <a:pt x="608" y="157"/>
                      <a:pt x="608" y="157"/>
                      <a:pt x="608" y="157"/>
                    </a:cubicBezTo>
                    <a:cubicBezTo>
                      <a:pt x="609" y="157"/>
                      <a:pt x="609" y="157"/>
                      <a:pt x="609" y="157"/>
                    </a:cubicBezTo>
                    <a:cubicBezTo>
                      <a:pt x="609" y="158"/>
                      <a:pt x="609" y="158"/>
                      <a:pt x="609" y="158"/>
                    </a:cubicBezTo>
                    <a:cubicBezTo>
                      <a:pt x="607" y="159"/>
                      <a:pt x="607" y="159"/>
                      <a:pt x="607" y="159"/>
                    </a:cubicBezTo>
                    <a:cubicBezTo>
                      <a:pt x="606" y="158"/>
                      <a:pt x="606" y="158"/>
                      <a:pt x="606" y="158"/>
                    </a:cubicBezTo>
                    <a:cubicBezTo>
                      <a:pt x="605" y="159"/>
                      <a:pt x="605" y="159"/>
                      <a:pt x="605" y="159"/>
                    </a:cubicBezTo>
                    <a:cubicBezTo>
                      <a:pt x="605" y="160"/>
                      <a:pt x="605" y="160"/>
                      <a:pt x="605" y="160"/>
                    </a:cubicBezTo>
                    <a:cubicBezTo>
                      <a:pt x="607" y="161"/>
                      <a:pt x="607" y="161"/>
                      <a:pt x="607" y="161"/>
                    </a:cubicBezTo>
                    <a:cubicBezTo>
                      <a:pt x="608" y="160"/>
                      <a:pt x="608" y="160"/>
                      <a:pt x="608" y="160"/>
                    </a:cubicBezTo>
                    <a:cubicBezTo>
                      <a:pt x="608" y="159"/>
                      <a:pt x="608" y="159"/>
                      <a:pt x="608" y="159"/>
                    </a:cubicBezTo>
                    <a:cubicBezTo>
                      <a:pt x="609" y="159"/>
                      <a:pt x="609" y="159"/>
                      <a:pt x="609" y="159"/>
                    </a:cubicBezTo>
                    <a:cubicBezTo>
                      <a:pt x="610" y="160"/>
                      <a:pt x="610" y="160"/>
                      <a:pt x="610" y="160"/>
                    </a:cubicBezTo>
                    <a:cubicBezTo>
                      <a:pt x="609" y="161"/>
                      <a:pt x="609" y="161"/>
                      <a:pt x="609" y="161"/>
                    </a:cubicBezTo>
                    <a:cubicBezTo>
                      <a:pt x="610" y="161"/>
                      <a:pt x="610" y="161"/>
                      <a:pt x="610" y="161"/>
                    </a:cubicBezTo>
                    <a:cubicBezTo>
                      <a:pt x="612" y="161"/>
                      <a:pt x="612" y="161"/>
                      <a:pt x="612" y="161"/>
                    </a:cubicBezTo>
                    <a:cubicBezTo>
                      <a:pt x="614" y="161"/>
                      <a:pt x="614" y="161"/>
                      <a:pt x="614" y="161"/>
                    </a:cubicBezTo>
                    <a:cubicBezTo>
                      <a:pt x="615" y="161"/>
                      <a:pt x="615" y="161"/>
                      <a:pt x="615" y="161"/>
                    </a:cubicBezTo>
                    <a:cubicBezTo>
                      <a:pt x="617" y="161"/>
                      <a:pt x="617" y="161"/>
                      <a:pt x="617" y="161"/>
                    </a:cubicBezTo>
                    <a:cubicBezTo>
                      <a:pt x="618" y="161"/>
                      <a:pt x="618" y="161"/>
                      <a:pt x="618" y="161"/>
                    </a:cubicBezTo>
                    <a:cubicBezTo>
                      <a:pt x="620" y="162"/>
                      <a:pt x="620" y="162"/>
                      <a:pt x="620" y="162"/>
                    </a:cubicBezTo>
                    <a:cubicBezTo>
                      <a:pt x="620" y="163"/>
                      <a:pt x="620" y="163"/>
                      <a:pt x="620" y="163"/>
                    </a:cubicBezTo>
                    <a:cubicBezTo>
                      <a:pt x="618" y="162"/>
                      <a:pt x="618" y="162"/>
                      <a:pt x="618" y="162"/>
                    </a:cubicBezTo>
                    <a:cubicBezTo>
                      <a:pt x="616" y="162"/>
                      <a:pt x="616" y="162"/>
                      <a:pt x="616" y="162"/>
                    </a:cubicBezTo>
                    <a:cubicBezTo>
                      <a:pt x="615" y="163"/>
                      <a:pt x="615" y="163"/>
                      <a:pt x="615" y="163"/>
                    </a:cubicBezTo>
                    <a:cubicBezTo>
                      <a:pt x="617" y="163"/>
                      <a:pt x="617" y="163"/>
                      <a:pt x="617" y="163"/>
                    </a:cubicBezTo>
                    <a:cubicBezTo>
                      <a:pt x="617" y="164"/>
                      <a:pt x="617" y="164"/>
                      <a:pt x="617" y="164"/>
                    </a:cubicBezTo>
                    <a:cubicBezTo>
                      <a:pt x="615" y="164"/>
                      <a:pt x="615" y="164"/>
                      <a:pt x="615" y="164"/>
                    </a:cubicBezTo>
                    <a:cubicBezTo>
                      <a:pt x="614" y="163"/>
                      <a:pt x="614" y="163"/>
                      <a:pt x="614" y="163"/>
                    </a:cubicBezTo>
                    <a:cubicBezTo>
                      <a:pt x="612" y="164"/>
                      <a:pt x="612" y="164"/>
                      <a:pt x="612" y="164"/>
                    </a:cubicBezTo>
                    <a:cubicBezTo>
                      <a:pt x="611" y="164"/>
                      <a:pt x="611" y="164"/>
                      <a:pt x="611" y="164"/>
                    </a:cubicBezTo>
                    <a:cubicBezTo>
                      <a:pt x="610" y="164"/>
                      <a:pt x="610" y="164"/>
                      <a:pt x="610" y="164"/>
                    </a:cubicBezTo>
                    <a:cubicBezTo>
                      <a:pt x="609" y="164"/>
                      <a:pt x="609" y="164"/>
                      <a:pt x="609" y="164"/>
                    </a:cubicBezTo>
                    <a:cubicBezTo>
                      <a:pt x="608" y="164"/>
                      <a:pt x="608" y="164"/>
                      <a:pt x="608" y="164"/>
                    </a:cubicBezTo>
                    <a:cubicBezTo>
                      <a:pt x="607" y="164"/>
                      <a:pt x="607" y="164"/>
                      <a:pt x="607" y="164"/>
                    </a:cubicBezTo>
                    <a:cubicBezTo>
                      <a:pt x="604" y="164"/>
                      <a:pt x="604" y="164"/>
                      <a:pt x="604" y="164"/>
                    </a:cubicBezTo>
                    <a:cubicBezTo>
                      <a:pt x="602" y="165"/>
                      <a:pt x="602" y="165"/>
                      <a:pt x="602" y="165"/>
                    </a:cubicBezTo>
                    <a:cubicBezTo>
                      <a:pt x="601" y="166"/>
                      <a:pt x="601" y="166"/>
                      <a:pt x="601" y="166"/>
                    </a:cubicBezTo>
                    <a:cubicBezTo>
                      <a:pt x="602" y="170"/>
                      <a:pt x="602" y="170"/>
                      <a:pt x="602" y="170"/>
                    </a:cubicBezTo>
                    <a:cubicBezTo>
                      <a:pt x="602" y="172"/>
                      <a:pt x="602" y="172"/>
                      <a:pt x="602" y="172"/>
                    </a:cubicBezTo>
                    <a:cubicBezTo>
                      <a:pt x="601" y="172"/>
                      <a:pt x="601" y="172"/>
                      <a:pt x="601" y="172"/>
                    </a:cubicBezTo>
                    <a:cubicBezTo>
                      <a:pt x="601" y="173"/>
                      <a:pt x="601" y="173"/>
                      <a:pt x="601" y="173"/>
                    </a:cubicBezTo>
                    <a:cubicBezTo>
                      <a:pt x="602" y="173"/>
                      <a:pt x="602" y="173"/>
                      <a:pt x="602" y="173"/>
                    </a:cubicBezTo>
                    <a:cubicBezTo>
                      <a:pt x="603" y="173"/>
                      <a:pt x="603" y="173"/>
                      <a:pt x="603" y="173"/>
                    </a:cubicBezTo>
                    <a:cubicBezTo>
                      <a:pt x="604" y="173"/>
                      <a:pt x="604" y="173"/>
                      <a:pt x="604" y="173"/>
                    </a:cubicBezTo>
                    <a:cubicBezTo>
                      <a:pt x="604" y="174"/>
                      <a:pt x="604" y="174"/>
                      <a:pt x="604" y="174"/>
                    </a:cubicBezTo>
                    <a:cubicBezTo>
                      <a:pt x="606" y="174"/>
                      <a:pt x="606" y="174"/>
                      <a:pt x="606" y="174"/>
                    </a:cubicBezTo>
                    <a:cubicBezTo>
                      <a:pt x="606" y="173"/>
                      <a:pt x="606" y="173"/>
                      <a:pt x="606" y="173"/>
                    </a:cubicBezTo>
                    <a:cubicBezTo>
                      <a:pt x="607" y="174"/>
                      <a:pt x="607" y="174"/>
                      <a:pt x="607" y="174"/>
                    </a:cubicBezTo>
                    <a:cubicBezTo>
                      <a:pt x="608" y="174"/>
                      <a:pt x="608" y="174"/>
                      <a:pt x="608" y="174"/>
                    </a:cubicBezTo>
                    <a:cubicBezTo>
                      <a:pt x="609" y="174"/>
                      <a:pt x="609" y="174"/>
                      <a:pt x="609" y="174"/>
                    </a:cubicBezTo>
                    <a:cubicBezTo>
                      <a:pt x="609" y="175"/>
                      <a:pt x="609" y="175"/>
                      <a:pt x="609" y="175"/>
                    </a:cubicBezTo>
                    <a:cubicBezTo>
                      <a:pt x="610" y="175"/>
                      <a:pt x="610" y="175"/>
                      <a:pt x="610" y="175"/>
                    </a:cubicBezTo>
                    <a:cubicBezTo>
                      <a:pt x="611" y="175"/>
                      <a:pt x="611" y="175"/>
                      <a:pt x="611" y="175"/>
                    </a:cubicBezTo>
                    <a:cubicBezTo>
                      <a:pt x="612" y="176"/>
                      <a:pt x="612" y="176"/>
                      <a:pt x="612" y="176"/>
                    </a:cubicBezTo>
                    <a:cubicBezTo>
                      <a:pt x="613" y="176"/>
                      <a:pt x="613" y="176"/>
                      <a:pt x="613" y="176"/>
                    </a:cubicBezTo>
                    <a:cubicBezTo>
                      <a:pt x="614" y="176"/>
                      <a:pt x="614" y="176"/>
                      <a:pt x="614" y="176"/>
                    </a:cubicBezTo>
                    <a:cubicBezTo>
                      <a:pt x="615" y="176"/>
                      <a:pt x="615" y="176"/>
                      <a:pt x="615" y="176"/>
                    </a:cubicBezTo>
                    <a:cubicBezTo>
                      <a:pt x="616" y="175"/>
                      <a:pt x="616" y="175"/>
                      <a:pt x="616" y="175"/>
                    </a:cubicBezTo>
                    <a:cubicBezTo>
                      <a:pt x="617" y="176"/>
                      <a:pt x="617" y="176"/>
                      <a:pt x="617" y="176"/>
                    </a:cubicBezTo>
                    <a:cubicBezTo>
                      <a:pt x="619" y="176"/>
                      <a:pt x="619" y="176"/>
                      <a:pt x="619" y="176"/>
                    </a:cubicBezTo>
                    <a:cubicBezTo>
                      <a:pt x="620" y="176"/>
                      <a:pt x="620" y="176"/>
                      <a:pt x="620" y="176"/>
                    </a:cubicBezTo>
                    <a:cubicBezTo>
                      <a:pt x="621" y="176"/>
                      <a:pt x="621" y="176"/>
                      <a:pt x="621" y="176"/>
                    </a:cubicBezTo>
                    <a:cubicBezTo>
                      <a:pt x="621" y="177"/>
                      <a:pt x="621" y="177"/>
                      <a:pt x="621" y="177"/>
                    </a:cubicBezTo>
                    <a:cubicBezTo>
                      <a:pt x="622" y="176"/>
                      <a:pt x="622" y="176"/>
                      <a:pt x="622" y="176"/>
                    </a:cubicBezTo>
                    <a:cubicBezTo>
                      <a:pt x="622" y="177"/>
                      <a:pt x="622" y="177"/>
                      <a:pt x="622" y="177"/>
                    </a:cubicBezTo>
                    <a:cubicBezTo>
                      <a:pt x="623" y="178"/>
                      <a:pt x="623" y="178"/>
                      <a:pt x="623" y="178"/>
                    </a:cubicBezTo>
                    <a:cubicBezTo>
                      <a:pt x="623" y="179"/>
                      <a:pt x="623" y="179"/>
                      <a:pt x="623" y="179"/>
                    </a:cubicBezTo>
                    <a:cubicBezTo>
                      <a:pt x="624" y="179"/>
                      <a:pt x="624" y="179"/>
                      <a:pt x="624" y="179"/>
                    </a:cubicBezTo>
                    <a:cubicBezTo>
                      <a:pt x="625" y="179"/>
                      <a:pt x="625" y="179"/>
                      <a:pt x="625" y="179"/>
                    </a:cubicBezTo>
                    <a:cubicBezTo>
                      <a:pt x="626" y="180"/>
                      <a:pt x="626" y="180"/>
                      <a:pt x="626" y="180"/>
                    </a:cubicBezTo>
                    <a:cubicBezTo>
                      <a:pt x="626" y="181"/>
                      <a:pt x="626" y="181"/>
                      <a:pt x="626" y="181"/>
                    </a:cubicBezTo>
                    <a:cubicBezTo>
                      <a:pt x="627" y="181"/>
                      <a:pt x="627" y="181"/>
                      <a:pt x="627" y="181"/>
                    </a:cubicBezTo>
                    <a:cubicBezTo>
                      <a:pt x="627" y="182"/>
                      <a:pt x="627" y="182"/>
                      <a:pt x="627" y="182"/>
                    </a:cubicBezTo>
                    <a:cubicBezTo>
                      <a:pt x="627" y="183"/>
                      <a:pt x="627" y="183"/>
                      <a:pt x="627" y="183"/>
                    </a:cubicBezTo>
                    <a:cubicBezTo>
                      <a:pt x="628" y="184"/>
                      <a:pt x="628" y="184"/>
                      <a:pt x="628" y="184"/>
                    </a:cubicBezTo>
                    <a:cubicBezTo>
                      <a:pt x="630" y="185"/>
                      <a:pt x="630" y="185"/>
                      <a:pt x="630" y="185"/>
                    </a:cubicBezTo>
                    <a:cubicBezTo>
                      <a:pt x="630" y="186"/>
                      <a:pt x="630" y="186"/>
                      <a:pt x="630" y="186"/>
                    </a:cubicBezTo>
                    <a:cubicBezTo>
                      <a:pt x="629" y="186"/>
                      <a:pt x="629" y="186"/>
                      <a:pt x="629" y="186"/>
                    </a:cubicBezTo>
                    <a:cubicBezTo>
                      <a:pt x="630" y="187"/>
                      <a:pt x="630" y="187"/>
                      <a:pt x="630" y="187"/>
                    </a:cubicBezTo>
                    <a:cubicBezTo>
                      <a:pt x="629" y="187"/>
                      <a:pt x="629" y="187"/>
                      <a:pt x="629" y="187"/>
                    </a:cubicBezTo>
                    <a:cubicBezTo>
                      <a:pt x="627" y="186"/>
                      <a:pt x="627" y="186"/>
                      <a:pt x="627" y="186"/>
                    </a:cubicBezTo>
                    <a:cubicBezTo>
                      <a:pt x="625" y="185"/>
                      <a:pt x="625" y="185"/>
                      <a:pt x="625" y="185"/>
                    </a:cubicBezTo>
                    <a:cubicBezTo>
                      <a:pt x="624" y="186"/>
                      <a:pt x="624" y="186"/>
                      <a:pt x="624" y="186"/>
                    </a:cubicBezTo>
                    <a:cubicBezTo>
                      <a:pt x="623" y="185"/>
                      <a:pt x="623" y="185"/>
                      <a:pt x="623" y="185"/>
                    </a:cubicBezTo>
                    <a:cubicBezTo>
                      <a:pt x="623" y="186"/>
                      <a:pt x="623" y="186"/>
                      <a:pt x="623" y="186"/>
                    </a:cubicBezTo>
                    <a:cubicBezTo>
                      <a:pt x="622" y="186"/>
                      <a:pt x="622" y="186"/>
                      <a:pt x="622" y="186"/>
                    </a:cubicBezTo>
                    <a:cubicBezTo>
                      <a:pt x="621" y="185"/>
                      <a:pt x="621" y="185"/>
                      <a:pt x="621" y="185"/>
                    </a:cubicBezTo>
                    <a:cubicBezTo>
                      <a:pt x="620" y="185"/>
                      <a:pt x="620" y="185"/>
                      <a:pt x="620" y="185"/>
                    </a:cubicBezTo>
                    <a:cubicBezTo>
                      <a:pt x="620" y="184"/>
                      <a:pt x="620" y="184"/>
                      <a:pt x="620" y="184"/>
                    </a:cubicBezTo>
                    <a:cubicBezTo>
                      <a:pt x="619" y="183"/>
                      <a:pt x="619" y="183"/>
                      <a:pt x="619" y="183"/>
                    </a:cubicBezTo>
                    <a:cubicBezTo>
                      <a:pt x="618" y="184"/>
                      <a:pt x="618" y="184"/>
                      <a:pt x="618" y="184"/>
                    </a:cubicBezTo>
                    <a:cubicBezTo>
                      <a:pt x="617" y="183"/>
                      <a:pt x="617" y="183"/>
                      <a:pt x="617" y="183"/>
                    </a:cubicBezTo>
                    <a:cubicBezTo>
                      <a:pt x="616" y="183"/>
                      <a:pt x="616" y="183"/>
                      <a:pt x="616" y="183"/>
                    </a:cubicBezTo>
                    <a:cubicBezTo>
                      <a:pt x="615" y="182"/>
                      <a:pt x="615" y="182"/>
                      <a:pt x="615" y="182"/>
                    </a:cubicBezTo>
                    <a:cubicBezTo>
                      <a:pt x="615" y="181"/>
                      <a:pt x="615" y="181"/>
                      <a:pt x="615" y="181"/>
                    </a:cubicBezTo>
                    <a:cubicBezTo>
                      <a:pt x="614" y="181"/>
                      <a:pt x="614" y="181"/>
                      <a:pt x="614" y="181"/>
                    </a:cubicBezTo>
                    <a:cubicBezTo>
                      <a:pt x="612" y="181"/>
                      <a:pt x="612" y="181"/>
                      <a:pt x="612" y="181"/>
                    </a:cubicBezTo>
                    <a:cubicBezTo>
                      <a:pt x="609" y="181"/>
                      <a:pt x="609" y="181"/>
                      <a:pt x="609" y="181"/>
                    </a:cubicBezTo>
                    <a:cubicBezTo>
                      <a:pt x="607" y="181"/>
                      <a:pt x="607" y="181"/>
                      <a:pt x="607" y="181"/>
                    </a:cubicBezTo>
                    <a:cubicBezTo>
                      <a:pt x="606" y="180"/>
                      <a:pt x="606" y="180"/>
                      <a:pt x="606" y="180"/>
                    </a:cubicBezTo>
                    <a:cubicBezTo>
                      <a:pt x="601" y="180"/>
                      <a:pt x="601" y="180"/>
                      <a:pt x="601" y="180"/>
                    </a:cubicBezTo>
                    <a:cubicBezTo>
                      <a:pt x="600" y="181"/>
                      <a:pt x="600" y="181"/>
                      <a:pt x="600" y="181"/>
                    </a:cubicBezTo>
                    <a:cubicBezTo>
                      <a:pt x="599" y="181"/>
                      <a:pt x="599" y="181"/>
                      <a:pt x="599" y="181"/>
                    </a:cubicBezTo>
                    <a:cubicBezTo>
                      <a:pt x="598" y="182"/>
                      <a:pt x="598" y="182"/>
                      <a:pt x="598" y="182"/>
                    </a:cubicBezTo>
                    <a:cubicBezTo>
                      <a:pt x="598" y="184"/>
                      <a:pt x="598" y="184"/>
                      <a:pt x="598" y="184"/>
                    </a:cubicBezTo>
                    <a:cubicBezTo>
                      <a:pt x="597" y="186"/>
                      <a:pt x="597" y="186"/>
                      <a:pt x="597" y="186"/>
                    </a:cubicBezTo>
                    <a:cubicBezTo>
                      <a:pt x="597" y="188"/>
                      <a:pt x="597" y="188"/>
                      <a:pt x="597" y="188"/>
                    </a:cubicBezTo>
                    <a:cubicBezTo>
                      <a:pt x="597" y="189"/>
                      <a:pt x="597" y="189"/>
                      <a:pt x="597" y="189"/>
                    </a:cubicBezTo>
                    <a:cubicBezTo>
                      <a:pt x="598" y="189"/>
                      <a:pt x="598" y="189"/>
                      <a:pt x="598" y="189"/>
                    </a:cubicBezTo>
                    <a:cubicBezTo>
                      <a:pt x="598" y="190"/>
                      <a:pt x="598" y="190"/>
                      <a:pt x="598" y="190"/>
                    </a:cubicBezTo>
                    <a:cubicBezTo>
                      <a:pt x="597" y="190"/>
                      <a:pt x="597" y="190"/>
                      <a:pt x="597" y="190"/>
                    </a:cubicBezTo>
                    <a:cubicBezTo>
                      <a:pt x="598" y="193"/>
                      <a:pt x="598" y="193"/>
                      <a:pt x="598" y="193"/>
                    </a:cubicBezTo>
                    <a:cubicBezTo>
                      <a:pt x="599" y="194"/>
                      <a:pt x="599" y="194"/>
                      <a:pt x="599" y="194"/>
                    </a:cubicBezTo>
                    <a:cubicBezTo>
                      <a:pt x="600" y="194"/>
                      <a:pt x="600" y="194"/>
                      <a:pt x="600" y="194"/>
                    </a:cubicBezTo>
                    <a:cubicBezTo>
                      <a:pt x="601" y="195"/>
                      <a:pt x="601" y="195"/>
                      <a:pt x="601" y="195"/>
                    </a:cubicBezTo>
                    <a:cubicBezTo>
                      <a:pt x="602" y="196"/>
                      <a:pt x="602" y="196"/>
                      <a:pt x="602" y="196"/>
                    </a:cubicBezTo>
                    <a:cubicBezTo>
                      <a:pt x="603" y="196"/>
                      <a:pt x="603" y="196"/>
                      <a:pt x="603" y="196"/>
                    </a:cubicBezTo>
                    <a:cubicBezTo>
                      <a:pt x="604" y="196"/>
                      <a:pt x="604" y="196"/>
                      <a:pt x="604" y="196"/>
                    </a:cubicBezTo>
                    <a:cubicBezTo>
                      <a:pt x="604" y="197"/>
                      <a:pt x="604" y="197"/>
                      <a:pt x="604" y="197"/>
                    </a:cubicBezTo>
                    <a:cubicBezTo>
                      <a:pt x="606" y="196"/>
                      <a:pt x="606" y="196"/>
                      <a:pt x="606" y="196"/>
                    </a:cubicBezTo>
                    <a:cubicBezTo>
                      <a:pt x="607" y="197"/>
                      <a:pt x="607" y="197"/>
                      <a:pt x="607" y="197"/>
                    </a:cubicBezTo>
                    <a:cubicBezTo>
                      <a:pt x="609" y="197"/>
                      <a:pt x="609" y="197"/>
                      <a:pt x="609" y="197"/>
                    </a:cubicBezTo>
                    <a:cubicBezTo>
                      <a:pt x="609" y="198"/>
                      <a:pt x="609" y="198"/>
                      <a:pt x="609" y="198"/>
                    </a:cubicBezTo>
                    <a:cubicBezTo>
                      <a:pt x="610" y="199"/>
                      <a:pt x="610" y="199"/>
                      <a:pt x="610" y="199"/>
                    </a:cubicBezTo>
                    <a:cubicBezTo>
                      <a:pt x="609" y="200"/>
                      <a:pt x="609" y="200"/>
                      <a:pt x="609" y="200"/>
                    </a:cubicBezTo>
                    <a:cubicBezTo>
                      <a:pt x="609" y="201"/>
                      <a:pt x="609" y="201"/>
                      <a:pt x="609" y="201"/>
                    </a:cubicBezTo>
                    <a:cubicBezTo>
                      <a:pt x="609" y="202"/>
                      <a:pt x="609" y="202"/>
                      <a:pt x="609" y="202"/>
                    </a:cubicBezTo>
                    <a:cubicBezTo>
                      <a:pt x="608" y="203"/>
                      <a:pt x="608" y="203"/>
                      <a:pt x="608" y="203"/>
                    </a:cubicBezTo>
                    <a:cubicBezTo>
                      <a:pt x="607" y="203"/>
                      <a:pt x="607" y="203"/>
                      <a:pt x="607" y="203"/>
                    </a:cubicBezTo>
                    <a:cubicBezTo>
                      <a:pt x="607" y="204"/>
                      <a:pt x="607" y="204"/>
                      <a:pt x="607" y="204"/>
                    </a:cubicBezTo>
                    <a:cubicBezTo>
                      <a:pt x="606" y="205"/>
                      <a:pt x="606" y="205"/>
                      <a:pt x="606" y="205"/>
                    </a:cubicBezTo>
                    <a:cubicBezTo>
                      <a:pt x="607" y="205"/>
                      <a:pt x="607" y="205"/>
                      <a:pt x="607" y="205"/>
                    </a:cubicBezTo>
                    <a:cubicBezTo>
                      <a:pt x="607" y="207"/>
                      <a:pt x="607" y="207"/>
                      <a:pt x="607" y="207"/>
                    </a:cubicBezTo>
                    <a:cubicBezTo>
                      <a:pt x="608" y="208"/>
                      <a:pt x="608" y="208"/>
                      <a:pt x="608" y="208"/>
                    </a:cubicBezTo>
                    <a:cubicBezTo>
                      <a:pt x="608" y="209"/>
                      <a:pt x="608" y="209"/>
                      <a:pt x="608" y="209"/>
                    </a:cubicBezTo>
                    <a:cubicBezTo>
                      <a:pt x="606" y="209"/>
                      <a:pt x="606" y="209"/>
                      <a:pt x="606" y="209"/>
                    </a:cubicBezTo>
                    <a:cubicBezTo>
                      <a:pt x="607" y="210"/>
                      <a:pt x="607" y="210"/>
                      <a:pt x="607" y="210"/>
                    </a:cubicBezTo>
                    <a:cubicBezTo>
                      <a:pt x="609" y="210"/>
                      <a:pt x="609" y="210"/>
                      <a:pt x="609" y="210"/>
                    </a:cubicBezTo>
                    <a:cubicBezTo>
                      <a:pt x="610" y="210"/>
                      <a:pt x="610" y="210"/>
                      <a:pt x="610" y="210"/>
                    </a:cubicBezTo>
                    <a:cubicBezTo>
                      <a:pt x="611" y="211"/>
                      <a:pt x="611" y="211"/>
                      <a:pt x="611" y="211"/>
                    </a:cubicBezTo>
                    <a:cubicBezTo>
                      <a:pt x="611" y="210"/>
                      <a:pt x="611" y="210"/>
                      <a:pt x="611" y="210"/>
                    </a:cubicBezTo>
                    <a:cubicBezTo>
                      <a:pt x="612" y="210"/>
                      <a:pt x="612" y="210"/>
                      <a:pt x="612" y="210"/>
                    </a:cubicBezTo>
                    <a:cubicBezTo>
                      <a:pt x="614" y="210"/>
                      <a:pt x="614" y="210"/>
                      <a:pt x="614" y="210"/>
                    </a:cubicBezTo>
                    <a:cubicBezTo>
                      <a:pt x="616" y="211"/>
                      <a:pt x="616" y="211"/>
                      <a:pt x="616" y="211"/>
                    </a:cubicBezTo>
                    <a:cubicBezTo>
                      <a:pt x="617" y="210"/>
                      <a:pt x="617" y="210"/>
                      <a:pt x="617" y="210"/>
                    </a:cubicBezTo>
                    <a:cubicBezTo>
                      <a:pt x="618" y="210"/>
                      <a:pt x="618" y="210"/>
                      <a:pt x="618" y="210"/>
                    </a:cubicBezTo>
                    <a:cubicBezTo>
                      <a:pt x="619" y="211"/>
                      <a:pt x="619" y="211"/>
                      <a:pt x="619" y="211"/>
                    </a:cubicBezTo>
                    <a:cubicBezTo>
                      <a:pt x="620" y="210"/>
                      <a:pt x="620" y="210"/>
                      <a:pt x="620" y="210"/>
                    </a:cubicBezTo>
                    <a:cubicBezTo>
                      <a:pt x="621" y="211"/>
                      <a:pt x="621" y="211"/>
                      <a:pt x="621" y="211"/>
                    </a:cubicBezTo>
                    <a:cubicBezTo>
                      <a:pt x="622" y="211"/>
                      <a:pt x="622" y="211"/>
                      <a:pt x="622" y="211"/>
                    </a:cubicBezTo>
                    <a:cubicBezTo>
                      <a:pt x="623" y="211"/>
                      <a:pt x="623" y="211"/>
                      <a:pt x="623" y="211"/>
                    </a:cubicBezTo>
                    <a:cubicBezTo>
                      <a:pt x="623" y="212"/>
                      <a:pt x="623" y="212"/>
                      <a:pt x="623" y="212"/>
                    </a:cubicBezTo>
                    <a:cubicBezTo>
                      <a:pt x="624" y="212"/>
                      <a:pt x="624" y="212"/>
                      <a:pt x="624" y="212"/>
                    </a:cubicBezTo>
                    <a:cubicBezTo>
                      <a:pt x="626" y="212"/>
                      <a:pt x="626" y="212"/>
                      <a:pt x="626" y="212"/>
                    </a:cubicBezTo>
                    <a:cubicBezTo>
                      <a:pt x="626" y="211"/>
                      <a:pt x="626" y="211"/>
                      <a:pt x="626" y="211"/>
                    </a:cubicBezTo>
                    <a:cubicBezTo>
                      <a:pt x="628" y="210"/>
                      <a:pt x="628" y="210"/>
                      <a:pt x="628" y="210"/>
                    </a:cubicBezTo>
                    <a:cubicBezTo>
                      <a:pt x="630" y="209"/>
                      <a:pt x="630" y="209"/>
                      <a:pt x="630" y="209"/>
                    </a:cubicBezTo>
                    <a:cubicBezTo>
                      <a:pt x="631" y="209"/>
                      <a:pt x="631" y="209"/>
                      <a:pt x="631" y="209"/>
                    </a:cubicBezTo>
                    <a:cubicBezTo>
                      <a:pt x="632" y="208"/>
                      <a:pt x="632" y="208"/>
                      <a:pt x="632" y="208"/>
                    </a:cubicBezTo>
                    <a:cubicBezTo>
                      <a:pt x="633" y="208"/>
                      <a:pt x="633" y="208"/>
                      <a:pt x="633" y="208"/>
                    </a:cubicBezTo>
                    <a:cubicBezTo>
                      <a:pt x="635" y="208"/>
                      <a:pt x="635" y="208"/>
                      <a:pt x="635" y="208"/>
                    </a:cubicBezTo>
                    <a:cubicBezTo>
                      <a:pt x="636" y="208"/>
                      <a:pt x="636" y="208"/>
                      <a:pt x="636" y="208"/>
                    </a:cubicBezTo>
                    <a:cubicBezTo>
                      <a:pt x="639" y="208"/>
                      <a:pt x="639" y="208"/>
                      <a:pt x="639" y="208"/>
                    </a:cubicBezTo>
                    <a:cubicBezTo>
                      <a:pt x="641" y="207"/>
                      <a:pt x="641" y="207"/>
                      <a:pt x="641" y="207"/>
                    </a:cubicBezTo>
                    <a:cubicBezTo>
                      <a:pt x="642" y="206"/>
                      <a:pt x="642" y="206"/>
                      <a:pt x="642" y="206"/>
                    </a:cubicBezTo>
                    <a:cubicBezTo>
                      <a:pt x="643" y="206"/>
                      <a:pt x="643" y="206"/>
                      <a:pt x="643" y="206"/>
                    </a:cubicBezTo>
                    <a:cubicBezTo>
                      <a:pt x="644" y="205"/>
                      <a:pt x="644" y="205"/>
                      <a:pt x="644" y="205"/>
                    </a:cubicBezTo>
                    <a:cubicBezTo>
                      <a:pt x="644" y="204"/>
                      <a:pt x="644" y="204"/>
                      <a:pt x="644" y="204"/>
                    </a:cubicBezTo>
                    <a:cubicBezTo>
                      <a:pt x="645" y="204"/>
                      <a:pt x="645" y="204"/>
                      <a:pt x="645" y="204"/>
                    </a:cubicBezTo>
                    <a:cubicBezTo>
                      <a:pt x="646" y="203"/>
                      <a:pt x="646" y="203"/>
                      <a:pt x="646" y="203"/>
                    </a:cubicBezTo>
                    <a:cubicBezTo>
                      <a:pt x="647" y="203"/>
                      <a:pt x="647" y="203"/>
                      <a:pt x="647" y="203"/>
                    </a:cubicBezTo>
                    <a:cubicBezTo>
                      <a:pt x="647" y="204"/>
                      <a:pt x="647" y="204"/>
                      <a:pt x="647" y="204"/>
                    </a:cubicBezTo>
                    <a:cubicBezTo>
                      <a:pt x="648" y="205"/>
                      <a:pt x="648" y="205"/>
                      <a:pt x="648" y="205"/>
                    </a:cubicBezTo>
                    <a:cubicBezTo>
                      <a:pt x="647" y="205"/>
                      <a:pt x="647" y="205"/>
                      <a:pt x="647" y="205"/>
                    </a:cubicBezTo>
                    <a:cubicBezTo>
                      <a:pt x="647" y="206"/>
                      <a:pt x="647" y="206"/>
                      <a:pt x="647" y="206"/>
                    </a:cubicBezTo>
                    <a:cubicBezTo>
                      <a:pt x="646" y="207"/>
                      <a:pt x="646" y="207"/>
                      <a:pt x="646" y="207"/>
                    </a:cubicBezTo>
                    <a:cubicBezTo>
                      <a:pt x="646" y="208"/>
                      <a:pt x="646" y="208"/>
                      <a:pt x="646" y="208"/>
                    </a:cubicBezTo>
                    <a:cubicBezTo>
                      <a:pt x="647" y="209"/>
                      <a:pt x="647" y="209"/>
                      <a:pt x="647" y="209"/>
                    </a:cubicBezTo>
                    <a:cubicBezTo>
                      <a:pt x="648" y="208"/>
                      <a:pt x="648" y="208"/>
                      <a:pt x="648" y="208"/>
                    </a:cubicBezTo>
                    <a:cubicBezTo>
                      <a:pt x="649" y="208"/>
                      <a:pt x="649" y="208"/>
                      <a:pt x="649" y="208"/>
                    </a:cubicBezTo>
                    <a:cubicBezTo>
                      <a:pt x="650" y="209"/>
                      <a:pt x="650" y="209"/>
                      <a:pt x="650" y="209"/>
                    </a:cubicBezTo>
                    <a:cubicBezTo>
                      <a:pt x="650" y="210"/>
                      <a:pt x="650" y="210"/>
                      <a:pt x="650" y="210"/>
                    </a:cubicBezTo>
                    <a:cubicBezTo>
                      <a:pt x="651" y="210"/>
                      <a:pt x="651" y="210"/>
                      <a:pt x="651" y="210"/>
                    </a:cubicBezTo>
                    <a:cubicBezTo>
                      <a:pt x="651" y="209"/>
                      <a:pt x="651" y="209"/>
                      <a:pt x="651" y="209"/>
                    </a:cubicBezTo>
                    <a:cubicBezTo>
                      <a:pt x="652" y="210"/>
                      <a:pt x="652" y="210"/>
                      <a:pt x="652" y="210"/>
                    </a:cubicBezTo>
                    <a:cubicBezTo>
                      <a:pt x="652" y="211"/>
                      <a:pt x="652" y="211"/>
                      <a:pt x="652" y="211"/>
                    </a:cubicBezTo>
                    <a:cubicBezTo>
                      <a:pt x="651" y="211"/>
                      <a:pt x="651" y="211"/>
                      <a:pt x="651" y="211"/>
                    </a:cubicBezTo>
                    <a:cubicBezTo>
                      <a:pt x="650" y="211"/>
                      <a:pt x="650" y="211"/>
                      <a:pt x="650" y="211"/>
                    </a:cubicBezTo>
                    <a:cubicBezTo>
                      <a:pt x="649" y="212"/>
                      <a:pt x="649" y="212"/>
                      <a:pt x="649" y="212"/>
                    </a:cubicBezTo>
                    <a:cubicBezTo>
                      <a:pt x="649" y="213"/>
                      <a:pt x="649" y="213"/>
                      <a:pt x="649" y="213"/>
                    </a:cubicBezTo>
                    <a:cubicBezTo>
                      <a:pt x="650" y="213"/>
                      <a:pt x="650" y="213"/>
                      <a:pt x="650" y="213"/>
                    </a:cubicBezTo>
                    <a:cubicBezTo>
                      <a:pt x="651" y="213"/>
                      <a:pt x="651" y="213"/>
                      <a:pt x="651" y="213"/>
                    </a:cubicBezTo>
                    <a:cubicBezTo>
                      <a:pt x="652" y="214"/>
                      <a:pt x="652" y="214"/>
                      <a:pt x="652" y="214"/>
                    </a:cubicBezTo>
                    <a:cubicBezTo>
                      <a:pt x="653" y="213"/>
                      <a:pt x="653" y="213"/>
                      <a:pt x="653" y="213"/>
                    </a:cubicBezTo>
                    <a:cubicBezTo>
                      <a:pt x="654" y="212"/>
                      <a:pt x="654" y="212"/>
                      <a:pt x="654" y="212"/>
                    </a:cubicBezTo>
                    <a:cubicBezTo>
                      <a:pt x="654" y="213"/>
                      <a:pt x="654" y="213"/>
                      <a:pt x="654" y="213"/>
                    </a:cubicBezTo>
                    <a:cubicBezTo>
                      <a:pt x="655" y="214"/>
                      <a:pt x="655" y="214"/>
                      <a:pt x="655" y="214"/>
                    </a:cubicBezTo>
                    <a:cubicBezTo>
                      <a:pt x="655" y="215"/>
                      <a:pt x="655" y="215"/>
                      <a:pt x="655" y="215"/>
                    </a:cubicBezTo>
                    <a:cubicBezTo>
                      <a:pt x="656" y="214"/>
                      <a:pt x="656" y="214"/>
                      <a:pt x="656" y="214"/>
                    </a:cubicBezTo>
                    <a:cubicBezTo>
                      <a:pt x="657" y="214"/>
                      <a:pt x="657" y="214"/>
                      <a:pt x="657" y="214"/>
                    </a:cubicBezTo>
                    <a:cubicBezTo>
                      <a:pt x="657" y="215"/>
                      <a:pt x="657" y="215"/>
                      <a:pt x="657" y="215"/>
                    </a:cubicBezTo>
                    <a:cubicBezTo>
                      <a:pt x="658" y="215"/>
                      <a:pt x="658" y="215"/>
                      <a:pt x="658" y="215"/>
                    </a:cubicBezTo>
                    <a:cubicBezTo>
                      <a:pt x="659" y="216"/>
                      <a:pt x="659" y="216"/>
                      <a:pt x="659" y="216"/>
                    </a:cubicBezTo>
                    <a:cubicBezTo>
                      <a:pt x="659" y="215"/>
                      <a:pt x="659" y="215"/>
                      <a:pt x="659" y="215"/>
                    </a:cubicBezTo>
                    <a:cubicBezTo>
                      <a:pt x="660" y="215"/>
                      <a:pt x="660" y="215"/>
                      <a:pt x="660" y="215"/>
                    </a:cubicBezTo>
                    <a:cubicBezTo>
                      <a:pt x="661" y="215"/>
                      <a:pt x="661" y="215"/>
                      <a:pt x="661" y="215"/>
                    </a:cubicBezTo>
                    <a:cubicBezTo>
                      <a:pt x="661" y="216"/>
                      <a:pt x="661" y="216"/>
                      <a:pt x="661" y="216"/>
                    </a:cubicBezTo>
                    <a:cubicBezTo>
                      <a:pt x="662" y="216"/>
                      <a:pt x="662" y="216"/>
                      <a:pt x="662" y="216"/>
                    </a:cubicBezTo>
                    <a:cubicBezTo>
                      <a:pt x="663" y="216"/>
                      <a:pt x="663" y="216"/>
                      <a:pt x="663" y="216"/>
                    </a:cubicBezTo>
                    <a:cubicBezTo>
                      <a:pt x="663" y="215"/>
                      <a:pt x="663" y="215"/>
                      <a:pt x="663" y="215"/>
                    </a:cubicBezTo>
                    <a:cubicBezTo>
                      <a:pt x="664" y="215"/>
                      <a:pt x="664" y="215"/>
                      <a:pt x="664" y="215"/>
                    </a:cubicBezTo>
                    <a:cubicBezTo>
                      <a:pt x="664" y="216"/>
                      <a:pt x="664" y="216"/>
                      <a:pt x="664" y="216"/>
                    </a:cubicBezTo>
                    <a:cubicBezTo>
                      <a:pt x="665" y="215"/>
                      <a:pt x="665" y="215"/>
                      <a:pt x="665" y="215"/>
                    </a:cubicBezTo>
                    <a:cubicBezTo>
                      <a:pt x="666" y="215"/>
                      <a:pt x="666" y="215"/>
                      <a:pt x="666" y="215"/>
                    </a:cubicBezTo>
                    <a:cubicBezTo>
                      <a:pt x="667" y="215"/>
                      <a:pt x="667" y="215"/>
                      <a:pt x="667" y="215"/>
                    </a:cubicBezTo>
                    <a:cubicBezTo>
                      <a:pt x="668" y="215"/>
                      <a:pt x="668" y="215"/>
                      <a:pt x="668" y="215"/>
                    </a:cubicBezTo>
                    <a:cubicBezTo>
                      <a:pt x="668" y="214"/>
                      <a:pt x="668" y="214"/>
                      <a:pt x="668" y="214"/>
                    </a:cubicBezTo>
                    <a:cubicBezTo>
                      <a:pt x="669" y="213"/>
                      <a:pt x="669" y="213"/>
                      <a:pt x="669" y="213"/>
                    </a:cubicBezTo>
                    <a:cubicBezTo>
                      <a:pt x="669" y="212"/>
                      <a:pt x="669" y="212"/>
                      <a:pt x="669" y="212"/>
                    </a:cubicBezTo>
                    <a:cubicBezTo>
                      <a:pt x="669" y="211"/>
                      <a:pt x="669" y="211"/>
                      <a:pt x="669" y="211"/>
                    </a:cubicBezTo>
                    <a:cubicBezTo>
                      <a:pt x="668" y="211"/>
                      <a:pt x="668" y="211"/>
                      <a:pt x="668" y="211"/>
                    </a:cubicBezTo>
                    <a:cubicBezTo>
                      <a:pt x="668" y="210"/>
                      <a:pt x="668" y="210"/>
                      <a:pt x="668" y="210"/>
                    </a:cubicBezTo>
                    <a:cubicBezTo>
                      <a:pt x="668" y="209"/>
                      <a:pt x="668" y="209"/>
                      <a:pt x="668" y="209"/>
                    </a:cubicBezTo>
                    <a:cubicBezTo>
                      <a:pt x="669" y="209"/>
                      <a:pt x="669" y="209"/>
                      <a:pt x="669" y="209"/>
                    </a:cubicBezTo>
                    <a:cubicBezTo>
                      <a:pt x="669" y="208"/>
                      <a:pt x="669" y="208"/>
                      <a:pt x="669" y="208"/>
                    </a:cubicBezTo>
                    <a:cubicBezTo>
                      <a:pt x="668" y="207"/>
                      <a:pt x="668" y="207"/>
                      <a:pt x="668" y="207"/>
                    </a:cubicBezTo>
                    <a:cubicBezTo>
                      <a:pt x="667" y="207"/>
                      <a:pt x="667" y="207"/>
                      <a:pt x="667" y="207"/>
                    </a:cubicBezTo>
                    <a:cubicBezTo>
                      <a:pt x="667" y="208"/>
                      <a:pt x="667" y="208"/>
                      <a:pt x="667" y="208"/>
                    </a:cubicBezTo>
                    <a:cubicBezTo>
                      <a:pt x="667" y="209"/>
                      <a:pt x="667" y="209"/>
                      <a:pt x="667" y="209"/>
                    </a:cubicBezTo>
                    <a:cubicBezTo>
                      <a:pt x="666" y="208"/>
                      <a:pt x="666" y="208"/>
                      <a:pt x="666" y="208"/>
                    </a:cubicBezTo>
                    <a:cubicBezTo>
                      <a:pt x="665" y="208"/>
                      <a:pt x="665" y="208"/>
                      <a:pt x="665" y="208"/>
                    </a:cubicBezTo>
                    <a:cubicBezTo>
                      <a:pt x="663" y="210"/>
                      <a:pt x="663" y="210"/>
                      <a:pt x="663" y="210"/>
                    </a:cubicBezTo>
                    <a:cubicBezTo>
                      <a:pt x="662" y="210"/>
                      <a:pt x="662" y="210"/>
                      <a:pt x="662" y="210"/>
                    </a:cubicBezTo>
                    <a:cubicBezTo>
                      <a:pt x="663" y="209"/>
                      <a:pt x="663" y="209"/>
                      <a:pt x="663" y="209"/>
                    </a:cubicBezTo>
                    <a:cubicBezTo>
                      <a:pt x="664" y="208"/>
                      <a:pt x="664" y="208"/>
                      <a:pt x="664" y="208"/>
                    </a:cubicBezTo>
                    <a:cubicBezTo>
                      <a:pt x="664" y="207"/>
                      <a:pt x="664" y="207"/>
                      <a:pt x="664" y="207"/>
                    </a:cubicBezTo>
                    <a:cubicBezTo>
                      <a:pt x="663" y="208"/>
                      <a:pt x="663" y="208"/>
                      <a:pt x="663" y="208"/>
                    </a:cubicBezTo>
                    <a:cubicBezTo>
                      <a:pt x="663" y="207"/>
                      <a:pt x="663" y="207"/>
                      <a:pt x="663" y="207"/>
                    </a:cubicBezTo>
                    <a:cubicBezTo>
                      <a:pt x="663" y="206"/>
                      <a:pt x="663" y="206"/>
                      <a:pt x="663" y="206"/>
                    </a:cubicBezTo>
                    <a:cubicBezTo>
                      <a:pt x="664" y="206"/>
                      <a:pt x="664" y="206"/>
                      <a:pt x="664" y="206"/>
                    </a:cubicBezTo>
                    <a:cubicBezTo>
                      <a:pt x="663" y="204"/>
                      <a:pt x="663" y="204"/>
                      <a:pt x="663" y="204"/>
                    </a:cubicBezTo>
                    <a:cubicBezTo>
                      <a:pt x="664" y="203"/>
                      <a:pt x="664" y="203"/>
                      <a:pt x="664" y="203"/>
                    </a:cubicBezTo>
                    <a:cubicBezTo>
                      <a:pt x="665" y="203"/>
                      <a:pt x="665" y="203"/>
                      <a:pt x="665" y="203"/>
                    </a:cubicBezTo>
                    <a:cubicBezTo>
                      <a:pt x="664" y="204"/>
                      <a:pt x="664" y="204"/>
                      <a:pt x="664" y="204"/>
                    </a:cubicBezTo>
                    <a:cubicBezTo>
                      <a:pt x="665" y="205"/>
                      <a:pt x="665" y="205"/>
                      <a:pt x="665" y="205"/>
                    </a:cubicBezTo>
                    <a:cubicBezTo>
                      <a:pt x="666" y="206"/>
                      <a:pt x="666" y="206"/>
                      <a:pt x="666" y="206"/>
                    </a:cubicBezTo>
                    <a:cubicBezTo>
                      <a:pt x="668" y="206"/>
                      <a:pt x="668" y="206"/>
                      <a:pt x="668" y="206"/>
                    </a:cubicBezTo>
                    <a:cubicBezTo>
                      <a:pt x="668" y="205"/>
                      <a:pt x="668" y="205"/>
                      <a:pt x="668" y="205"/>
                    </a:cubicBezTo>
                    <a:cubicBezTo>
                      <a:pt x="668" y="204"/>
                      <a:pt x="668" y="204"/>
                      <a:pt x="668" y="204"/>
                    </a:cubicBezTo>
                    <a:cubicBezTo>
                      <a:pt x="668" y="203"/>
                      <a:pt x="668" y="203"/>
                      <a:pt x="668" y="203"/>
                    </a:cubicBezTo>
                    <a:cubicBezTo>
                      <a:pt x="669" y="204"/>
                      <a:pt x="669" y="204"/>
                      <a:pt x="669" y="204"/>
                    </a:cubicBezTo>
                    <a:cubicBezTo>
                      <a:pt x="670" y="204"/>
                      <a:pt x="670" y="204"/>
                      <a:pt x="670" y="204"/>
                    </a:cubicBezTo>
                    <a:cubicBezTo>
                      <a:pt x="670" y="203"/>
                      <a:pt x="670" y="203"/>
                      <a:pt x="670" y="203"/>
                    </a:cubicBezTo>
                    <a:cubicBezTo>
                      <a:pt x="671" y="201"/>
                      <a:pt x="671" y="201"/>
                      <a:pt x="671" y="201"/>
                    </a:cubicBezTo>
                    <a:cubicBezTo>
                      <a:pt x="671" y="203"/>
                      <a:pt x="671" y="203"/>
                      <a:pt x="671" y="203"/>
                    </a:cubicBezTo>
                    <a:cubicBezTo>
                      <a:pt x="672" y="203"/>
                      <a:pt x="672" y="203"/>
                      <a:pt x="672" y="203"/>
                    </a:cubicBezTo>
                    <a:cubicBezTo>
                      <a:pt x="673" y="202"/>
                      <a:pt x="673" y="202"/>
                      <a:pt x="673" y="202"/>
                    </a:cubicBezTo>
                    <a:cubicBezTo>
                      <a:pt x="672" y="204"/>
                      <a:pt x="672" y="204"/>
                      <a:pt x="672" y="204"/>
                    </a:cubicBezTo>
                    <a:cubicBezTo>
                      <a:pt x="672" y="205"/>
                      <a:pt x="672" y="205"/>
                      <a:pt x="672" y="205"/>
                    </a:cubicBezTo>
                    <a:cubicBezTo>
                      <a:pt x="673" y="205"/>
                      <a:pt x="673" y="205"/>
                      <a:pt x="673" y="205"/>
                    </a:cubicBezTo>
                    <a:cubicBezTo>
                      <a:pt x="672" y="206"/>
                      <a:pt x="672" y="206"/>
                      <a:pt x="672" y="206"/>
                    </a:cubicBezTo>
                    <a:cubicBezTo>
                      <a:pt x="673" y="206"/>
                      <a:pt x="673" y="206"/>
                      <a:pt x="673" y="206"/>
                    </a:cubicBezTo>
                    <a:cubicBezTo>
                      <a:pt x="674" y="205"/>
                      <a:pt x="674" y="205"/>
                      <a:pt x="674" y="205"/>
                    </a:cubicBezTo>
                    <a:cubicBezTo>
                      <a:pt x="674" y="204"/>
                      <a:pt x="674" y="204"/>
                      <a:pt x="674" y="204"/>
                    </a:cubicBezTo>
                    <a:cubicBezTo>
                      <a:pt x="675" y="203"/>
                      <a:pt x="675" y="203"/>
                      <a:pt x="675" y="203"/>
                    </a:cubicBezTo>
                    <a:cubicBezTo>
                      <a:pt x="676" y="202"/>
                      <a:pt x="676" y="202"/>
                      <a:pt x="676" y="202"/>
                    </a:cubicBezTo>
                    <a:cubicBezTo>
                      <a:pt x="676" y="204"/>
                      <a:pt x="676" y="204"/>
                      <a:pt x="676" y="204"/>
                    </a:cubicBezTo>
                    <a:cubicBezTo>
                      <a:pt x="675" y="205"/>
                      <a:pt x="675" y="205"/>
                      <a:pt x="675" y="205"/>
                    </a:cubicBezTo>
                    <a:cubicBezTo>
                      <a:pt x="675" y="207"/>
                      <a:pt x="675" y="207"/>
                      <a:pt x="675" y="207"/>
                    </a:cubicBezTo>
                    <a:cubicBezTo>
                      <a:pt x="676" y="207"/>
                      <a:pt x="676" y="207"/>
                      <a:pt x="676" y="207"/>
                    </a:cubicBezTo>
                    <a:cubicBezTo>
                      <a:pt x="677" y="207"/>
                      <a:pt x="677" y="207"/>
                      <a:pt x="677" y="207"/>
                    </a:cubicBezTo>
                    <a:cubicBezTo>
                      <a:pt x="677" y="206"/>
                      <a:pt x="677" y="206"/>
                      <a:pt x="677" y="206"/>
                    </a:cubicBezTo>
                    <a:cubicBezTo>
                      <a:pt x="679" y="205"/>
                      <a:pt x="679" y="205"/>
                      <a:pt x="679" y="205"/>
                    </a:cubicBezTo>
                    <a:cubicBezTo>
                      <a:pt x="679" y="203"/>
                      <a:pt x="679" y="203"/>
                      <a:pt x="679" y="203"/>
                    </a:cubicBezTo>
                    <a:close/>
                    <a:moveTo>
                      <a:pt x="702" y="218"/>
                    </a:moveTo>
                    <a:cubicBezTo>
                      <a:pt x="702" y="218"/>
                      <a:pt x="702" y="218"/>
                      <a:pt x="703" y="218"/>
                    </a:cubicBezTo>
                    <a:cubicBezTo>
                      <a:pt x="703" y="218"/>
                      <a:pt x="703" y="218"/>
                      <a:pt x="704" y="216"/>
                    </a:cubicBezTo>
                    <a:cubicBezTo>
                      <a:pt x="704" y="216"/>
                      <a:pt x="704" y="216"/>
                      <a:pt x="704" y="215"/>
                    </a:cubicBezTo>
                    <a:cubicBezTo>
                      <a:pt x="704" y="215"/>
                      <a:pt x="704" y="215"/>
                      <a:pt x="702" y="214"/>
                    </a:cubicBezTo>
                    <a:cubicBezTo>
                      <a:pt x="702" y="214"/>
                      <a:pt x="702" y="214"/>
                      <a:pt x="701" y="215"/>
                    </a:cubicBezTo>
                    <a:cubicBezTo>
                      <a:pt x="701" y="215"/>
                      <a:pt x="701" y="215"/>
                      <a:pt x="700" y="217"/>
                    </a:cubicBezTo>
                    <a:cubicBezTo>
                      <a:pt x="701" y="217"/>
                      <a:pt x="701" y="217"/>
                      <a:pt x="701" y="217"/>
                    </a:cubicBezTo>
                    <a:cubicBezTo>
                      <a:pt x="701" y="217"/>
                      <a:pt x="701" y="217"/>
                      <a:pt x="702" y="216"/>
                    </a:cubicBezTo>
                    <a:cubicBezTo>
                      <a:pt x="702" y="216"/>
                      <a:pt x="702" y="216"/>
                      <a:pt x="702" y="217"/>
                    </a:cubicBezTo>
                    <a:cubicBezTo>
                      <a:pt x="702" y="217"/>
                      <a:pt x="702" y="217"/>
                      <a:pt x="702" y="218"/>
                    </a:cubicBezTo>
                    <a:close/>
                    <a:moveTo>
                      <a:pt x="914" y="3"/>
                    </a:moveTo>
                    <a:cubicBezTo>
                      <a:pt x="914" y="3"/>
                      <a:pt x="914" y="3"/>
                      <a:pt x="913" y="2"/>
                    </a:cubicBezTo>
                    <a:cubicBezTo>
                      <a:pt x="913" y="2"/>
                      <a:pt x="913" y="2"/>
                      <a:pt x="912" y="3"/>
                    </a:cubicBezTo>
                    <a:cubicBezTo>
                      <a:pt x="912" y="3"/>
                      <a:pt x="912" y="3"/>
                      <a:pt x="913" y="3"/>
                    </a:cubicBezTo>
                    <a:cubicBezTo>
                      <a:pt x="913" y="3"/>
                      <a:pt x="913" y="3"/>
                      <a:pt x="914" y="3"/>
                    </a:cubicBezTo>
                    <a:close/>
                    <a:moveTo>
                      <a:pt x="692" y="228"/>
                    </a:moveTo>
                    <a:cubicBezTo>
                      <a:pt x="693" y="228"/>
                      <a:pt x="693" y="228"/>
                      <a:pt x="693" y="228"/>
                    </a:cubicBezTo>
                    <a:cubicBezTo>
                      <a:pt x="694" y="228"/>
                      <a:pt x="694" y="228"/>
                      <a:pt x="694" y="228"/>
                    </a:cubicBezTo>
                    <a:cubicBezTo>
                      <a:pt x="696" y="227"/>
                      <a:pt x="696" y="227"/>
                      <a:pt x="696" y="227"/>
                    </a:cubicBezTo>
                    <a:cubicBezTo>
                      <a:pt x="697" y="227"/>
                      <a:pt x="697" y="227"/>
                      <a:pt x="697" y="227"/>
                    </a:cubicBezTo>
                    <a:cubicBezTo>
                      <a:pt x="698" y="226"/>
                      <a:pt x="698" y="226"/>
                      <a:pt x="698" y="226"/>
                    </a:cubicBezTo>
                    <a:cubicBezTo>
                      <a:pt x="699" y="227"/>
                      <a:pt x="699" y="227"/>
                      <a:pt x="699" y="227"/>
                    </a:cubicBezTo>
                    <a:cubicBezTo>
                      <a:pt x="699" y="226"/>
                      <a:pt x="699" y="226"/>
                      <a:pt x="699" y="226"/>
                    </a:cubicBezTo>
                    <a:cubicBezTo>
                      <a:pt x="701" y="225"/>
                      <a:pt x="701" y="225"/>
                      <a:pt x="701" y="225"/>
                    </a:cubicBezTo>
                    <a:cubicBezTo>
                      <a:pt x="701" y="224"/>
                      <a:pt x="701" y="224"/>
                      <a:pt x="701" y="224"/>
                    </a:cubicBezTo>
                    <a:cubicBezTo>
                      <a:pt x="699" y="225"/>
                      <a:pt x="699" y="225"/>
                      <a:pt x="699" y="225"/>
                    </a:cubicBezTo>
                    <a:cubicBezTo>
                      <a:pt x="699" y="224"/>
                      <a:pt x="699" y="224"/>
                      <a:pt x="699" y="224"/>
                    </a:cubicBezTo>
                    <a:cubicBezTo>
                      <a:pt x="700" y="221"/>
                      <a:pt x="700" y="221"/>
                      <a:pt x="700" y="221"/>
                    </a:cubicBezTo>
                    <a:cubicBezTo>
                      <a:pt x="700" y="220"/>
                      <a:pt x="700" y="220"/>
                      <a:pt x="700" y="220"/>
                    </a:cubicBezTo>
                    <a:cubicBezTo>
                      <a:pt x="699" y="221"/>
                      <a:pt x="699" y="221"/>
                      <a:pt x="699" y="221"/>
                    </a:cubicBezTo>
                    <a:cubicBezTo>
                      <a:pt x="698" y="222"/>
                      <a:pt x="698" y="222"/>
                      <a:pt x="698" y="222"/>
                    </a:cubicBezTo>
                    <a:cubicBezTo>
                      <a:pt x="698" y="221"/>
                      <a:pt x="698" y="221"/>
                      <a:pt x="698" y="221"/>
                    </a:cubicBezTo>
                    <a:cubicBezTo>
                      <a:pt x="699" y="218"/>
                      <a:pt x="699" y="218"/>
                      <a:pt x="699" y="218"/>
                    </a:cubicBezTo>
                    <a:cubicBezTo>
                      <a:pt x="698" y="214"/>
                      <a:pt x="698" y="214"/>
                      <a:pt x="698" y="214"/>
                    </a:cubicBezTo>
                    <a:cubicBezTo>
                      <a:pt x="697" y="213"/>
                      <a:pt x="697" y="213"/>
                      <a:pt x="697" y="213"/>
                    </a:cubicBezTo>
                    <a:cubicBezTo>
                      <a:pt x="697" y="212"/>
                      <a:pt x="697" y="212"/>
                      <a:pt x="697" y="212"/>
                    </a:cubicBezTo>
                    <a:cubicBezTo>
                      <a:pt x="696" y="212"/>
                      <a:pt x="696" y="212"/>
                      <a:pt x="696" y="212"/>
                    </a:cubicBezTo>
                    <a:cubicBezTo>
                      <a:pt x="695" y="213"/>
                      <a:pt x="695" y="213"/>
                      <a:pt x="695" y="213"/>
                    </a:cubicBezTo>
                    <a:cubicBezTo>
                      <a:pt x="695" y="211"/>
                      <a:pt x="695" y="211"/>
                      <a:pt x="695" y="211"/>
                    </a:cubicBezTo>
                    <a:cubicBezTo>
                      <a:pt x="696" y="211"/>
                      <a:pt x="696" y="211"/>
                      <a:pt x="696" y="211"/>
                    </a:cubicBezTo>
                    <a:cubicBezTo>
                      <a:pt x="695" y="209"/>
                      <a:pt x="695" y="209"/>
                      <a:pt x="695" y="209"/>
                    </a:cubicBezTo>
                    <a:cubicBezTo>
                      <a:pt x="695" y="208"/>
                      <a:pt x="695" y="208"/>
                      <a:pt x="695" y="208"/>
                    </a:cubicBezTo>
                    <a:cubicBezTo>
                      <a:pt x="695" y="207"/>
                      <a:pt x="695" y="207"/>
                      <a:pt x="695" y="207"/>
                    </a:cubicBezTo>
                    <a:cubicBezTo>
                      <a:pt x="694" y="208"/>
                      <a:pt x="694" y="208"/>
                      <a:pt x="694" y="208"/>
                    </a:cubicBezTo>
                    <a:cubicBezTo>
                      <a:pt x="692" y="209"/>
                      <a:pt x="692" y="209"/>
                      <a:pt x="692" y="209"/>
                    </a:cubicBezTo>
                    <a:cubicBezTo>
                      <a:pt x="691" y="211"/>
                      <a:pt x="691" y="211"/>
                      <a:pt x="691" y="211"/>
                    </a:cubicBezTo>
                    <a:cubicBezTo>
                      <a:pt x="691" y="213"/>
                      <a:pt x="691" y="213"/>
                      <a:pt x="691" y="213"/>
                    </a:cubicBezTo>
                    <a:cubicBezTo>
                      <a:pt x="690" y="213"/>
                      <a:pt x="690" y="213"/>
                      <a:pt x="690" y="213"/>
                    </a:cubicBezTo>
                    <a:cubicBezTo>
                      <a:pt x="690" y="211"/>
                      <a:pt x="690" y="211"/>
                      <a:pt x="690" y="211"/>
                    </a:cubicBezTo>
                    <a:cubicBezTo>
                      <a:pt x="689" y="211"/>
                      <a:pt x="689" y="211"/>
                      <a:pt x="689" y="211"/>
                    </a:cubicBezTo>
                    <a:cubicBezTo>
                      <a:pt x="689" y="213"/>
                      <a:pt x="689" y="213"/>
                      <a:pt x="689" y="213"/>
                    </a:cubicBezTo>
                    <a:cubicBezTo>
                      <a:pt x="688" y="213"/>
                      <a:pt x="688" y="213"/>
                      <a:pt x="688" y="213"/>
                    </a:cubicBezTo>
                    <a:cubicBezTo>
                      <a:pt x="689" y="214"/>
                      <a:pt x="689" y="214"/>
                      <a:pt x="689" y="214"/>
                    </a:cubicBezTo>
                    <a:cubicBezTo>
                      <a:pt x="688" y="215"/>
                      <a:pt x="688" y="215"/>
                      <a:pt x="688" y="215"/>
                    </a:cubicBezTo>
                    <a:cubicBezTo>
                      <a:pt x="687" y="215"/>
                      <a:pt x="687" y="215"/>
                      <a:pt x="687" y="215"/>
                    </a:cubicBezTo>
                    <a:cubicBezTo>
                      <a:pt x="686" y="216"/>
                      <a:pt x="686" y="216"/>
                      <a:pt x="686" y="216"/>
                    </a:cubicBezTo>
                    <a:cubicBezTo>
                      <a:pt x="684" y="216"/>
                      <a:pt x="684" y="216"/>
                      <a:pt x="684" y="216"/>
                    </a:cubicBezTo>
                    <a:cubicBezTo>
                      <a:pt x="683" y="216"/>
                      <a:pt x="683" y="216"/>
                      <a:pt x="683" y="216"/>
                    </a:cubicBezTo>
                    <a:cubicBezTo>
                      <a:pt x="680" y="218"/>
                      <a:pt x="680" y="218"/>
                      <a:pt x="680" y="218"/>
                    </a:cubicBezTo>
                    <a:cubicBezTo>
                      <a:pt x="680" y="219"/>
                      <a:pt x="680" y="219"/>
                      <a:pt x="680" y="219"/>
                    </a:cubicBezTo>
                    <a:cubicBezTo>
                      <a:pt x="682" y="221"/>
                      <a:pt x="682" y="221"/>
                      <a:pt x="682" y="221"/>
                    </a:cubicBezTo>
                    <a:cubicBezTo>
                      <a:pt x="683" y="220"/>
                      <a:pt x="683" y="220"/>
                      <a:pt x="683" y="220"/>
                    </a:cubicBezTo>
                    <a:cubicBezTo>
                      <a:pt x="682" y="219"/>
                      <a:pt x="682" y="219"/>
                      <a:pt x="682" y="219"/>
                    </a:cubicBezTo>
                    <a:cubicBezTo>
                      <a:pt x="683" y="218"/>
                      <a:pt x="683" y="218"/>
                      <a:pt x="683" y="218"/>
                    </a:cubicBezTo>
                    <a:cubicBezTo>
                      <a:pt x="684" y="219"/>
                      <a:pt x="684" y="219"/>
                      <a:pt x="684" y="219"/>
                    </a:cubicBezTo>
                    <a:cubicBezTo>
                      <a:pt x="683" y="221"/>
                      <a:pt x="683" y="221"/>
                      <a:pt x="683" y="221"/>
                    </a:cubicBezTo>
                    <a:cubicBezTo>
                      <a:pt x="685" y="222"/>
                      <a:pt x="685" y="222"/>
                      <a:pt x="685" y="222"/>
                    </a:cubicBezTo>
                    <a:cubicBezTo>
                      <a:pt x="686" y="221"/>
                      <a:pt x="686" y="221"/>
                      <a:pt x="686" y="221"/>
                    </a:cubicBezTo>
                    <a:cubicBezTo>
                      <a:pt x="686" y="222"/>
                      <a:pt x="686" y="222"/>
                      <a:pt x="686" y="222"/>
                    </a:cubicBezTo>
                    <a:cubicBezTo>
                      <a:pt x="686" y="223"/>
                      <a:pt x="686" y="223"/>
                      <a:pt x="686" y="223"/>
                    </a:cubicBezTo>
                    <a:cubicBezTo>
                      <a:pt x="687" y="224"/>
                      <a:pt x="687" y="224"/>
                      <a:pt x="687" y="224"/>
                    </a:cubicBezTo>
                    <a:cubicBezTo>
                      <a:pt x="688" y="225"/>
                      <a:pt x="688" y="225"/>
                      <a:pt x="688" y="225"/>
                    </a:cubicBezTo>
                    <a:cubicBezTo>
                      <a:pt x="689" y="226"/>
                      <a:pt x="689" y="226"/>
                      <a:pt x="689" y="226"/>
                    </a:cubicBezTo>
                    <a:cubicBezTo>
                      <a:pt x="690" y="227"/>
                      <a:pt x="690" y="227"/>
                      <a:pt x="690" y="227"/>
                    </a:cubicBezTo>
                    <a:cubicBezTo>
                      <a:pt x="691" y="226"/>
                      <a:pt x="691" y="226"/>
                      <a:pt x="691" y="226"/>
                    </a:cubicBezTo>
                    <a:cubicBezTo>
                      <a:pt x="691" y="227"/>
                      <a:pt x="691" y="227"/>
                      <a:pt x="691" y="227"/>
                    </a:cubicBezTo>
                    <a:cubicBezTo>
                      <a:pt x="692" y="228"/>
                      <a:pt x="692" y="228"/>
                      <a:pt x="692" y="228"/>
                    </a:cubicBezTo>
                    <a:close/>
                    <a:moveTo>
                      <a:pt x="699" y="214"/>
                    </a:moveTo>
                    <a:cubicBezTo>
                      <a:pt x="699" y="216"/>
                      <a:pt x="699" y="216"/>
                      <a:pt x="699" y="216"/>
                    </a:cubicBezTo>
                    <a:cubicBezTo>
                      <a:pt x="700" y="216"/>
                      <a:pt x="700" y="216"/>
                      <a:pt x="700" y="216"/>
                    </a:cubicBezTo>
                    <a:cubicBezTo>
                      <a:pt x="701" y="215"/>
                      <a:pt x="701" y="215"/>
                      <a:pt x="701" y="215"/>
                    </a:cubicBezTo>
                    <a:cubicBezTo>
                      <a:pt x="700" y="213"/>
                      <a:pt x="700" y="213"/>
                      <a:pt x="700" y="213"/>
                    </a:cubicBezTo>
                    <a:cubicBezTo>
                      <a:pt x="699" y="214"/>
                      <a:pt x="699" y="214"/>
                      <a:pt x="699" y="214"/>
                    </a:cubicBezTo>
                    <a:close/>
                    <a:moveTo>
                      <a:pt x="677" y="216"/>
                    </a:moveTo>
                    <a:cubicBezTo>
                      <a:pt x="677" y="216"/>
                      <a:pt x="677" y="216"/>
                      <a:pt x="677" y="217"/>
                    </a:cubicBezTo>
                    <a:cubicBezTo>
                      <a:pt x="678" y="217"/>
                      <a:pt x="678" y="217"/>
                      <a:pt x="678" y="217"/>
                    </a:cubicBezTo>
                    <a:cubicBezTo>
                      <a:pt x="678" y="217"/>
                      <a:pt x="678" y="217"/>
                      <a:pt x="678" y="216"/>
                    </a:cubicBezTo>
                    <a:cubicBezTo>
                      <a:pt x="678" y="216"/>
                      <a:pt x="678" y="216"/>
                      <a:pt x="679" y="215"/>
                    </a:cubicBezTo>
                    <a:cubicBezTo>
                      <a:pt x="679" y="215"/>
                      <a:pt x="679" y="215"/>
                      <a:pt x="678" y="214"/>
                    </a:cubicBezTo>
                    <a:cubicBezTo>
                      <a:pt x="678" y="214"/>
                      <a:pt x="678" y="214"/>
                      <a:pt x="677" y="214"/>
                    </a:cubicBezTo>
                    <a:cubicBezTo>
                      <a:pt x="677" y="214"/>
                      <a:pt x="677" y="214"/>
                      <a:pt x="677" y="216"/>
                    </a:cubicBezTo>
                    <a:close/>
                    <a:moveTo>
                      <a:pt x="674" y="217"/>
                    </a:moveTo>
                    <a:cubicBezTo>
                      <a:pt x="674" y="217"/>
                      <a:pt x="674" y="217"/>
                      <a:pt x="673" y="219"/>
                    </a:cubicBezTo>
                    <a:cubicBezTo>
                      <a:pt x="673" y="219"/>
                      <a:pt x="673" y="219"/>
                      <a:pt x="673" y="220"/>
                    </a:cubicBezTo>
                    <a:cubicBezTo>
                      <a:pt x="673" y="220"/>
                      <a:pt x="673" y="220"/>
                      <a:pt x="674" y="221"/>
                    </a:cubicBezTo>
                    <a:cubicBezTo>
                      <a:pt x="674" y="221"/>
                      <a:pt x="674" y="221"/>
                      <a:pt x="674" y="220"/>
                    </a:cubicBezTo>
                    <a:cubicBezTo>
                      <a:pt x="674" y="220"/>
                      <a:pt x="674" y="220"/>
                      <a:pt x="675" y="219"/>
                    </a:cubicBezTo>
                    <a:cubicBezTo>
                      <a:pt x="675" y="219"/>
                      <a:pt x="675" y="219"/>
                      <a:pt x="676" y="219"/>
                    </a:cubicBezTo>
                    <a:cubicBezTo>
                      <a:pt x="676" y="219"/>
                      <a:pt x="676" y="219"/>
                      <a:pt x="676" y="217"/>
                    </a:cubicBezTo>
                    <a:cubicBezTo>
                      <a:pt x="676" y="217"/>
                      <a:pt x="676" y="217"/>
                      <a:pt x="676" y="216"/>
                    </a:cubicBezTo>
                    <a:cubicBezTo>
                      <a:pt x="676" y="216"/>
                      <a:pt x="676" y="216"/>
                      <a:pt x="675" y="216"/>
                    </a:cubicBezTo>
                    <a:cubicBezTo>
                      <a:pt x="675" y="216"/>
                      <a:pt x="675" y="216"/>
                      <a:pt x="674" y="216"/>
                    </a:cubicBezTo>
                    <a:cubicBezTo>
                      <a:pt x="674" y="216"/>
                      <a:pt x="674" y="216"/>
                      <a:pt x="674" y="217"/>
                    </a:cubicBezTo>
                    <a:close/>
                    <a:moveTo>
                      <a:pt x="709" y="188"/>
                    </a:moveTo>
                    <a:cubicBezTo>
                      <a:pt x="709" y="188"/>
                      <a:pt x="709" y="188"/>
                      <a:pt x="708" y="188"/>
                    </a:cubicBezTo>
                    <a:cubicBezTo>
                      <a:pt x="708" y="188"/>
                      <a:pt x="708" y="188"/>
                      <a:pt x="709" y="189"/>
                    </a:cubicBezTo>
                    <a:cubicBezTo>
                      <a:pt x="709" y="189"/>
                      <a:pt x="709" y="189"/>
                      <a:pt x="709" y="188"/>
                    </a:cubicBezTo>
                    <a:close/>
                    <a:moveTo>
                      <a:pt x="674" y="211"/>
                    </a:moveTo>
                    <a:cubicBezTo>
                      <a:pt x="674" y="211"/>
                      <a:pt x="674" y="211"/>
                      <a:pt x="675" y="211"/>
                    </a:cubicBezTo>
                    <a:cubicBezTo>
                      <a:pt x="675" y="211"/>
                      <a:pt x="675" y="211"/>
                      <a:pt x="676" y="210"/>
                    </a:cubicBezTo>
                    <a:cubicBezTo>
                      <a:pt x="676" y="210"/>
                      <a:pt x="676" y="210"/>
                      <a:pt x="676" y="209"/>
                    </a:cubicBezTo>
                    <a:cubicBezTo>
                      <a:pt x="676" y="209"/>
                      <a:pt x="676" y="209"/>
                      <a:pt x="675" y="209"/>
                    </a:cubicBezTo>
                    <a:cubicBezTo>
                      <a:pt x="675" y="209"/>
                      <a:pt x="675" y="209"/>
                      <a:pt x="675" y="208"/>
                    </a:cubicBezTo>
                    <a:cubicBezTo>
                      <a:pt x="675" y="208"/>
                      <a:pt x="675" y="208"/>
                      <a:pt x="674" y="208"/>
                    </a:cubicBezTo>
                    <a:cubicBezTo>
                      <a:pt x="674" y="208"/>
                      <a:pt x="674" y="208"/>
                      <a:pt x="674" y="209"/>
                    </a:cubicBezTo>
                    <a:cubicBezTo>
                      <a:pt x="674" y="209"/>
                      <a:pt x="674" y="209"/>
                      <a:pt x="675" y="210"/>
                    </a:cubicBezTo>
                    <a:cubicBezTo>
                      <a:pt x="675" y="210"/>
                      <a:pt x="675" y="210"/>
                      <a:pt x="674" y="210"/>
                    </a:cubicBezTo>
                    <a:cubicBezTo>
                      <a:pt x="674" y="210"/>
                      <a:pt x="674" y="210"/>
                      <a:pt x="674" y="211"/>
                    </a:cubicBezTo>
                    <a:close/>
                    <a:moveTo>
                      <a:pt x="677" y="230"/>
                    </a:moveTo>
                    <a:cubicBezTo>
                      <a:pt x="676" y="230"/>
                      <a:pt x="676" y="230"/>
                      <a:pt x="676" y="230"/>
                    </a:cubicBezTo>
                    <a:cubicBezTo>
                      <a:pt x="676" y="231"/>
                      <a:pt x="676" y="231"/>
                      <a:pt x="676" y="231"/>
                    </a:cubicBezTo>
                    <a:cubicBezTo>
                      <a:pt x="677" y="231"/>
                      <a:pt x="677" y="231"/>
                      <a:pt x="677" y="231"/>
                    </a:cubicBezTo>
                    <a:cubicBezTo>
                      <a:pt x="677" y="230"/>
                      <a:pt x="677" y="230"/>
                      <a:pt x="677" y="230"/>
                    </a:cubicBezTo>
                    <a:close/>
                    <a:moveTo>
                      <a:pt x="790" y="229"/>
                    </a:moveTo>
                    <a:cubicBezTo>
                      <a:pt x="790" y="229"/>
                      <a:pt x="790" y="229"/>
                      <a:pt x="789" y="229"/>
                    </a:cubicBezTo>
                    <a:cubicBezTo>
                      <a:pt x="789" y="229"/>
                      <a:pt x="789" y="229"/>
                      <a:pt x="788" y="230"/>
                    </a:cubicBezTo>
                    <a:cubicBezTo>
                      <a:pt x="788" y="230"/>
                      <a:pt x="788" y="230"/>
                      <a:pt x="788" y="231"/>
                    </a:cubicBezTo>
                    <a:cubicBezTo>
                      <a:pt x="788" y="231"/>
                      <a:pt x="788" y="231"/>
                      <a:pt x="789" y="231"/>
                    </a:cubicBezTo>
                    <a:cubicBezTo>
                      <a:pt x="789" y="231"/>
                      <a:pt x="789" y="231"/>
                      <a:pt x="790" y="230"/>
                    </a:cubicBezTo>
                    <a:cubicBezTo>
                      <a:pt x="790" y="230"/>
                      <a:pt x="790" y="230"/>
                      <a:pt x="791" y="229"/>
                    </a:cubicBezTo>
                    <a:cubicBezTo>
                      <a:pt x="791" y="229"/>
                      <a:pt x="791" y="229"/>
                      <a:pt x="791" y="228"/>
                    </a:cubicBezTo>
                    <a:cubicBezTo>
                      <a:pt x="791" y="228"/>
                      <a:pt x="791" y="228"/>
                      <a:pt x="790" y="228"/>
                    </a:cubicBezTo>
                    <a:cubicBezTo>
                      <a:pt x="790" y="228"/>
                      <a:pt x="790" y="228"/>
                      <a:pt x="790" y="229"/>
                    </a:cubicBezTo>
                    <a:close/>
                    <a:moveTo>
                      <a:pt x="834" y="280"/>
                    </a:moveTo>
                    <a:cubicBezTo>
                      <a:pt x="834" y="280"/>
                      <a:pt x="834" y="280"/>
                      <a:pt x="835" y="279"/>
                    </a:cubicBezTo>
                    <a:cubicBezTo>
                      <a:pt x="835" y="279"/>
                      <a:pt x="835" y="279"/>
                      <a:pt x="834" y="279"/>
                    </a:cubicBezTo>
                    <a:cubicBezTo>
                      <a:pt x="834" y="279"/>
                      <a:pt x="834" y="279"/>
                      <a:pt x="834" y="280"/>
                    </a:cubicBezTo>
                    <a:close/>
                    <a:moveTo>
                      <a:pt x="838" y="314"/>
                    </a:moveTo>
                    <a:cubicBezTo>
                      <a:pt x="837" y="313"/>
                      <a:pt x="837" y="313"/>
                      <a:pt x="837" y="313"/>
                    </a:cubicBezTo>
                    <a:cubicBezTo>
                      <a:pt x="837" y="314"/>
                      <a:pt x="837" y="314"/>
                      <a:pt x="837" y="314"/>
                    </a:cubicBezTo>
                    <a:cubicBezTo>
                      <a:pt x="838" y="314"/>
                      <a:pt x="838" y="314"/>
                      <a:pt x="838" y="314"/>
                    </a:cubicBezTo>
                    <a:close/>
                    <a:moveTo>
                      <a:pt x="849" y="260"/>
                    </a:moveTo>
                    <a:cubicBezTo>
                      <a:pt x="849" y="260"/>
                      <a:pt x="849" y="260"/>
                      <a:pt x="849" y="259"/>
                    </a:cubicBezTo>
                    <a:cubicBezTo>
                      <a:pt x="849" y="259"/>
                      <a:pt x="849" y="259"/>
                      <a:pt x="848" y="259"/>
                    </a:cubicBezTo>
                    <a:cubicBezTo>
                      <a:pt x="848" y="259"/>
                      <a:pt x="848" y="259"/>
                      <a:pt x="847" y="261"/>
                    </a:cubicBezTo>
                    <a:cubicBezTo>
                      <a:pt x="847" y="261"/>
                      <a:pt x="847" y="261"/>
                      <a:pt x="849" y="261"/>
                    </a:cubicBezTo>
                    <a:cubicBezTo>
                      <a:pt x="849" y="261"/>
                      <a:pt x="849" y="261"/>
                      <a:pt x="849" y="260"/>
                    </a:cubicBezTo>
                    <a:close/>
                    <a:moveTo>
                      <a:pt x="860" y="280"/>
                    </a:moveTo>
                    <a:cubicBezTo>
                      <a:pt x="859" y="280"/>
                      <a:pt x="859" y="280"/>
                      <a:pt x="859" y="280"/>
                    </a:cubicBezTo>
                    <a:cubicBezTo>
                      <a:pt x="859" y="281"/>
                      <a:pt x="859" y="281"/>
                      <a:pt x="859" y="281"/>
                    </a:cubicBezTo>
                    <a:cubicBezTo>
                      <a:pt x="861" y="281"/>
                      <a:pt x="861" y="281"/>
                      <a:pt x="861" y="281"/>
                    </a:cubicBezTo>
                    <a:cubicBezTo>
                      <a:pt x="861" y="282"/>
                      <a:pt x="861" y="282"/>
                      <a:pt x="861" y="282"/>
                    </a:cubicBezTo>
                    <a:cubicBezTo>
                      <a:pt x="860" y="282"/>
                      <a:pt x="860" y="282"/>
                      <a:pt x="860" y="282"/>
                    </a:cubicBezTo>
                    <a:cubicBezTo>
                      <a:pt x="859" y="282"/>
                      <a:pt x="859" y="282"/>
                      <a:pt x="859" y="282"/>
                    </a:cubicBezTo>
                    <a:cubicBezTo>
                      <a:pt x="858" y="282"/>
                      <a:pt x="858" y="282"/>
                      <a:pt x="858" y="282"/>
                    </a:cubicBezTo>
                    <a:cubicBezTo>
                      <a:pt x="857" y="282"/>
                      <a:pt x="857" y="282"/>
                      <a:pt x="857" y="282"/>
                    </a:cubicBezTo>
                    <a:cubicBezTo>
                      <a:pt x="857" y="281"/>
                      <a:pt x="857" y="281"/>
                      <a:pt x="857" y="281"/>
                    </a:cubicBezTo>
                    <a:cubicBezTo>
                      <a:pt x="857" y="280"/>
                      <a:pt x="857" y="280"/>
                      <a:pt x="857" y="280"/>
                    </a:cubicBezTo>
                    <a:cubicBezTo>
                      <a:pt x="856" y="280"/>
                      <a:pt x="856" y="280"/>
                      <a:pt x="856" y="280"/>
                    </a:cubicBezTo>
                    <a:cubicBezTo>
                      <a:pt x="856" y="279"/>
                      <a:pt x="856" y="279"/>
                      <a:pt x="856" y="279"/>
                    </a:cubicBezTo>
                    <a:cubicBezTo>
                      <a:pt x="855" y="279"/>
                      <a:pt x="855" y="279"/>
                      <a:pt x="855" y="279"/>
                    </a:cubicBezTo>
                    <a:cubicBezTo>
                      <a:pt x="855" y="280"/>
                      <a:pt x="855" y="280"/>
                      <a:pt x="855" y="280"/>
                    </a:cubicBezTo>
                    <a:cubicBezTo>
                      <a:pt x="856" y="281"/>
                      <a:pt x="856" y="281"/>
                      <a:pt x="856" y="281"/>
                    </a:cubicBezTo>
                    <a:cubicBezTo>
                      <a:pt x="856" y="282"/>
                      <a:pt x="856" y="282"/>
                      <a:pt x="856" y="282"/>
                    </a:cubicBezTo>
                    <a:cubicBezTo>
                      <a:pt x="855" y="282"/>
                      <a:pt x="855" y="282"/>
                      <a:pt x="855" y="282"/>
                    </a:cubicBezTo>
                    <a:cubicBezTo>
                      <a:pt x="854" y="281"/>
                      <a:pt x="854" y="281"/>
                      <a:pt x="854" y="281"/>
                    </a:cubicBezTo>
                    <a:cubicBezTo>
                      <a:pt x="854" y="282"/>
                      <a:pt x="854" y="282"/>
                      <a:pt x="854" y="282"/>
                    </a:cubicBezTo>
                    <a:cubicBezTo>
                      <a:pt x="855" y="283"/>
                      <a:pt x="855" y="283"/>
                      <a:pt x="855" y="283"/>
                    </a:cubicBezTo>
                    <a:cubicBezTo>
                      <a:pt x="856" y="283"/>
                      <a:pt x="856" y="283"/>
                      <a:pt x="856" y="283"/>
                    </a:cubicBezTo>
                    <a:cubicBezTo>
                      <a:pt x="857" y="283"/>
                      <a:pt x="857" y="283"/>
                      <a:pt x="857" y="283"/>
                    </a:cubicBezTo>
                    <a:cubicBezTo>
                      <a:pt x="857" y="284"/>
                      <a:pt x="857" y="284"/>
                      <a:pt x="857" y="284"/>
                    </a:cubicBezTo>
                    <a:cubicBezTo>
                      <a:pt x="857" y="285"/>
                      <a:pt x="857" y="285"/>
                      <a:pt x="857" y="285"/>
                    </a:cubicBezTo>
                    <a:cubicBezTo>
                      <a:pt x="855" y="285"/>
                      <a:pt x="855" y="285"/>
                      <a:pt x="855" y="285"/>
                    </a:cubicBezTo>
                    <a:cubicBezTo>
                      <a:pt x="855" y="284"/>
                      <a:pt x="855" y="284"/>
                      <a:pt x="855" y="284"/>
                    </a:cubicBezTo>
                    <a:cubicBezTo>
                      <a:pt x="854" y="283"/>
                      <a:pt x="854" y="283"/>
                      <a:pt x="854" y="283"/>
                    </a:cubicBezTo>
                    <a:cubicBezTo>
                      <a:pt x="853" y="283"/>
                      <a:pt x="853" y="283"/>
                      <a:pt x="853" y="283"/>
                    </a:cubicBezTo>
                    <a:cubicBezTo>
                      <a:pt x="854" y="284"/>
                      <a:pt x="854" y="284"/>
                      <a:pt x="854" y="284"/>
                    </a:cubicBezTo>
                    <a:cubicBezTo>
                      <a:pt x="855" y="285"/>
                      <a:pt x="855" y="285"/>
                      <a:pt x="855" y="285"/>
                    </a:cubicBezTo>
                    <a:cubicBezTo>
                      <a:pt x="855" y="287"/>
                      <a:pt x="855" y="287"/>
                      <a:pt x="855" y="287"/>
                    </a:cubicBezTo>
                    <a:cubicBezTo>
                      <a:pt x="854" y="287"/>
                      <a:pt x="854" y="287"/>
                      <a:pt x="854" y="287"/>
                    </a:cubicBezTo>
                    <a:cubicBezTo>
                      <a:pt x="853" y="286"/>
                      <a:pt x="853" y="286"/>
                      <a:pt x="853" y="286"/>
                    </a:cubicBezTo>
                    <a:cubicBezTo>
                      <a:pt x="852" y="286"/>
                      <a:pt x="852" y="286"/>
                      <a:pt x="852" y="286"/>
                    </a:cubicBezTo>
                    <a:cubicBezTo>
                      <a:pt x="852" y="287"/>
                      <a:pt x="852" y="287"/>
                      <a:pt x="852" y="287"/>
                    </a:cubicBezTo>
                    <a:cubicBezTo>
                      <a:pt x="852" y="289"/>
                      <a:pt x="852" y="289"/>
                      <a:pt x="852" y="289"/>
                    </a:cubicBezTo>
                    <a:cubicBezTo>
                      <a:pt x="851" y="289"/>
                      <a:pt x="851" y="289"/>
                      <a:pt x="851" y="289"/>
                    </a:cubicBezTo>
                    <a:cubicBezTo>
                      <a:pt x="851" y="288"/>
                      <a:pt x="851" y="288"/>
                      <a:pt x="851" y="288"/>
                    </a:cubicBezTo>
                    <a:cubicBezTo>
                      <a:pt x="850" y="288"/>
                      <a:pt x="850" y="288"/>
                      <a:pt x="850" y="288"/>
                    </a:cubicBezTo>
                    <a:cubicBezTo>
                      <a:pt x="850" y="289"/>
                      <a:pt x="850" y="289"/>
                      <a:pt x="850" y="289"/>
                    </a:cubicBezTo>
                    <a:cubicBezTo>
                      <a:pt x="849" y="288"/>
                      <a:pt x="849" y="288"/>
                      <a:pt x="849" y="288"/>
                    </a:cubicBezTo>
                    <a:cubicBezTo>
                      <a:pt x="849" y="287"/>
                      <a:pt x="849" y="287"/>
                      <a:pt x="849" y="287"/>
                    </a:cubicBezTo>
                    <a:cubicBezTo>
                      <a:pt x="849" y="286"/>
                      <a:pt x="849" y="286"/>
                      <a:pt x="849" y="286"/>
                    </a:cubicBezTo>
                    <a:cubicBezTo>
                      <a:pt x="849" y="285"/>
                      <a:pt x="849" y="285"/>
                      <a:pt x="849" y="285"/>
                    </a:cubicBezTo>
                    <a:cubicBezTo>
                      <a:pt x="848" y="286"/>
                      <a:pt x="848" y="286"/>
                      <a:pt x="848" y="286"/>
                    </a:cubicBezTo>
                    <a:cubicBezTo>
                      <a:pt x="848" y="288"/>
                      <a:pt x="848" y="288"/>
                      <a:pt x="848" y="288"/>
                    </a:cubicBezTo>
                    <a:cubicBezTo>
                      <a:pt x="847" y="288"/>
                      <a:pt x="847" y="288"/>
                      <a:pt x="847" y="288"/>
                    </a:cubicBezTo>
                    <a:cubicBezTo>
                      <a:pt x="848" y="289"/>
                      <a:pt x="848" y="289"/>
                      <a:pt x="848" y="289"/>
                    </a:cubicBezTo>
                    <a:cubicBezTo>
                      <a:pt x="848" y="290"/>
                      <a:pt x="848" y="290"/>
                      <a:pt x="848" y="290"/>
                    </a:cubicBezTo>
                    <a:cubicBezTo>
                      <a:pt x="848" y="291"/>
                      <a:pt x="848" y="291"/>
                      <a:pt x="848" y="291"/>
                    </a:cubicBezTo>
                    <a:cubicBezTo>
                      <a:pt x="848" y="292"/>
                      <a:pt x="848" y="292"/>
                      <a:pt x="848" y="292"/>
                    </a:cubicBezTo>
                    <a:cubicBezTo>
                      <a:pt x="847" y="292"/>
                      <a:pt x="847" y="292"/>
                      <a:pt x="847" y="292"/>
                    </a:cubicBezTo>
                    <a:cubicBezTo>
                      <a:pt x="847" y="293"/>
                      <a:pt x="847" y="293"/>
                      <a:pt x="847" y="293"/>
                    </a:cubicBezTo>
                    <a:cubicBezTo>
                      <a:pt x="846" y="294"/>
                      <a:pt x="846" y="294"/>
                      <a:pt x="846" y="294"/>
                    </a:cubicBezTo>
                    <a:cubicBezTo>
                      <a:pt x="847" y="294"/>
                      <a:pt x="847" y="294"/>
                      <a:pt x="847" y="294"/>
                    </a:cubicBezTo>
                    <a:cubicBezTo>
                      <a:pt x="847" y="295"/>
                      <a:pt x="847" y="295"/>
                      <a:pt x="847" y="295"/>
                    </a:cubicBezTo>
                    <a:cubicBezTo>
                      <a:pt x="847" y="296"/>
                      <a:pt x="847" y="296"/>
                      <a:pt x="847" y="296"/>
                    </a:cubicBezTo>
                    <a:cubicBezTo>
                      <a:pt x="846" y="296"/>
                      <a:pt x="846" y="296"/>
                      <a:pt x="846" y="296"/>
                    </a:cubicBezTo>
                    <a:cubicBezTo>
                      <a:pt x="846" y="297"/>
                      <a:pt x="846" y="297"/>
                      <a:pt x="846" y="297"/>
                    </a:cubicBezTo>
                    <a:cubicBezTo>
                      <a:pt x="845" y="297"/>
                      <a:pt x="845" y="297"/>
                      <a:pt x="845" y="297"/>
                    </a:cubicBezTo>
                    <a:cubicBezTo>
                      <a:pt x="845" y="296"/>
                      <a:pt x="845" y="296"/>
                      <a:pt x="845" y="296"/>
                    </a:cubicBezTo>
                    <a:cubicBezTo>
                      <a:pt x="845" y="295"/>
                      <a:pt x="845" y="295"/>
                      <a:pt x="845" y="295"/>
                    </a:cubicBezTo>
                    <a:cubicBezTo>
                      <a:pt x="844" y="295"/>
                      <a:pt x="844" y="295"/>
                      <a:pt x="844" y="295"/>
                    </a:cubicBezTo>
                    <a:cubicBezTo>
                      <a:pt x="844" y="294"/>
                      <a:pt x="844" y="294"/>
                      <a:pt x="844" y="294"/>
                    </a:cubicBezTo>
                    <a:cubicBezTo>
                      <a:pt x="843" y="294"/>
                      <a:pt x="843" y="294"/>
                      <a:pt x="843" y="294"/>
                    </a:cubicBezTo>
                    <a:cubicBezTo>
                      <a:pt x="843" y="295"/>
                      <a:pt x="843" y="295"/>
                      <a:pt x="843" y="295"/>
                    </a:cubicBezTo>
                    <a:cubicBezTo>
                      <a:pt x="842" y="295"/>
                      <a:pt x="842" y="295"/>
                      <a:pt x="842" y="295"/>
                    </a:cubicBezTo>
                    <a:cubicBezTo>
                      <a:pt x="842" y="294"/>
                      <a:pt x="842" y="294"/>
                      <a:pt x="842" y="294"/>
                    </a:cubicBezTo>
                    <a:cubicBezTo>
                      <a:pt x="842" y="293"/>
                      <a:pt x="842" y="293"/>
                      <a:pt x="842" y="293"/>
                    </a:cubicBezTo>
                    <a:cubicBezTo>
                      <a:pt x="842" y="292"/>
                      <a:pt x="842" y="292"/>
                      <a:pt x="842" y="292"/>
                    </a:cubicBezTo>
                    <a:cubicBezTo>
                      <a:pt x="841" y="293"/>
                      <a:pt x="841" y="293"/>
                      <a:pt x="841" y="293"/>
                    </a:cubicBezTo>
                    <a:cubicBezTo>
                      <a:pt x="840" y="294"/>
                      <a:pt x="840" y="294"/>
                      <a:pt x="840" y="294"/>
                    </a:cubicBezTo>
                    <a:cubicBezTo>
                      <a:pt x="840" y="293"/>
                      <a:pt x="840" y="293"/>
                      <a:pt x="840" y="293"/>
                    </a:cubicBezTo>
                    <a:cubicBezTo>
                      <a:pt x="840" y="292"/>
                      <a:pt x="840" y="292"/>
                      <a:pt x="840" y="292"/>
                    </a:cubicBezTo>
                    <a:cubicBezTo>
                      <a:pt x="840" y="291"/>
                      <a:pt x="840" y="291"/>
                      <a:pt x="840" y="291"/>
                    </a:cubicBezTo>
                    <a:cubicBezTo>
                      <a:pt x="841" y="290"/>
                      <a:pt x="841" y="290"/>
                      <a:pt x="841" y="290"/>
                    </a:cubicBezTo>
                    <a:cubicBezTo>
                      <a:pt x="842" y="290"/>
                      <a:pt x="842" y="290"/>
                      <a:pt x="842" y="290"/>
                    </a:cubicBezTo>
                    <a:cubicBezTo>
                      <a:pt x="841" y="289"/>
                      <a:pt x="841" y="289"/>
                      <a:pt x="841" y="289"/>
                    </a:cubicBezTo>
                    <a:cubicBezTo>
                      <a:pt x="840" y="289"/>
                      <a:pt x="840" y="289"/>
                      <a:pt x="840" y="289"/>
                    </a:cubicBezTo>
                    <a:cubicBezTo>
                      <a:pt x="839" y="289"/>
                      <a:pt x="839" y="289"/>
                      <a:pt x="839" y="289"/>
                    </a:cubicBezTo>
                    <a:cubicBezTo>
                      <a:pt x="839" y="288"/>
                      <a:pt x="839" y="288"/>
                      <a:pt x="839" y="288"/>
                    </a:cubicBezTo>
                    <a:cubicBezTo>
                      <a:pt x="840" y="288"/>
                      <a:pt x="840" y="288"/>
                      <a:pt x="840" y="288"/>
                    </a:cubicBezTo>
                    <a:cubicBezTo>
                      <a:pt x="841" y="287"/>
                      <a:pt x="841" y="287"/>
                      <a:pt x="841" y="287"/>
                    </a:cubicBezTo>
                    <a:cubicBezTo>
                      <a:pt x="840" y="287"/>
                      <a:pt x="840" y="287"/>
                      <a:pt x="840" y="287"/>
                    </a:cubicBezTo>
                    <a:cubicBezTo>
                      <a:pt x="839" y="287"/>
                      <a:pt x="839" y="287"/>
                      <a:pt x="839" y="287"/>
                    </a:cubicBezTo>
                    <a:cubicBezTo>
                      <a:pt x="840" y="286"/>
                      <a:pt x="840" y="286"/>
                      <a:pt x="840" y="286"/>
                    </a:cubicBezTo>
                    <a:cubicBezTo>
                      <a:pt x="841" y="286"/>
                      <a:pt x="841" y="286"/>
                      <a:pt x="841" y="286"/>
                    </a:cubicBezTo>
                    <a:cubicBezTo>
                      <a:pt x="840" y="285"/>
                      <a:pt x="840" y="285"/>
                      <a:pt x="840" y="285"/>
                    </a:cubicBezTo>
                    <a:cubicBezTo>
                      <a:pt x="839" y="286"/>
                      <a:pt x="839" y="286"/>
                      <a:pt x="839" y="286"/>
                    </a:cubicBezTo>
                    <a:cubicBezTo>
                      <a:pt x="839" y="285"/>
                      <a:pt x="839" y="285"/>
                      <a:pt x="839" y="285"/>
                    </a:cubicBezTo>
                    <a:cubicBezTo>
                      <a:pt x="840" y="284"/>
                      <a:pt x="840" y="284"/>
                      <a:pt x="840" y="284"/>
                    </a:cubicBezTo>
                    <a:cubicBezTo>
                      <a:pt x="840" y="283"/>
                      <a:pt x="840" y="283"/>
                      <a:pt x="840" y="283"/>
                    </a:cubicBezTo>
                    <a:cubicBezTo>
                      <a:pt x="841" y="283"/>
                      <a:pt x="841" y="283"/>
                      <a:pt x="841" y="283"/>
                    </a:cubicBezTo>
                    <a:cubicBezTo>
                      <a:pt x="842" y="282"/>
                      <a:pt x="842" y="282"/>
                      <a:pt x="842" y="282"/>
                    </a:cubicBezTo>
                    <a:cubicBezTo>
                      <a:pt x="843" y="282"/>
                      <a:pt x="843" y="282"/>
                      <a:pt x="843" y="282"/>
                    </a:cubicBezTo>
                    <a:cubicBezTo>
                      <a:pt x="844" y="281"/>
                      <a:pt x="844" y="281"/>
                      <a:pt x="844" y="281"/>
                    </a:cubicBezTo>
                    <a:cubicBezTo>
                      <a:pt x="845" y="280"/>
                      <a:pt x="845" y="280"/>
                      <a:pt x="845" y="280"/>
                    </a:cubicBezTo>
                    <a:cubicBezTo>
                      <a:pt x="845" y="279"/>
                      <a:pt x="845" y="279"/>
                      <a:pt x="845" y="279"/>
                    </a:cubicBezTo>
                    <a:cubicBezTo>
                      <a:pt x="844" y="279"/>
                      <a:pt x="844" y="279"/>
                      <a:pt x="844" y="279"/>
                    </a:cubicBezTo>
                    <a:cubicBezTo>
                      <a:pt x="843" y="280"/>
                      <a:pt x="843" y="280"/>
                      <a:pt x="843" y="280"/>
                    </a:cubicBezTo>
                    <a:cubicBezTo>
                      <a:pt x="842" y="281"/>
                      <a:pt x="842" y="281"/>
                      <a:pt x="842" y="281"/>
                    </a:cubicBezTo>
                    <a:cubicBezTo>
                      <a:pt x="841" y="282"/>
                      <a:pt x="841" y="282"/>
                      <a:pt x="841" y="282"/>
                    </a:cubicBezTo>
                    <a:cubicBezTo>
                      <a:pt x="840" y="282"/>
                      <a:pt x="840" y="282"/>
                      <a:pt x="840" y="282"/>
                    </a:cubicBezTo>
                    <a:cubicBezTo>
                      <a:pt x="838" y="283"/>
                      <a:pt x="838" y="283"/>
                      <a:pt x="838" y="283"/>
                    </a:cubicBezTo>
                    <a:cubicBezTo>
                      <a:pt x="837" y="283"/>
                      <a:pt x="837" y="283"/>
                      <a:pt x="837" y="283"/>
                    </a:cubicBezTo>
                    <a:cubicBezTo>
                      <a:pt x="836" y="283"/>
                      <a:pt x="836" y="283"/>
                      <a:pt x="836" y="283"/>
                    </a:cubicBezTo>
                    <a:cubicBezTo>
                      <a:pt x="838" y="281"/>
                      <a:pt x="838" y="281"/>
                      <a:pt x="838" y="281"/>
                    </a:cubicBezTo>
                    <a:cubicBezTo>
                      <a:pt x="839" y="280"/>
                      <a:pt x="839" y="280"/>
                      <a:pt x="839" y="280"/>
                    </a:cubicBezTo>
                    <a:cubicBezTo>
                      <a:pt x="840" y="280"/>
                      <a:pt x="840" y="280"/>
                      <a:pt x="840" y="280"/>
                    </a:cubicBezTo>
                    <a:cubicBezTo>
                      <a:pt x="840" y="279"/>
                      <a:pt x="840" y="279"/>
                      <a:pt x="840" y="279"/>
                    </a:cubicBezTo>
                    <a:cubicBezTo>
                      <a:pt x="840" y="278"/>
                      <a:pt x="840" y="278"/>
                      <a:pt x="840" y="278"/>
                    </a:cubicBezTo>
                    <a:cubicBezTo>
                      <a:pt x="839" y="279"/>
                      <a:pt x="839" y="279"/>
                      <a:pt x="839" y="279"/>
                    </a:cubicBezTo>
                    <a:cubicBezTo>
                      <a:pt x="837" y="281"/>
                      <a:pt x="837" y="281"/>
                      <a:pt x="837" y="281"/>
                    </a:cubicBezTo>
                    <a:cubicBezTo>
                      <a:pt x="836" y="281"/>
                      <a:pt x="836" y="281"/>
                      <a:pt x="836" y="281"/>
                    </a:cubicBezTo>
                    <a:cubicBezTo>
                      <a:pt x="835" y="281"/>
                      <a:pt x="835" y="281"/>
                      <a:pt x="835" y="281"/>
                    </a:cubicBezTo>
                    <a:cubicBezTo>
                      <a:pt x="835" y="280"/>
                      <a:pt x="835" y="280"/>
                      <a:pt x="835" y="280"/>
                    </a:cubicBezTo>
                    <a:cubicBezTo>
                      <a:pt x="835" y="279"/>
                      <a:pt x="835" y="279"/>
                      <a:pt x="835" y="279"/>
                    </a:cubicBezTo>
                    <a:cubicBezTo>
                      <a:pt x="835" y="278"/>
                      <a:pt x="835" y="278"/>
                      <a:pt x="835" y="278"/>
                    </a:cubicBezTo>
                    <a:cubicBezTo>
                      <a:pt x="834" y="278"/>
                      <a:pt x="834" y="278"/>
                      <a:pt x="834" y="278"/>
                    </a:cubicBezTo>
                    <a:cubicBezTo>
                      <a:pt x="833" y="277"/>
                      <a:pt x="833" y="277"/>
                      <a:pt x="833" y="277"/>
                    </a:cubicBezTo>
                    <a:cubicBezTo>
                      <a:pt x="834" y="276"/>
                      <a:pt x="834" y="276"/>
                      <a:pt x="834" y="276"/>
                    </a:cubicBezTo>
                    <a:cubicBezTo>
                      <a:pt x="834" y="275"/>
                      <a:pt x="834" y="275"/>
                      <a:pt x="834" y="275"/>
                    </a:cubicBezTo>
                    <a:cubicBezTo>
                      <a:pt x="833" y="275"/>
                      <a:pt x="833" y="275"/>
                      <a:pt x="833" y="275"/>
                    </a:cubicBezTo>
                    <a:cubicBezTo>
                      <a:pt x="833" y="276"/>
                      <a:pt x="833" y="276"/>
                      <a:pt x="833" y="276"/>
                    </a:cubicBezTo>
                    <a:cubicBezTo>
                      <a:pt x="832" y="276"/>
                      <a:pt x="832" y="276"/>
                      <a:pt x="832" y="276"/>
                    </a:cubicBezTo>
                    <a:cubicBezTo>
                      <a:pt x="831" y="276"/>
                      <a:pt x="831" y="276"/>
                      <a:pt x="831" y="276"/>
                    </a:cubicBezTo>
                    <a:cubicBezTo>
                      <a:pt x="831" y="275"/>
                      <a:pt x="831" y="275"/>
                      <a:pt x="831" y="275"/>
                    </a:cubicBezTo>
                    <a:cubicBezTo>
                      <a:pt x="830" y="275"/>
                      <a:pt x="830" y="275"/>
                      <a:pt x="830" y="275"/>
                    </a:cubicBezTo>
                    <a:cubicBezTo>
                      <a:pt x="831" y="276"/>
                      <a:pt x="831" y="276"/>
                      <a:pt x="831" y="276"/>
                    </a:cubicBezTo>
                    <a:cubicBezTo>
                      <a:pt x="832" y="277"/>
                      <a:pt x="832" y="277"/>
                      <a:pt x="832" y="277"/>
                    </a:cubicBezTo>
                    <a:cubicBezTo>
                      <a:pt x="832" y="278"/>
                      <a:pt x="832" y="278"/>
                      <a:pt x="832" y="278"/>
                    </a:cubicBezTo>
                    <a:cubicBezTo>
                      <a:pt x="831" y="278"/>
                      <a:pt x="831" y="278"/>
                      <a:pt x="831" y="278"/>
                    </a:cubicBezTo>
                    <a:cubicBezTo>
                      <a:pt x="830" y="279"/>
                      <a:pt x="830" y="279"/>
                      <a:pt x="830" y="279"/>
                    </a:cubicBezTo>
                    <a:cubicBezTo>
                      <a:pt x="829" y="278"/>
                      <a:pt x="829" y="278"/>
                      <a:pt x="829" y="278"/>
                    </a:cubicBezTo>
                    <a:cubicBezTo>
                      <a:pt x="829" y="279"/>
                      <a:pt x="829" y="279"/>
                      <a:pt x="829" y="279"/>
                    </a:cubicBezTo>
                    <a:cubicBezTo>
                      <a:pt x="830" y="280"/>
                      <a:pt x="830" y="280"/>
                      <a:pt x="830" y="280"/>
                    </a:cubicBezTo>
                    <a:cubicBezTo>
                      <a:pt x="831" y="281"/>
                      <a:pt x="831" y="281"/>
                      <a:pt x="831" y="281"/>
                    </a:cubicBezTo>
                    <a:cubicBezTo>
                      <a:pt x="830" y="282"/>
                      <a:pt x="830" y="282"/>
                      <a:pt x="830" y="282"/>
                    </a:cubicBezTo>
                    <a:cubicBezTo>
                      <a:pt x="831" y="282"/>
                      <a:pt x="831" y="282"/>
                      <a:pt x="831" y="282"/>
                    </a:cubicBezTo>
                    <a:cubicBezTo>
                      <a:pt x="831" y="283"/>
                      <a:pt x="831" y="283"/>
                      <a:pt x="831" y="283"/>
                    </a:cubicBezTo>
                    <a:cubicBezTo>
                      <a:pt x="830" y="283"/>
                      <a:pt x="830" y="283"/>
                      <a:pt x="830" y="283"/>
                    </a:cubicBezTo>
                    <a:cubicBezTo>
                      <a:pt x="829" y="283"/>
                      <a:pt x="829" y="283"/>
                      <a:pt x="829" y="283"/>
                    </a:cubicBezTo>
                    <a:cubicBezTo>
                      <a:pt x="828" y="282"/>
                      <a:pt x="828" y="282"/>
                      <a:pt x="828" y="282"/>
                    </a:cubicBezTo>
                    <a:cubicBezTo>
                      <a:pt x="828" y="283"/>
                      <a:pt x="828" y="283"/>
                      <a:pt x="828" y="283"/>
                    </a:cubicBezTo>
                    <a:cubicBezTo>
                      <a:pt x="826" y="282"/>
                      <a:pt x="826" y="282"/>
                      <a:pt x="826" y="282"/>
                    </a:cubicBezTo>
                    <a:cubicBezTo>
                      <a:pt x="826" y="281"/>
                      <a:pt x="826" y="281"/>
                      <a:pt x="826" y="281"/>
                    </a:cubicBezTo>
                    <a:cubicBezTo>
                      <a:pt x="827" y="280"/>
                      <a:pt x="827" y="280"/>
                      <a:pt x="827" y="280"/>
                    </a:cubicBezTo>
                    <a:cubicBezTo>
                      <a:pt x="826" y="279"/>
                      <a:pt x="826" y="279"/>
                      <a:pt x="826" y="279"/>
                    </a:cubicBezTo>
                    <a:cubicBezTo>
                      <a:pt x="825" y="279"/>
                      <a:pt x="825" y="279"/>
                      <a:pt x="825" y="279"/>
                    </a:cubicBezTo>
                    <a:cubicBezTo>
                      <a:pt x="824" y="279"/>
                      <a:pt x="824" y="279"/>
                      <a:pt x="824" y="279"/>
                    </a:cubicBezTo>
                    <a:cubicBezTo>
                      <a:pt x="824" y="278"/>
                      <a:pt x="824" y="278"/>
                      <a:pt x="824" y="278"/>
                    </a:cubicBezTo>
                    <a:cubicBezTo>
                      <a:pt x="824" y="277"/>
                      <a:pt x="824" y="277"/>
                      <a:pt x="824" y="277"/>
                    </a:cubicBezTo>
                    <a:cubicBezTo>
                      <a:pt x="823" y="278"/>
                      <a:pt x="823" y="278"/>
                      <a:pt x="823" y="278"/>
                    </a:cubicBezTo>
                    <a:cubicBezTo>
                      <a:pt x="822" y="278"/>
                      <a:pt x="822" y="278"/>
                      <a:pt x="822" y="278"/>
                    </a:cubicBezTo>
                    <a:cubicBezTo>
                      <a:pt x="821" y="278"/>
                      <a:pt x="821" y="278"/>
                      <a:pt x="821" y="278"/>
                    </a:cubicBezTo>
                    <a:cubicBezTo>
                      <a:pt x="821" y="279"/>
                      <a:pt x="821" y="279"/>
                      <a:pt x="821" y="279"/>
                    </a:cubicBezTo>
                    <a:cubicBezTo>
                      <a:pt x="823" y="279"/>
                      <a:pt x="823" y="279"/>
                      <a:pt x="823" y="279"/>
                    </a:cubicBezTo>
                    <a:cubicBezTo>
                      <a:pt x="824" y="279"/>
                      <a:pt x="824" y="279"/>
                      <a:pt x="824" y="279"/>
                    </a:cubicBezTo>
                    <a:cubicBezTo>
                      <a:pt x="825" y="280"/>
                      <a:pt x="825" y="280"/>
                      <a:pt x="825" y="280"/>
                    </a:cubicBezTo>
                    <a:cubicBezTo>
                      <a:pt x="825" y="281"/>
                      <a:pt x="825" y="281"/>
                      <a:pt x="825" y="281"/>
                    </a:cubicBezTo>
                    <a:cubicBezTo>
                      <a:pt x="824" y="282"/>
                      <a:pt x="824" y="282"/>
                      <a:pt x="824" y="282"/>
                    </a:cubicBezTo>
                    <a:cubicBezTo>
                      <a:pt x="825" y="282"/>
                      <a:pt x="825" y="282"/>
                      <a:pt x="825" y="282"/>
                    </a:cubicBezTo>
                    <a:cubicBezTo>
                      <a:pt x="825" y="283"/>
                      <a:pt x="825" y="283"/>
                      <a:pt x="825" y="283"/>
                    </a:cubicBezTo>
                    <a:cubicBezTo>
                      <a:pt x="825" y="284"/>
                      <a:pt x="825" y="284"/>
                      <a:pt x="825" y="284"/>
                    </a:cubicBezTo>
                    <a:cubicBezTo>
                      <a:pt x="827" y="284"/>
                      <a:pt x="827" y="284"/>
                      <a:pt x="827" y="284"/>
                    </a:cubicBezTo>
                    <a:cubicBezTo>
                      <a:pt x="826" y="285"/>
                      <a:pt x="826" y="285"/>
                      <a:pt x="826" y="285"/>
                    </a:cubicBezTo>
                    <a:cubicBezTo>
                      <a:pt x="824" y="287"/>
                      <a:pt x="824" y="287"/>
                      <a:pt x="824" y="287"/>
                    </a:cubicBezTo>
                    <a:cubicBezTo>
                      <a:pt x="823" y="288"/>
                      <a:pt x="823" y="288"/>
                      <a:pt x="823" y="288"/>
                    </a:cubicBezTo>
                    <a:cubicBezTo>
                      <a:pt x="825" y="287"/>
                      <a:pt x="825" y="287"/>
                      <a:pt x="825" y="287"/>
                    </a:cubicBezTo>
                    <a:cubicBezTo>
                      <a:pt x="826" y="286"/>
                      <a:pt x="826" y="286"/>
                      <a:pt x="826" y="286"/>
                    </a:cubicBezTo>
                    <a:cubicBezTo>
                      <a:pt x="828" y="286"/>
                      <a:pt x="828" y="286"/>
                      <a:pt x="828" y="286"/>
                    </a:cubicBezTo>
                    <a:cubicBezTo>
                      <a:pt x="829" y="286"/>
                      <a:pt x="829" y="286"/>
                      <a:pt x="829" y="286"/>
                    </a:cubicBezTo>
                    <a:cubicBezTo>
                      <a:pt x="829" y="287"/>
                      <a:pt x="829" y="287"/>
                      <a:pt x="829" y="287"/>
                    </a:cubicBezTo>
                    <a:cubicBezTo>
                      <a:pt x="828" y="287"/>
                      <a:pt x="828" y="287"/>
                      <a:pt x="828" y="287"/>
                    </a:cubicBezTo>
                    <a:cubicBezTo>
                      <a:pt x="827" y="288"/>
                      <a:pt x="827" y="288"/>
                      <a:pt x="827" y="288"/>
                    </a:cubicBezTo>
                    <a:cubicBezTo>
                      <a:pt x="828" y="289"/>
                      <a:pt x="828" y="289"/>
                      <a:pt x="828" y="289"/>
                    </a:cubicBezTo>
                    <a:cubicBezTo>
                      <a:pt x="829" y="289"/>
                      <a:pt x="829" y="289"/>
                      <a:pt x="829" y="289"/>
                    </a:cubicBezTo>
                    <a:cubicBezTo>
                      <a:pt x="829" y="290"/>
                      <a:pt x="829" y="290"/>
                      <a:pt x="829" y="290"/>
                    </a:cubicBezTo>
                    <a:cubicBezTo>
                      <a:pt x="827" y="290"/>
                      <a:pt x="827" y="290"/>
                      <a:pt x="827" y="290"/>
                    </a:cubicBezTo>
                    <a:cubicBezTo>
                      <a:pt x="828" y="291"/>
                      <a:pt x="828" y="291"/>
                      <a:pt x="828" y="291"/>
                    </a:cubicBezTo>
                    <a:cubicBezTo>
                      <a:pt x="828" y="292"/>
                      <a:pt x="828" y="292"/>
                      <a:pt x="828" y="292"/>
                    </a:cubicBezTo>
                    <a:cubicBezTo>
                      <a:pt x="828" y="293"/>
                      <a:pt x="828" y="293"/>
                      <a:pt x="828" y="293"/>
                    </a:cubicBezTo>
                    <a:cubicBezTo>
                      <a:pt x="829" y="293"/>
                      <a:pt x="829" y="293"/>
                      <a:pt x="829" y="293"/>
                    </a:cubicBezTo>
                    <a:cubicBezTo>
                      <a:pt x="829" y="294"/>
                      <a:pt x="829" y="294"/>
                      <a:pt x="829" y="294"/>
                    </a:cubicBezTo>
                    <a:cubicBezTo>
                      <a:pt x="829" y="295"/>
                      <a:pt x="829" y="295"/>
                      <a:pt x="829" y="295"/>
                    </a:cubicBezTo>
                    <a:cubicBezTo>
                      <a:pt x="830" y="295"/>
                      <a:pt x="830" y="295"/>
                      <a:pt x="830" y="295"/>
                    </a:cubicBezTo>
                    <a:cubicBezTo>
                      <a:pt x="830" y="294"/>
                      <a:pt x="830" y="294"/>
                      <a:pt x="830" y="294"/>
                    </a:cubicBezTo>
                    <a:cubicBezTo>
                      <a:pt x="830" y="293"/>
                      <a:pt x="830" y="293"/>
                      <a:pt x="830" y="293"/>
                    </a:cubicBezTo>
                    <a:cubicBezTo>
                      <a:pt x="831" y="294"/>
                      <a:pt x="831" y="294"/>
                      <a:pt x="831" y="294"/>
                    </a:cubicBezTo>
                    <a:cubicBezTo>
                      <a:pt x="831" y="295"/>
                      <a:pt x="831" y="295"/>
                      <a:pt x="831" y="295"/>
                    </a:cubicBezTo>
                    <a:cubicBezTo>
                      <a:pt x="832" y="296"/>
                      <a:pt x="832" y="296"/>
                      <a:pt x="832" y="296"/>
                    </a:cubicBezTo>
                    <a:cubicBezTo>
                      <a:pt x="831" y="296"/>
                      <a:pt x="831" y="296"/>
                      <a:pt x="831" y="296"/>
                    </a:cubicBezTo>
                    <a:cubicBezTo>
                      <a:pt x="831" y="297"/>
                      <a:pt x="831" y="297"/>
                      <a:pt x="831" y="297"/>
                    </a:cubicBezTo>
                    <a:cubicBezTo>
                      <a:pt x="832" y="297"/>
                      <a:pt x="832" y="297"/>
                      <a:pt x="832" y="297"/>
                    </a:cubicBezTo>
                    <a:cubicBezTo>
                      <a:pt x="833" y="297"/>
                      <a:pt x="833" y="297"/>
                      <a:pt x="833" y="297"/>
                    </a:cubicBezTo>
                    <a:cubicBezTo>
                      <a:pt x="833" y="296"/>
                      <a:pt x="833" y="296"/>
                      <a:pt x="833" y="296"/>
                    </a:cubicBezTo>
                    <a:cubicBezTo>
                      <a:pt x="834" y="296"/>
                      <a:pt x="834" y="296"/>
                      <a:pt x="834" y="296"/>
                    </a:cubicBezTo>
                    <a:cubicBezTo>
                      <a:pt x="834" y="297"/>
                      <a:pt x="834" y="297"/>
                      <a:pt x="834" y="297"/>
                    </a:cubicBezTo>
                    <a:cubicBezTo>
                      <a:pt x="834" y="298"/>
                      <a:pt x="834" y="298"/>
                      <a:pt x="834" y="298"/>
                    </a:cubicBezTo>
                    <a:cubicBezTo>
                      <a:pt x="833" y="299"/>
                      <a:pt x="833" y="299"/>
                      <a:pt x="833" y="299"/>
                    </a:cubicBezTo>
                    <a:cubicBezTo>
                      <a:pt x="833" y="300"/>
                      <a:pt x="833" y="300"/>
                      <a:pt x="833" y="300"/>
                    </a:cubicBezTo>
                    <a:cubicBezTo>
                      <a:pt x="834" y="301"/>
                      <a:pt x="834" y="301"/>
                      <a:pt x="834" y="301"/>
                    </a:cubicBezTo>
                    <a:cubicBezTo>
                      <a:pt x="835" y="300"/>
                      <a:pt x="835" y="300"/>
                      <a:pt x="835" y="300"/>
                    </a:cubicBezTo>
                    <a:cubicBezTo>
                      <a:pt x="836" y="300"/>
                      <a:pt x="836" y="300"/>
                      <a:pt x="836" y="300"/>
                    </a:cubicBezTo>
                    <a:cubicBezTo>
                      <a:pt x="835" y="301"/>
                      <a:pt x="835" y="301"/>
                      <a:pt x="835" y="301"/>
                    </a:cubicBezTo>
                    <a:cubicBezTo>
                      <a:pt x="835" y="302"/>
                      <a:pt x="835" y="302"/>
                      <a:pt x="835" y="302"/>
                    </a:cubicBezTo>
                    <a:cubicBezTo>
                      <a:pt x="834" y="302"/>
                      <a:pt x="834" y="302"/>
                      <a:pt x="834" y="302"/>
                    </a:cubicBezTo>
                    <a:cubicBezTo>
                      <a:pt x="834" y="303"/>
                      <a:pt x="834" y="303"/>
                      <a:pt x="834" y="303"/>
                    </a:cubicBezTo>
                    <a:cubicBezTo>
                      <a:pt x="835" y="304"/>
                      <a:pt x="835" y="304"/>
                      <a:pt x="835" y="304"/>
                    </a:cubicBezTo>
                    <a:cubicBezTo>
                      <a:pt x="835" y="305"/>
                      <a:pt x="835" y="305"/>
                      <a:pt x="835" y="305"/>
                    </a:cubicBezTo>
                    <a:cubicBezTo>
                      <a:pt x="836" y="305"/>
                      <a:pt x="836" y="305"/>
                      <a:pt x="836" y="305"/>
                    </a:cubicBezTo>
                    <a:cubicBezTo>
                      <a:pt x="836" y="307"/>
                      <a:pt x="836" y="307"/>
                      <a:pt x="836" y="307"/>
                    </a:cubicBezTo>
                    <a:cubicBezTo>
                      <a:pt x="837" y="309"/>
                      <a:pt x="837" y="309"/>
                      <a:pt x="837" y="309"/>
                    </a:cubicBezTo>
                    <a:cubicBezTo>
                      <a:pt x="838" y="309"/>
                      <a:pt x="838" y="309"/>
                      <a:pt x="838" y="309"/>
                    </a:cubicBezTo>
                    <a:cubicBezTo>
                      <a:pt x="837" y="310"/>
                      <a:pt x="837" y="310"/>
                      <a:pt x="837" y="310"/>
                    </a:cubicBezTo>
                    <a:cubicBezTo>
                      <a:pt x="837" y="310"/>
                      <a:pt x="837" y="310"/>
                      <a:pt x="838" y="310"/>
                    </a:cubicBezTo>
                    <a:cubicBezTo>
                      <a:pt x="838" y="310"/>
                      <a:pt x="838" y="310"/>
                      <a:pt x="838" y="312"/>
                    </a:cubicBezTo>
                    <a:cubicBezTo>
                      <a:pt x="838" y="312"/>
                      <a:pt x="838" y="312"/>
                      <a:pt x="837" y="313"/>
                    </a:cubicBezTo>
                    <a:cubicBezTo>
                      <a:pt x="837" y="313"/>
                      <a:pt x="837" y="313"/>
                      <a:pt x="837" y="312"/>
                    </a:cubicBezTo>
                    <a:cubicBezTo>
                      <a:pt x="837" y="312"/>
                      <a:pt x="837" y="312"/>
                      <a:pt x="837" y="311"/>
                    </a:cubicBezTo>
                    <a:cubicBezTo>
                      <a:pt x="836" y="313"/>
                      <a:pt x="836" y="313"/>
                      <a:pt x="836" y="313"/>
                    </a:cubicBezTo>
                    <a:cubicBezTo>
                      <a:pt x="836" y="314"/>
                      <a:pt x="836" y="314"/>
                      <a:pt x="836" y="314"/>
                    </a:cubicBezTo>
                    <a:cubicBezTo>
                      <a:pt x="834" y="312"/>
                      <a:pt x="834" y="312"/>
                      <a:pt x="834" y="312"/>
                    </a:cubicBezTo>
                    <a:cubicBezTo>
                      <a:pt x="834" y="311"/>
                      <a:pt x="834" y="311"/>
                      <a:pt x="834" y="311"/>
                    </a:cubicBezTo>
                    <a:cubicBezTo>
                      <a:pt x="834" y="310"/>
                      <a:pt x="834" y="310"/>
                      <a:pt x="834" y="310"/>
                    </a:cubicBezTo>
                    <a:cubicBezTo>
                      <a:pt x="833" y="311"/>
                      <a:pt x="833" y="311"/>
                      <a:pt x="833" y="311"/>
                    </a:cubicBezTo>
                    <a:cubicBezTo>
                      <a:pt x="834" y="313"/>
                      <a:pt x="834" y="313"/>
                      <a:pt x="834" y="313"/>
                    </a:cubicBezTo>
                    <a:cubicBezTo>
                      <a:pt x="834" y="315"/>
                      <a:pt x="834" y="315"/>
                      <a:pt x="834" y="315"/>
                    </a:cubicBezTo>
                    <a:cubicBezTo>
                      <a:pt x="834" y="316"/>
                      <a:pt x="834" y="316"/>
                      <a:pt x="834" y="316"/>
                    </a:cubicBezTo>
                    <a:cubicBezTo>
                      <a:pt x="834" y="318"/>
                      <a:pt x="834" y="318"/>
                      <a:pt x="834" y="318"/>
                    </a:cubicBezTo>
                    <a:cubicBezTo>
                      <a:pt x="833" y="318"/>
                      <a:pt x="833" y="318"/>
                      <a:pt x="833" y="318"/>
                    </a:cubicBezTo>
                    <a:cubicBezTo>
                      <a:pt x="832" y="317"/>
                      <a:pt x="832" y="317"/>
                      <a:pt x="832" y="317"/>
                    </a:cubicBezTo>
                    <a:cubicBezTo>
                      <a:pt x="831" y="317"/>
                      <a:pt x="831" y="317"/>
                      <a:pt x="831" y="317"/>
                    </a:cubicBezTo>
                    <a:cubicBezTo>
                      <a:pt x="832" y="319"/>
                      <a:pt x="832" y="319"/>
                      <a:pt x="832" y="319"/>
                    </a:cubicBezTo>
                    <a:cubicBezTo>
                      <a:pt x="832" y="321"/>
                      <a:pt x="832" y="321"/>
                      <a:pt x="832" y="321"/>
                    </a:cubicBezTo>
                    <a:cubicBezTo>
                      <a:pt x="832" y="322"/>
                      <a:pt x="832" y="322"/>
                      <a:pt x="832" y="322"/>
                    </a:cubicBezTo>
                    <a:cubicBezTo>
                      <a:pt x="831" y="322"/>
                      <a:pt x="831" y="322"/>
                      <a:pt x="831" y="322"/>
                    </a:cubicBezTo>
                    <a:cubicBezTo>
                      <a:pt x="830" y="321"/>
                      <a:pt x="830" y="321"/>
                      <a:pt x="830" y="321"/>
                    </a:cubicBezTo>
                    <a:cubicBezTo>
                      <a:pt x="830" y="319"/>
                      <a:pt x="830" y="319"/>
                      <a:pt x="830" y="319"/>
                    </a:cubicBezTo>
                    <a:cubicBezTo>
                      <a:pt x="830" y="318"/>
                      <a:pt x="830" y="318"/>
                      <a:pt x="830" y="318"/>
                    </a:cubicBezTo>
                    <a:cubicBezTo>
                      <a:pt x="829" y="318"/>
                      <a:pt x="829" y="318"/>
                      <a:pt x="829" y="318"/>
                    </a:cubicBezTo>
                    <a:cubicBezTo>
                      <a:pt x="828" y="317"/>
                      <a:pt x="828" y="317"/>
                      <a:pt x="828" y="317"/>
                    </a:cubicBezTo>
                    <a:cubicBezTo>
                      <a:pt x="827" y="316"/>
                      <a:pt x="827" y="316"/>
                      <a:pt x="827" y="316"/>
                    </a:cubicBezTo>
                    <a:cubicBezTo>
                      <a:pt x="827" y="315"/>
                      <a:pt x="827" y="315"/>
                      <a:pt x="827" y="315"/>
                    </a:cubicBezTo>
                    <a:cubicBezTo>
                      <a:pt x="827" y="314"/>
                      <a:pt x="827" y="314"/>
                      <a:pt x="827" y="314"/>
                    </a:cubicBezTo>
                    <a:cubicBezTo>
                      <a:pt x="826" y="314"/>
                      <a:pt x="826" y="314"/>
                      <a:pt x="826" y="314"/>
                    </a:cubicBezTo>
                    <a:cubicBezTo>
                      <a:pt x="826" y="315"/>
                      <a:pt x="826" y="315"/>
                      <a:pt x="826" y="315"/>
                    </a:cubicBezTo>
                    <a:cubicBezTo>
                      <a:pt x="827" y="315"/>
                      <a:pt x="827" y="315"/>
                      <a:pt x="827" y="315"/>
                    </a:cubicBezTo>
                    <a:cubicBezTo>
                      <a:pt x="826" y="316"/>
                      <a:pt x="826" y="316"/>
                      <a:pt x="826" y="316"/>
                    </a:cubicBezTo>
                    <a:cubicBezTo>
                      <a:pt x="825" y="315"/>
                      <a:pt x="825" y="315"/>
                      <a:pt x="825" y="315"/>
                    </a:cubicBezTo>
                    <a:cubicBezTo>
                      <a:pt x="825" y="314"/>
                      <a:pt x="825" y="314"/>
                      <a:pt x="825" y="314"/>
                    </a:cubicBezTo>
                    <a:cubicBezTo>
                      <a:pt x="825" y="313"/>
                      <a:pt x="825" y="313"/>
                      <a:pt x="825" y="313"/>
                    </a:cubicBezTo>
                    <a:cubicBezTo>
                      <a:pt x="824" y="311"/>
                      <a:pt x="824" y="311"/>
                      <a:pt x="824" y="311"/>
                    </a:cubicBezTo>
                    <a:cubicBezTo>
                      <a:pt x="824" y="312"/>
                      <a:pt x="824" y="312"/>
                      <a:pt x="824" y="312"/>
                    </a:cubicBezTo>
                    <a:cubicBezTo>
                      <a:pt x="824" y="314"/>
                      <a:pt x="824" y="314"/>
                      <a:pt x="824" y="314"/>
                    </a:cubicBezTo>
                    <a:cubicBezTo>
                      <a:pt x="824" y="315"/>
                      <a:pt x="824" y="315"/>
                      <a:pt x="824" y="315"/>
                    </a:cubicBezTo>
                    <a:cubicBezTo>
                      <a:pt x="823" y="313"/>
                      <a:pt x="823" y="313"/>
                      <a:pt x="823" y="313"/>
                    </a:cubicBezTo>
                    <a:cubicBezTo>
                      <a:pt x="822" y="313"/>
                      <a:pt x="822" y="313"/>
                      <a:pt x="822" y="313"/>
                    </a:cubicBezTo>
                    <a:cubicBezTo>
                      <a:pt x="822" y="312"/>
                      <a:pt x="822" y="312"/>
                      <a:pt x="822" y="312"/>
                    </a:cubicBezTo>
                    <a:cubicBezTo>
                      <a:pt x="821" y="312"/>
                      <a:pt x="821" y="312"/>
                      <a:pt x="821" y="312"/>
                    </a:cubicBezTo>
                    <a:cubicBezTo>
                      <a:pt x="821" y="310"/>
                      <a:pt x="821" y="310"/>
                      <a:pt x="821" y="310"/>
                    </a:cubicBezTo>
                    <a:cubicBezTo>
                      <a:pt x="820" y="309"/>
                      <a:pt x="820" y="309"/>
                      <a:pt x="820" y="309"/>
                    </a:cubicBezTo>
                    <a:cubicBezTo>
                      <a:pt x="820" y="308"/>
                      <a:pt x="820" y="308"/>
                      <a:pt x="820" y="308"/>
                    </a:cubicBezTo>
                    <a:cubicBezTo>
                      <a:pt x="819" y="308"/>
                      <a:pt x="819" y="308"/>
                      <a:pt x="819" y="308"/>
                    </a:cubicBezTo>
                    <a:cubicBezTo>
                      <a:pt x="819" y="309"/>
                      <a:pt x="819" y="309"/>
                      <a:pt x="819" y="309"/>
                    </a:cubicBezTo>
                    <a:cubicBezTo>
                      <a:pt x="819" y="310"/>
                      <a:pt x="819" y="310"/>
                      <a:pt x="819" y="310"/>
                    </a:cubicBezTo>
                    <a:cubicBezTo>
                      <a:pt x="818" y="309"/>
                      <a:pt x="818" y="309"/>
                      <a:pt x="818" y="309"/>
                    </a:cubicBezTo>
                    <a:cubicBezTo>
                      <a:pt x="817" y="309"/>
                      <a:pt x="817" y="309"/>
                      <a:pt x="817" y="309"/>
                    </a:cubicBezTo>
                    <a:cubicBezTo>
                      <a:pt x="816" y="307"/>
                      <a:pt x="816" y="307"/>
                      <a:pt x="816" y="307"/>
                    </a:cubicBezTo>
                    <a:cubicBezTo>
                      <a:pt x="816" y="306"/>
                      <a:pt x="816" y="306"/>
                      <a:pt x="816" y="306"/>
                    </a:cubicBezTo>
                    <a:cubicBezTo>
                      <a:pt x="815" y="306"/>
                      <a:pt x="815" y="306"/>
                      <a:pt x="815" y="306"/>
                    </a:cubicBezTo>
                    <a:cubicBezTo>
                      <a:pt x="814" y="306"/>
                      <a:pt x="814" y="306"/>
                      <a:pt x="814" y="306"/>
                    </a:cubicBezTo>
                    <a:cubicBezTo>
                      <a:pt x="813" y="306"/>
                      <a:pt x="813" y="306"/>
                      <a:pt x="813" y="306"/>
                    </a:cubicBezTo>
                    <a:cubicBezTo>
                      <a:pt x="813" y="307"/>
                      <a:pt x="813" y="307"/>
                      <a:pt x="813" y="307"/>
                    </a:cubicBezTo>
                    <a:cubicBezTo>
                      <a:pt x="814" y="309"/>
                      <a:pt x="814" y="309"/>
                      <a:pt x="814" y="309"/>
                    </a:cubicBezTo>
                    <a:cubicBezTo>
                      <a:pt x="815" y="310"/>
                      <a:pt x="815" y="310"/>
                      <a:pt x="815" y="310"/>
                    </a:cubicBezTo>
                    <a:cubicBezTo>
                      <a:pt x="815" y="311"/>
                      <a:pt x="815" y="311"/>
                      <a:pt x="815" y="311"/>
                    </a:cubicBezTo>
                    <a:cubicBezTo>
                      <a:pt x="816" y="313"/>
                      <a:pt x="816" y="313"/>
                      <a:pt x="816" y="313"/>
                    </a:cubicBezTo>
                    <a:cubicBezTo>
                      <a:pt x="818" y="313"/>
                      <a:pt x="818" y="313"/>
                      <a:pt x="818" y="313"/>
                    </a:cubicBezTo>
                    <a:cubicBezTo>
                      <a:pt x="818" y="314"/>
                      <a:pt x="818" y="314"/>
                      <a:pt x="818" y="314"/>
                    </a:cubicBezTo>
                    <a:cubicBezTo>
                      <a:pt x="818" y="315"/>
                      <a:pt x="818" y="315"/>
                      <a:pt x="818" y="315"/>
                    </a:cubicBezTo>
                    <a:cubicBezTo>
                      <a:pt x="819" y="315"/>
                      <a:pt x="819" y="315"/>
                      <a:pt x="819" y="315"/>
                    </a:cubicBezTo>
                    <a:cubicBezTo>
                      <a:pt x="819" y="316"/>
                      <a:pt x="819" y="316"/>
                      <a:pt x="819" y="316"/>
                    </a:cubicBezTo>
                    <a:cubicBezTo>
                      <a:pt x="820" y="316"/>
                      <a:pt x="820" y="316"/>
                      <a:pt x="820" y="316"/>
                    </a:cubicBezTo>
                    <a:cubicBezTo>
                      <a:pt x="820" y="317"/>
                      <a:pt x="820" y="317"/>
                      <a:pt x="820" y="317"/>
                    </a:cubicBezTo>
                    <a:cubicBezTo>
                      <a:pt x="821" y="318"/>
                      <a:pt x="821" y="318"/>
                      <a:pt x="821" y="318"/>
                    </a:cubicBezTo>
                    <a:cubicBezTo>
                      <a:pt x="821" y="319"/>
                      <a:pt x="821" y="319"/>
                      <a:pt x="821" y="319"/>
                    </a:cubicBezTo>
                    <a:cubicBezTo>
                      <a:pt x="822" y="319"/>
                      <a:pt x="822" y="319"/>
                      <a:pt x="822" y="319"/>
                    </a:cubicBezTo>
                    <a:cubicBezTo>
                      <a:pt x="823" y="320"/>
                      <a:pt x="823" y="320"/>
                      <a:pt x="823" y="320"/>
                    </a:cubicBezTo>
                    <a:cubicBezTo>
                      <a:pt x="822" y="322"/>
                      <a:pt x="822" y="322"/>
                      <a:pt x="822" y="322"/>
                    </a:cubicBezTo>
                    <a:cubicBezTo>
                      <a:pt x="823" y="322"/>
                      <a:pt x="823" y="322"/>
                      <a:pt x="823" y="322"/>
                    </a:cubicBezTo>
                    <a:cubicBezTo>
                      <a:pt x="823" y="323"/>
                      <a:pt x="823" y="323"/>
                      <a:pt x="823" y="323"/>
                    </a:cubicBezTo>
                    <a:cubicBezTo>
                      <a:pt x="824" y="322"/>
                      <a:pt x="824" y="322"/>
                      <a:pt x="824" y="322"/>
                    </a:cubicBezTo>
                    <a:cubicBezTo>
                      <a:pt x="824" y="324"/>
                      <a:pt x="824" y="324"/>
                      <a:pt x="824" y="324"/>
                    </a:cubicBezTo>
                    <a:cubicBezTo>
                      <a:pt x="825" y="324"/>
                      <a:pt x="825" y="324"/>
                      <a:pt x="825" y="324"/>
                    </a:cubicBezTo>
                    <a:cubicBezTo>
                      <a:pt x="825" y="325"/>
                      <a:pt x="825" y="325"/>
                      <a:pt x="825" y="325"/>
                    </a:cubicBezTo>
                    <a:cubicBezTo>
                      <a:pt x="824" y="325"/>
                      <a:pt x="824" y="325"/>
                      <a:pt x="824" y="325"/>
                    </a:cubicBezTo>
                    <a:cubicBezTo>
                      <a:pt x="823" y="325"/>
                      <a:pt x="823" y="325"/>
                      <a:pt x="823" y="325"/>
                    </a:cubicBezTo>
                    <a:cubicBezTo>
                      <a:pt x="824" y="326"/>
                      <a:pt x="824" y="326"/>
                      <a:pt x="824" y="326"/>
                    </a:cubicBezTo>
                    <a:cubicBezTo>
                      <a:pt x="824" y="327"/>
                      <a:pt x="824" y="327"/>
                      <a:pt x="824" y="327"/>
                    </a:cubicBezTo>
                    <a:cubicBezTo>
                      <a:pt x="824" y="328"/>
                      <a:pt x="824" y="328"/>
                      <a:pt x="824" y="328"/>
                    </a:cubicBezTo>
                    <a:cubicBezTo>
                      <a:pt x="823" y="328"/>
                      <a:pt x="823" y="328"/>
                      <a:pt x="823" y="328"/>
                    </a:cubicBezTo>
                    <a:cubicBezTo>
                      <a:pt x="822" y="327"/>
                      <a:pt x="822" y="327"/>
                      <a:pt x="822" y="327"/>
                    </a:cubicBezTo>
                    <a:cubicBezTo>
                      <a:pt x="820" y="327"/>
                      <a:pt x="820" y="327"/>
                      <a:pt x="820" y="327"/>
                    </a:cubicBezTo>
                    <a:cubicBezTo>
                      <a:pt x="819" y="326"/>
                      <a:pt x="819" y="326"/>
                      <a:pt x="819" y="326"/>
                    </a:cubicBezTo>
                    <a:cubicBezTo>
                      <a:pt x="818" y="326"/>
                      <a:pt x="818" y="326"/>
                      <a:pt x="818" y="326"/>
                    </a:cubicBezTo>
                    <a:cubicBezTo>
                      <a:pt x="817" y="325"/>
                      <a:pt x="817" y="325"/>
                      <a:pt x="817" y="325"/>
                    </a:cubicBezTo>
                    <a:cubicBezTo>
                      <a:pt x="816" y="324"/>
                      <a:pt x="816" y="324"/>
                      <a:pt x="816" y="324"/>
                    </a:cubicBezTo>
                    <a:cubicBezTo>
                      <a:pt x="815" y="323"/>
                      <a:pt x="815" y="323"/>
                      <a:pt x="815" y="323"/>
                    </a:cubicBezTo>
                    <a:cubicBezTo>
                      <a:pt x="814" y="323"/>
                      <a:pt x="814" y="323"/>
                      <a:pt x="814" y="323"/>
                    </a:cubicBezTo>
                    <a:cubicBezTo>
                      <a:pt x="813" y="323"/>
                      <a:pt x="813" y="323"/>
                      <a:pt x="813" y="323"/>
                    </a:cubicBezTo>
                    <a:cubicBezTo>
                      <a:pt x="812" y="323"/>
                      <a:pt x="812" y="323"/>
                      <a:pt x="812" y="323"/>
                    </a:cubicBezTo>
                    <a:cubicBezTo>
                      <a:pt x="811" y="322"/>
                      <a:pt x="811" y="322"/>
                      <a:pt x="811" y="322"/>
                    </a:cubicBezTo>
                    <a:cubicBezTo>
                      <a:pt x="811" y="321"/>
                      <a:pt x="811" y="321"/>
                      <a:pt x="811" y="321"/>
                    </a:cubicBezTo>
                    <a:cubicBezTo>
                      <a:pt x="810" y="321"/>
                      <a:pt x="810" y="321"/>
                      <a:pt x="810" y="321"/>
                    </a:cubicBezTo>
                    <a:cubicBezTo>
                      <a:pt x="808" y="320"/>
                      <a:pt x="808" y="320"/>
                      <a:pt x="808" y="320"/>
                    </a:cubicBezTo>
                    <a:cubicBezTo>
                      <a:pt x="809" y="319"/>
                      <a:pt x="809" y="319"/>
                      <a:pt x="809" y="319"/>
                    </a:cubicBezTo>
                    <a:cubicBezTo>
                      <a:pt x="808" y="319"/>
                      <a:pt x="808" y="319"/>
                      <a:pt x="808" y="319"/>
                    </a:cubicBezTo>
                    <a:cubicBezTo>
                      <a:pt x="807" y="319"/>
                      <a:pt x="807" y="319"/>
                      <a:pt x="807" y="319"/>
                    </a:cubicBezTo>
                    <a:cubicBezTo>
                      <a:pt x="807" y="318"/>
                      <a:pt x="807" y="318"/>
                      <a:pt x="807" y="318"/>
                    </a:cubicBezTo>
                    <a:cubicBezTo>
                      <a:pt x="807" y="317"/>
                      <a:pt x="807" y="317"/>
                      <a:pt x="807" y="317"/>
                    </a:cubicBezTo>
                    <a:cubicBezTo>
                      <a:pt x="808" y="317"/>
                      <a:pt x="808" y="317"/>
                      <a:pt x="808" y="317"/>
                    </a:cubicBezTo>
                    <a:cubicBezTo>
                      <a:pt x="807" y="316"/>
                      <a:pt x="807" y="316"/>
                      <a:pt x="807" y="316"/>
                    </a:cubicBezTo>
                    <a:cubicBezTo>
                      <a:pt x="806" y="316"/>
                      <a:pt x="806" y="316"/>
                      <a:pt x="806" y="316"/>
                    </a:cubicBezTo>
                    <a:cubicBezTo>
                      <a:pt x="806" y="317"/>
                      <a:pt x="806" y="317"/>
                      <a:pt x="806" y="317"/>
                    </a:cubicBezTo>
                    <a:cubicBezTo>
                      <a:pt x="805" y="316"/>
                      <a:pt x="805" y="316"/>
                      <a:pt x="805" y="316"/>
                    </a:cubicBezTo>
                    <a:cubicBezTo>
                      <a:pt x="804" y="316"/>
                      <a:pt x="804" y="316"/>
                      <a:pt x="804" y="316"/>
                    </a:cubicBezTo>
                    <a:cubicBezTo>
                      <a:pt x="802" y="315"/>
                      <a:pt x="802" y="315"/>
                      <a:pt x="802" y="315"/>
                    </a:cubicBezTo>
                    <a:cubicBezTo>
                      <a:pt x="801" y="314"/>
                      <a:pt x="801" y="314"/>
                      <a:pt x="801" y="314"/>
                    </a:cubicBezTo>
                    <a:cubicBezTo>
                      <a:pt x="800" y="313"/>
                      <a:pt x="800" y="313"/>
                      <a:pt x="800" y="313"/>
                    </a:cubicBezTo>
                    <a:cubicBezTo>
                      <a:pt x="800" y="312"/>
                      <a:pt x="800" y="312"/>
                      <a:pt x="800" y="312"/>
                    </a:cubicBezTo>
                    <a:cubicBezTo>
                      <a:pt x="799" y="312"/>
                      <a:pt x="799" y="312"/>
                      <a:pt x="799" y="312"/>
                    </a:cubicBezTo>
                    <a:cubicBezTo>
                      <a:pt x="798" y="311"/>
                      <a:pt x="798" y="311"/>
                      <a:pt x="798" y="311"/>
                    </a:cubicBezTo>
                    <a:cubicBezTo>
                      <a:pt x="798" y="310"/>
                      <a:pt x="798" y="310"/>
                      <a:pt x="798" y="310"/>
                    </a:cubicBezTo>
                    <a:cubicBezTo>
                      <a:pt x="797" y="309"/>
                      <a:pt x="797" y="309"/>
                      <a:pt x="797" y="309"/>
                    </a:cubicBezTo>
                    <a:cubicBezTo>
                      <a:pt x="796" y="308"/>
                      <a:pt x="796" y="308"/>
                      <a:pt x="796" y="308"/>
                    </a:cubicBezTo>
                    <a:cubicBezTo>
                      <a:pt x="797" y="308"/>
                      <a:pt x="797" y="308"/>
                      <a:pt x="797" y="308"/>
                    </a:cubicBezTo>
                    <a:cubicBezTo>
                      <a:pt x="798" y="308"/>
                      <a:pt x="798" y="308"/>
                      <a:pt x="798" y="308"/>
                    </a:cubicBezTo>
                    <a:cubicBezTo>
                      <a:pt x="801" y="306"/>
                      <a:pt x="801" y="306"/>
                      <a:pt x="801" y="306"/>
                    </a:cubicBezTo>
                    <a:cubicBezTo>
                      <a:pt x="799" y="306"/>
                      <a:pt x="799" y="306"/>
                      <a:pt x="799" y="306"/>
                    </a:cubicBezTo>
                    <a:cubicBezTo>
                      <a:pt x="798" y="305"/>
                      <a:pt x="798" y="305"/>
                      <a:pt x="798" y="305"/>
                    </a:cubicBezTo>
                    <a:cubicBezTo>
                      <a:pt x="798" y="303"/>
                      <a:pt x="798" y="303"/>
                      <a:pt x="798" y="303"/>
                    </a:cubicBezTo>
                    <a:cubicBezTo>
                      <a:pt x="797" y="304"/>
                      <a:pt x="797" y="304"/>
                      <a:pt x="797" y="304"/>
                    </a:cubicBezTo>
                    <a:cubicBezTo>
                      <a:pt x="797" y="305"/>
                      <a:pt x="797" y="305"/>
                      <a:pt x="797" y="305"/>
                    </a:cubicBezTo>
                    <a:cubicBezTo>
                      <a:pt x="796" y="304"/>
                      <a:pt x="796" y="304"/>
                      <a:pt x="796" y="304"/>
                    </a:cubicBezTo>
                    <a:cubicBezTo>
                      <a:pt x="797" y="303"/>
                      <a:pt x="797" y="303"/>
                      <a:pt x="797" y="303"/>
                    </a:cubicBezTo>
                    <a:cubicBezTo>
                      <a:pt x="797" y="301"/>
                      <a:pt x="797" y="301"/>
                      <a:pt x="797" y="301"/>
                    </a:cubicBezTo>
                    <a:cubicBezTo>
                      <a:pt x="796" y="303"/>
                      <a:pt x="796" y="303"/>
                      <a:pt x="796" y="303"/>
                    </a:cubicBezTo>
                    <a:cubicBezTo>
                      <a:pt x="795" y="302"/>
                      <a:pt x="795" y="302"/>
                      <a:pt x="795" y="302"/>
                    </a:cubicBezTo>
                    <a:cubicBezTo>
                      <a:pt x="795" y="301"/>
                      <a:pt x="795" y="301"/>
                      <a:pt x="795" y="301"/>
                    </a:cubicBezTo>
                    <a:cubicBezTo>
                      <a:pt x="794" y="301"/>
                      <a:pt x="794" y="301"/>
                      <a:pt x="794" y="301"/>
                    </a:cubicBezTo>
                    <a:cubicBezTo>
                      <a:pt x="794" y="300"/>
                      <a:pt x="794" y="300"/>
                      <a:pt x="794" y="300"/>
                    </a:cubicBezTo>
                    <a:cubicBezTo>
                      <a:pt x="794" y="299"/>
                      <a:pt x="794" y="299"/>
                      <a:pt x="794" y="299"/>
                    </a:cubicBezTo>
                    <a:cubicBezTo>
                      <a:pt x="794" y="297"/>
                      <a:pt x="794" y="297"/>
                      <a:pt x="794" y="297"/>
                    </a:cubicBezTo>
                    <a:cubicBezTo>
                      <a:pt x="793" y="297"/>
                      <a:pt x="793" y="297"/>
                      <a:pt x="793" y="297"/>
                    </a:cubicBezTo>
                    <a:cubicBezTo>
                      <a:pt x="793" y="296"/>
                      <a:pt x="793" y="296"/>
                      <a:pt x="793" y="296"/>
                    </a:cubicBezTo>
                    <a:cubicBezTo>
                      <a:pt x="794" y="294"/>
                      <a:pt x="794" y="294"/>
                      <a:pt x="794" y="294"/>
                    </a:cubicBezTo>
                    <a:cubicBezTo>
                      <a:pt x="792" y="296"/>
                      <a:pt x="792" y="296"/>
                      <a:pt x="792" y="296"/>
                    </a:cubicBezTo>
                    <a:cubicBezTo>
                      <a:pt x="792" y="297"/>
                      <a:pt x="792" y="297"/>
                      <a:pt x="792" y="297"/>
                    </a:cubicBezTo>
                    <a:cubicBezTo>
                      <a:pt x="791" y="296"/>
                      <a:pt x="791" y="296"/>
                      <a:pt x="791" y="296"/>
                    </a:cubicBezTo>
                    <a:cubicBezTo>
                      <a:pt x="792" y="294"/>
                      <a:pt x="792" y="294"/>
                      <a:pt x="792" y="294"/>
                    </a:cubicBezTo>
                    <a:cubicBezTo>
                      <a:pt x="791" y="294"/>
                      <a:pt x="791" y="294"/>
                      <a:pt x="791" y="294"/>
                    </a:cubicBezTo>
                    <a:cubicBezTo>
                      <a:pt x="790" y="294"/>
                      <a:pt x="790" y="294"/>
                      <a:pt x="790" y="294"/>
                    </a:cubicBezTo>
                    <a:cubicBezTo>
                      <a:pt x="789" y="296"/>
                      <a:pt x="789" y="296"/>
                      <a:pt x="789" y="296"/>
                    </a:cubicBezTo>
                    <a:cubicBezTo>
                      <a:pt x="788" y="297"/>
                      <a:pt x="788" y="297"/>
                      <a:pt x="788" y="297"/>
                    </a:cubicBezTo>
                    <a:cubicBezTo>
                      <a:pt x="788" y="295"/>
                      <a:pt x="788" y="295"/>
                      <a:pt x="788" y="295"/>
                    </a:cubicBezTo>
                    <a:cubicBezTo>
                      <a:pt x="789" y="294"/>
                      <a:pt x="789" y="294"/>
                      <a:pt x="789" y="294"/>
                    </a:cubicBezTo>
                    <a:cubicBezTo>
                      <a:pt x="789" y="293"/>
                      <a:pt x="789" y="293"/>
                      <a:pt x="789" y="293"/>
                    </a:cubicBezTo>
                    <a:cubicBezTo>
                      <a:pt x="789" y="292"/>
                      <a:pt x="789" y="292"/>
                      <a:pt x="789" y="292"/>
                    </a:cubicBezTo>
                    <a:cubicBezTo>
                      <a:pt x="788" y="293"/>
                      <a:pt x="788" y="293"/>
                      <a:pt x="788" y="293"/>
                    </a:cubicBezTo>
                    <a:cubicBezTo>
                      <a:pt x="787" y="294"/>
                      <a:pt x="787" y="294"/>
                      <a:pt x="787" y="294"/>
                    </a:cubicBezTo>
                    <a:cubicBezTo>
                      <a:pt x="786" y="295"/>
                      <a:pt x="786" y="295"/>
                      <a:pt x="786" y="295"/>
                    </a:cubicBezTo>
                    <a:cubicBezTo>
                      <a:pt x="786" y="296"/>
                      <a:pt x="786" y="296"/>
                      <a:pt x="786" y="296"/>
                    </a:cubicBezTo>
                    <a:cubicBezTo>
                      <a:pt x="784" y="295"/>
                      <a:pt x="784" y="295"/>
                      <a:pt x="784" y="295"/>
                    </a:cubicBezTo>
                    <a:cubicBezTo>
                      <a:pt x="783" y="294"/>
                      <a:pt x="783" y="294"/>
                      <a:pt x="783" y="294"/>
                    </a:cubicBezTo>
                    <a:cubicBezTo>
                      <a:pt x="782" y="294"/>
                      <a:pt x="782" y="294"/>
                      <a:pt x="782" y="294"/>
                    </a:cubicBezTo>
                    <a:cubicBezTo>
                      <a:pt x="781" y="292"/>
                      <a:pt x="781" y="292"/>
                      <a:pt x="781" y="292"/>
                    </a:cubicBezTo>
                    <a:cubicBezTo>
                      <a:pt x="780" y="293"/>
                      <a:pt x="780" y="293"/>
                      <a:pt x="780" y="293"/>
                    </a:cubicBezTo>
                    <a:cubicBezTo>
                      <a:pt x="780" y="294"/>
                      <a:pt x="780" y="294"/>
                      <a:pt x="780" y="294"/>
                    </a:cubicBezTo>
                    <a:cubicBezTo>
                      <a:pt x="780" y="295"/>
                      <a:pt x="780" y="295"/>
                      <a:pt x="780" y="295"/>
                    </a:cubicBezTo>
                    <a:cubicBezTo>
                      <a:pt x="779" y="295"/>
                      <a:pt x="779" y="295"/>
                      <a:pt x="779" y="295"/>
                    </a:cubicBezTo>
                    <a:cubicBezTo>
                      <a:pt x="778" y="295"/>
                      <a:pt x="778" y="295"/>
                      <a:pt x="778" y="295"/>
                    </a:cubicBezTo>
                    <a:cubicBezTo>
                      <a:pt x="777" y="295"/>
                      <a:pt x="777" y="295"/>
                      <a:pt x="777" y="295"/>
                    </a:cubicBezTo>
                    <a:cubicBezTo>
                      <a:pt x="776" y="296"/>
                      <a:pt x="776" y="296"/>
                      <a:pt x="776" y="296"/>
                    </a:cubicBezTo>
                    <a:cubicBezTo>
                      <a:pt x="775" y="295"/>
                      <a:pt x="775" y="295"/>
                      <a:pt x="775" y="295"/>
                    </a:cubicBezTo>
                    <a:cubicBezTo>
                      <a:pt x="774" y="296"/>
                      <a:pt x="774" y="296"/>
                      <a:pt x="774" y="296"/>
                    </a:cubicBezTo>
                    <a:cubicBezTo>
                      <a:pt x="773" y="296"/>
                      <a:pt x="773" y="296"/>
                      <a:pt x="773" y="296"/>
                    </a:cubicBezTo>
                    <a:cubicBezTo>
                      <a:pt x="771" y="296"/>
                      <a:pt x="771" y="296"/>
                      <a:pt x="771" y="296"/>
                    </a:cubicBezTo>
                    <a:cubicBezTo>
                      <a:pt x="772" y="295"/>
                      <a:pt x="772" y="295"/>
                      <a:pt x="772" y="295"/>
                    </a:cubicBezTo>
                    <a:cubicBezTo>
                      <a:pt x="770" y="293"/>
                      <a:pt x="770" y="293"/>
                      <a:pt x="770" y="293"/>
                    </a:cubicBezTo>
                    <a:cubicBezTo>
                      <a:pt x="770" y="294"/>
                      <a:pt x="770" y="294"/>
                      <a:pt x="770" y="294"/>
                    </a:cubicBezTo>
                    <a:cubicBezTo>
                      <a:pt x="769" y="293"/>
                      <a:pt x="769" y="293"/>
                      <a:pt x="769" y="293"/>
                    </a:cubicBezTo>
                    <a:cubicBezTo>
                      <a:pt x="768" y="290"/>
                      <a:pt x="768" y="290"/>
                      <a:pt x="768" y="290"/>
                    </a:cubicBezTo>
                    <a:cubicBezTo>
                      <a:pt x="768" y="289"/>
                      <a:pt x="768" y="289"/>
                      <a:pt x="768" y="289"/>
                    </a:cubicBezTo>
                    <a:cubicBezTo>
                      <a:pt x="769" y="288"/>
                      <a:pt x="769" y="288"/>
                      <a:pt x="769" y="288"/>
                    </a:cubicBezTo>
                    <a:cubicBezTo>
                      <a:pt x="769" y="287"/>
                      <a:pt x="769" y="287"/>
                      <a:pt x="769" y="287"/>
                    </a:cubicBezTo>
                    <a:cubicBezTo>
                      <a:pt x="770" y="286"/>
                      <a:pt x="770" y="286"/>
                      <a:pt x="770" y="286"/>
                    </a:cubicBezTo>
                    <a:cubicBezTo>
                      <a:pt x="772" y="286"/>
                      <a:pt x="772" y="286"/>
                      <a:pt x="772" y="286"/>
                    </a:cubicBezTo>
                    <a:cubicBezTo>
                      <a:pt x="772" y="285"/>
                      <a:pt x="772" y="285"/>
                      <a:pt x="772" y="285"/>
                    </a:cubicBezTo>
                    <a:cubicBezTo>
                      <a:pt x="773" y="285"/>
                      <a:pt x="773" y="285"/>
                      <a:pt x="773" y="285"/>
                    </a:cubicBezTo>
                    <a:cubicBezTo>
                      <a:pt x="774" y="285"/>
                      <a:pt x="774" y="285"/>
                      <a:pt x="774" y="285"/>
                    </a:cubicBezTo>
                    <a:cubicBezTo>
                      <a:pt x="774" y="284"/>
                      <a:pt x="774" y="284"/>
                      <a:pt x="774" y="284"/>
                    </a:cubicBezTo>
                    <a:cubicBezTo>
                      <a:pt x="774" y="283"/>
                      <a:pt x="774" y="283"/>
                      <a:pt x="774" y="283"/>
                    </a:cubicBezTo>
                    <a:cubicBezTo>
                      <a:pt x="774" y="282"/>
                      <a:pt x="774" y="282"/>
                      <a:pt x="774" y="282"/>
                    </a:cubicBezTo>
                    <a:cubicBezTo>
                      <a:pt x="775" y="282"/>
                      <a:pt x="775" y="282"/>
                      <a:pt x="775" y="282"/>
                    </a:cubicBezTo>
                    <a:cubicBezTo>
                      <a:pt x="775" y="281"/>
                      <a:pt x="775" y="281"/>
                      <a:pt x="775" y="281"/>
                    </a:cubicBezTo>
                    <a:cubicBezTo>
                      <a:pt x="776" y="283"/>
                      <a:pt x="776" y="283"/>
                      <a:pt x="776" y="283"/>
                    </a:cubicBezTo>
                    <a:cubicBezTo>
                      <a:pt x="778" y="283"/>
                      <a:pt x="778" y="283"/>
                      <a:pt x="778" y="283"/>
                    </a:cubicBezTo>
                    <a:cubicBezTo>
                      <a:pt x="779" y="284"/>
                      <a:pt x="779" y="284"/>
                      <a:pt x="779" y="284"/>
                    </a:cubicBezTo>
                    <a:cubicBezTo>
                      <a:pt x="780" y="285"/>
                      <a:pt x="780" y="285"/>
                      <a:pt x="780" y="285"/>
                    </a:cubicBezTo>
                    <a:cubicBezTo>
                      <a:pt x="781" y="285"/>
                      <a:pt x="781" y="285"/>
                      <a:pt x="781" y="285"/>
                    </a:cubicBezTo>
                    <a:cubicBezTo>
                      <a:pt x="782" y="286"/>
                      <a:pt x="782" y="286"/>
                      <a:pt x="782" y="286"/>
                    </a:cubicBezTo>
                    <a:cubicBezTo>
                      <a:pt x="783" y="285"/>
                      <a:pt x="783" y="285"/>
                      <a:pt x="783" y="285"/>
                    </a:cubicBezTo>
                    <a:cubicBezTo>
                      <a:pt x="784" y="285"/>
                      <a:pt x="784" y="285"/>
                      <a:pt x="784" y="285"/>
                    </a:cubicBezTo>
                    <a:cubicBezTo>
                      <a:pt x="784" y="286"/>
                      <a:pt x="784" y="286"/>
                      <a:pt x="784" y="286"/>
                    </a:cubicBezTo>
                    <a:cubicBezTo>
                      <a:pt x="785" y="286"/>
                      <a:pt x="785" y="286"/>
                      <a:pt x="785" y="286"/>
                    </a:cubicBezTo>
                    <a:cubicBezTo>
                      <a:pt x="786" y="286"/>
                      <a:pt x="786" y="286"/>
                      <a:pt x="786" y="286"/>
                    </a:cubicBezTo>
                    <a:cubicBezTo>
                      <a:pt x="787" y="285"/>
                      <a:pt x="787" y="285"/>
                      <a:pt x="787" y="285"/>
                    </a:cubicBezTo>
                    <a:cubicBezTo>
                      <a:pt x="788" y="284"/>
                      <a:pt x="788" y="284"/>
                      <a:pt x="788" y="284"/>
                    </a:cubicBezTo>
                    <a:cubicBezTo>
                      <a:pt x="789" y="284"/>
                      <a:pt x="789" y="284"/>
                      <a:pt x="789" y="284"/>
                    </a:cubicBezTo>
                    <a:cubicBezTo>
                      <a:pt x="789" y="285"/>
                      <a:pt x="789" y="285"/>
                      <a:pt x="789" y="285"/>
                    </a:cubicBezTo>
                    <a:cubicBezTo>
                      <a:pt x="790" y="285"/>
                      <a:pt x="790" y="285"/>
                      <a:pt x="790" y="285"/>
                    </a:cubicBezTo>
                    <a:cubicBezTo>
                      <a:pt x="791" y="284"/>
                      <a:pt x="791" y="284"/>
                      <a:pt x="791" y="284"/>
                    </a:cubicBezTo>
                    <a:cubicBezTo>
                      <a:pt x="792" y="283"/>
                      <a:pt x="792" y="283"/>
                      <a:pt x="792" y="283"/>
                    </a:cubicBezTo>
                    <a:cubicBezTo>
                      <a:pt x="793" y="283"/>
                      <a:pt x="793" y="283"/>
                      <a:pt x="793" y="283"/>
                    </a:cubicBezTo>
                    <a:cubicBezTo>
                      <a:pt x="793" y="285"/>
                      <a:pt x="793" y="285"/>
                      <a:pt x="793" y="285"/>
                    </a:cubicBezTo>
                    <a:cubicBezTo>
                      <a:pt x="794" y="286"/>
                      <a:pt x="794" y="286"/>
                      <a:pt x="794" y="286"/>
                    </a:cubicBezTo>
                    <a:cubicBezTo>
                      <a:pt x="794" y="285"/>
                      <a:pt x="794" y="285"/>
                      <a:pt x="794" y="285"/>
                    </a:cubicBezTo>
                    <a:cubicBezTo>
                      <a:pt x="794" y="284"/>
                      <a:pt x="794" y="284"/>
                      <a:pt x="794" y="284"/>
                    </a:cubicBezTo>
                    <a:cubicBezTo>
                      <a:pt x="795" y="284"/>
                      <a:pt x="795" y="284"/>
                      <a:pt x="795" y="284"/>
                    </a:cubicBezTo>
                    <a:cubicBezTo>
                      <a:pt x="796" y="284"/>
                      <a:pt x="796" y="284"/>
                      <a:pt x="796" y="284"/>
                    </a:cubicBezTo>
                    <a:cubicBezTo>
                      <a:pt x="795" y="281"/>
                      <a:pt x="795" y="281"/>
                      <a:pt x="795" y="281"/>
                    </a:cubicBezTo>
                    <a:cubicBezTo>
                      <a:pt x="794" y="279"/>
                      <a:pt x="794" y="279"/>
                      <a:pt x="794" y="279"/>
                    </a:cubicBezTo>
                    <a:cubicBezTo>
                      <a:pt x="794" y="278"/>
                      <a:pt x="794" y="278"/>
                      <a:pt x="794" y="278"/>
                    </a:cubicBezTo>
                    <a:cubicBezTo>
                      <a:pt x="793" y="277"/>
                      <a:pt x="793" y="277"/>
                      <a:pt x="793" y="277"/>
                    </a:cubicBezTo>
                    <a:cubicBezTo>
                      <a:pt x="794" y="276"/>
                      <a:pt x="794" y="276"/>
                      <a:pt x="794" y="276"/>
                    </a:cubicBezTo>
                    <a:cubicBezTo>
                      <a:pt x="794" y="275"/>
                      <a:pt x="794" y="275"/>
                      <a:pt x="794" y="275"/>
                    </a:cubicBezTo>
                    <a:cubicBezTo>
                      <a:pt x="795" y="275"/>
                      <a:pt x="795" y="275"/>
                      <a:pt x="795" y="275"/>
                    </a:cubicBezTo>
                    <a:cubicBezTo>
                      <a:pt x="797" y="273"/>
                      <a:pt x="797" y="273"/>
                      <a:pt x="797" y="273"/>
                    </a:cubicBezTo>
                    <a:cubicBezTo>
                      <a:pt x="799" y="272"/>
                      <a:pt x="799" y="272"/>
                      <a:pt x="799" y="272"/>
                    </a:cubicBezTo>
                    <a:cubicBezTo>
                      <a:pt x="800" y="272"/>
                      <a:pt x="800" y="272"/>
                      <a:pt x="800" y="272"/>
                    </a:cubicBezTo>
                    <a:cubicBezTo>
                      <a:pt x="801" y="270"/>
                      <a:pt x="801" y="270"/>
                      <a:pt x="801" y="270"/>
                    </a:cubicBezTo>
                    <a:cubicBezTo>
                      <a:pt x="802" y="270"/>
                      <a:pt x="802" y="270"/>
                      <a:pt x="802" y="270"/>
                    </a:cubicBezTo>
                    <a:cubicBezTo>
                      <a:pt x="803" y="271"/>
                      <a:pt x="803" y="271"/>
                      <a:pt x="803" y="271"/>
                    </a:cubicBezTo>
                    <a:cubicBezTo>
                      <a:pt x="804" y="270"/>
                      <a:pt x="804" y="270"/>
                      <a:pt x="804" y="270"/>
                    </a:cubicBezTo>
                    <a:cubicBezTo>
                      <a:pt x="803" y="269"/>
                      <a:pt x="803" y="269"/>
                      <a:pt x="803" y="269"/>
                    </a:cubicBezTo>
                    <a:cubicBezTo>
                      <a:pt x="803" y="268"/>
                      <a:pt x="803" y="268"/>
                      <a:pt x="803" y="268"/>
                    </a:cubicBezTo>
                    <a:cubicBezTo>
                      <a:pt x="805" y="267"/>
                      <a:pt x="805" y="267"/>
                      <a:pt x="805" y="267"/>
                    </a:cubicBezTo>
                    <a:cubicBezTo>
                      <a:pt x="805" y="266"/>
                      <a:pt x="805" y="266"/>
                      <a:pt x="805" y="266"/>
                    </a:cubicBezTo>
                    <a:cubicBezTo>
                      <a:pt x="806" y="265"/>
                      <a:pt x="806" y="265"/>
                      <a:pt x="806" y="265"/>
                    </a:cubicBezTo>
                    <a:cubicBezTo>
                      <a:pt x="808" y="266"/>
                      <a:pt x="808" y="266"/>
                      <a:pt x="808" y="266"/>
                    </a:cubicBezTo>
                    <a:cubicBezTo>
                      <a:pt x="809" y="265"/>
                      <a:pt x="809" y="265"/>
                      <a:pt x="809" y="265"/>
                    </a:cubicBezTo>
                    <a:cubicBezTo>
                      <a:pt x="810" y="264"/>
                      <a:pt x="810" y="264"/>
                      <a:pt x="810" y="264"/>
                    </a:cubicBezTo>
                    <a:cubicBezTo>
                      <a:pt x="809" y="263"/>
                      <a:pt x="809" y="263"/>
                      <a:pt x="809" y="263"/>
                    </a:cubicBezTo>
                    <a:cubicBezTo>
                      <a:pt x="810" y="262"/>
                      <a:pt x="810" y="262"/>
                      <a:pt x="810" y="262"/>
                    </a:cubicBezTo>
                    <a:cubicBezTo>
                      <a:pt x="810" y="260"/>
                      <a:pt x="810" y="260"/>
                      <a:pt x="810" y="260"/>
                    </a:cubicBezTo>
                    <a:cubicBezTo>
                      <a:pt x="810" y="259"/>
                      <a:pt x="810" y="259"/>
                      <a:pt x="810" y="259"/>
                    </a:cubicBezTo>
                    <a:cubicBezTo>
                      <a:pt x="810" y="258"/>
                      <a:pt x="810" y="258"/>
                      <a:pt x="810" y="258"/>
                    </a:cubicBezTo>
                    <a:cubicBezTo>
                      <a:pt x="810" y="257"/>
                      <a:pt x="810" y="257"/>
                      <a:pt x="810" y="257"/>
                    </a:cubicBezTo>
                    <a:cubicBezTo>
                      <a:pt x="810" y="256"/>
                      <a:pt x="810" y="256"/>
                      <a:pt x="810" y="256"/>
                    </a:cubicBezTo>
                    <a:cubicBezTo>
                      <a:pt x="809" y="256"/>
                      <a:pt x="809" y="256"/>
                      <a:pt x="809" y="256"/>
                    </a:cubicBezTo>
                    <a:cubicBezTo>
                      <a:pt x="809" y="255"/>
                      <a:pt x="809" y="255"/>
                      <a:pt x="809" y="255"/>
                    </a:cubicBezTo>
                    <a:cubicBezTo>
                      <a:pt x="810" y="253"/>
                      <a:pt x="810" y="253"/>
                      <a:pt x="810" y="253"/>
                    </a:cubicBezTo>
                    <a:cubicBezTo>
                      <a:pt x="811" y="253"/>
                      <a:pt x="811" y="253"/>
                      <a:pt x="811" y="253"/>
                    </a:cubicBezTo>
                    <a:cubicBezTo>
                      <a:pt x="811" y="252"/>
                      <a:pt x="811" y="252"/>
                      <a:pt x="811" y="252"/>
                    </a:cubicBezTo>
                    <a:cubicBezTo>
                      <a:pt x="812" y="251"/>
                      <a:pt x="812" y="251"/>
                      <a:pt x="812" y="251"/>
                    </a:cubicBezTo>
                    <a:cubicBezTo>
                      <a:pt x="811" y="251"/>
                      <a:pt x="811" y="251"/>
                      <a:pt x="811" y="251"/>
                    </a:cubicBezTo>
                    <a:cubicBezTo>
                      <a:pt x="810" y="251"/>
                      <a:pt x="810" y="251"/>
                      <a:pt x="810" y="251"/>
                    </a:cubicBezTo>
                    <a:cubicBezTo>
                      <a:pt x="810" y="250"/>
                      <a:pt x="810" y="250"/>
                      <a:pt x="810" y="250"/>
                    </a:cubicBezTo>
                    <a:cubicBezTo>
                      <a:pt x="809" y="250"/>
                      <a:pt x="809" y="250"/>
                      <a:pt x="809" y="250"/>
                    </a:cubicBezTo>
                    <a:cubicBezTo>
                      <a:pt x="807" y="250"/>
                      <a:pt x="807" y="250"/>
                      <a:pt x="807" y="250"/>
                    </a:cubicBezTo>
                    <a:cubicBezTo>
                      <a:pt x="806" y="249"/>
                      <a:pt x="806" y="249"/>
                      <a:pt x="806" y="249"/>
                    </a:cubicBezTo>
                    <a:cubicBezTo>
                      <a:pt x="808" y="248"/>
                      <a:pt x="808" y="248"/>
                      <a:pt x="808" y="248"/>
                    </a:cubicBezTo>
                    <a:cubicBezTo>
                      <a:pt x="808" y="247"/>
                      <a:pt x="808" y="247"/>
                      <a:pt x="808" y="247"/>
                    </a:cubicBezTo>
                    <a:cubicBezTo>
                      <a:pt x="807" y="247"/>
                      <a:pt x="807" y="247"/>
                      <a:pt x="807" y="247"/>
                    </a:cubicBezTo>
                    <a:cubicBezTo>
                      <a:pt x="807" y="246"/>
                      <a:pt x="807" y="246"/>
                      <a:pt x="807" y="246"/>
                    </a:cubicBezTo>
                    <a:cubicBezTo>
                      <a:pt x="807" y="245"/>
                      <a:pt x="807" y="245"/>
                      <a:pt x="807" y="245"/>
                    </a:cubicBezTo>
                    <a:cubicBezTo>
                      <a:pt x="806" y="244"/>
                      <a:pt x="806" y="244"/>
                      <a:pt x="806" y="244"/>
                    </a:cubicBezTo>
                    <a:cubicBezTo>
                      <a:pt x="806" y="245"/>
                      <a:pt x="806" y="245"/>
                      <a:pt x="806" y="245"/>
                    </a:cubicBezTo>
                    <a:cubicBezTo>
                      <a:pt x="806" y="246"/>
                      <a:pt x="806" y="246"/>
                      <a:pt x="806" y="246"/>
                    </a:cubicBezTo>
                    <a:cubicBezTo>
                      <a:pt x="804" y="247"/>
                      <a:pt x="804" y="247"/>
                      <a:pt x="804" y="247"/>
                    </a:cubicBezTo>
                    <a:cubicBezTo>
                      <a:pt x="804" y="246"/>
                      <a:pt x="804" y="246"/>
                      <a:pt x="804" y="246"/>
                    </a:cubicBezTo>
                    <a:cubicBezTo>
                      <a:pt x="803" y="245"/>
                      <a:pt x="803" y="245"/>
                      <a:pt x="803" y="245"/>
                    </a:cubicBezTo>
                    <a:cubicBezTo>
                      <a:pt x="803" y="244"/>
                      <a:pt x="803" y="244"/>
                      <a:pt x="803" y="244"/>
                    </a:cubicBezTo>
                    <a:cubicBezTo>
                      <a:pt x="804" y="243"/>
                      <a:pt x="804" y="243"/>
                      <a:pt x="804" y="243"/>
                    </a:cubicBezTo>
                    <a:cubicBezTo>
                      <a:pt x="804" y="242"/>
                      <a:pt x="804" y="242"/>
                      <a:pt x="804" y="242"/>
                    </a:cubicBezTo>
                    <a:cubicBezTo>
                      <a:pt x="803" y="242"/>
                      <a:pt x="803" y="242"/>
                      <a:pt x="803" y="242"/>
                    </a:cubicBezTo>
                    <a:cubicBezTo>
                      <a:pt x="804" y="241"/>
                      <a:pt x="804" y="241"/>
                      <a:pt x="804" y="241"/>
                    </a:cubicBezTo>
                    <a:cubicBezTo>
                      <a:pt x="803" y="241"/>
                      <a:pt x="803" y="241"/>
                      <a:pt x="803" y="241"/>
                    </a:cubicBezTo>
                    <a:cubicBezTo>
                      <a:pt x="803" y="240"/>
                      <a:pt x="803" y="240"/>
                      <a:pt x="803" y="240"/>
                    </a:cubicBezTo>
                    <a:cubicBezTo>
                      <a:pt x="804" y="240"/>
                      <a:pt x="804" y="240"/>
                      <a:pt x="804" y="240"/>
                    </a:cubicBezTo>
                    <a:cubicBezTo>
                      <a:pt x="804" y="239"/>
                      <a:pt x="804" y="239"/>
                      <a:pt x="804" y="239"/>
                    </a:cubicBezTo>
                    <a:cubicBezTo>
                      <a:pt x="803" y="240"/>
                      <a:pt x="803" y="240"/>
                      <a:pt x="803" y="240"/>
                    </a:cubicBezTo>
                    <a:cubicBezTo>
                      <a:pt x="802" y="241"/>
                      <a:pt x="802" y="241"/>
                      <a:pt x="802" y="241"/>
                    </a:cubicBezTo>
                    <a:cubicBezTo>
                      <a:pt x="801" y="241"/>
                      <a:pt x="801" y="241"/>
                      <a:pt x="801" y="241"/>
                    </a:cubicBezTo>
                    <a:cubicBezTo>
                      <a:pt x="800" y="240"/>
                      <a:pt x="800" y="240"/>
                      <a:pt x="800" y="240"/>
                    </a:cubicBezTo>
                    <a:cubicBezTo>
                      <a:pt x="799" y="241"/>
                      <a:pt x="799" y="241"/>
                      <a:pt x="799" y="241"/>
                    </a:cubicBezTo>
                    <a:cubicBezTo>
                      <a:pt x="798" y="241"/>
                      <a:pt x="798" y="241"/>
                      <a:pt x="798" y="241"/>
                    </a:cubicBezTo>
                    <a:cubicBezTo>
                      <a:pt x="797" y="242"/>
                      <a:pt x="797" y="242"/>
                      <a:pt x="797" y="242"/>
                    </a:cubicBezTo>
                    <a:cubicBezTo>
                      <a:pt x="796" y="242"/>
                      <a:pt x="796" y="242"/>
                      <a:pt x="796" y="242"/>
                    </a:cubicBezTo>
                    <a:cubicBezTo>
                      <a:pt x="795" y="242"/>
                      <a:pt x="795" y="242"/>
                      <a:pt x="795" y="242"/>
                    </a:cubicBezTo>
                    <a:cubicBezTo>
                      <a:pt x="795" y="241"/>
                      <a:pt x="795" y="241"/>
                      <a:pt x="795" y="241"/>
                    </a:cubicBezTo>
                    <a:cubicBezTo>
                      <a:pt x="795" y="240"/>
                      <a:pt x="795" y="240"/>
                      <a:pt x="795" y="240"/>
                    </a:cubicBezTo>
                    <a:cubicBezTo>
                      <a:pt x="796" y="239"/>
                      <a:pt x="796" y="239"/>
                      <a:pt x="796" y="239"/>
                    </a:cubicBezTo>
                    <a:cubicBezTo>
                      <a:pt x="797" y="239"/>
                      <a:pt x="797" y="239"/>
                      <a:pt x="797" y="239"/>
                    </a:cubicBezTo>
                    <a:cubicBezTo>
                      <a:pt x="798" y="239"/>
                      <a:pt x="798" y="239"/>
                      <a:pt x="798" y="239"/>
                    </a:cubicBezTo>
                    <a:cubicBezTo>
                      <a:pt x="799" y="239"/>
                      <a:pt x="799" y="239"/>
                      <a:pt x="799" y="239"/>
                    </a:cubicBezTo>
                    <a:cubicBezTo>
                      <a:pt x="800" y="238"/>
                      <a:pt x="800" y="238"/>
                      <a:pt x="800" y="238"/>
                    </a:cubicBezTo>
                    <a:cubicBezTo>
                      <a:pt x="800" y="237"/>
                      <a:pt x="800" y="237"/>
                      <a:pt x="800" y="237"/>
                    </a:cubicBezTo>
                    <a:cubicBezTo>
                      <a:pt x="800" y="236"/>
                      <a:pt x="800" y="236"/>
                      <a:pt x="800" y="236"/>
                    </a:cubicBezTo>
                    <a:cubicBezTo>
                      <a:pt x="799" y="235"/>
                      <a:pt x="799" y="235"/>
                      <a:pt x="799" y="235"/>
                    </a:cubicBezTo>
                    <a:cubicBezTo>
                      <a:pt x="798" y="235"/>
                      <a:pt x="798" y="235"/>
                      <a:pt x="798" y="235"/>
                    </a:cubicBezTo>
                    <a:cubicBezTo>
                      <a:pt x="797" y="234"/>
                      <a:pt x="797" y="234"/>
                      <a:pt x="797" y="234"/>
                    </a:cubicBezTo>
                    <a:cubicBezTo>
                      <a:pt x="797" y="233"/>
                      <a:pt x="797" y="233"/>
                      <a:pt x="797" y="233"/>
                    </a:cubicBezTo>
                    <a:cubicBezTo>
                      <a:pt x="797" y="232"/>
                      <a:pt x="797" y="232"/>
                      <a:pt x="797" y="232"/>
                    </a:cubicBezTo>
                    <a:cubicBezTo>
                      <a:pt x="796" y="232"/>
                      <a:pt x="796" y="232"/>
                      <a:pt x="796" y="232"/>
                    </a:cubicBezTo>
                    <a:cubicBezTo>
                      <a:pt x="795" y="231"/>
                      <a:pt x="795" y="231"/>
                      <a:pt x="795" y="231"/>
                    </a:cubicBezTo>
                    <a:cubicBezTo>
                      <a:pt x="795" y="230"/>
                      <a:pt x="795" y="230"/>
                      <a:pt x="795" y="230"/>
                    </a:cubicBezTo>
                    <a:cubicBezTo>
                      <a:pt x="796" y="230"/>
                      <a:pt x="796" y="230"/>
                      <a:pt x="796" y="230"/>
                    </a:cubicBezTo>
                    <a:cubicBezTo>
                      <a:pt x="796" y="231"/>
                      <a:pt x="796" y="231"/>
                      <a:pt x="796" y="231"/>
                    </a:cubicBezTo>
                    <a:cubicBezTo>
                      <a:pt x="797" y="230"/>
                      <a:pt x="797" y="230"/>
                      <a:pt x="797" y="230"/>
                    </a:cubicBezTo>
                    <a:cubicBezTo>
                      <a:pt x="798" y="229"/>
                      <a:pt x="798" y="229"/>
                      <a:pt x="798" y="229"/>
                    </a:cubicBezTo>
                    <a:cubicBezTo>
                      <a:pt x="796" y="229"/>
                      <a:pt x="796" y="229"/>
                      <a:pt x="796" y="229"/>
                    </a:cubicBezTo>
                    <a:cubicBezTo>
                      <a:pt x="796" y="228"/>
                      <a:pt x="796" y="228"/>
                      <a:pt x="796" y="228"/>
                    </a:cubicBezTo>
                    <a:cubicBezTo>
                      <a:pt x="795" y="228"/>
                      <a:pt x="795" y="228"/>
                      <a:pt x="795" y="228"/>
                    </a:cubicBezTo>
                    <a:cubicBezTo>
                      <a:pt x="794" y="227"/>
                      <a:pt x="794" y="227"/>
                      <a:pt x="794" y="227"/>
                    </a:cubicBezTo>
                    <a:cubicBezTo>
                      <a:pt x="793" y="228"/>
                      <a:pt x="793" y="228"/>
                      <a:pt x="793" y="228"/>
                    </a:cubicBezTo>
                    <a:cubicBezTo>
                      <a:pt x="794" y="226"/>
                      <a:pt x="794" y="226"/>
                      <a:pt x="794" y="226"/>
                    </a:cubicBezTo>
                    <a:cubicBezTo>
                      <a:pt x="795" y="224"/>
                      <a:pt x="795" y="224"/>
                      <a:pt x="795" y="224"/>
                    </a:cubicBezTo>
                    <a:cubicBezTo>
                      <a:pt x="795" y="222"/>
                      <a:pt x="795" y="222"/>
                      <a:pt x="795" y="222"/>
                    </a:cubicBezTo>
                    <a:cubicBezTo>
                      <a:pt x="795" y="221"/>
                      <a:pt x="795" y="221"/>
                      <a:pt x="795" y="221"/>
                    </a:cubicBezTo>
                    <a:cubicBezTo>
                      <a:pt x="796" y="220"/>
                      <a:pt x="796" y="220"/>
                      <a:pt x="796" y="220"/>
                    </a:cubicBezTo>
                    <a:cubicBezTo>
                      <a:pt x="795" y="219"/>
                      <a:pt x="795" y="219"/>
                      <a:pt x="795" y="219"/>
                    </a:cubicBezTo>
                    <a:cubicBezTo>
                      <a:pt x="794" y="220"/>
                      <a:pt x="794" y="220"/>
                      <a:pt x="794" y="220"/>
                    </a:cubicBezTo>
                    <a:cubicBezTo>
                      <a:pt x="793" y="220"/>
                      <a:pt x="793" y="220"/>
                      <a:pt x="793" y="220"/>
                    </a:cubicBezTo>
                    <a:cubicBezTo>
                      <a:pt x="793" y="221"/>
                      <a:pt x="793" y="221"/>
                      <a:pt x="793" y="221"/>
                    </a:cubicBezTo>
                    <a:cubicBezTo>
                      <a:pt x="792" y="220"/>
                      <a:pt x="792" y="220"/>
                      <a:pt x="792" y="220"/>
                    </a:cubicBezTo>
                    <a:cubicBezTo>
                      <a:pt x="791" y="219"/>
                      <a:pt x="791" y="219"/>
                      <a:pt x="791" y="219"/>
                    </a:cubicBezTo>
                    <a:cubicBezTo>
                      <a:pt x="791" y="218"/>
                      <a:pt x="791" y="218"/>
                      <a:pt x="791" y="218"/>
                    </a:cubicBezTo>
                    <a:cubicBezTo>
                      <a:pt x="790" y="217"/>
                      <a:pt x="790" y="217"/>
                      <a:pt x="790" y="217"/>
                    </a:cubicBezTo>
                    <a:cubicBezTo>
                      <a:pt x="790" y="215"/>
                      <a:pt x="790" y="215"/>
                      <a:pt x="790" y="215"/>
                    </a:cubicBezTo>
                    <a:cubicBezTo>
                      <a:pt x="791" y="215"/>
                      <a:pt x="791" y="215"/>
                      <a:pt x="791" y="215"/>
                    </a:cubicBezTo>
                    <a:cubicBezTo>
                      <a:pt x="791" y="214"/>
                      <a:pt x="791" y="214"/>
                      <a:pt x="791" y="214"/>
                    </a:cubicBezTo>
                    <a:cubicBezTo>
                      <a:pt x="791" y="212"/>
                      <a:pt x="791" y="212"/>
                      <a:pt x="791" y="212"/>
                    </a:cubicBezTo>
                    <a:cubicBezTo>
                      <a:pt x="790" y="213"/>
                      <a:pt x="790" y="213"/>
                      <a:pt x="790" y="213"/>
                    </a:cubicBezTo>
                    <a:cubicBezTo>
                      <a:pt x="789" y="215"/>
                      <a:pt x="789" y="215"/>
                      <a:pt x="789" y="215"/>
                    </a:cubicBezTo>
                    <a:cubicBezTo>
                      <a:pt x="789" y="216"/>
                      <a:pt x="789" y="216"/>
                      <a:pt x="789" y="216"/>
                    </a:cubicBezTo>
                    <a:cubicBezTo>
                      <a:pt x="788" y="215"/>
                      <a:pt x="788" y="215"/>
                      <a:pt x="788" y="215"/>
                    </a:cubicBezTo>
                    <a:cubicBezTo>
                      <a:pt x="787" y="216"/>
                      <a:pt x="787" y="216"/>
                      <a:pt x="787" y="216"/>
                    </a:cubicBezTo>
                    <a:cubicBezTo>
                      <a:pt x="787" y="217"/>
                      <a:pt x="787" y="217"/>
                      <a:pt x="787" y="217"/>
                    </a:cubicBezTo>
                    <a:cubicBezTo>
                      <a:pt x="788" y="218"/>
                      <a:pt x="788" y="218"/>
                      <a:pt x="788" y="218"/>
                    </a:cubicBezTo>
                    <a:cubicBezTo>
                      <a:pt x="789" y="221"/>
                      <a:pt x="789" y="221"/>
                      <a:pt x="789" y="221"/>
                    </a:cubicBezTo>
                    <a:cubicBezTo>
                      <a:pt x="790" y="221"/>
                      <a:pt x="790" y="221"/>
                      <a:pt x="790" y="221"/>
                    </a:cubicBezTo>
                    <a:cubicBezTo>
                      <a:pt x="790" y="222"/>
                      <a:pt x="790" y="222"/>
                      <a:pt x="790" y="222"/>
                    </a:cubicBezTo>
                    <a:cubicBezTo>
                      <a:pt x="790" y="223"/>
                      <a:pt x="790" y="223"/>
                      <a:pt x="790" y="223"/>
                    </a:cubicBezTo>
                    <a:cubicBezTo>
                      <a:pt x="789" y="225"/>
                      <a:pt x="789" y="225"/>
                      <a:pt x="789" y="225"/>
                    </a:cubicBezTo>
                    <a:cubicBezTo>
                      <a:pt x="788" y="225"/>
                      <a:pt x="788" y="225"/>
                      <a:pt x="788" y="225"/>
                    </a:cubicBezTo>
                    <a:cubicBezTo>
                      <a:pt x="785" y="225"/>
                      <a:pt x="785" y="225"/>
                      <a:pt x="785" y="225"/>
                    </a:cubicBezTo>
                    <a:cubicBezTo>
                      <a:pt x="784" y="225"/>
                      <a:pt x="784" y="225"/>
                      <a:pt x="784" y="225"/>
                    </a:cubicBezTo>
                    <a:cubicBezTo>
                      <a:pt x="782" y="224"/>
                      <a:pt x="782" y="224"/>
                      <a:pt x="782" y="224"/>
                    </a:cubicBezTo>
                    <a:cubicBezTo>
                      <a:pt x="783" y="224"/>
                      <a:pt x="783" y="224"/>
                      <a:pt x="783" y="224"/>
                    </a:cubicBezTo>
                    <a:cubicBezTo>
                      <a:pt x="783" y="223"/>
                      <a:pt x="783" y="223"/>
                      <a:pt x="783" y="223"/>
                    </a:cubicBezTo>
                    <a:cubicBezTo>
                      <a:pt x="781" y="223"/>
                      <a:pt x="781" y="223"/>
                      <a:pt x="781" y="223"/>
                    </a:cubicBezTo>
                    <a:cubicBezTo>
                      <a:pt x="779" y="222"/>
                      <a:pt x="779" y="222"/>
                      <a:pt x="779" y="222"/>
                    </a:cubicBezTo>
                    <a:cubicBezTo>
                      <a:pt x="777" y="221"/>
                      <a:pt x="777" y="221"/>
                      <a:pt x="777" y="221"/>
                    </a:cubicBezTo>
                    <a:cubicBezTo>
                      <a:pt x="778" y="224"/>
                      <a:pt x="778" y="224"/>
                      <a:pt x="778" y="224"/>
                    </a:cubicBezTo>
                    <a:cubicBezTo>
                      <a:pt x="778" y="225"/>
                      <a:pt x="778" y="225"/>
                      <a:pt x="778" y="225"/>
                    </a:cubicBezTo>
                    <a:cubicBezTo>
                      <a:pt x="777" y="225"/>
                      <a:pt x="777" y="225"/>
                      <a:pt x="777" y="225"/>
                    </a:cubicBezTo>
                    <a:cubicBezTo>
                      <a:pt x="776" y="224"/>
                      <a:pt x="776" y="224"/>
                      <a:pt x="776" y="224"/>
                    </a:cubicBezTo>
                    <a:cubicBezTo>
                      <a:pt x="775" y="223"/>
                      <a:pt x="775" y="223"/>
                      <a:pt x="775" y="223"/>
                    </a:cubicBezTo>
                    <a:cubicBezTo>
                      <a:pt x="775" y="222"/>
                      <a:pt x="775" y="222"/>
                      <a:pt x="775" y="222"/>
                    </a:cubicBezTo>
                    <a:cubicBezTo>
                      <a:pt x="774" y="221"/>
                      <a:pt x="774" y="221"/>
                      <a:pt x="774" y="221"/>
                    </a:cubicBezTo>
                    <a:cubicBezTo>
                      <a:pt x="773" y="220"/>
                      <a:pt x="773" y="220"/>
                      <a:pt x="773" y="220"/>
                    </a:cubicBezTo>
                    <a:cubicBezTo>
                      <a:pt x="772" y="219"/>
                      <a:pt x="772" y="219"/>
                      <a:pt x="772" y="219"/>
                    </a:cubicBezTo>
                    <a:cubicBezTo>
                      <a:pt x="771" y="217"/>
                      <a:pt x="771" y="217"/>
                      <a:pt x="771" y="217"/>
                    </a:cubicBezTo>
                    <a:cubicBezTo>
                      <a:pt x="770" y="217"/>
                      <a:pt x="770" y="217"/>
                      <a:pt x="770" y="217"/>
                    </a:cubicBezTo>
                    <a:cubicBezTo>
                      <a:pt x="769" y="217"/>
                      <a:pt x="769" y="217"/>
                      <a:pt x="769" y="217"/>
                    </a:cubicBezTo>
                    <a:cubicBezTo>
                      <a:pt x="771" y="219"/>
                      <a:pt x="771" y="219"/>
                      <a:pt x="771" y="219"/>
                    </a:cubicBezTo>
                    <a:cubicBezTo>
                      <a:pt x="772" y="220"/>
                      <a:pt x="772" y="220"/>
                      <a:pt x="772" y="220"/>
                    </a:cubicBezTo>
                    <a:cubicBezTo>
                      <a:pt x="772" y="221"/>
                      <a:pt x="772" y="221"/>
                      <a:pt x="772" y="221"/>
                    </a:cubicBezTo>
                    <a:cubicBezTo>
                      <a:pt x="773" y="222"/>
                      <a:pt x="773" y="222"/>
                      <a:pt x="773" y="222"/>
                    </a:cubicBezTo>
                    <a:cubicBezTo>
                      <a:pt x="774" y="222"/>
                      <a:pt x="774" y="222"/>
                      <a:pt x="774" y="222"/>
                    </a:cubicBezTo>
                    <a:cubicBezTo>
                      <a:pt x="773" y="223"/>
                      <a:pt x="773" y="223"/>
                      <a:pt x="773" y="223"/>
                    </a:cubicBezTo>
                    <a:cubicBezTo>
                      <a:pt x="772" y="223"/>
                      <a:pt x="772" y="223"/>
                      <a:pt x="772" y="223"/>
                    </a:cubicBezTo>
                    <a:cubicBezTo>
                      <a:pt x="770" y="222"/>
                      <a:pt x="770" y="222"/>
                      <a:pt x="770" y="222"/>
                    </a:cubicBezTo>
                    <a:cubicBezTo>
                      <a:pt x="770" y="223"/>
                      <a:pt x="770" y="223"/>
                      <a:pt x="770" y="223"/>
                    </a:cubicBezTo>
                    <a:cubicBezTo>
                      <a:pt x="769" y="222"/>
                      <a:pt x="769" y="222"/>
                      <a:pt x="769" y="222"/>
                    </a:cubicBezTo>
                    <a:cubicBezTo>
                      <a:pt x="768" y="221"/>
                      <a:pt x="768" y="221"/>
                      <a:pt x="768" y="221"/>
                    </a:cubicBezTo>
                    <a:cubicBezTo>
                      <a:pt x="767" y="220"/>
                      <a:pt x="767" y="220"/>
                      <a:pt x="767" y="220"/>
                    </a:cubicBezTo>
                    <a:cubicBezTo>
                      <a:pt x="765" y="220"/>
                      <a:pt x="765" y="220"/>
                      <a:pt x="765" y="220"/>
                    </a:cubicBezTo>
                    <a:cubicBezTo>
                      <a:pt x="764" y="221"/>
                      <a:pt x="764" y="221"/>
                      <a:pt x="764" y="221"/>
                    </a:cubicBezTo>
                    <a:cubicBezTo>
                      <a:pt x="763" y="220"/>
                      <a:pt x="763" y="220"/>
                      <a:pt x="763" y="220"/>
                    </a:cubicBezTo>
                    <a:cubicBezTo>
                      <a:pt x="762" y="220"/>
                      <a:pt x="762" y="220"/>
                      <a:pt x="762" y="220"/>
                    </a:cubicBezTo>
                    <a:cubicBezTo>
                      <a:pt x="761" y="220"/>
                      <a:pt x="761" y="220"/>
                      <a:pt x="761" y="220"/>
                    </a:cubicBezTo>
                    <a:cubicBezTo>
                      <a:pt x="760" y="219"/>
                      <a:pt x="760" y="219"/>
                      <a:pt x="760" y="219"/>
                    </a:cubicBezTo>
                    <a:cubicBezTo>
                      <a:pt x="759" y="218"/>
                      <a:pt x="759" y="218"/>
                      <a:pt x="759" y="218"/>
                    </a:cubicBezTo>
                    <a:cubicBezTo>
                      <a:pt x="759" y="217"/>
                      <a:pt x="759" y="217"/>
                      <a:pt x="759" y="217"/>
                    </a:cubicBezTo>
                    <a:cubicBezTo>
                      <a:pt x="761" y="216"/>
                      <a:pt x="761" y="216"/>
                      <a:pt x="761" y="216"/>
                    </a:cubicBezTo>
                    <a:cubicBezTo>
                      <a:pt x="761" y="215"/>
                      <a:pt x="761" y="215"/>
                      <a:pt x="761" y="215"/>
                    </a:cubicBezTo>
                    <a:cubicBezTo>
                      <a:pt x="760" y="215"/>
                      <a:pt x="760" y="215"/>
                      <a:pt x="760" y="215"/>
                    </a:cubicBezTo>
                    <a:cubicBezTo>
                      <a:pt x="759" y="216"/>
                      <a:pt x="759" y="216"/>
                      <a:pt x="759" y="216"/>
                    </a:cubicBezTo>
                    <a:cubicBezTo>
                      <a:pt x="758" y="217"/>
                      <a:pt x="758" y="217"/>
                      <a:pt x="758" y="217"/>
                    </a:cubicBezTo>
                    <a:cubicBezTo>
                      <a:pt x="757" y="217"/>
                      <a:pt x="757" y="217"/>
                      <a:pt x="757" y="217"/>
                    </a:cubicBezTo>
                    <a:cubicBezTo>
                      <a:pt x="756" y="216"/>
                      <a:pt x="756" y="216"/>
                      <a:pt x="756" y="216"/>
                    </a:cubicBezTo>
                    <a:cubicBezTo>
                      <a:pt x="755" y="216"/>
                      <a:pt x="755" y="216"/>
                      <a:pt x="755" y="216"/>
                    </a:cubicBezTo>
                    <a:cubicBezTo>
                      <a:pt x="756" y="217"/>
                      <a:pt x="756" y="217"/>
                      <a:pt x="756" y="217"/>
                    </a:cubicBezTo>
                    <a:cubicBezTo>
                      <a:pt x="756" y="218"/>
                      <a:pt x="756" y="218"/>
                      <a:pt x="756" y="218"/>
                    </a:cubicBezTo>
                    <a:cubicBezTo>
                      <a:pt x="754" y="218"/>
                      <a:pt x="754" y="218"/>
                      <a:pt x="754" y="218"/>
                    </a:cubicBezTo>
                    <a:cubicBezTo>
                      <a:pt x="752" y="216"/>
                      <a:pt x="752" y="216"/>
                      <a:pt x="752" y="216"/>
                    </a:cubicBezTo>
                    <a:cubicBezTo>
                      <a:pt x="752" y="215"/>
                      <a:pt x="752" y="215"/>
                      <a:pt x="752" y="215"/>
                    </a:cubicBezTo>
                    <a:cubicBezTo>
                      <a:pt x="751" y="214"/>
                      <a:pt x="751" y="214"/>
                      <a:pt x="751" y="214"/>
                    </a:cubicBezTo>
                    <a:cubicBezTo>
                      <a:pt x="751" y="213"/>
                      <a:pt x="751" y="213"/>
                      <a:pt x="751" y="213"/>
                    </a:cubicBezTo>
                    <a:cubicBezTo>
                      <a:pt x="753" y="212"/>
                      <a:pt x="753" y="212"/>
                      <a:pt x="753" y="212"/>
                    </a:cubicBezTo>
                    <a:cubicBezTo>
                      <a:pt x="754" y="211"/>
                      <a:pt x="754" y="211"/>
                      <a:pt x="754" y="211"/>
                    </a:cubicBezTo>
                    <a:cubicBezTo>
                      <a:pt x="753" y="211"/>
                      <a:pt x="753" y="211"/>
                      <a:pt x="753" y="211"/>
                    </a:cubicBezTo>
                    <a:cubicBezTo>
                      <a:pt x="751" y="212"/>
                      <a:pt x="751" y="212"/>
                      <a:pt x="751" y="212"/>
                    </a:cubicBezTo>
                    <a:cubicBezTo>
                      <a:pt x="751" y="213"/>
                      <a:pt x="751" y="213"/>
                      <a:pt x="751" y="213"/>
                    </a:cubicBezTo>
                    <a:cubicBezTo>
                      <a:pt x="750" y="213"/>
                      <a:pt x="750" y="213"/>
                      <a:pt x="750" y="213"/>
                    </a:cubicBezTo>
                    <a:cubicBezTo>
                      <a:pt x="750" y="212"/>
                      <a:pt x="750" y="212"/>
                      <a:pt x="750" y="212"/>
                    </a:cubicBezTo>
                    <a:cubicBezTo>
                      <a:pt x="750" y="211"/>
                      <a:pt x="750" y="211"/>
                      <a:pt x="750" y="211"/>
                    </a:cubicBezTo>
                    <a:cubicBezTo>
                      <a:pt x="749" y="211"/>
                      <a:pt x="749" y="211"/>
                      <a:pt x="749" y="211"/>
                    </a:cubicBezTo>
                    <a:cubicBezTo>
                      <a:pt x="749" y="212"/>
                      <a:pt x="749" y="212"/>
                      <a:pt x="749" y="212"/>
                    </a:cubicBezTo>
                    <a:cubicBezTo>
                      <a:pt x="749" y="213"/>
                      <a:pt x="749" y="213"/>
                      <a:pt x="749" y="213"/>
                    </a:cubicBezTo>
                    <a:cubicBezTo>
                      <a:pt x="748" y="213"/>
                      <a:pt x="748" y="213"/>
                      <a:pt x="748" y="213"/>
                    </a:cubicBezTo>
                    <a:cubicBezTo>
                      <a:pt x="747" y="212"/>
                      <a:pt x="747" y="212"/>
                      <a:pt x="747" y="212"/>
                    </a:cubicBezTo>
                    <a:cubicBezTo>
                      <a:pt x="746" y="212"/>
                      <a:pt x="746" y="212"/>
                      <a:pt x="746" y="212"/>
                    </a:cubicBezTo>
                    <a:cubicBezTo>
                      <a:pt x="745" y="212"/>
                      <a:pt x="745" y="212"/>
                      <a:pt x="745" y="212"/>
                    </a:cubicBezTo>
                    <a:cubicBezTo>
                      <a:pt x="745" y="213"/>
                      <a:pt x="745" y="213"/>
                      <a:pt x="745" y="213"/>
                    </a:cubicBezTo>
                    <a:cubicBezTo>
                      <a:pt x="744" y="213"/>
                      <a:pt x="744" y="213"/>
                      <a:pt x="744" y="213"/>
                    </a:cubicBezTo>
                    <a:cubicBezTo>
                      <a:pt x="743" y="212"/>
                      <a:pt x="743" y="212"/>
                      <a:pt x="743" y="212"/>
                    </a:cubicBezTo>
                    <a:cubicBezTo>
                      <a:pt x="743" y="211"/>
                      <a:pt x="743" y="211"/>
                      <a:pt x="743" y="211"/>
                    </a:cubicBezTo>
                    <a:cubicBezTo>
                      <a:pt x="744" y="211"/>
                      <a:pt x="744" y="211"/>
                      <a:pt x="744" y="211"/>
                    </a:cubicBezTo>
                    <a:cubicBezTo>
                      <a:pt x="743" y="210"/>
                      <a:pt x="743" y="210"/>
                      <a:pt x="743" y="210"/>
                    </a:cubicBezTo>
                    <a:cubicBezTo>
                      <a:pt x="741" y="209"/>
                      <a:pt x="741" y="209"/>
                      <a:pt x="741" y="209"/>
                    </a:cubicBezTo>
                    <a:cubicBezTo>
                      <a:pt x="741" y="208"/>
                      <a:pt x="741" y="208"/>
                      <a:pt x="741" y="208"/>
                    </a:cubicBezTo>
                    <a:cubicBezTo>
                      <a:pt x="741" y="206"/>
                      <a:pt x="741" y="206"/>
                      <a:pt x="741" y="206"/>
                    </a:cubicBezTo>
                    <a:cubicBezTo>
                      <a:pt x="741" y="205"/>
                      <a:pt x="741" y="205"/>
                      <a:pt x="741" y="205"/>
                    </a:cubicBezTo>
                    <a:cubicBezTo>
                      <a:pt x="741" y="203"/>
                      <a:pt x="741" y="203"/>
                      <a:pt x="741" y="203"/>
                    </a:cubicBezTo>
                    <a:cubicBezTo>
                      <a:pt x="741" y="202"/>
                      <a:pt x="741" y="202"/>
                      <a:pt x="741" y="202"/>
                    </a:cubicBezTo>
                    <a:cubicBezTo>
                      <a:pt x="742" y="202"/>
                      <a:pt x="742" y="202"/>
                      <a:pt x="742" y="202"/>
                    </a:cubicBezTo>
                    <a:cubicBezTo>
                      <a:pt x="742" y="201"/>
                      <a:pt x="742" y="201"/>
                      <a:pt x="742" y="201"/>
                    </a:cubicBezTo>
                    <a:cubicBezTo>
                      <a:pt x="741" y="200"/>
                      <a:pt x="741" y="200"/>
                      <a:pt x="741" y="200"/>
                    </a:cubicBezTo>
                    <a:cubicBezTo>
                      <a:pt x="742" y="199"/>
                      <a:pt x="742" y="199"/>
                      <a:pt x="742" y="199"/>
                    </a:cubicBezTo>
                    <a:cubicBezTo>
                      <a:pt x="743" y="200"/>
                      <a:pt x="743" y="200"/>
                      <a:pt x="743" y="200"/>
                    </a:cubicBezTo>
                    <a:cubicBezTo>
                      <a:pt x="745" y="200"/>
                      <a:pt x="745" y="200"/>
                      <a:pt x="745" y="200"/>
                    </a:cubicBezTo>
                    <a:cubicBezTo>
                      <a:pt x="746" y="201"/>
                      <a:pt x="746" y="201"/>
                      <a:pt x="746" y="201"/>
                    </a:cubicBezTo>
                    <a:cubicBezTo>
                      <a:pt x="747" y="202"/>
                      <a:pt x="747" y="202"/>
                      <a:pt x="747" y="202"/>
                    </a:cubicBezTo>
                    <a:cubicBezTo>
                      <a:pt x="749" y="203"/>
                      <a:pt x="749" y="203"/>
                      <a:pt x="749" y="203"/>
                    </a:cubicBezTo>
                    <a:cubicBezTo>
                      <a:pt x="751" y="203"/>
                      <a:pt x="751" y="203"/>
                      <a:pt x="751" y="203"/>
                    </a:cubicBezTo>
                    <a:cubicBezTo>
                      <a:pt x="753" y="203"/>
                      <a:pt x="753" y="203"/>
                      <a:pt x="753" y="203"/>
                    </a:cubicBezTo>
                    <a:cubicBezTo>
                      <a:pt x="752" y="202"/>
                      <a:pt x="752" y="202"/>
                      <a:pt x="752" y="202"/>
                    </a:cubicBezTo>
                    <a:cubicBezTo>
                      <a:pt x="752" y="201"/>
                      <a:pt x="752" y="201"/>
                      <a:pt x="752" y="201"/>
                    </a:cubicBezTo>
                    <a:cubicBezTo>
                      <a:pt x="751" y="200"/>
                      <a:pt x="751" y="200"/>
                      <a:pt x="751" y="200"/>
                    </a:cubicBezTo>
                    <a:cubicBezTo>
                      <a:pt x="750" y="199"/>
                      <a:pt x="750" y="199"/>
                      <a:pt x="750" y="199"/>
                    </a:cubicBezTo>
                    <a:cubicBezTo>
                      <a:pt x="749" y="199"/>
                      <a:pt x="749" y="199"/>
                      <a:pt x="749" y="199"/>
                    </a:cubicBezTo>
                    <a:cubicBezTo>
                      <a:pt x="747" y="198"/>
                      <a:pt x="747" y="198"/>
                      <a:pt x="747" y="198"/>
                    </a:cubicBezTo>
                    <a:cubicBezTo>
                      <a:pt x="745" y="197"/>
                      <a:pt x="745" y="197"/>
                      <a:pt x="745" y="197"/>
                    </a:cubicBezTo>
                    <a:cubicBezTo>
                      <a:pt x="744" y="197"/>
                      <a:pt x="744" y="197"/>
                      <a:pt x="744" y="197"/>
                    </a:cubicBezTo>
                    <a:cubicBezTo>
                      <a:pt x="742" y="196"/>
                      <a:pt x="742" y="196"/>
                      <a:pt x="742" y="196"/>
                    </a:cubicBezTo>
                    <a:cubicBezTo>
                      <a:pt x="741" y="195"/>
                      <a:pt x="741" y="195"/>
                      <a:pt x="741" y="195"/>
                    </a:cubicBezTo>
                    <a:cubicBezTo>
                      <a:pt x="741" y="193"/>
                      <a:pt x="741" y="193"/>
                      <a:pt x="741" y="193"/>
                    </a:cubicBezTo>
                    <a:cubicBezTo>
                      <a:pt x="743" y="192"/>
                      <a:pt x="743" y="192"/>
                      <a:pt x="743" y="192"/>
                    </a:cubicBezTo>
                    <a:cubicBezTo>
                      <a:pt x="742" y="191"/>
                      <a:pt x="742" y="191"/>
                      <a:pt x="742" y="191"/>
                    </a:cubicBezTo>
                    <a:cubicBezTo>
                      <a:pt x="743" y="190"/>
                      <a:pt x="743" y="190"/>
                      <a:pt x="743" y="190"/>
                    </a:cubicBezTo>
                    <a:cubicBezTo>
                      <a:pt x="744" y="190"/>
                      <a:pt x="744" y="190"/>
                      <a:pt x="744" y="190"/>
                    </a:cubicBezTo>
                    <a:cubicBezTo>
                      <a:pt x="744" y="188"/>
                      <a:pt x="744" y="188"/>
                      <a:pt x="744" y="188"/>
                    </a:cubicBezTo>
                    <a:cubicBezTo>
                      <a:pt x="744" y="186"/>
                      <a:pt x="744" y="186"/>
                      <a:pt x="744" y="186"/>
                    </a:cubicBezTo>
                    <a:cubicBezTo>
                      <a:pt x="745" y="185"/>
                      <a:pt x="745" y="185"/>
                      <a:pt x="745" y="185"/>
                    </a:cubicBezTo>
                    <a:cubicBezTo>
                      <a:pt x="746" y="185"/>
                      <a:pt x="746" y="185"/>
                      <a:pt x="746" y="185"/>
                    </a:cubicBezTo>
                    <a:cubicBezTo>
                      <a:pt x="746" y="184"/>
                      <a:pt x="746" y="184"/>
                      <a:pt x="746" y="184"/>
                    </a:cubicBezTo>
                    <a:cubicBezTo>
                      <a:pt x="748" y="183"/>
                      <a:pt x="748" y="183"/>
                      <a:pt x="748" y="183"/>
                    </a:cubicBezTo>
                    <a:cubicBezTo>
                      <a:pt x="749" y="183"/>
                      <a:pt x="749" y="183"/>
                      <a:pt x="749" y="183"/>
                    </a:cubicBezTo>
                    <a:cubicBezTo>
                      <a:pt x="749" y="182"/>
                      <a:pt x="749" y="182"/>
                      <a:pt x="749" y="182"/>
                    </a:cubicBezTo>
                    <a:cubicBezTo>
                      <a:pt x="748" y="182"/>
                      <a:pt x="748" y="182"/>
                      <a:pt x="748" y="182"/>
                    </a:cubicBezTo>
                    <a:cubicBezTo>
                      <a:pt x="748" y="181"/>
                      <a:pt x="748" y="181"/>
                      <a:pt x="748" y="181"/>
                    </a:cubicBezTo>
                    <a:cubicBezTo>
                      <a:pt x="749" y="179"/>
                      <a:pt x="749" y="179"/>
                      <a:pt x="749" y="179"/>
                    </a:cubicBezTo>
                    <a:cubicBezTo>
                      <a:pt x="750" y="178"/>
                      <a:pt x="750" y="178"/>
                      <a:pt x="750" y="178"/>
                    </a:cubicBezTo>
                    <a:cubicBezTo>
                      <a:pt x="751" y="177"/>
                      <a:pt x="751" y="177"/>
                      <a:pt x="751" y="177"/>
                    </a:cubicBezTo>
                    <a:cubicBezTo>
                      <a:pt x="752" y="176"/>
                      <a:pt x="752" y="176"/>
                      <a:pt x="752" y="176"/>
                    </a:cubicBezTo>
                    <a:cubicBezTo>
                      <a:pt x="753" y="176"/>
                      <a:pt x="753" y="176"/>
                      <a:pt x="753" y="176"/>
                    </a:cubicBezTo>
                    <a:cubicBezTo>
                      <a:pt x="753" y="174"/>
                      <a:pt x="753" y="174"/>
                      <a:pt x="753" y="174"/>
                    </a:cubicBezTo>
                    <a:cubicBezTo>
                      <a:pt x="754" y="174"/>
                      <a:pt x="754" y="174"/>
                      <a:pt x="754" y="174"/>
                    </a:cubicBezTo>
                    <a:cubicBezTo>
                      <a:pt x="754" y="175"/>
                      <a:pt x="754" y="175"/>
                      <a:pt x="754" y="175"/>
                    </a:cubicBezTo>
                    <a:cubicBezTo>
                      <a:pt x="755" y="174"/>
                      <a:pt x="755" y="174"/>
                      <a:pt x="755" y="174"/>
                    </a:cubicBezTo>
                    <a:cubicBezTo>
                      <a:pt x="755" y="173"/>
                      <a:pt x="755" y="173"/>
                      <a:pt x="755" y="173"/>
                    </a:cubicBezTo>
                    <a:cubicBezTo>
                      <a:pt x="756" y="171"/>
                      <a:pt x="756" y="171"/>
                      <a:pt x="756" y="171"/>
                    </a:cubicBezTo>
                    <a:cubicBezTo>
                      <a:pt x="757" y="171"/>
                      <a:pt x="757" y="171"/>
                      <a:pt x="757" y="171"/>
                    </a:cubicBezTo>
                    <a:cubicBezTo>
                      <a:pt x="757" y="170"/>
                      <a:pt x="757" y="170"/>
                      <a:pt x="757" y="170"/>
                    </a:cubicBezTo>
                    <a:cubicBezTo>
                      <a:pt x="758" y="169"/>
                      <a:pt x="758" y="169"/>
                      <a:pt x="758" y="169"/>
                    </a:cubicBezTo>
                    <a:cubicBezTo>
                      <a:pt x="759" y="169"/>
                      <a:pt x="759" y="169"/>
                      <a:pt x="759" y="169"/>
                    </a:cubicBezTo>
                    <a:cubicBezTo>
                      <a:pt x="760" y="168"/>
                      <a:pt x="760" y="168"/>
                      <a:pt x="760" y="168"/>
                    </a:cubicBezTo>
                    <a:cubicBezTo>
                      <a:pt x="761" y="168"/>
                      <a:pt x="761" y="168"/>
                      <a:pt x="761" y="168"/>
                    </a:cubicBezTo>
                    <a:cubicBezTo>
                      <a:pt x="762" y="168"/>
                      <a:pt x="762" y="168"/>
                      <a:pt x="762" y="168"/>
                    </a:cubicBezTo>
                    <a:cubicBezTo>
                      <a:pt x="761" y="167"/>
                      <a:pt x="761" y="167"/>
                      <a:pt x="761" y="167"/>
                    </a:cubicBezTo>
                    <a:cubicBezTo>
                      <a:pt x="762" y="166"/>
                      <a:pt x="762" y="166"/>
                      <a:pt x="762" y="166"/>
                    </a:cubicBezTo>
                    <a:cubicBezTo>
                      <a:pt x="764" y="165"/>
                      <a:pt x="764" y="165"/>
                      <a:pt x="764" y="165"/>
                    </a:cubicBezTo>
                    <a:cubicBezTo>
                      <a:pt x="766" y="163"/>
                      <a:pt x="766" y="163"/>
                      <a:pt x="766" y="163"/>
                    </a:cubicBezTo>
                    <a:cubicBezTo>
                      <a:pt x="769" y="162"/>
                      <a:pt x="769" y="162"/>
                      <a:pt x="769" y="162"/>
                    </a:cubicBezTo>
                    <a:cubicBezTo>
                      <a:pt x="772" y="162"/>
                      <a:pt x="772" y="162"/>
                      <a:pt x="772" y="162"/>
                    </a:cubicBezTo>
                    <a:cubicBezTo>
                      <a:pt x="773" y="161"/>
                      <a:pt x="773" y="161"/>
                      <a:pt x="773" y="161"/>
                    </a:cubicBezTo>
                    <a:cubicBezTo>
                      <a:pt x="774" y="161"/>
                      <a:pt x="774" y="161"/>
                      <a:pt x="774" y="161"/>
                    </a:cubicBezTo>
                    <a:cubicBezTo>
                      <a:pt x="775" y="161"/>
                      <a:pt x="775" y="161"/>
                      <a:pt x="775" y="161"/>
                    </a:cubicBezTo>
                    <a:cubicBezTo>
                      <a:pt x="776" y="161"/>
                      <a:pt x="776" y="161"/>
                      <a:pt x="776" y="161"/>
                    </a:cubicBezTo>
                    <a:cubicBezTo>
                      <a:pt x="778" y="161"/>
                      <a:pt x="778" y="161"/>
                      <a:pt x="778" y="161"/>
                    </a:cubicBezTo>
                    <a:cubicBezTo>
                      <a:pt x="779" y="162"/>
                      <a:pt x="779" y="162"/>
                      <a:pt x="779" y="162"/>
                    </a:cubicBezTo>
                    <a:cubicBezTo>
                      <a:pt x="782" y="164"/>
                      <a:pt x="782" y="164"/>
                      <a:pt x="782" y="164"/>
                    </a:cubicBezTo>
                    <a:cubicBezTo>
                      <a:pt x="782" y="165"/>
                      <a:pt x="782" y="165"/>
                      <a:pt x="782" y="165"/>
                    </a:cubicBezTo>
                    <a:cubicBezTo>
                      <a:pt x="780" y="166"/>
                      <a:pt x="780" y="166"/>
                      <a:pt x="780" y="166"/>
                    </a:cubicBezTo>
                    <a:cubicBezTo>
                      <a:pt x="778" y="167"/>
                      <a:pt x="778" y="167"/>
                      <a:pt x="778" y="167"/>
                    </a:cubicBezTo>
                    <a:cubicBezTo>
                      <a:pt x="777" y="167"/>
                      <a:pt x="777" y="167"/>
                      <a:pt x="777" y="167"/>
                    </a:cubicBezTo>
                    <a:cubicBezTo>
                      <a:pt x="776" y="168"/>
                      <a:pt x="776" y="168"/>
                      <a:pt x="776" y="168"/>
                    </a:cubicBezTo>
                    <a:cubicBezTo>
                      <a:pt x="775" y="169"/>
                      <a:pt x="775" y="169"/>
                      <a:pt x="775" y="169"/>
                    </a:cubicBezTo>
                    <a:cubicBezTo>
                      <a:pt x="774" y="169"/>
                      <a:pt x="774" y="169"/>
                      <a:pt x="774" y="169"/>
                    </a:cubicBezTo>
                    <a:cubicBezTo>
                      <a:pt x="772" y="172"/>
                      <a:pt x="772" y="172"/>
                      <a:pt x="772" y="172"/>
                    </a:cubicBezTo>
                    <a:cubicBezTo>
                      <a:pt x="769" y="174"/>
                      <a:pt x="769" y="174"/>
                      <a:pt x="769" y="174"/>
                    </a:cubicBezTo>
                    <a:cubicBezTo>
                      <a:pt x="768" y="176"/>
                      <a:pt x="768" y="176"/>
                      <a:pt x="768" y="176"/>
                    </a:cubicBezTo>
                    <a:cubicBezTo>
                      <a:pt x="767" y="176"/>
                      <a:pt x="767" y="176"/>
                      <a:pt x="767" y="176"/>
                    </a:cubicBezTo>
                    <a:cubicBezTo>
                      <a:pt x="766" y="178"/>
                      <a:pt x="766" y="178"/>
                      <a:pt x="766" y="178"/>
                    </a:cubicBezTo>
                    <a:cubicBezTo>
                      <a:pt x="765" y="180"/>
                      <a:pt x="765" y="180"/>
                      <a:pt x="765" y="180"/>
                    </a:cubicBezTo>
                    <a:cubicBezTo>
                      <a:pt x="766" y="181"/>
                      <a:pt x="766" y="181"/>
                      <a:pt x="766" y="181"/>
                    </a:cubicBezTo>
                    <a:cubicBezTo>
                      <a:pt x="767" y="182"/>
                      <a:pt x="767" y="182"/>
                      <a:pt x="767" y="182"/>
                    </a:cubicBezTo>
                    <a:cubicBezTo>
                      <a:pt x="767" y="183"/>
                      <a:pt x="767" y="183"/>
                      <a:pt x="767" y="183"/>
                    </a:cubicBezTo>
                    <a:cubicBezTo>
                      <a:pt x="766" y="184"/>
                      <a:pt x="766" y="184"/>
                      <a:pt x="766" y="184"/>
                    </a:cubicBezTo>
                    <a:cubicBezTo>
                      <a:pt x="765" y="185"/>
                      <a:pt x="765" y="185"/>
                      <a:pt x="765" y="185"/>
                    </a:cubicBezTo>
                    <a:cubicBezTo>
                      <a:pt x="764" y="186"/>
                      <a:pt x="764" y="186"/>
                      <a:pt x="764" y="186"/>
                    </a:cubicBezTo>
                    <a:cubicBezTo>
                      <a:pt x="763" y="187"/>
                      <a:pt x="763" y="187"/>
                      <a:pt x="763" y="187"/>
                    </a:cubicBezTo>
                    <a:cubicBezTo>
                      <a:pt x="763" y="189"/>
                      <a:pt x="763" y="189"/>
                      <a:pt x="763" y="189"/>
                    </a:cubicBezTo>
                    <a:cubicBezTo>
                      <a:pt x="762" y="189"/>
                      <a:pt x="762" y="189"/>
                      <a:pt x="762" y="189"/>
                    </a:cubicBezTo>
                    <a:cubicBezTo>
                      <a:pt x="762" y="190"/>
                      <a:pt x="762" y="190"/>
                      <a:pt x="762" y="190"/>
                    </a:cubicBezTo>
                    <a:cubicBezTo>
                      <a:pt x="763" y="191"/>
                      <a:pt x="763" y="191"/>
                      <a:pt x="763" y="191"/>
                    </a:cubicBezTo>
                    <a:cubicBezTo>
                      <a:pt x="763" y="193"/>
                      <a:pt x="763" y="193"/>
                      <a:pt x="763" y="193"/>
                    </a:cubicBezTo>
                    <a:cubicBezTo>
                      <a:pt x="763" y="194"/>
                      <a:pt x="763" y="194"/>
                      <a:pt x="763" y="194"/>
                    </a:cubicBezTo>
                    <a:cubicBezTo>
                      <a:pt x="763" y="196"/>
                      <a:pt x="763" y="196"/>
                      <a:pt x="763" y="196"/>
                    </a:cubicBezTo>
                    <a:cubicBezTo>
                      <a:pt x="764" y="197"/>
                      <a:pt x="764" y="197"/>
                      <a:pt x="764" y="197"/>
                    </a:cubicBezTo>
                    <a:cubicBezTo>
                      <a:pt x="765" y="198"/>
                      <a:pt x="765" y="198"/>
                      <a:pt x="765" y="198"/>
                    </a:cubicBezTo>
                    <a:cubicBezTo>
                      <a:pt x="766" y="198"/>
                      <a:pt x="766" y="198"/>
                      <a:pt x="766" y="198"/>
                    </a:cubicBezTo>
                    <a:cubicBezTo>
                      <a:pt x="766" y="200"/>
                      <a:pt x="766" y="200"/>
                      <a:pt x="766" y="200"/>
                    </a:cubicBezTo>
                    <a:cubicBezTo>
                      <a:pt x="765" y="201"/>
                      <a:pt x="765" y="201"/>
                      <a:pt x="765" y="201"/>
                    </a:cubicBezTo>
                    <a:cubicBezTo>
                      <a:pt x="765" y="200"/>
                      <a:pt x="765" y="200"/>
                      <a:pt x="765" y="200"/>
                    </a:cubicBezTo>
                    <a:cubicBezTo>
                      <a:pt x="764" y="200"/>
                      <a:pt x="764" y="200"/>
                      <a:pt x="764" y="200"/>
                    </a:cubicBezTo>
                    <a:cubicBezTo>
                      <a:pt x="763" y="200"/>
                      <a:pt x="763" y="200"/>
                      <a:pt x="763" y="200"/>
                    </a:cubicBezTo>
                    <a:cubicBezTo>
                      <a:pt x="763" y="201"/>
                      <a:pt x="763" y="201"/>
                      <a:pt x="763" y="201"/>
                    </a:cubicBezTo>
                    <a:cubicBezTo>
                      <a:pt x="762" y="201"/>
                      <a:pt x="762" y="201"/>
                      <a:pt x="762" y="201"/>
                    </a:cubicBezTo>
                    <a:cubicBezTo>
                      <a:pt x="763" y="202"/>
                      <a:pt x="763" y="202"/>
                      <a:pt x="763" y="202"/>
                    </a:cubicBezTo>
                    <a:cubicBezTo>
                      <a:pt x="764" y="202"/>
                      <a:pt x="764" y="202"/>
                      <a:pt x="764" y="202"/>
                    </a:cubicBezTo>
                    <a:cubicBezTo>
                      <a:pt x="765" y="202"/>
                      <a:pt x="765" y="202"/>
                      <a:pt x="765" y="202"/>
                    </a:cubicBezTo>
                    <a:cubicBezTo>
                      <a:pt x="764" y="203"/>
                      <a:pt x="764" y="203"/>
                      <a:pt x="764" y="203"/>
                    </a:cubicBezTo>
                    <a:cubicBezTo>
                      <a:pt x="763" y="205"/>
                      <a:pt x="763" y="205"/>
                      <a:pt x="763" y="205"/>
                    </a:cubicBezTo>
                    <a:cubicBezTo>
                      <a:pt x="763" y="206"/>
                      <a:pt x="763" y="206"/>
                      <a:pt x="763" y="206"/>
                    </a:cubicBezTo>
                    <a:cubicBezTo>
                      <a:pt x="763" y="207"/>
                      <a:pt x="763" y="207"/>
                      <a:pt x="763" y="207"/>
                    </a:cubicBezTo>
                    <a:cubicBezTo>
                      <a:pt x="765" y="205"/>
                      <a:pt x="765" y="205"/>
                      <a:pt x="765" y="205"/>
                    </a:cubicBezTo>
                    <a:cubicBezTo>
                      <a:pt x="766" y="202"/>
                      <a:pt x="766" y="202"/>
                      <a:pt x="766" y="202"/>
                    </a:cubicBezTo>
                    <a:cubicBezTo>
                      <a:pt x="767" y="199"/>
                      <a:pt x="767" y="199"/>
                      <a:pt x="767" y="199"/>
                    </a:cubicBezTo>
                    <a:cubicBezTo>
                      <a:pt x="768" y="198"/>
                      <a:pt x="768" y="198"/>
                      <a:pt x="768" y="198"/>
                    </a:cubicBezTo>
                    <a:cubicBezTo>
                      <a:pt x="768" y="197"/>
                      <a:pt x="768" y="197"/>
                      <a:pt x="768" y="197"/>
                    </a:cubicBezTo>
                    <a:cubicBezTo>
                      <a:pt x="768" y="196"/>
                      <a:pt x="768" y="196"/>
                      <a:pt x="768" y="196"/>
                    </a:cubicBezTo>
                    <a:cubicBezTo>
                      <a:pt x="768" y="195"/>
                      <a:pt x="768" y="195"/>
                      <a:pt x="768" y="195"/>
                    </a:cubicBezTo>
                    <a:cubicBezTo>
                      <a:pt x="767" y="195"/>
                      <a:pt x="767" y="195"/>
                      <a:pt x="767" y="195"/>
                    </a:cubicBezTo>
                    <a:cubicBezTo>
                      <a:pt x="767" y="194"/>
                      <a:pt x="767" y="194"/>
                      <a:pt x="767" y="194"/>
                    </a:cubicBezTo>
                    <a:cubicBezTo>
                      <a:pt x="767" y="193"/>
                      <a:pt x="767" y="193"/>
                      <a:pt x="767" y="193"/>
                    </a:cubicBezTo>
                    <a:cubicBezTo>
                      <a:pt x="766" y="193"/>
                      <a:pt x="766" y="193"/>
                      <a:pt x="766" y="193"/>
                    </a:cubicBezTo>
                    <a:cubicBezTo>
                      <a:pt x="766" y="191"/>
                      <a:pt x="766" y="191"/>
                      <a:pt x="766" y="191"/>
                    </a:cubicBezTo>
                    <a:cubicBezTo>
                      <a:pt x="766" y="190"/>
                      <a:pt x="766" y="190"/>
                      <a:pt x="766" y="190"/>
                    </a:cubicBezTo>
                    <a:cubicBezTo>
                      <a:pt x="765" y="188"/>
                      <a:pt x="765" y="188"/>
                      <a:pt x="765" y="188"/>
                    </a:cubicBezTo>
                    <a:cubicBezTo>
                      <a:pt x="766" y="188"/>
                      <a:pt x="766" y="188"/>
                      <a:pt x="766" y="188"/>
                    </a:cubicBezTo>
                    <a:cubicBezTo>
                      <a:pt x="766" y="189"/>
                      <a:pt x="766" y="189"/>
                      <a:pt x="766" y="189"/>
                    </a:cubicBezTo>
                    <a:cubicBezTo>
                      <a:pt x="767" y="189"/>
                      <a:pt x="767" y="189"/>
                      <a:pt x="767" y="189"/>
                    </a:cubicBezTo>
                    <a:cubicBezTo>
                      <a:pt x="768" y="188"/>
                      <a:pt x="768" y="188"/>
                      <a:pt x="768" y="188"/>
                    </a:cubicBezTo>
                    <a:cubicBezTo>
                      <a:pt x="769" y="187"/>
                      <a:pt x="769" y="187"/>
                      <a:pt x="769" y="187"/>
                    </a:cubicBezTo>
                    <a:cubicBezTo>
                      <a:pt x="769" y="186"/>
                      <a:pt x="769" y="186"/>
                      <a:pt x="769" y="186"/>
                    </a:cubicBezTo>
                    <a:cubicBezTo>
                      <a:pt x="769" y="185"/>
                      <a:pt x="769" y="185"/>
                      <a:pt x="769" y="185"/>
                    </a:cubicBezTo>
                    <a:cubicBezTo>
                      <a:pt x="770" y="186"/>
                      <a:pt x="770" y="186"/>
                      <a:pt x="770" y="186"/>
                    </a:cubicBezTo>
                    <a:cubicBezTo>
                      <a:pt x="771" y="187"/>
                      <a:pt x="771" y="187"/>
                      <a:pt x="771" y="187"/>
                    </a:cubicBezTo>
                    <a:cubicBezTo>
                      <a:pt x="771" y="188"/>
                      <a:pt x="771" y="188"/>
                      <a:pt x="771" y="188"/>
                    </a:cubicBezTo>
                    <a:cubicBezTo>
                      <a:pt x="771" y="189"/>
                      <a:pt x="771" y="189"/>
                      <a:pt x="771" y="189"/>
                    </a:cubicBezTo>
                    <a:cubicBezTo>
                      <a:pt x="772" y="188"/>
                      <a:pt x="772" y="188"/>
                      <a:pt x="772" y="188"/>
                    </a:cubicBezTo>
                    <a:cubicBezTo>
                      <a:pt x="772" y="186"/>
                      <a:pt x="772" y="186"/>
                      <a:pt x="772" y="186"/>
                    </a:cubicBezTo>
                    <a:cubicBezTo>
                      <a:pt x="773" y="185"/>
                      <a:pt x="773" y="185"/>
                      <a:pt x="773" y="185"/>
                    </a:cubicBezTo>
                    <a:cubicBezTo>
                      <a:pt x="774" y="185"/>
                      <a:pt x="774" y="185"/>
                      <a:pt x="774" y="185"/>
                    </a:cubicBezTo>
                    <a:cubicBezTo>
                      <a:pt x="774" y="184"/>
                      <a:pt x="774" y="184"/>
                      <a:pt x="774" y="184"/>
                    </a:cubicBezTo>
                    <a:cubicBezTo>
                      <a:pt x="775" y="184"/>
                      <a:pt x="775" y="184"/>
                      <a:pt x="775" y="184"/>
                    </a:cubicBezTo>
                    <a:cubicBezTo>
                      <a:pt x="775" y="183"/>
                      <a:pt x="775" y="183"/>
                      <a:pt x="775" y="183"/>
                    </a:cubicBezTo>
                    <a:cubicBezTo>
                      <a:pt x="774" y="183"/>
                      <a:pt x="774" y="183"/>
                      <a:pt x="774" y="183"/>
                    </a:cubicBezTo>
                    <a:cubicBezTo>
                      <a:pt x="772" y="185"/>
                      <a:pt x="772" y="185"/>
                      <a:pt x="772" y="185"/>
                    </a:cubicBezTo>
                    <a:cubicBezTo>
                      <a:pt x="771" y="185"/>
                      <a:pt x="771" y="185"/>
                      <a:pt x="771" y="185"/>
                    </a:cubicBezTo>
                    <a:cubicBezTo>
                      <a:pt x="771" y="183"/>
                      <a:pt x="771" y="183"/>
                      <a:pt x="771" y="183"/>
                    </a:cubicBezTo>
                    <a:cubicBezTo>
                      <a:pt x="770" y="183"/>
                      <a:pt x="770" y="183"/>
                      <a:pt x="770" y="183"/>
                    </a:cubicBezTo>
                    <a:cubicBezTo>
                      <a:pt x="770" y="182"/>
                      <a:pt x="770" y="182"/>
                      <a:pt x="770" y="182"/>
                    </a:cubicBezTo>
                    <a:cubicBezTo>
                      <a:pt x="772" y="181"/>
                      <a:pt x="772" y="181"/>
                      <a:pt x="772" y="181"/>
                    </a:cubicBezTo>
                    <a:cubicBezTo>
                      <a:pt x="771" y="180"/>
                      <a:pt x="771" y="180"/>
                      <a:pt x="771" y="180"/>
                    </a:cubicBezTo>
                    <a:cubicBezTo>
                      <a:pt x="771" y="179"/>
                      <a:pt x="771" y="179"/>
                      <a:pt x="771" y="179"/>
                    </a:cubicBezTo>
                    <a:cubicBezTo>
                      <a:pt x="772" y="177"/>
                      <a:pt x="772" y="177"/>
                      <a:pt x="772" y="177"/>
                    </a:cubicBezTo>
                    <a:cubicBezTo>
                      <a:pt x="772" y="176"/>
                      <a:pt x="772" y="176"/>
                      <a:pt x="772" y="176"/>
                    </a:cubicBezTo>
                    <a:cubicBezTo>
                      <a:pt x="773" y="175"/>
                      <a:pt x="773" y="175"/>
                      <a:pt x="773" y="175"/>
                    </a:cubicBezTo>
                    <a:cubicBezTo>
                      <a:pt x="775" y="175"/>
                      <a:pt x="775" y="175"/>
                      <a:pt x="775" y="175"/>
                    </a:cubicBezTo>
                    <a:cubicBezTo>
                      <a:pt x="776" y="176"/>
                      <a:pt x="776" y="176"/>
                      <a:pt x="776" y="176"/>
                    </a:cubicBezTo>
                    <a:cubicBezTo>
                      <a:pt x="776" y="177"/>
                      <a:pt x="776" y="177"/>
                      <a:pt x="776" y="177"/>
                    </a:cubicBezTo>
                    <a:cubicBezTo>
                      <a:pt x="778" y="178"/>
                      <a:pt x="778" y="178"/>
                      <a:pt x="778" y="178"/>
                    </a:cubicBezTo>
                    <a:cubicBezTo>
                      <a:pt x="778" y="179"/>
                      <a:pt x="778" y="179"/>
                      <a:pt x="778" y="179"/>
                    </a:cubicBezTo>
                    <a:cubicBezTo>
                      <a:pt x="779" y="179"/>
                      <a:pt x="779" y="179"/>
                      <a:pt x="779" y="179"/>
                    </a:cubicBezTo>
                    <a:cubicBezTo>
                      <a:pt x="778" y="178"/>
                      <a:pt x="778" y="178"/>
                      <a:pt x="778" y="178"/>
                    </a:cubicBezTo>
                    <a:cubicBezTo>
                      <a:pt x="777" y="177"/>
                      <a:pt x="777" y="177"/>
                      <a:pt x="777" y="177"/>
                    </a:cubicBezTo>
                    <a:cubicBezTo>
                      <a:pt x="776" y="175"/>
                      <a:pt x="776" y="175"/>
                      <a:pt x="776" y="175"/>
                    </a:cubicBezTo>
                    <a:cubicBezTo>
                      <a:pt x="775" y="175"/>
                      <a:pt x="775" y="175"/>
                      <a:pt x="775" y="175"/>
                    </a:cubicBezTo>
                    <a:cubicBezTo>
                      <a:pt x="774" y="174"/>
                      <a:pt x="774" y="174"/>
                      <a:pt x="774" y="174"/>
                    </a:cubicBezTo>
                    <a:cubicBezTo>
                      <a:pt x="777" y="174"/>
                      <a:pt x="777" y="174"/>
                      <a:pt x="777" y="174"/>
                    </a:cubicBezTo>
                    <a:cubicBezTo>
                      <a:pt x="777" y="173"/>
                      <a:pt x="777" y="173"/>
                      <a:pt x="777" y="173"/>
                    </a:cubicBezTo>
                    <a:cubicBezTo>
                      <a:pt x="779" y="175"/>
                      <a:pt x="779" y="175"/>
                      <a:pt x="779" y="175"/>
                    </a:cubicBezTo>
                    <a:cubicBezTo>
                      <a:pt x="781" y="176"/>
                      <a:pt x="781" y="176"/>
                      <a:pt x="781" y="176"/>
                    </a:cubicBezTo>
                    <a:cubicBezTo>
                      <a:pt x="782" y="176"/>
                      <a:pt x="782" y="176"/>
                      <a:pt x="782" y="176"/>
                    </a:cubicBezTo>
                    <a:cubicBezTo>
                      <a:pt x="780" y="175"/>
                      <a:pt x="780" y="175"/>
                      <a:pt x="780" y="175"/>
                    </a:cubicBezTo>
                    <a:cubicBezTo>
                      <a:pt x="779" y="173"/>
                      <a:pt x="779" y="173"/>
                      <a:pt x="779" y="173"/>
                    </a:cubicBezTo>
                    <a:cubicBezTo>
                      <a:pt x="778" y="172"/>
                      <a:pt x="778" y="172"/>
                      <a:pt x="778" y="172"/>
                    </a:cubicBezTo>
                    <a:cubicBezTo>
                      <a:pt x="778" y="170"/>
                      <a:pt x="778" y="170"/>
                      <a:pt x="778" y="170"/>
                    </a:cubicBezTo>
                    <a:cubicBezTo>
                      <a:pt x="780" y="170"/>
                      <a:pt x="780" y="170"/>
                      <a:pt x="780" y="170"/>
                    </a:cubicBezTo>
                    <a:cubicBezTo>
                      <a:pt x="781" y="170"/>
                      <a:pt x="781" y="170"/>
                      <a:pt x="781" y="170"/>
                    </a:cubicBezTo>
                    <a:cubicBezTo>
                      <a:pt x="780" y="171"/>
                      <a:pt x="780" y="171"/>
                      <a:pt x="780" y="171"/>
                    </a:cubicBezTo>
                    <a:cubicBezTo>
                      <a:pt x="781" y="172"/>
                      <a:pt x="781" y="172"/>
                      <a:pt x="781" y="172"/>
                    </a:cubicBezTo>
                    <a:cubicBezTo>
                      <a:pt x="781" y="171"/>
                      <a:pt x="781" y="171"/>
                      <a:pt x="781" y="171"/>
                    </a:cubicBezTo>
                    <a:cubicBezTo>
                      <a:pt x="782" y="170"/>
                      <a:pt x="782" y="170"/>
                      <a:pt x="782" y="170"/>
                    </a:cubicBezTo>
                    <a:cubicBezTo>
                      <a:pt x="783" y="170"/>
                      <a:pt x="783" y="170"/>
                      <a:pt x="783" y="170"/>
                    </a:cubicBezTo>
                    <a:cubicBezTo>
                      <a:pt x="784" y="171"/>
                      <a:pt x="784" y="171"/>
                      <a:pt x="784" y="171"/>
                    </a:cubicBezTo>
                    <a:cubicBezTo>
                      <a:pt x="784" y="172"/>
                      <a:pt x="784" y="172"/>
                      <a:pt x="784" y="172"/>
                    </a:cubicBezTo>
                    <a:cubicBezTo>
                      <a:pt x="785" y="173"/>
                      <a:pt x="785" y="173"/>
                      <a:pt x="785" y="173"/>
                    </a:cubicBezTo>
                    <a:cubicBezTo>
                      <a:pt x="785" y="172"/>
                      <a:pt x="785" y="172"/>
                      <a:pt x="785" y="172"/>
                    </a:cubicBezTo>
                    <a:cubicBezTo>
                      <a:pt x="784" y="170"/>
                      <a:pt x="784" y="170"/>
                      <a:pt x="784" y="170"/>
                    </a:cubicBezTo>
                    <a:cubicBezTo>
                      <a:pt x="785" y="170"/>
                      <a:pt x="785" y="170"/>
                      <a:pt x="785" y="170"/>
                    </a:cubicBezTo>
                    <a:cubicBezTo>
                      <a:pt x="788" y="169"/>
                      <a:pt x="788" y="169"/>
                      <a:pt x="788" y="169"/>
                    </a:cubicBezTo>
                    <a:cubicBezTo>
                      <a:pt x="790" y="168"/>
                      <a:pt x="790" y="168"/>
                      <a:pt x="790" y="168"/>
                    </a:cubicBezTo>
                    <a:cubicBezTo>
                      <a:pt x="791" y="168"/>
                      <a:pt x="791" y="168"/>
                      <a:pt x="791" y="168"/>
                    </a:cubicBezTo>
                    <a:cubicBezTo>
                      <a:pt x="792" y="167"/>
                      <a:pt x="792" y="167"/>
                      <a:pt x="792" y="167"/>
                    </a:cubicBezTo>
                    <a:cubicBezTo>
                      <a:pt x="794" y="168"/>
                      <a:pt x="794" y="168"/>
                      <a:pt x="794" y="168"/>
                    </a:cubicBezTo>
                    <a:cubicBezTo>
                      <a:pt x="796" y="168"/>
                      <a:pt x="796" y="168"/>
                      <a:pt x="796" y="168"/>
                    </a:cubicBezTo>
                    <a:cubicBezTo>
                      <a:pt x="798" y="168"/>
                      <a:pt x="798" y="168"/>
                      <a:pt x="798" y="168"/>
                    </a:cubicBezTo>
                    <a:cubicBezTo>
                      <a:pt x="798" y="169"/>
                      <a:pt x="798" y="169"/>
                      <a:pt x="798" y="169"/>
                    </a:cubicBezTo>
                    <a:cubicBezTo>
                      <a:pt x="798" y="172"/>
                      <a:pt x="798" y="172"/>
                      <a:pt x="798" y="172"/>
                    </a:cubicBezTo>
                    <a:cubicBezTo>
                      <a:pt x="797" y="173"/>
                      <a:pt x="797" y="173"/>
                      <a:pt x="797" y="173"/>
                    </a:cubicBezTo>
                    <a:cubicBezTo>
                      <a:pt x="797" y="174"/>
                      <a:pt x="797" y="174"/>
                      <a:pt x="797" y="174"/>
                    </a:cubicBezTo>
                    <a:cubicBezTo>
                      <a:pt x="796" y="175"/>
                      <a:pt x="796" y="175"/>
                      <a:pt x="796" y="175"/>
                    </a:cubicBezTo>
                    <a:cubicBezTo>
                      <a:pt x="796" y="176"/>
                      <a:pt x="796" y="176"/>
                      <a:pt x="796" y="176"/>
                    </a:cubicBezTo>
                    <a:cubicBezTo>
                      <a:pt x="797" y="177"/>
                      <a:pt x="797" y="177"/>
                      <a:pt x="797" y="177"/>
                    </a:cubicBezTo>
                    <a:cubicBezTo>
                      <a:pt x="798" y="178"/>
                      <a:pt x="798" y="178"/>
                      <a:pt x="798" y="178"/>
                    </a:cubicBezTo>
                    <a:cubicBezTo>
                      <a:pt x="797" y="178"/>
                      <a:pt x="797" y="178"/>
                      <a:pt x="797" y="178"/>
                    </a:cubicBezTo>
                    <a:cubicBezTo>
                      <a:pt x="796" y="180"/>
                      <a:pt x="796" y="180"/>
                      <a:pt x="796" y="180"/>
                    </a:cubicBezTo>
                    <a:cubicBezTo>
                      <a:pt x="795" y="181"/>
                      <a:pt x="795" y="181"/>
                      <a:pt x="795" y="181"/>
                    </a:cubicBezTo>
                    <a:cubicBezTo>
                      <a:pt x="795" y="182"/>
                      <a:pt x="795" y="182"/>
                      <a:pt x="795" y="182"/>
                    </a:cubicBezTo>
                    <a:cubicBezTo>
                      <a:pt x="796" y="183"/>
                      <a:pt x="796" y="183"/>
                      <a:pt x="796" y="183"/>
                    </a:cubicBezTo>
                    <a:cubicBezTo>
                      <a:pt x="796" y="184"/>
                      <a:pt x="796" y="184"/>
                      <a:pt x="796" y="184"/>
                    </a:cubicBezTo>
                    <a:cubicBezTo>
                      <a:pt x="795" y="185"/>
                      <a:pt x="795" y="185"/>
                      <a:pt x="795" y="185"/>
                    </a:cubicBezTo>
                    <a:cubicBezTo>
                      <a:pt x="794" y="185"/>
                      <a:pt x="794" y="185"/>
                      <a:pt x="794" y="185"/>
                    </a:cubicBezTo>
                    <a:cubicBezTo>
                      <a:pt x="794" y="186"/>
                      <a:pt x="794" y="186"/>
                      <a:pt x="794" y="186"/>
                    </a:cubicBezTo>
                    <a:cubicBezTo>
                      <a:pt x="793" y="186"/>
                      <a:pt x="793" y="186"/>
                      <a:pt x="793" y="186"/>
                    </a:cubicBezTo>
                    <a:cubicBezTo>
                      <a:pt x="792" y="187"/>
                      <a:pt x="792" y="187"/>
                      <a:pt x="792" y="187"/>
                    </a:cubicBezTo>
                    <a:cubicBezTo>
                      <a:pt x="791" y="188"/>
                      <a:pt x="791" y="188"/>
                      <a:pt x="791" y="188"/>
                    </a:cubicBezTo>
                    <a:cubicBezTo>
                      <a:pt x="790" y="189"/>
                      <a:pt x="790" y="189"/>
                      <a:pt x="790" y="189"/>
                    </a:cubicBezTo>
                    <a:cubicBezTo>
                      <a:pt x="791" y="189"/>
                      <a:pt x="791" y="189"/>
                      <a:pt x="791" y="189"/>
                    </a:cubicBezTo>
                    <a:cubicBezTo>
                      <a:pt x="792" y="188"/>
                      <a:pt x="792" y="188"/>
                      <a:pt x="792" y="188"/>
                    </a:cubicBezTo>
                    <a:cubicBezTo>
                      <a:pt x="794" y="187"/>
                      <a:pt x="794" y="187"/>
                      <a:pt x="794" y="187"/>
                    </a:cubicBezTo>
                    <a:cubicBezTo>
                      <a:pt x="794" y="188"/>
                      <a:pt x="794" y="188"/>
                      <a:pt x="794" y="188"/>
                    </a:cubicBezTo>
                    <a:cubicBezTo>
                      <a:pt x="792" y="190"/>
                      <a:pt x="792" y="190"/>
                      <a:pt x="792" y="190"/>
                    </a:cubicBezTo>
                    <a:cubicBezTo>
                      <a:pt x="791" y="190"/>
                      <a:pt x="791" y="190"/>
                      <a:pt x="791" y="190"/>
                    </a:cubicBezTo>
                    <a:cubicBezTo>
                      <a:pt x="791" y="191"/>
                      <a:pt x="791" y="191"/>
                      <a:pt x="791" y="191"/>
                    </a:cubicBezTo>
                    <a:cubicBezTo>
                      <a:pt x="791" y="192"/>
                      <a:pt x="791" y="192"/>
                      <a:pt x="791" y="192"/>
                    </a:cubicBezTo>
                    <a:cubicBezTo>
                      <a:pt x="790" y="192"/>
                      <a:pt x="790" y="192"/>
                      <a:pt x="790" y="192"/>
                    </a:cubicBezTo>
                    <a:cubicBezTo>
                      <a:pt x="789" y="192"/>
                      <a:pt x="789" y="192"/>
                      <a:pt x="789" y="192"/>
                    </a:cubicBezTo>
                    <a:cubicBezTo>
                      <a:pt x="789" y="193"/>
                      <a:pt x="789" y="193"/>
                      <a:pt x="789" y="193"/>
                    </a:cubicBezTo>
                    <a:cubicBezTo>
                      <a:pt x="790" y="193"/>
                      <a:pt x="790" y="193"/>
                      <a:pt x="790" y="193"/>
                    </a:cubicBezTo>
                    <a:cubicBezTo>
                      <a:pt x="790" y="194"/>
                      <a:pt x="790" y="194"/>
                      <a:pt x="790" y="194"/>
                    </a:cubicBezTo>
                    <a:cubicBezTo>
                      <a:pt x="789" y="195"/>
                      <a:pt x="789" y="195"/>
                      <a:pt x="789" y="195"/>
                    </a:cubicBezTo>
                    <a:cubicBezTo>
                      <a:pt x="790" y="195"/>
                      <a:pt x="790" y="195"/>
                      <a:pt x="790" y="195"/>
                    </a:cubicBezTo>
                    <a:cubicBezTo>
                      <a:pt x="791" y="194"/>
                      <a:pt x="791" y="194"/>
                      <a:pt x="791" y="194"/>
                    </a:cubicBezTo>
                    <a:cubicBezTo>
                      <a:pt x="792" y="194"/>
                      <a:pt x="792" y="194"/>
                      <a:pt x="792" y="194"/>
                    </a:cubicBezTo>
                    <a:cubicBezTo>
                      <a:pt x="793" y="193"/>
                      <a:pt x="793" y="193"/>
                      <a:pt x="793" y="193"/>
                    </a:cubicBezTo>
                    <a:cubicBezTo>
                      <a:pt x="793" y="192"/>
                      <a:pt x="793" y="192"/>
                      <a:pt x="793" y="192"/>
                    </a:cubicBezTo>
                    <a:cubicBezTo>
                      <a:pt x="794" y="191"/>
                      <a:pt x="794" y="191"/>
                      <a:pt x="794" y="191"/>
                    </a:cubicBezTo>
                    <a:cubicBezTo>
                      <a:pt x="794" y="190"/>
                      <a:pt x="794" y="190"/>
                      <a:pt x="794" y="190"/>
                    </a:cubicBezTo>
                    <a:cubicBezTo>
                      <a:pt x="795" y="191"/>
                      <a:pt x="795" y="191"/>
                      <a:pt x="795" y="191"/>
                    </a:cubicBezTo>
                    <a:cubicBezTo>
                      <a:pt x="795" y="190"/>
                      <a:pt x="795" y="190"/>
                      <a:pt x="795" y="190"/>
                    </a:cubicBezTo>
                    <a:cubicBezTo>
                      <a:pt x="795" y="189"/>
                      <a:pt x="795" y="189"/>
                      <a:pt x="795" y="189"/>
                    </a:cubicBezTo>
                    <a:cubicBezTo>
                      <a:pt x="796" y="189"/>
                      <a:pt x="796" y="189"/>
                      <a:pt x="796" y="189"/>
                    </a:cubicBezTo>
                    <a:cubicBezTo>
                      <a:pt x="797" y="189"/>
                      <a:pt x="797" y="189"/>
                      <a:pt x="797" y="189"/>
                    </a:cubicBezTo>
                    <a:cubicBezTo>
                      <a:pt x="797" y="190"/>
                      <a:pt x="797" y="190"/>
                      <a:pt x="797" y="190"/>
                    </a:cubicBezTo>
                    <a:cubicBezTo>
                      <a:pt x="797" y="191"/>
                      <a:pt x="797" y="191"/>
                      <a:pt x="797" y="191"/>
                    </a:cubicBezTo>
                    <a:cubicBezTo>
                      <a:pt x="798" y="190"/>
                      <a:pt x="798" y="190"/>
                      <a:pt x="798" y="190"/>
                    </a:cubicBezTo>
                    <a:cubicBezTo>
                      <a:pt x="799" y="189"/>
                      <a:pt x="799" y="189"/>
                      <a:pt x="799" y="189"/>
                    </a:cubicBezTo>
                    <a:cubicBezTo>
                      <a:pt x="799" y="190"/>
                      <a:pt x="799" y="190"/>
                      <a:pt x="799" y="190"/>
                    </a:cubicBezTo>
                    <a:cubicBezTo>
                      <a:pt x="800" y="191"/>
                      <a:pt x="800" y="191"/>
                      <a:pt x="800" y="191"/>
                    </a:cubicBezTo>
                    <a:cubicBezTo>
                      <a:pt x="800" y="192"/>
                      <a:pt x="800" y="192"/>
                      <a:pt x="800" y="192"/>
                    </a:cubicBezTo>
                    <a:cubicBezTo>
                      <a:pt x="798" y="194"/>
                      <a:pt x="798" y="194"/>
                      <a:pt x="798" y="194"/>
                    </a:cubicBezTo>
                    <a:cubicBezTo>
                      <a:pt x="797" y="195"/>
                      <a:pt x="797" y="195"/>
                      <a:pt x="797" y="195"/>
                    </a:cubicBezTo>
                    <a:cubicBezTo>
                      <a:pt x="797" y="196"/>
                      <a:pt x="797" y="196"/>
                      <a:pt x="797" y="196"/>
                    </a:cubicBezTo>
                    <a:cubicBezTo>
                      <a:pt x="798" y="196"/>
                      <a:pt x="798" y="196"/>
                      <a:pt x="798" y="196"/>
                    </a:cubicBezTo>
                    <a:cubicBezTo>
                      <a:pt x="799" y="197"/>
                      <a:pt x="799" y="197"/>
                      <a:pt x="799" y="197"/>
                    </a:cubicBezTo>
                    <a:cubicBezTo>
                      <a:pt x="800" y="196"/>
                      <a:pt x="800" y="196"/>
                      <a:pt x="800" y="196"/>
                    </a:cubicBezTo>
                    <a:cubicBezTo>
                      <a:pt x="799" y="195"/>
                      <a:pt x="799" y="195"/>
                      <a:pt x="799" y="195"/>
                    </a:cubicBezTo>
                    <a:cubicBezTo>
                      <a:pt x="800" y="194"/>
                      <a:pt x="800" y="194"/>
                      <a:pt x="800" y="194"/>
                    </a:cubicBezTo>
                    <a:cubicBezTo>
                      <a:pt x="801" y="193"/>
                      <a:pt x="801" y="193"/>
                      <a:pt x="801" y="193"/>
                    </a:cubicBezTo>
                    <a:cubicBezTo>
                      <a:pt x="801" y="195"/>
                      <a:pt x="801" y="195"/>
                      <a:pt x="801" y="195"/>
                    </a:cubicBezTo>
                    <a:cubicBezTo>
                      <a:pt x="801" y="196"/>
                      <a:pt x="801" y="196"/>
                      <a:pt x="801" y="196"/>
                    </a:cubicBezTo>
                    <a:cubicBezTo>
                      <a:pt x="802" y="195"/>
                      <a:pt x="802" y="195"/>
                      <a:pt x="802" y="195"/>
                    </a:cubicBezTo>
                    <a:cubicBezTo>
                      <a:pt x="802" y="193"/>
                      <a:pt x="802" y="193"/>
                      <a:pt x="802" y="193"/>
                    </a:cubicBezTo>
                    <a:cubicBezTo>
                      <a:pt x="801" y="192"/>
                      <a:pt x="801" y="192"/>
                      <a:pt x="801" y="192"/>
                    </a:cubicBezTo>
                    <a:cubicBezTo>
                      <a:pt x="801" y="190"/>
                      <a:pt x="801" y="190"/>
                      <a:pt x="801" y="190"/>
                    </a:cubicBezTo>
                    <a:cubicBezTo>
                      <a:pt x="803" y="190"/>
                      <a:pt x="803" y="190"/>
                      <a:pt x="803" y="190"/>
                    </a:cubicBezTo>
                    <a:cubicBezTo>
                      <a:pt x="802" y="191"/>
                      <a:pt x="802" y="191"/>
                      <a:pt x="802" y="191"/>
                    </a:cubicBezTo>
                    <a:cubicBezTo>
                      <a:pt x="802" y="192"/>
                      <a:pt x="802" y="192"/>
                      <a:pt x="802" y="192"/>
                    </a:cubicBezTo>
                    <a:cubicBezTo>
                      <a:pt x="803" y="192"/>
                      <a:pt x="803" y="192"/>
                      <a:pt x="803" y="192"/>
                    </a:cubicBezTo>
                    <a:cubicBezTo>
                      <a:pt x="804" y="192"/>
                      <a:pt x="804" y="192"/>
                      <a:pt x="804" y="192"/>
                    </a:cubicBezTo>
                    <a:cubicBezTo>
                      <a:pt x="806" y="194"/>
                      <a:pt x="806" y="194"/>
                      <a:pt x="806" y="194"/>
                    </a:cubicBezTo>
                    <a:cubicBezTo>
                      <a:pt x="806" y="195"/>
                      <a:pt x="806" y="195"/>
                      <a:pt x="806" y="195"/>
                    </a:cubicBezTo>
                    <a:cubicBezTo>
                      <a:pt x="807" y="195"/>
                      <a:pt x="807" y="195"/>
                      <a:pt x="807" y="195"/>
                    </a:cubicBezTo>
                    <a:cubicBezTo>
                      <a:pt x="808" y="195"/>
                      <a:pt x="808" y="195"/>
                      <a:pt x="808" y="195"/>
                    </a:cubicBezTo>
                    <a:cubicBezTo>
                      <a:pt x="809" y="195"/>
                      <a:pt x="809" y="195"/>
                      <a:pt x="809" y="195"/>
                    </a:cubicBezTo>
                    <a:cubicBezTo>
                      <a:pt x="808" y="194"/>
                      <a:pt x="808" y="194"/>
                      <a:pt x="808" y="194"/>
                    </a:cubicBezTo>
                    <a:cubicBezTo>
                      <a:pt x="807" y="194"/>
                      <a:pt x="807" y="194"/>
                      <a:pt x="807" y="194"/>
                    </a:cubicBezTo>
                    <a:cubicBezTo>
                      <a:pt x="807" y="193"/>
                      <a:pt x="807" y="193"/>
                      <a:pt x="807" y="193"/>
                    </a:cubicBezTo>
                    <a:cubicBezTo>
                      <a:pt x="805" y="191"/>
                      <a:pt x="805" y="191"/>
                      <a:pt x="805" y="191"/>
                    </a:cubicBezTo>
                    <a:cubicBezTo>
                      <a:pt x="804" y="191"/>
                      <a:pt x="804" y="191"/>
                      <a:pt x="804" y="191"/>
                    </a:cubicBezTo>
                    <a:cubicBezTo>
                      <a:pt x="803" y="190"/>
                      <a:pt x="803" y="190"/>
                      <a:pt x="803" y="190"/>
                    </a:cubicBezTo>
                    <a:cubicBezTo>
                      <a:pt x="805" y="188"/>
                      <a:pt x="805" y="188"/>
                      <a:pt x="805" y="188"/>
                    </a:cubicBezTo>
                    <a:cubicBezTo>
                      <a:pt x="806" y="188"/>
                      <a:pt x="806" y="188"/>
                      <a:pt x="806" y="188"/>
                    </a:cubicBezTo>
                    <a:cubicBezTo>
                      <a:pt x="807" y="187"/>
                      <a:pt x="807" y="187"/>
                      <a:pt x="807" y="187"/>
                    </a:cubicBezTo>
                    <a:cubicBezTo>
                      <a:pt x="809" y="187"/>
                      <a:pt x="809" y="187"/>
                      <a:pt x="809" y="187"/>
                    </a:cubicBezTo>
                    <a:cubicBezTo>
                      <a:pt x="811" y="187"/>
                      <a:pt x="811" y="187"/>
                      <a:pt x="811" y="187"/>
                    </a:cubicBezTo>
                    <a:cubicBezTo>
                      <a:pt x="811" y="188"/>
                      <a:pt x="811" y="188"/>
                      <a:pt x="811" y="188"/>
                    </a:cubicBezTo>
                    <a:cubicBezTo>
                      <a:pt x="812" y="188"/>
                      <a:pt x="812" y="188"/>
                      <a:pt x="812" y="188"/>
                    </a:cubicBezTo>
                    <a:cubicBezTo>
                      <a:pt x="813" y="188"/>
                      <a:pt x="813" y="188"/>
                      <a:pt x="813" y="188"/>
                    </a:cubicBezTo>
                    <a:cubicBezTo>
                      <a:pt x="813" y="189"/>
                      <a:pt x="813" y="189"/>
                      <a:pt x="813" y="189"/>
                    </a:cubicBezTo>
                    <a:cubicBezTo>
                      <a:pt x="814" y="190"/>
                      <a:pt x="814" y="190"/>
                      <a:pt x="814" y="190"/>
                    </a:cubicBezTo>
                    <a:cubicBezTo>
                      <a:pt x="815" y="190"/>
                      <a:pt x="815" y="190"/>
                      <a:pt x="815" y="190"/>
                    </a:cubicBezTo>
                    <a:cubicBezTo>
                      <a:pt x="815" y="191"/>
                      <a:pt x="815" y="191"/>
                      <a:pt x="815" y="191"/>
                    </a:cubicBezTo>
                    <a:cubicBezTo>
                      <a:pt x="816" y="191"/>
                      <a:pt x="816" y="191"/>
                      <a:pt x="816" y="191"/>
                    </a:cubicBezTo>
                    <a:cubicBezTo>
                      <a:pt x="817" y="191"/>
                      <a:pt x="817" y="191"/>
                      <a:pt x="817" y="191"/>
                    </a:cubicBezTo>
                    <a:cubicBezTo>
                      <a:pt x="818" y="192"/>
                      <a:pt x="818" y="192"/>
                      <a:pt x="818" y="192"/>
                    </a:cubicBezTo>
                    <a:cubicBezTo>
                      <a:pt x="819" y="193"/>
                      <a:pt x="819" y="193"/>
                      <a:pt x="819" y="193"/>
                    </a:cubicBezTo>
                    <a:cubicBezTo>
                      <a:pt x="819" y="194"/>
                      <a:pt x="819" y="194"/>
                      <a:pt x="819" y="194"/>
                    </a:cubicBezTo>
                    <a:cubicBezTo>
                      <a:pt x="819" y="195"/>
                      <a:pt x="819" y="195"/>
                      <a:pt x="819" y="195"/>
                    </a:cubicBezTo>
                    <a:cubicBezTo>
                      <a:pt x="819" y="196"/>
                      <a:pt x="819" y="196"/>
                      <a:pt x="819" y="196"/>
                    </a:cubicBezTo>
                    <a:cubicBezTo>
                      <a:pt x="818" y="197"/>
                      <a:pt x="818" y="197"/>
                      <a:pt x="818" y="197"/>
                    </a:cubicBezTo>
                    <a:cubicBezTo>
                      <a:pt x="817" y="197"/>
                      <a:pt x="817" y="197"/>
                      <a:pt x="817" y="197"/>
                    </a:cubicBezTo>
                    <a:cubicBezTo>
                      <a:pt x="817" y="198"/>
                      <a:pt x="817" y="198"/>
                      <a:pt x="817" y="198"/>
                    </a:cubicBezTo>
                    <a:cubicBezTo>
                      <a:pt x="816" y="199"/>
                      <a:pt x="816" y="199"/>
                      <a:pt x="816" y="199"/>
                    </a:cubicBezTo>
                    <a:cubicBezTo>
                      <a:pt x="815" y="200"/>
                      <a:pt x="815" y="200"/>
                      <a:pt x="815" y="200"/>
                    </a:cubicBezTo>
                    <a:cubicBezTo>
                      <a:pt x="814" y="202"/>
                      <a:pt x="814" y="202"/>
                      <a:pt x="814" y="202"/>
                    </a:cubicBezTo>
                    <a:cubicBezTo>
                      <a:pt x="813" y="202"/>
                      <a:pt x="813" y="202"/>
                      <a:pt x="813" y="202"/>
                    </a:cubicBezTo>
                    <a:cubicBezTo>
                      <a:pt x="812" y="203"/>
                      <a:pt x="812" y="203"/>
                      <a:pt x="812" y="203"/>
                    </a:cubicBezTo>
                    <a:cubicBezTo>
                      <a:pt x="812" y="204"/>
                      <a:pt x="812" y="204"/>
                      <a:pt x="812" y="204"/>
                    </a:cubicBezTo>
                    <a:cubicBezTo>
                      <a:pt x="813" y="203"/>
                      <a:pt x="814" y="202"/>
                      <a:pt x="814" y="202"/>
                    </a:cubicBezTo>
                    <a:cubicBezTo>
                      <a:pt x="815" y="201"/>
                      <a:pt x="815" y="201"/>
                      <a:pt x="815" y="201"/>
                    </a:cubicBezTo>
                    <a:cubicBezTo>
                      <a:pt x="816" y="200"/>
                      <a:pt x="816" y="200"/>
                      <a:pt x="816" y="200"/>
                    </a:cubicBezTo>
                    <a:cubicBezTo>
                      <a:pt x="817" y="199"/>
                      <a:pt x="817" y="199"/>
                      <a:pt x="817" y="199"/>
                    </a:cubicBezTo>
                    <a:cubicBezTo>
                      <a:pt x="818" y="198"/>
                      <a:pt x="818" y="198"/>
                      <a:pt x="818" y="198"/>
                    </a:cubicBezTo>
                    <a:cubicBezTo>
                      <a:pt x="820" y="198"/>
                      <a:pt x="820" y="198"/>
                      <a:pt x="820" y="198"/>
                    </a:cubicBezTo>
                    <a:cubicBezTo>
                      <a:pt x="820" y="199"/>
                      <a:pt x="820" y="199"/>
                      <a:pt x="820" y="199"/>
                    </a:cubicBezTo>
                    <a:cubicBezTo>
                      <a:pt x="821" y="199"/>
                      <a:pt x="821" y="199"/>
                      <a:pt x="821" y="199"/>
                    </a:cubicBezTo>
                    <a:cubicBezTo>
                      <a:pt x="821" y="200"/>
                      <a:pt x="821" y="200"/>
                      <a:pt x="821" y="200"/>
                    </a:cubicBezTo>
                    <a:cubicBezTo>
                      <a:pt x="821" y="201"/>
                      <a:pt x="821" y="201"/>
                      <a:pt x="821" y="201"/>
                    </a:cubicBezTo>
                    <a:cubicBezTo>
                      <a:pt x="821" y="202"/>
                      <a:pt x="821" y="202"/>
                      <a:pt x="821" y="202"/>
                    </a:cubicBezTo>
                    <a:cubicBezTo>
                      <a:pt x="819" y="202"/>
                      <a:pt x="819" y="202"/>
                      <a:pt x="819" y="202"/>
                    </a:cubicBezTo>
                    <a:cubicBezTo>
                      <a:pt x="819" y="203"/>
                      <a:pt x="819" y="203"/>
                      <a:pt x="819" y="203"/>
                    </a:cubicBezTo>
                    <a:cubicBezTo>
                      <a:pt x="817" y="204"/>
                      <a:pt x="817" y="204"/>
                      <a:pt x="817" y="204"/>
                    </a:cubicBezTo>
                    <a:cubicBezTo>
                      <a:pt x="817" y="203"/>
                      <a:pt x="817" y="203"/>
                      <a:pt x="817" y="203"/>
                    </a:cubicBezTo>
                    <a:cubicBezTo>
                      <a:pt x="816" y="203"/>
                      <a:pt x="816" y="203"/>
                      <a:pt x="816" y="203"/>
                    </a:cubicBezTo>
                    <a:cubicBezTo>
                      <a:pt x="815" y="204"/>
                      <a:pt x="815" y="204"/>
                      <a:pt x="815" y="204"/>
                    </a:cubicBezTo>
                    <a:cubicBezTo>
                      <a:pt x="816" y="204"/>
                      <a:pt x="816" y="204"/>
                      <a:pt x="816" y="204"/>
                    </a:cubicBezTo>
                    <a:cubicBezTo>
                      <a:pt x="817" y="205"/>
                      <a:pt x="817" y="205"/>
                      <a:pt x="817" y="205"/>
                    </a:cubicBezTo>
                    <a:cubicBezTo>
                      <a:pt x="817" y="205"/>
                      <a:pt x="817" y="205"/>
                      <a:pt x="816" y="205"/>
                    </a:cubicBezTo>
                    <a:cubicBezTo>
                      <a:pt x="816" y="205"/>
                      <a:pt x="816" y="205"/>
                      <a:pt x="816" y="205"/>
                    </a:cubicBezTo>
                    <a:cubicBezTo>
                      <a:pt x="814" y="206"/>
                      <a:pt x="814" y="206"/>
                      <a:pt x="814" y="206"/>
                    </a:cubicBezTo>
                    <a:cubicBezTo>
                      <a:pt x="815" y="206"/>
                      <a:pt x="815" y="206"/>
                      <a:pt x="815" y="206"/>
                    </a:cubicBezTo>
                    <a:cubicBezTo>
                      <a:pt x="815" y="206"/>
                      <a:pt x="815" y="206"/>
                      <a:pt x="816" y="205"/>
                    </a:cubicBezTo>
                    <a:cubicBezTo>
                      <a:pt x="816" y="205"/>
                      <a:pt x="816" y="205"/>
                      <a:pt x="817" y="205"/>
                    </a:cubicBezTo>
                    <a:cubicBezTo>
                      <a:pt x="818" y="204"/>
                      <a:pt x="818" y="204"/>
                      <a:pt x="818" y="204"/>
                    </a:cubicBezTo>
                    <a:cubicBezTo>
                      <a:pt x="818" y="205"/>
                      <a:pt x="818" y="205"/>
                      <a:pt x="818" y="205"/>
                    </a:cubicBezTo>
                    <a:cubicBezTo>
                      <a:pt x="818" y="206"/>
                      <a:pt x="818" y="206"/>
                      <a:pt x="818" y="206"/>
                    </a:cubicBezTo>
                    <a:cubicBezTo>
                      <a:pt x="816" y="206"/>
                      <a:pt x="816" y="206"/>
                      <a:pt x="816" y="206"/>
                    </a:cubicBezTo>
                    <a:cubicBezTo>
                      <a:pt x="815" y="207"/>
                      <a:pt x="815" y="207"/>
                      <a:pt x="815" y="207"/>
                    </a:cubicBezTo>
                    <a:cubicBezTo>
                      <a:pt x="816" y="207"/>
                      <a:pt x="816" y="207"/>
                      <a:pt x="816" y="207"/>
                    </a:cubicBezTo>
                    <a:cubicBezTo>
                      <a:pt x="817" y="207"/>
                      <a:pt x="817" y="207"/>
                      <a:pt x="817" y="207"/>
                    </a:cubicBezTo>
                    <a:cubicBezTo>
                      <a:pt x="816" y="208"/>
                      <a:pt x="816" y="208"/>
                      <a:pt x="816" y="208"/>
                    </a:cubicBezTo>
                    <a:cubicBezTo>
                      <a:pt x="815" y="209"/>
                      <a:pt x="815" y="209"/>
                      <a:pt x="815" y="209"/>
                    </a:cubicBezTo>
                    <a:cubicBezTo>
                      <a:pt x="814" y="210"/>
                      <a:pt x="814" y="210"/>
                      <a:pt x="814" y="210"/>
                    </a:cubicBezTo>
                    <a:cubicBezTo>
                      <a:pt x="816" y="209"/>
                      <a:pt x="816" y="209"/>
                      <a:pt x="816" y="209"/>
                    </a:cubicBezTo>
                    <a:cubicBezTo>
                      <a:pt x="817" y="207"/>
                      <a:pt x="817" y="207"/>
                      <a:pt x="817" y="207"/>
                    </a:cubicBezTo>
                    <a:cubicBezTo>
                      <a:pt x="818" y="206"/>
                      <a:pt x="818" y="206"/>
                      <a:pt x="818" y="206"/>
                    </a:cubicBezTo>
                    <a:cubicBezTo>
                      <a:pt x="820" y="205"/>
                      <a:pt x="820" y="205"/>
                      <a:pt x="820" y="205"/>
                    </a:cubicBezTo>
                    <a:cubicBezTo>
                      <a:pt x="820" y="206"/>
                      <a:pt x="820" y="206"/>
                      <a:pt x="820" y="206"/>
                    </a:cubicBezTo>
                    <a:cubicBezTo>
                      <a:pt x="821" y="205"/>
                      <a:pt x="821" y="205"/>
                      <a:pt x="821" y="205"/>
                    </a:cubicBezTo>
                    <a:cubicBezTo>
                      <a:pt x="823" y="204"/>
                      <a:pt x="823" y="204"/>
                      <a:pt x="823" y="204"/>
                    </a:cubicBezTo>
                    <a:cubicBezTo>
                      <a:pt x="822" y="206"/>
                      <a:pt x="822" y="206"/>
                      <a:pt x="822" y="206"/>
                    </a:cubicBezTo>
                    <a:cubicBezTo>
                      <a:pt x="819" y="207"/>
                      <a:pt x="819" y="207"/>
                      <a:pt x="819" y="207"/>
                    </a:cubicBezTo>
                    <a:cubicBezTo>
                      <a:pt x="819" y="208"/>
                      <a:pt x="819" y="208"/>
                      <a:pt x="819" y="208"/>
                    </a:cubicBezTo>
                    <a:cubicBezTo>
                      <a:pt x="819" y="209"/>
                      <a:pt x="819" y="209"/>
                      <a:pt x="819" y="209"/>
                    </a:cubicBezTo>
                    <a:cubicBezTo>
                      <a:pt x="818" y="210"/>
                      <a:pt x="818" y="210"/>
                      <a:pt x="818" y="210"/>
                    </a:cubicBezTo>
                    <a:cubicBezTo>
                      <a:pt x="818" y="211"/>
                      <a:pt x="818" y="211"/>
                      <a:pt x="818" y="211"/>
                    </a:cubicBezTo>
                    <a:cubicBezTo>
                      <a:pt x="819" y="211"/>
                      <a:pt x="819" y="211"/>
                      <a:pt x="819" y="211"/>
                    </a:cubicBezTo>
                    <a:cubicBezTo>
                      <a:pt x="819" y="210"/>
                      <a:pt x="819" y="210"/>
                      <a:pt x="819" y="210"/>
                    </a:cubicBezTo>
                    <a:cubicBezTo>
                      <a:pt x="820" y="209"/>
                      <a:pt x="820" y="209"/>
                      <a:pt x="820" y="209"/>
                    </a:cubicBezTo>
                    <a:cubicBezTo>
                      <a:pt x="821" y="207"/>
                      <a:pt x="821" y="207"/>
                      <a:pt x="821" y="207"/>
                    </a:cubicBezTo>
                    <a:cubicBezTo>
                      <a:pt x="823" y="207"/>
                      <a:pt x="823" y="207"/>
                      <a:pt x="823" y="207"/>
                    </a:cubicBezTo>
                    <a:cubicBezTo>
                      <a:pt x="823" y="208"/>
                      <a:pt x="823" y="208"/>
                      <a:pt x="823" y="208"/>
                    </a:cubicBezTo>
                    <a:cubicBezTo>
                      <a:pt x="822" y="209"/>
                      <a:pt x="822" y="209"/>
                      <a:pt x="822" y="209"/>
                    </a:cubicBezTo>
                    <a:cubicBezTo>
                      <a:pt x="821" y="210"/>
                      <a:pt x="821" y="210"/>
                      <a:pt x="821" y="210"/>
                    </a:cubicBezTo>
                    <a:cubicBezTo>
                      <a:pt x="820" y="211"/>
                      <a:pt x="820" y="211"/>
                      <a:pt x="820" y="211"/>
                    </a:cubicBezTo>
                    <a:cubicBezTo>
                      <a:pt x="819" y="213"/>
                      <a:pt x="819" y="213"/>
                      <a:pt x="819" y="213"/>
                    </a:cubicBezTo>
                    <a:cubicBezTo>
                      <a:pt x="819" y="214"/>
                      <a:pt x="819" y="214"/>
                      <a:pt x="819" y="214"/>
                    </a:cubicBezTo>
                    <a:cubicBezTo>
                      <a:pt x="820" y="213"/>
                      <a:pt x="820" y="213"/>
                      <a:pt x="820" y="213"/>
                    </a:cubicBezTo>
                    <a:cubicBezTo>
                      <a:pt x="820" y="212"/>
                      <a:pt x="820" y="212"/>
                      <a:pt x="820" y="212"/>
                    </a:cubicBezTo>
                    <a:cubicBezTo>
                      <a:pt x="822" y="210"/>
                      <a:pt x="822" y="210"/>
                      <a:pt x="822" y="210"/>
                    </a:cubicBezTo>
                    <a:cubicBezTo>
                      <a:pt x="823" y="210"/>
                      <a:pt x="823" y="210"/>
                      <a:pt x="823" y="210"/>
                    </a:cubicBezTo>
                    <a:cubicBezTo>
                      <a:pt x="823" y="211"/>
                      <a:pt x="823" y="211"/>
                      <a:pt x="823" y="211"/>
                    </a:cubicBezTo>
                    <a:cubicBezTo>
                      <a:pt x="824" y="211"/>
                      <a:pt x="824" y="211"/>
                      <a:pt x="824" y="211"/>
                    </a:cubicBezTo>
                    <a:cubicBezTo>
                      <a:pt x="824" y="212"/>
                      <a:pt x="824" y="212"/>
                      <a:pt x="824" y="212"/>
                    </a:cubicBezTo>
                    <a:cubicBezTo>
                      <a:pt x="825" y="212"/>
                      <a:pt x="825" y="212"/>
                      <a:pt x="825" y="212"/>
                    </a:cubicBezTo>
                    <a:cubicBezTo>
                      <a:pt x="825" y="210"/>
                      <a:pt x="825" y="210"/>
                      <a:pt x="825" y="210"/>
                    </a:cubicBezTo>
                    <a:cubicBezTo>
                      <a:pt x="826" y="209"/>
                      <a:pt x="826" y="209"/>
                      <a:pt x="826" y="209"/>
                    </a:cubicBezTo>
                    <a:cubicBezTo>
                      <a:pt x="826" y="208"/>
                      <a:pt x="826" y="208"/>
                      <a:pt x="826" y="208"/>
                    </a:cubicBezTo>
                    <a:cubicBezTo>
                      <a:pt x="827" y="207"/>
                      <a:pt x="827" y="207"/>
                      <a:pt x="827" y="207"/>
                    </a:cubicBezTo>
                    <a:cubicBezTo>
                      <a:pt x="828" y="206"/>
                      <a:pt x="828" y="206"/>
                      <a:pt x="828" y="206"/>
                    </a:cubicBezTo>
                    <a:cubicBezTo>
                      <a:pt x="828" y="205"/>
                      <a:pt x="828" y="205"/>
                      <a:pt x="828" y="205"/>
                    </a:cubicBezTo>
                    <a:cubicBezTo>
                      <a:pt x="829" y="207"/>
                      <a:pt x="829" y="207"/>
                      <a:pt x="829" y="207"/>
                    </a:cubicBezTo>
                    <a:cubicBezTo>
                      <a:pt x="830" y="208"/>
                      <a:pt x="830" y="208"/>
                      <a:pt x="830" y="208"/>
                    </a:cubicBezTo>
                    <a:cubicBezTo>
                      <a:pt x="831" y="209"/>
                      <a:pt x="831" y="209"/>
                      <a:pt x="831" y="209"/>
                    </a:cubicBezTo>
                    <a:cubicBezTo>
                      <a:pt x="832" y="210"/>
                      <a:pt x="832" y="210"/>
                      <a:pt x="832" y="210"/>
                    </a:cubicBezTo>
                    <a:cubicBezTo>
                      <a:pt x="832" y="211"/>
                      <a:pt x="832" y="211"/>
                      <a:pt x="832" y="211"/>
                    </a:cubicBezTo>
                    <a:cubicBezTo>
                      <a:pt x="833" y="212"/>
                      <a:pt x="833" y="212"/>
                      <a:pt x="833" y="212"/>
                    </a:cubicBezTo>
                    <a:cubicBezTo>
                      <a:pt x="833" y="213"/>
                      <a:pt x="833" y="213"/>
                      <a:pt x="833" y="213"/>
                    </a:cubicBezTo>
                    <a:cubicBezTo>
                      <a:pt x="832" y="214"/>
                      <a:pt x="832" y="214"/>
                      <a:pt x="832" y="214"/>
                    </a:cubicBezTo>
                    <a:cubicBezTo>
                      <a:pt x="831" y="215"/>
                      <a:pt x="831" y="215"/>
                      <a:pt x="831" y="215"/>
                    </a:cubicBezTo>
                    <a:cubicBezTo>
                      <a:pt x="830" y="215"/>
                      <a:pt x="830" y="215"/>
                      <a:pt x="830" y="215"/>
                    </a:cubicBezTo>
                    <a:cubicBezTo>
                      <a:pt x="828" y="214"/>
                      <a:pt x="828" y="214"/>
                      <a:pt x="828" y="214"/>
                    </a:cubicBezTo>
                    <a:cubicBezTo>
                      <a:pt x="827" y="214"/>
                      <a:pt x="827" y="214"/>
                      <a:pt x="827" y="214"/>
                    </a:cubicBezTo>
                    <a:cubicBezTo>
                      <a:pt x="827" y="215"/>
                      <a:pt x="827" y="215"/>
                      <a:pt x="827" y="215"/>
                    </a:cubicBezTo>
                    <a:cubicBezTo>
                      <a:pt x="828" y="215"/>
                      <a:pt x="828" y="215"/>
                      <a:pt x="828" y="215"/>
                    </a:cubicBezTo>
                    <a:cubicBezTo>
                      <a:pt x="829" y="215"/>
                      <a:pt x="829" y="215"/>
                      <a:pt x="829" y="215"/>
                    </a:cubicBezTo>
                    <a:cubicBezTo>
                      <a:pt x="829" y="216"/>
                      <a:pt x="829" y="216"/>
                      <a:pt x="829" y="216"/>
                    </a:cubicBezTo>
                    <a:cubicBezTo>
                      <a:pt x="830" y="216"/>
                      <a:pt x="830" y="216"/>
                      <a:pt x="830" y="216"/>
                    </a:cubicBezTo>
                    <a:cubicBezTo>
                      <a:pt x="831" y="216"/>
                      <a:pt x="831" y="216"/>
                      <a:pt x="831" y="216"/>
                    </a:cubicBezTo>
                    <a:cubicBezTo>
                      <a:pt x="830" y="217"/>
                      <a:pt x="830" y="217"/>
                      <a:pt x="830" y="217"/>
                    </a:cubicBezTo>
                    <a:cubicBezTo>
                      <a:pt x="829" y="218"/>
                      <a:pt x="829" y="218"/>
                      <a:pt x="829" y="218"/>
                    </a:cubicBezTo>
                    <a:cubicBezTo>
                      <a:pt x="828" y="217"/>
                      <a:pt x="828" y="217"/>
                      <a:pt x="828" y="217"/>
                    </a:cubicBezTo>
                    <a:cubicBezTo>
                      <a:pt x="828" y="218"/>
                      <a:pt x="828" y="218"/>
                      <a:pt x="828" y="218"/>
                    </a:cubicBezTo>
                    <a:cubicBezTo>
                      <a:pt x="827" y="218"/>
                      <a:pt x="827" y="218"/>
                      <a:pt x="827" y="218"/>
                    </a:cubicBezTo>
                    <a:cubicBezTo>
                      <a:pt x="827" y="217"/>
                      <a:pt x="827" y="217"/>
                      <a:pt x="827" y="217"/>
                    </a:cubicBezTo>
                    <a:cubicBezTo>
                      <a:pt x="826" y="216"/>
                      <a:pt x="826" y="216"/>
                      <a:pt x="826" y="216"/>
                    </a:cubicBezTo>
                    <a:cubicBezTo>
                      <a:pt x="825" y="216"/>
                      <a:pt x="825" y="216"/>
                      <a:pt x="825" y="216"/>
                    </a:cubicBezTo>
                    <a:cubicBezTo>
                      <a:pt x="824" y="216"/>
                      <a:pt x="824" y="216"/>
                      <a:pt x="824" y="216"/>
                    </a:cubicBezTo>
                    <a:cubicBezTo>
                      <a:pt x="824" y="217"/>
                      <a:pt x="824" y="217"/>
                      <a:pt x="824" y="217"/>
                    </a:cubicBezTo>
                    <a:cubicBezTo>
                      <a:pt x="825" y="217"/>
                      <a:pt x="825" y="217"/>
                      <a:pt x="825" y="217"/>
                    </a:cubicBezTo>
                    <a:cubicBezTo>
                      <a:pt x="826" y="217"/>
                      <a:pt x="826" y="217"/>
                      <a:pt x="826" y="217"/>
                    </a:cubicBezTo>
                    <a:cubicBezTo>
                      <a:pt x="826" y="218"/>
                      <a:pt x="826" y="218"/>
                      <a:pt x="826" y="218"/>
                    </a:cubicBezTo>
                    <a:cubicBezTo>
                      <a:pt x="825" y="219"/>
                      <a:pt x="825" y="219"/>
                      <a:pt x="825" y="219"/>
                    </a:cubicBezTo>
                    <a:cubicBezTo>
                      <a:pt x="824" y="219"/>
                      <a:pt x="824" y="219"/>
                      <a:pt x="824" y="219"/>
                    </a:cubicBezTo>
                    <a:cubicBezTo>
                      <a:pt x="823" y="220"/>
                      <a:pt x="823" y="220"/>
                      <a:pt x="823" y="220"/>
                    </a:cubicBezTo>
                    <a:cubicBezTo>
                      <a:pt x="824" y="220"/>
                      <a:pt x="824" y="220"/>
                      <a:pt x="824" y="220"/>
                    </a:cubicBezTo>
                    <a:cubicBezTo>
                      <a:pt x="825" y="219"/>
                      <a:pt x="825" y="219"/>
                      <a:pt x="825" y="219"/>
                    </a:cubicBezTo>
                    <a:cubicBezTo>
                      <a:pt x="827" y="219"/>
                      <a:pt x="827" y="219"/>
                      <a:pt x="827" y="219"/>
                    </a:cubicBezTo>
                    <a:cubicBezTo>
                      <a:pt x="828" y="219"/>
                      <a:pt x="828" y="219"/>
                      <a:pt x="828" y="219"/>
                    </a:cubicBezTo>
                    <a:cubicBezTo>
                      <a:pt x="829" y="218"/>
                      <a:pt x="829" y="218"/>
                      <a:pt x="829" y="218"/>
                    </a:cubicBezTo>
                    <a:cubicBezTo>
                      <a:pt x="830" y="218"/>
                      <a:pt x="830" y="218"/>
                      <a:pt x="830" y="218"/>
                    </a:cubicBezTo>
                    <a:cubicBezTo>
                      <a:pt x="831" y="219"/>
                      <a:pt x="831" y="219"/>
                      <a:pt x="831" y="219"/>
                    </a:cubicBezTo>
                    <a:cubicBezTo>
                      <a:pt x="831" y="218"/>
                      <a:pt x="831" y="218"/>
                      <a:pt x="831" y="218"/>
                    </a:cubicBezTo>
                    <a:cubicBezTo>
                      <a:pt x="831" y="217"/>
                      <a:pt x="831" y="217"/>
                      <a:pt x="831" y="217"/>
                    </a:cubicBezTo>
                    <a:cubicBezTo>
                      <a:pt x="832" y="216"/>
                      <a:pt x="832" y="216"/>
                      <a:pt x="832" y="216"/>
                    </a:cubicBezTo>
                    <a:cubicBezTo>
                      <a:pt x="834" y="215"/>
                      <a:pt x="834" y="215"/>
                      <a:pt x="834" y="215"/>
                    </a:cubicBezTo>
                    <a:cubicBezTo>
                      <a:pt x="834" y="216"/>
                      <a:pt x="834" y="216"/>
                      <a:pt x="834" y="216"/>
                    </a:cubicBezTo>
                    <a:cubicBezTo>
                      <a:pt x="834" y="217"/>
                      <a:pt x="834" y="217"/>
                      <a:pt x="834" y="217"/>
                    </a:cubicBezTo>
                    <a:cubicBezTo>
                      <a:pt x="834" y="218"/>
                      <a:pt x="834" y="218"/>
                      <a:pt x="834" y="218"/>
                    </a:cubicBezTo>
                    <a:cubicBezTo>
                      <a:pt x="833" y="220"/>
                      <a:pt x="833" y="220"/>
                      <a:pt x="833" y="220"/>
                    </a:cubicBezTo>
                    <a:cubicBezTo>
                      <a:pt x="831" y="220"/>
                      <a:pt x="831" y="220"/>
                      <a:pt x="831" y="220"/>
                    </a:cubicBezTo>
                    <a:cubicBezTo>
                      <a:pt x="831" y="221"/>
                      <a:pt x="831" y="221"/>
                      <a:pt x="831" y="221"/>
                    </a:cubicBezTo>
                    <a:cubicBezTo>
                      <a:pt x="830" y="222"/>
                      <a:pt x="830" y="222"/>
                      <a:pt x="830" y="222"/>
                    </a:cubicBezTo>
                    <a:cubicBezTo>
                      <a:pt x="829" y="222"/>
                      <a:pt x="829" y="222"/>
                      <a:pt x="829" y="222"/>
                    </a:cubicBezTo>
                    <a:cubicBezTo>
                      <a:pt x="828" y="221"/>
                      <a:pt x="828" y="221"/>
                      <a:pt x="828" y="221"/>
                    </a:cubicBezTo>
                    <a:cubicBezTo>
                      <a:pt x="827" y="222"/>
                      <a:pt x="827" y="222"/>
                      <a:pt x="827" y="222"/>
                    </a:cubicBezTo>
                    <a:cubicBezTo>
                      <a:pt x="827" y="223"/>
                      <a:pt x="827" y="223"/>
                      <a:pt x="827" y="223"/>
                    </a:cubicBezTo>
                    <a:cubicBezTo>
                      <a:pt x="826" y="224"/>
                      <a:pt x="826" y="224"/>
                      <a:pt x="826" y="224"/>
                    </a:cubicBezTo>
                    <a:cubicBezTo>
                      <a:pt x="826" y="225"/>
                      <a:pt x="826" y="225"/>
                      <a:pt x="826" y="225"/>
                    </a:cubicBezTo>
                    <a:cubicBezTo>
                      <a:pt x="825" y="226"/>
                      <a:pt x="825" y="226"/>
                      <a:pt x="825" y="226"/>
                    </a:cubicBezTo>
                    <a:cubicBezTo>
                      <a:pt x="826" y="226"/>
                      <a:pt x="826" y="226"/>
                      <a:pt x="826" y="226"/>
                    </a:cubicBezTo>
                    <a:cubicBezTo>
                      <a:pt x="827" y="224"/>
                      <a:pt x="827" y="224"/>
                      <a:pt x="827" y="224"/>
                    </a:cubicBezTo>
                    <a:cubicBezTo>
                      <a:pt x="828" y="222"/>
                      <a:pt x="828" y="222"/>
                      <a:pt x="828" y="222"/>
                    </a:cubicBezTo>
                    <a:cubicBezTo>
                      <a:pt x="829" y="222"/>
                      <a:pt x="829" y="222"/>
                      <a:pt x="829" y="222"/>
                    </a:cubicBezTo>
                    <a:cubicBezTo>
                      <a:pt x="830" y="223"/>
                      <a:pt x="830" y="223"/>
                      <a:pt x="830" y="223"/>
                    </a:cubicBezTo>
                    <a:cubicBezTo>
                      <a:pt x="829" y="224"/>
                      <a:pt x="829" y="224"/>
                      <a:pt x="829" y="224"/>
                    </a:cubicBezTo>
                    <a:cubicBezTo>
                      <a:pt x="829" y="225"/>
                      <a:pt x="829" y="225"/>
                      <a:pt x="829" y="225"/>
                    </a:cubicBezTo>
                    <a:cubicBezTo>
                      <a:pt x="827" y="227"/>
                      <a:pt x="827" y="227"/>
                      <a:pt x="827" y="227"/>
                    </a:cubicBezTo>
                    <a:cubicBezTo>
                      <a:pt x="826" y="227"/>
                      <a:pt x="826" y="227"/>
                      <a:pt x="826" y="227"/>
                    </a:cubicBezTo>
                    <a:cubicBezTo>
                      <a:pt x="826" y="228"/>
                      <a:pt x="826" y="228"/>
                      <a:pt x="826" y="228"/>
                    </a:cubicBezTo>
                    <a:cubicBezTo>
                      <a:pt x="828" y="227"/>
                      <a:pt x="828" y="227"/>
                      <a:pt x="828" y="227"/>
                    </a:cubicBezTo>
                    <a:cubicBezTo>
                      <a:pt x="830" y="224"/>
                      <a:pt x="830" y="224"/>
                      <a:pt x="830" y="224"/>
                    </a:cubicBezTo>
                    <a:cubicBezTo>
                      <a:pt x="831" y="222"/>
                      <a:pt x="831" y="222"/>
                      <a:pt x="831" y="222"/>
                    </a:cubicBezTo>
                    <a:cubicBezTo>
                      <a:pt x="832" y="221"/>
                      <a:pt x="832" y="221"/>
                      <a:pt x="832" y="221"/>
                    </a:cubicBezTo>
                    <a:cubicBezTo>
                      <a:pt x="834" y="220"/>
                      <a:pt x="834" y="220"/>
                      <a:pt x="834" y="220"/>
                    </a:cubicBezTo>
                    <a:cubicBezTo>
                      <a:pt x="836" y="219"/>
                      <a:pt x="836" y="219"/>
                      <a:pt x="836" y="219"/>
                    </a:cubicBezTo>
                    <a:cubicBezTo>
                      <a:pt x="837" y="219"/>
                      <a:pt x="837" y="219"/>
                      <a:pt x="837" y="219"/>
                    </a:cubicBezTo>
                    <a:cubicBezTo>
                      <a:pt x="836" y="220"/>
                      <a:pt x="836" y="220"/>
                      <a:pt x="836" y="220"/>
                    </a:cubicBezTo>
                    <a:cubicBezTo>
                      <a:pt x="835" y="221"/>
                      <a:pt x="835" y="221"/>
                      <a:pt x="835" y="221"/>
                    </a:cubicBezTo>
                    <a:cubicBezTo>
                      <a:pt x="834" y="221"/>
                      <a:pt x="834" y="221"/>
                      <a:pt x="834" y="221"/>
                    </a:cubicBezTo>
                    <a:cubicBezTo>
                      <a:pt x="833" y="222"/>
                      <a:pt x="833" y="222"/>
                      <a:pt x="833" y="222"/>
                    </a:cubicBezTo>
                    <a:cubicBezTo>
                      <a:pt x="833" y="223"/>
                      <a:pt x="833" y="223"/>
                      <a:pt x="833" y="223"/>
                    </a:cubicBezTo>
                    <a:cubicBezTo>
                      <a:pt x="834" y="222"/>
                      <a:pt x="834" y="222"/>
                      <a:pt x="834" y="222"/>
                    </a:cubicBezTo>
                    <a:cubicBezTo>
                      <a:pt x="835" y="222"/>
                      <a:pt x="835" y="222"/>
                      <a:pt x="835" y="222"/>
                    </a:cubicBezTo>
                    <a:cubicBezTo>
                      <a:pt x="836" y="221"/>
                      <a:pt x="836" y="221"/>
                      <a:pt x="836" y="221"/>
                    </a:cubicBezTo>
                    <a:cubicBezTo>
                      <a:pt x="837" y="221"/>
                      <a:pt x="837" y="221"/>
                      <a:pt x="837" y="221"/>
                    </a:cubicBezTo>
                    <a:cubicBezTo>
                      <a:pt x="838" y="220"/>
                      <a:pt x="838" y="220"/>
                      <a:pt x="838" y="220"/>
                    </a:cubicBezTo>
                    <a:cubicBezTo>
                      <a:pt x="839" y="220"/>
                      <a:pt x="839" y="220"/>
                      <a:pt x="839" y="220"/>
                    </a:cubicBezTo>
                    <a:cubicBezTo>
                      <a:pt x="840" y="220"/>
                      <a:pt x="840" y="220"/>
                      <a:pt x="840" y="220"/>
                    </a:cubicBezTo>
                    <a:cubicBezTo>
                      <a:pt x="840" y="221"/>
                      <a:pt x="840" y="221"/>
                      <a:pt x="840" y="221"/>
                    </a:cubicBezTo>
                    <a:cubicBezTo>
                      <a:pt x="841" y="223"/>
                      <a:pt x="841" y="223"/>
                      <a:pt x="841" y="223"/>
                    </a:cubicBezTo>
                    <a:cubicBezTo>
                      <a:pt x="842" y="224"/>
                      <a:pt x="842" y="224"/>
                      <a:pt x="842" y="224"/>
                    </a:cubicBezTo>
                    <a:cubicBezTo>
                      <a:pt x="843" y="224"/>
                      <a:pt x="843" y="224"/>
                      <a:pt x="843" y="224"/>
                    </a:cubicBezTo>
                    <a:cubicBezTo>
                      <a:pt x="843" y="225"/>
                      <a:pt x="843" y="225"/>
                      <a:pt x="843" y="225"/>
                    </a:cubicBezTo>
                    <a:cubicBezTo>
                      <a:pt x="843" y="226"/>
                      <a:pt x="843" y="226"/>
                      <a:pt x="843" y="226"/>
                    </a:cubicBezTo>
                    <a:cubicBezTo>
                      <a:pt x="842" y="227"/>
                      <a:pt x="842" y="227"/>
                      <a:pt x="842" y="227"/>
                    </a:cubicBezTo>
                    <a:cubicBezTo>
                      <a:pt x="841" y="227"/>
                      <a:pt x="841" y="227"/>
                      <a:pt x="841" y="227"/>
                    </a:cubicBezTo>
                    <a:cubicBezTo>
                      <a:pt x="842" y="226"/>
                      <a:pt x="842" y="226"/>
                      <a:pt x="842" y="226"/>
                    </a:cubicBezTo>
                    <a:cubicBezTo>
                      <a:pt x="841" y="226"/>
                      <a:pt x="841" y="226"/>
                      <a:pt x="841" y="226"/>
                    </a:cubicBezTo>
                    <a:cubicBezTo>
                      <a:pt x="840" y="227"/>
                      <a:pt x="840" y="227"/>
                      <a:pt x="840" y="227"/>
                    </a:cubicBezTo>
                    <a:cubicBezTo>
                      <a:pt x="839" y="228"/>
                      <a:pt x="839" y="228"/>
                      <a:pt x="839" y="228"/>
                    </a:cubicBezTo>
                    <a:cubicBezTo>
                      <a:pt x="837" y="228"/>
                      <a:pt x="837" y="228"/>
                      <a:pt x="837" y="228"/>
                    </a:cubicBezTo>
                    <a:cubicBezTo>
                      <a:pt x="836" y="228"/>
                      <a:pt x="836" y="228"/>
                      <a:pt x="836" y="228"/>
                    </a:cubicBezTo>
                    <a:cubicBezTo>
                      <a:pt x="835" y="228"/>
                      <a:pt x="835" y="228"/>
                      <a:pt x="835" y="228"/>
                    </a:cubicBezTo>
                    <a:cubicBezTo>
                      <a:pt x="833" y="229"/>
                      <a:pt x="833" y="229"/>
                      <a:pt x="833" y="229"/>
                    </a:cubicBezTo>
                    <a:cubicBezTo>
                      <a:pt x="832" y="230"/>
                      <a:pt x="832" y="230"/>
                      <a:pt x="832" y="230"/>
                    </a:cubicBezTo>
                    <a:cubicBezTo>
                      <a:pt x="832" y="231"/>
                      <a:pt x="832" y="231"/>
                      <a:pt x="832" y="231"/>
                    </a:cubicBezTo>
                    <a:cubicBezTo>
                      <a:pt x="830" y="232"/>
                      <a:pt x="830" y="232"/>
                      <a:pt x="830" y="232"/>
                    </a:cubicBezTo>
                    <a:cubicBezTo>
                      <a:pt x="832" y="232"/>
                      <a:pt x="832" y="232"/>
                      <a:pt x="832" y="232"/>
                    </a:cubicBezTo>
                    <a:cubicBezTo>
                      <a:pt x="833" y="231"/>
                      <a:pt x="833" y="231"/>
                      <a:pt x="833" y="231"/>
                    </a:cubicBezTo>
                    <a:cubicBezTo>
                      <a:pt x="835" y="229"/>
                      <a:pt x="835" y="229"/>
                      <a:pt x="835" y="229"/>
                    </a:cubicBezTo>
                    <a:cubicBezTo>
                      <a:pt x="836" y="229"/>
                      <a:pt x="836" y="229"/>
                      <a:pt x="836" y="229"/>
                    </a:cubicBezTo>
                    <a:cubicBezTo>
                      <a:pt x="837" y="229"/>
                      <a:pt x="837" y="229"/>
                      <a:pt x="837" y="229"/>
                    </a:cubicBezTo>
                    <a:cubicBezTo>
                      <a:pt x="838" y="229"/>
                      <a:pt x="838" y="229"/>
                      <a:pt x="838" y="229"/>
                    </a:cubicBezTo>
                    <a:cubicBezTo>
                      <a:pt x="839" y="229"/>
                      <a:pt x="839" y="229"/>
                      <a:pt x="839" y="229"/>
                    </a:cubicBezTo>
                    <a:cubicBezTo>
                      <a:pt x="839" y="230"/>
                      <a:pt x="839" y="230"/>
                      <a:pt x="839" y="230"/>
                    </a:cubicBezTo>
                    <a:cubicBezTo>
                      <a:pt x="839" y="231"/>
                      <a:pt x="839" y="231"/>
                      <a:pt x="839" y="231"/>
                    </a:cubicBezTo>
                    <a:cubicBezTo>
                      <a:pt x="838" y="231"/>
                      <a:pt x="838" y="231"/>
                      <a:pt x="838" y="231"/>
                    </a:cubicBezTo>
                    <a:cubicBezTo>
                      <a:pt x="837" y="232"/>
                      <a:pt x="837" y="232"/>
                      <a:pt x="837" y="232"/>
                    </a:cubicBezTo>
                    <a:cubicBezTo>
                      <a:pt x="836" y="232"/>
                      <a:pt x="836" y="232"/>
                      <a:pt x="836" y="232"/>
                    </a:cubicBezTo>
                    <a:cubicBezTo>
                      <a:pt x="835" y="232"/>
                      <a:pt x="835" y="232"/>
                      <a:pt x="835" y="232"/>
                    </a:cubicBezTo>
                    <a:cubicBezTo>
                      <a:pt x="835" y="234"/>
                      <a:pt x="835" y="234"/>
                      <a:pt x="835" y="234"/>
                    </a:cubicBezTo>
                    <a:cubicBezTo>
                      <a:pt x="834" y="234"/>
                      <a:pt x="834" y="234"/>
                      <a:pt x="834" y="234"/>
                    </a:cubicBezTo>
                    <a:cubicBezTo>
                      <a:pt x="833" y="233"/>
                      <a:pt x="833" y="233"/>
                      <a:pt x="833" y="233"/>
                    </a:cubicBezTo>
                    <a:cubicBezTo>
                      <a:pt x="832" y="234"/>
                      <a:pt x="832" y="234"/>
                      <a:pt x="832" y="234"/>
                    </a:cubicBezTo>
                    <a:cubicBezTo>
                      <a:pt x="831" y="235"/>
                      <a:pt x="831" y="235"/>
                      <a:pt x="831" y="235"/>
                    </a:cubicBezTo>
                    <a:cubicBezTo>
                      <a:pt x="832" y="235"/>
                      <a:pt x="832" y="235"/>
                      <a:pt x="832" y="235"/>
                    </a:cubicBezTo>
                    <a:cubicBezTo>
                      <a:pt x="833" y="234"/>
                      <a:pt x="833" y="234"/>
                      <a:pt x="833" y="234"/>
                    </a:cubicBezTo>
                    <a:cubicBezTo>
                      <a:pt x="834" y="234"/>
                      <a:pt x="834" y="234"/>
                      <a:pt x="834" y="234"/>
                    </a:cubicBezTo>
                    <a:cubicBezTo>
                      <a:pt x="834" y="235"/>
                      <a:pt x="834" y="235"/>
                      <a:pt x="834" y="235"/>
                    </a:cubicBezTo>
                    <a:cubicBezTo>
                      <a:pt x="835" y="234"/>
                      <a:pt x="835" y="234"/>
                      <a:pt x="835" y="234"/>
                    </a:cubicBezTo>
                    <a:cubicBezTo>
                      <a:pt x="836" y="233"/>
                      <a:pt x="836" y="233"/>
                      <a:pt x="836" y="233"/>
                    </a:cubicBezTo>
                    <a:cubicBezTo>
                      <a:pt x="837" y="232"/>
                      <a:pt x="837" y="232"/>
                      <a:pt x="837" y="232"/>
                    </a:cubicBezTo>
                    <a:cubicBezTo>
                      <a:pt x="838" y="233"/>
                      <a:pt x="838" y="233"/>
                      <a:pt x="838" y="233"/>
                    </a:cubicBezTo>
                    <a:cubicBezTo>
                      <a:pt x="839" y="233"/>
                      <a:pt x="839" y="233"/>
                      <a:pt x="839" y="233"/>
                    </a:cubicBezTo>
                    <a:cubicBezTo>
                      <a:pt x="840" y="232"/>
                      <a:pt x="840" y="232"/>
                      <a:pt x="840" y="232"/>
                    </a:cubicBezTo>
                    <a:cubicBezTo>
                      <a:pt x="841" y="231"/>
                      <a:pt x="841" y="231"/>
                      <a:pt x="841" y="231"/>
                    </a:cubicBezTo>
                    <a:cubicBezTo>
                      <a:pt x="842" y="231"/>
                      <a:pt x="842" y="231"/>
                      <a:pt x="842" y="231"/>
                    </a:cubicBezTo>
                    <a:cubicBezTo>
                      <a:pt x="842" y="230"/>
                      <a:pt x="842" y="230"/>
                      <a:pt x="842" y="230"/>
                    </a:cubicBezTo>
                    <a:cubicBezTo>
                      <a:pt x="841" y="230"/>
                      <a:pt x="841" y="230"/>
                      <a:pt x="841" y="230"/>
                    </a:cubicBezTo>
                    <a:cubicBezTo>
                      <a:pt x="842" y="229"/>
                      <a:pt x="842" y="229"/>
                      <a:pt x="842" y="229"/>
                    </a:cubicBezTo>
                    <a:cubicBezTo>
                      <a:pt x="842" y="228"/>
                      <a:pt x="842" y="228"/>
                      <a:pt x="842" y="228"/>
                    </a:cubicBezTo>
                    <a:cubicBezTo>
                      <a:pt x="843" y="228"/>
                      <a:pt x="843" y="228"/>
                      <a:pt x="843" y="228"/>
                    </a:cubicBezTo>
                    <a:cubicBezTo>
                      <a:pt x="844" y="228"/>
                      <a:pt x="844" y="228"/>
                      <a:pt x="844" y="228"/>
                    </a:cubicBezTo>
                    <a:cubicBezTo>
                      <a:pt x="844" y="229"/>
                      <a:pt x="844" y="229"/>
                      <a:pt x="844" y="229"/>
                    </a:cubicBezTo>
                    <a:cubicBezTo>
                      <a:pt x="845" y="232"/>
                      <a:pt x="845" y="232"/>
                      <a:pt x="845" y="232"/>
                    </a:cubicBezTo>
                    <a:cubicBezTo>
                      <a:pt x="845" y="233"/>
                      <a:pt x="845" y="233"/>
                      <a:pt x="845" y="233"/>
                    </a:cubicBezTo>
                    <a:cubicBezTo>
                      <a:pt x="846" y="234"/>
                      <a:pt x="846" y="234"/>
                      <a:pt x="846" y="234"/>
                    </a:cubicBezTo>
                    <a:cubicBezTo>
                      <a:pt x="846" y="235"/>
                      <a:pt x="846" y="235"/>
                      <a:pt x="846" y="235"/>
                    </a:cubicBezTo>
                    <a:cubicBezTo>
                      <a:pt x="845" y="236"/>
                      <a:pt x="845" y="236"/>
                      <a:pt x="845" y="236"/>
                    </a:cubicBezTo>
                    <a:cubicBezTo>
                      <a:pt x="844" y="236"/>
                      <a:pt x="844" y="236"/>
                      <a:pt x="844" y="236"/>
                    </a:cubicBezTo>
                    <a:cubicBezTo>
                      <a:pt x="843" y="235"/>
                      <a:pt x="843" y="235"/>
                      <a:pt x="843" y="235"/>
                    </a:cubicBezTo>
                    <a:cubicBezTo>
                      <a:pt x="841" y="235"/>
                      <a:pt x="841" y="235"/>
                      <a:pt x="841" y="235"/>
                    </a:cubicBezTo>
                    <a:cubicBezTo>
                      <a:pt x="840" y="236"/>
                      <a:pt x="840" y="236"/>
                      <a:pt x="840" y="236"/>
                    </a:cubicBezTo>
                    <a:cubicBezTo>
                      <a:pt x="839" y="236"/>
                      <a:pt x="839" y="236"/>
                      <a:pt x="839" y="236"/>
                    </a:cubicBezTo>
                    <a:cubicBezTo>
                      <a:pt x="838" y="236"/>
                      <a:pt x="838" y="236"/>
                      <a:pt x="838" y="236"/>
                    </a:cubicBezTo>
                    <a:cubicBezTo>
                      <a:pt x="837" y="236"/>
                      <a:pt x="837" y="236"/>
                      <a:pt x="837" y="236"/>
                    </a:cubicBezTo>
                    <a:cubicBezTo>
                      <a:pt x="837" y="237"/>
                      <a:pt x="837" y="237"/>
                      <a:pt x="837" y="237"/>
                    </a:cubicBezTo>
                    <a:cubicBezTo>
                      <a:pt x="835" y="237"/>
                      <a:pt x="835" y="237"/>
                      <a:pt x="835" y="237"/>
                    </a:cubicBezTo>
                    <a:cubicBezTo>
                      <a:pt x="836" y="238"/>
                      <a:pt x="836" y="238"/>
                      <a:pt x="836" y="238"/>
                    </a:cubicBezTo>
                    <a:cubicBezTo>
                      <a:pt x="838" y="237"/>
                      <a:pt x="838" y="237"/>
                      <a:pt x="838" y="237"/>
                    </a:cubicBezTo>
                    <a:cubicBezTo>
                      <a:pt x="839" y="238"/>
                      <a:pt x="839" y="238"/>
                      <a:pt x="839" y="238"/>
                    </a:cubicBezTo>
                    <a:cubicBezTo>
                      <a:pt x="841" y="239"/>
                      <a:pt x="841" y="239"/>
                      <a:pt x="841" y="239"/>
                    </a:cubicBezTo>
                    <a:cubicBezTo>
                      <a:pt x="841" y="240"/>
                      <a:pt x="841" y="240"/>
                      <a:pt x="841" y="240"/>
                    </a:cubicBezTo>
                    <a:cubicBezTo>
                      <a:pt x="842" y="239"/>
                      <a:pt x="842" y="239"/>
                      <a:pt x="842" y="239"/>
                    </a:cubicBezTo>
                    <a:cubicBezTo>
                      <a:pt x="843" y="239"/>
                      <a:pt x="843" y="239"/>
                      <a:pt x="843" y="239"/>
                    </a:cubicBezTo>
                    <a:cubicBezTo>
                      <a:pt x="843" y="240"/>
                      <a:pt x="843" y="240"/>
                      <a:pt x="843" y="240"/>
                    </a:cubicBezTo>
                    <a:cubicBezTo>
                      <a:pt x="844" y="240"/>
                      <a:pt x="844" y="240"/>
                      <a:pt x="844" y="240"/>
                    </a:cubicBezTo>
                    <a:cubicBezTo>
                      <a:pt x="846" y="241"/>
                      <a:pt x="846" y="241"/>
                      <a:pt x="846" y="241"/>
                    </a:cubicBezTo>
                    <a:cubicBezTo>
                      <a:pt x="846" y="242"/>
                      <a:pt x="846" y="242"/>
                      <a:pt x="846" y="242"/>
                    </a:cubicBezTo>
                    <a:cubicBezTo>
                      <a:pt x="846" y="243"/>
                      <a:pt x="846" y="243"/>
                      <a:pt x="846" y="243"/>
                    </a:cubicBezTo>
                    <a:cubicBezTo>
                      <a:pt x="846" y="244"/>
                      <a:pt x="846" y="244"/>
                      <a:pt x="846" y="244"/>
                    </a:cubicBezTo>
                    <a:cubicBezTo>
                      <a:pt x="845" y="244"/>
                      <a:pt x="845" y="244"/>
                      <a:pt x="845" y="244"/>
                    </a:cubicBezTo>
                    <a:cubicBezTo>
                      <a:pt x="844" y="243"/>
                      <a:pt x="844" y="243"/>
                      <a:pt x="844" y="243"/>
                    </a:cubicBezTo>
                    <a:cubicBezTo>
                      <a:pt x="843" y="244"/>
                      <a:pt x="843" y="244"/>
                      <a:pt x="843" y="244"/>
                    </a:cubicBezTo>
                    <a:cubicBezTo>
                      <a:pt x="842" y="243"/>
                      <a:pt x="842" y="243"/>
                      <a:pt x="842" y="243"/>
                    </a:cubicBezTo>
                    <a:cubicBezTo>
                      <a:pt x="841" y="243"/>
                      <a:pt x="841" y="243"/>
                      <a:pt x="841" y="243"/>
                    </a:cubicBezTo>
                    <a:cubicBezTo>
                      <a:pt x="840" y="242"/>
                      <a:pt x="840" y="242"/>
                      <a:pt x="840" y="242"/>
                    </a:cubicBezTo>
                    <a:cubicBezTo>
                      <a:pt x="839" y="241"/>
                      <a:pt x="839" y="241"/>
                      <a:pt x="839" y="241"/>
                    </a:cubicBezTo>
                    <a:cubicBezTo>
                      <a:pt x="838" y="241"/>
                      <a:pt x="838" y="241"/>
                      <a:pt x="838" y="241"/>
                    </a:cubicBezTo>
                    <a:cubicBezTo>
                      <a:pt x="837" y="242"/>
                      <a:pt x="837" y="242"/>
                      <a:pt x="837" y="242"/>
                    </a:cubicBezTo>
                    <a:cubicBezTo>
                      <a:pt x="838" y="242"/>
                      <a:pt x="838" y="242"/>
                      <a:pt x="838" y="242"/>
                    </a:cubicBezTo>
                    <a:cubicBezTo>
                      <a:pt x="839" y="242"/>
                      <a:pt x="839" y="242"/>
                      <a:pt x="839" y="242"/>
                    </a:cubicBezTo>
                    <a:cubicBezTo>
                      <a:pt x="838" y="243"/>
                      <a:pt x="838" y="243"/>
                      <a:pt x="838" y="243"/>
                    </a:cubicBezTo>
                    <a:cubicBezTo>
                      <a:pt x="837" y="243"/>
                      <a:pt x="837" y="243"/>
                      <a:pt x="837" y="243"/>
                    </a:cubicBezTo>
                    <a:cubicBezTo>
                      <a:pt x="836" y="243"/>
                      <a:pt x="836" y="243"/>
                      <a:pt x="836" y="243"/>
                    </a:cubicBezTo>
                    <a:cubicBezTo>
                      <a:pt x="835" y="243"/>
                      <a:pt x="835" y="243"/>
                      <a:pt x="835" y="243"/>
                    </a:cubicBezTo>
                    <a:cubicBezTo>
                      <a:pt x="834" y="244"/>
                      <a:pt x="834" y="244"/>
                      <a:pt x="834" y="244"/>
                    </a:cubicBezTo>
                    <a:cubicBezTo>
                      <a:pt x="834" y="245"/>
                      <a:pt x="834" y="245"/>
                      <a:pt x="834" y="245"/>
                    </a:cubicBezTo>
                    <a:cubicBezTo>
                      <a:pt x="835" y="245"/>
                      <a:pt x="835" y="245"/>
                      <a:pt x="835" y="245"/>
                    </a:cubicBezTo>
                    <a:cubicBezTo>
                      <a:pt x="835" y="244"/>
                      <a:pt x="835" y="244"/>
                      <a:pt x="835" y="244"/>
                    </a:cubicBezTo>
                    <a:cubicBezTo>
                      <a:pt x="837" y="244"/>
                      <a:pt x="837" y="244"/>
                      <a:pt x="837" y="244"/>
                    </a:cubicBezTo>
                    <a:cubicBezTo>
                      <a:pt x="838" y="243"/>
                      <a:pt x="838" y="243"/>
                      <a:pt x="838" y="243"/>
                    </a:cubicBezTo>
                    <a:cubicBezTo>
                      <a:pt x="839" y="244"/>
                      <a:pt x="839" y="244"/>
                      <a:pt x="839" y="244"/>
                    </a:cubicBezTo>
                    <a:cubicBezTo>
                      <a:pt x="839" y="245"/>
                      <a:pt x="839" y="245"/>
                      <a:pt x="839" y="245"/>
                    </a:cubicBezTo>
                    <a:cubicBezTo>
                      <a:pt x="840" y="245"/>
                      <a:pt x="840" y="245"/>
                      <a:pt x="840" y="245"/>
                    </a:cubicBezTo>
                    <a:cubicBezTo>
                      <a:pt x="840" y="246"/>
                      <a:pt x="840" y="246"/>
                      <a:pt x="840" y="246"/>
                    </a:cubicBezTo>
                    <a:cubicBezTo>
                      <a:pt x="839" y="246"/>
                      <a:pt x="839" y="246"/>
                      <a:pt x="839" y="246"/>
                    </a:cubicBezTo>
                    <a:cubicBezTo>
                      <a:pt x="838" y="246"/>
                      <a:pt x="838" y="246"/>
                      <a:pt x="838" y="246"/>
                    </a:cubicBezTo>
                    <a:cubicBezTo>
                      <a:pt x="837" y="246"/>
                      <a:pt x="837" y="246"/>
                      <a:pt x="837" y="246"/>
                    </a:cubicBezTo>
                    <a:cubicBezTo>
                      <a:pt x="837" y="245"/>
                      <a:pt x="837" y="245"/>
                      <a:pt x="837" y="245"/>
                    </a:cubicBezTo>
                    <a:cubicBezTo>
                      <a:pt x="836" y="245"/>
                      <a:pt x="836" y="245"/>
                      <a:pt x="836" y="245"/>
                    </a:cubicBezTo>
                    <a:cubicBezTo>
                      <a:pt x="836" y="246"/>
                      <a:pt x="836" y="246"/>
                      <a:pt x="836" y="246"/>
                    </a:cubicBezTo>
                    <a:cubicBezTo>
                      <a:pt x="837" y="246"/>
                      <a:pt x="837" y="246"/>
                      <a:pt x="837" y="246"/>
                    </a:cubicBezTo>
                    <a:cubicBezTo>
                      <a:pt x="838" y="247"/>
                      <a:pt x="838" y="247"/>
                      <a:pt x="838" y="247"/>
                    </a:cubicBezTo>
                    <a:cubicBezTo>
                      <a:pt x="838" y="248"/>
                      <a:pt x="838" y="248"/>
                      <a:pt x="838" y="248"/>
                    </a:cubicBezTo>
                    <a:cubicBezTo>
                      <a:pt x="839" y="248"/>
                      <a:pt x="839" y="248"/>
                      <a:pt x="839" y="248"/>
                    </a:cubicBezTo>
                    <a:cubicBezTo>
                      <a:pt x="838" y="249"/>
                      <a:pt x="838" y="249"/>
                      <a:pt x="838" y="249"/>
                    </a:cubicBezTo>
                    <a:cubicBezTo>
                      <a:pt x="836" y="248"/>
                      <a:pt x="836" y="248"/>
                      <a:pt x="836" y="248"/>
                    </a:cubicBezTo>
                    <a:cubicBezTo>
                      <a:pt x="834" y="248"/>
                      <a:pt x="834" y="248"/>
                      <a:pt x="834" y="248"/>
                    </a:cubicBezTo>
                    <a:cubicBezTo>
                      <a:pt x="832" y="247"/>
                      <a:pt x="832" y="247"/>
                      <a:pt x="832" y="247"/>
                    </a:cubicBezTo>
                    <a:cubicBezTo>
                      <a:pt x="831" y="247"/>
                      <a:pt x="831" y="247"/>
                      <a:pt x="831" y="247"/>
                    </a:cubicBezTo>
                    <a:cubicBezTo>
                      <a:pt x="833" y="248"/>
                      <a:pt x="833" y="248"/>
                      <a:pt x="833" y="248"/>
                    </a:cubicBezTo>
                    <a:cubicBezTo>
                      <a:pt x="836" y="249"/>
                      <a:pt x="836" y="249"/>
                      <a:pt x="836" y="249"/>
                    </a:cubicBezTo>
                    <a:cubicBezTo>
                      <a:pt x="836" y="250"/>
                      <a:pt x="836" y="250"/>
                      <a:pt x="836" y="250"/>
                    </a:cubicBezTo>
                    <a:cubicBezTo>
                      <a:pt x="834" y="249"/>
                      <a:pt x="834" y="249"/>
                      <a:pt x="834" y="249"/>
                    </a:cubicBezTo>
                    <a:cubicBezTo>
                      <a:pt x="833" y="249"/>
                      <a:pt x="833" y="249"/>
                      <a:pt x="833" y="249"/>
                    </a:cubicBezTo>
                    <a:cubicBezTo>
                      <a:pt x="832" y="250"/>
                      <a:pt x="832" y="250"/>
                      <a:pt x="832" y="250"/>
                    </a:cubicBezTo>
                    <a:cubicBezTo>
                      <a:pt x="833" y="250"/>
                      <a:pt x="833" y="250"/>
                      <a:pt x="833" y="250"/>
                    </a:cubicBezTo>
                    <a:cubicBezTo>
                      <a:pt x="834" y="250"/>
                      <a:pt x="834" y="250"/>
                      <a:pt x="834" y="250"/>
                    </a:cubicBezTo>
                    <a:cubicBezTo>
                      <a:pt x="834" y="251"/>
                      <a:pt x="834" y="251"/>
                      <a:pt x="834" y="251"/>
                    </a:cubicBezTo>
                    <a:cubicBezTo>
                      <a:pt x="835" y="251"/>
                      <a:pt x="835" y="251"/>
                      <a:pt x="835" y="251"/>
                    </a:cubicBezTo>
                    <a:cubicBezTo>
                      <a:pt x="835" y="252"/>
                      <a:pt x="835" y="252"/>
                      <a:pt x="835" y="252"/>
                    </a:cubicBezTo>
                    <a:cubicBezTo>
                      <a:pt x="836" y="253"/>
                      <a:pt x="836" y="253"/>
                      <a:pt x="836" y="253"/>
                    </a:cubicBezTo>
                    <a:cubicBezTo>
                      <a:pt x="836" y="252"/>
                      <a:pt x="836" y="252"/>
                      <a:pt x="836" y="252"/>
                    </a:cubicBezTo>
                    <a:cubicBezTo>
                      <a:pt x="837" y="252"/>
                      <a:pt x="837" y="252"/>
                      <a:pt x="837" y="252"/>
                    </a:cubicBezTo>
                    <a:cubicBezTo>
                      <a:pt x="837" y="253"/>
                      <a:pt x="837" y="253"/>
                      <a:pt x="837" y="253"/>
                    </a:cubicBezTo>
                    <a:cubicBezTo>
                      <a:pt x="838" y="253"/>
                      <a:pt x="838" y="253"/>
                      <a:pt x="838" y="253"/>
                    </a:cubicBezTo>
                    <a:cubicBezTo>
                      <a:pt x="838" y="252"/>
                      <a:pt x="838" y="252"/>
                      <a:pt x="838" y="252"/>
                    </a:cubicBezTo>
                    <a:cubicBezTo>
                      <a:pt x="839" y="252"/>
                      <a:pt x="839" y="252"/>
                      <a:pt x="839" y="252"/>
                    </a:cubicBezTo>
                    <a:cubicBezTo>
                      <a:pt x="840" y="253"/>
                      <a:pt x="840" y="253"/>
                      <a:pt x="840" y="253"/>
                    </a:cubicBezTo>
                    <a:cubicBezTo>
                      <a:pt x="841" y="253"/>
                      <a:pt x="841" y="253"/>
                      <a:pt x="841" y="253"/>
                    </a:cubicBezTo>
                    <a:cubicBezTo>
                      <a:pt x="842" y="253"/>
                      <a:pt x="842" y="253"/>
                      <a:pt x="842" y="253"/>
                    </a:cubicBezTo>
                    <a:cubicBezTo>
                      <a:pt x="841" y="254"/>
                      <a:pt x="841" y="254"/>
                      <a:pt x="841" y="254"/>
                    </a:cubicBezTo>
                    <a:cubicBezTo>
                      <a:pt x="841" y="255"/>
                      <a:pt x="841" y="255"/>
                      <a:pt x="841" y="255"/>
                    </a:cubicBezTo>
                    <a:cubicBezTo>
                      <a:pt x="840" y="254"/>
                      <a:pt x="840" y="254"/>
                      <a:pt x="840" y="254"/>
                    </a:cubicBezTo>
                    <a:cubicBezTo>
                      <a:pt x="838" y="254"/>
                      <a:pt x="838" y="254"/>
                      <a:pt x="838" y="254"/>
                    </a:cubicBezTo>
                    <a:cubicBezTo>
                      <a:pt x="836" y="255"/>
                      <a:pt x="836" y="255"/>
                      <a:pt x="836" y="255"/>
                    </a:cubicBezTo>
                    <a:cubicBezTo>
                      <a:pt x="836" y="256"/>
                      <a:pt x="836" y="256"/>
                      <a:pt x="836" y="256"/>
                    </a:cubicBezTo>
                    <a:cubicBezTo>
                      <a:pt x="837" y="255"/>
                      <a:pt x="837" y="255"/>
                      <a:pt x="837" y="255"/>
                    </a:cubicBezTo>
                    <a:cubicBezTo>
                      <a:pt x="838" y="255"/>
                      <a:pt x="838" y="255"/>
                      <a:pt x="838" y="255"/>
                    </a:cubicBezTo>
                    <a:cubicBezTo>
                      <a:pt x="839" y="255"/>
                      <a:pt x="839" y="255"/>
                      <a:pt x="839" y="255"/>
                    </a:cubicBezTo>
                    <a:cubicBezTo>
                      <a:pt x="838" y="256"/>
                      <a:pt x="838" y="256"/>
                      <a:pt x="838" y="256"/>
                    </a:cubicBezTo>
                    <a:cubicBezTo>
                      <a:pt x="839" y="256"/>
                      <a:pt x="839" y="256"/>
                      <a:pt x="839" y="256"/>
                    </a:cubicBezTo>
                    <a:cubicBezTo>
                      <a:pt x="841" y="256"/>
                      <a:pt x="841" y="256"/>
                      <a:pt x="841" y="256"/>
                    </a:cubicBezTo>
                    <a:cubicBezTo>
                      <a:pt x="841" y="257"/>
                      <a:pt x="841" y="257"/>
                      <a:pt x="841" y="257"/>
                    </a:cubicBezTo>
                    <a:cubicBezTo>
                      <a:pt x="842" y="257"/>
                      <a:pt x="842" y="257"/>
                      <a:pt x="842" y="257"/>
                    </a:cubicBezTo>
                    <a:cubicBezTo>
                      <a:pt x="842" y="258"/>
                      <a:pt x="842" y="258"/>
                      <a:pt x="842" y="258"/>
                    </a:cubicBezTo>
                    <a:cubicBezTo>
                      <a:pt x="842" y="259"/>
                      <a:pt x="842" y="259"/>
                      <a:pt x="842" y="259"/>
                    </a:cubicBezTo>
                    <a:cubicBezTo>
                      <a:pt x="841" y="260"/>
                      <a:pt x="841" y="260"/>
                      <a:pt x="841" y="260"/>
                    </a:cubicBezTo>
                    <a:cubicBezTo>
                      <a:pt x="841" y="261"/>
                      <a:pt x="841" y="261"/>
                      <a:pt x="841" y="261"/>
                    </a:cubicBezTo>
                    <a:cubicBezTo>
                      <a:pt x="842" y="260"/>
                      <a:pt x="842" y="260"/>
                      <a:pt x="842" y="260"/>
                    </a:cubicBezTo>
                    <a:cubicBezTo>
                      <a:pt x="843" y="259"/>
                      <a:pt x="843" y="259"/>
                      <a:pt x="843" y="259"/>
                    </a:cubicBezTo>
                    <a:cubicBezTo>
                      <a:pt x="844" y="259"/>
                      <a:pt x="844" y="259"/>
                      <a:pt x="844" y="259"/>
                    </a:cubicBezTo>
                    <a:cubicBezTo>
                      <a:pt x="844" y="260"/>
                      <a:pt x="844" y="260"/>
                      <a:pt x="844" y="260"/>
                    </a:cubicBezTo>
                    <a:cubicBezTo>
                      <a:pt x="843" y="260"/>
                      <a:pt x="843" y="260"/>
                      <a:pt x="843" y="260"/>
                    </a:cubicBezTo>
                    <a:cubicBezTo>
                      <a:pt x="842" y="262"/>
                      <a:pt x="842" y="262"/>
                      <a:pt x="842" y="262"/>
                    </a:cubicBezTo>
                    <a:cubicBezTo>
                      <a:pt x="842" y="263"/>
                      <a:pt x="842" y="263"/>
                      <a:pt x="842" y="263"/>
                    </a:cubicBezTo>
                    <a:cubicBezTo>
                      <a:pt x="842" y="264"/>
                      <a:pt x="842" y="264"/>
                      <a:pt x="842" y="264"/>
                    </a:cubicBezTo>
                    <a:cubicBezTo>
                      <a:pt x="843" y="262"/>
                      <a:pt x="843" y="262"/>
                      <a:pt x="843" y="262"/>
                    </a:cubicBezTo>
                    <a:cubicBezTo>
                      <a:pt x="844" y="261"/>
                      <a:pt x="844" y="261"/>
                      <a:pt x="844" y="261"/>
                    </a:cubicBezTo>
                    <a:cubicBezTo>
                      <a:pt x="845" y="260"/>
                      <a:pt x="845" y="260"/>
                      <a:pt x="845" y="260"/>
                    </a:cubicBezTo>
                    <a:cubicBezTo>
                      <a:pt x="845" y="259"/>
                      <a:pt x="845" y="259"/>
                      <a:pt x="845" y="259"/>
                    </a:cubicBezTo>
                    <a:cubicBezTo>
                      <a:pt x="846" y="259"/>
                      <a:pt x="846" y="259"/>
                      <a:pt x="846" y="259"/>
                    </a:cubicBezTo>
                    <a:cubicBezTo>
                      <a:pt x="846" y="260"/>
                      <a:pt x="846" y="260"/>
                      <a:pt x="846" y="260"/>
                    </a:cubicBezTo>
                    <a:cubicBezTo>
                      <a:pt x="845" y="261"/>
                      <a:pt x="845" y="261"/>
                      <a:pt x="845" y="261"/>
                    </a:cubicBezTo>
                    <a:cubicBezTo>
                      <a:pt x="844" y="262"/>
                      <a:pt x="844" y="262"/>
                      <a:pt x="844" y="262"/>
                    </a:cubicBezTo>
                    <a:cubicBezTo>
                      <a:pt x="844" y="263"/>
                      <a:pt x="844" y="263"/>
                      <a:pt x="844" y="263"/>
                    </a:cubicBezTo>
                    <a:cubicBezTo>
                      <a:pt x="845" y="264"/>
                      <a:pt x="845" y="264"/>
                      <a:pt x="845" y="264"/>
                    </a:cubicBezTo>
                    <a:cubicBezTo>
                      <a:pt x="845" y="263"/>
                      <a:pt x="845" y="263"/>
                      <a:pt x="845" y="263"/>
                    </a:cubicBezTo>
                    <a:cubicBezTo>
                      <a:pt x="845" y="262"/>
                      <a:pt x="845" y="262"/>
                      <a:pt x="845" y="262"/>
                    </a:cubicBezTo>
                    <a:cubicBezTo>
                      <a:pt x="846" y="261"/>
                      <a:pt x="846" y="261"/>
                      <a:pt x="846" y="261"/>
                    </a:cubicBezTo>
                    <a:cubicBezTo>
                      <a:pt x="847" y="261"/>
                      <a:pt x="847" y="261"/>
                      <a:pt x="847" y="261"/>
                    </a:cubicBezTo>
                    <a:cubicBezTo>
                      <a:pt x="847" y="262"/>
                      <a:pt x="847" y="262"/>
                      <a:pt x="847" y="262"/>
                    </a:cubicBezTo>
                    <a:cubicBezTo>
                      <a:pt x="847" y="263"/>
                      <a:pt x="847" y="263"/>
                      <a:pt x="847" y="263"/>
                    </a:cubicBezTo>
                    <a:cubicBezTo>
                      <a:pt x="848" y="264"/>
                      <a:pt x="848" y="264"/>
                      <a:pt x="848" y="264"/>
                    </a:cubicBezTo>
                    <a:cubicBezTo>
                      <a:pt x="849" y="263"/>
                      <a:pt x="849" y="263"/>
                      <a:pt x="849" y="263"/>
                    </a:cubicBezTo>
                    <a:cubicBezTo>
                      <a:pt x="850" y="263"/>
                      <a:pt x="850" y="263"/>
                      <a:pt x="850" y="263"/>
                    </a:cubicBezTo>
                    <a:cubicBezTo>
                      <a:pt x="851" y="265"/>
                      <a:pt x="851" y="265"/>
                      <a:pt x="851" y="265"/>
                    </a:cubicBezTo>
                    <a:cubicBezTo>
                      <a:pt x="850" y="266"/>
                      <a:pt x="850" y="266"/>
                      <a:pt x="850" y="266"/>
                    </a:cubicBezTo>
                    <a:cubicBezTo>
                      <a:pt x="851" y="267"/>
                      <a:pt x="851" y="267"/>
                      <a:pt x="851" y="267"/>
                    </a:cubicBezTo>
                    <a:cubicBezTo>
                      <a:pt x="850" y="268"/>
                      <a:pt x="850" y="268"/>
                      <a:pt x="850" y="268"/>
                    </a:cubicBezTo>
                    <a:cubicBezTo>
                      <a:pt x="851" y="269"/>
                      <a:pt x="851" y="269"/>
                      <a:pt x="851" y="269"/>
                    </a:cubicBezTo>
                    <a:cubicBezTo>
                      <a:pt x="849" y="269"/>
                      <a:pt x="849" y="269"/>
                      <a:pt x="849" y="269"/>
                    </a:cubicBezTo>
                    <a:cubicBezTo>
                      <a:pt x="848" y="269"/>
                      <a:pt x="848" y="269"/>
                      <a:pt x="848" y="269"/>
                    </a:cubicBezTo>
                    <a:cubicBezTo>
                      <a:pt x="848" y="270"/>
                      <a:pt x="848" y="270"/>
                      <a:pt x="848" y="270"/>
                    </a:cubicBezTo>
                    <a:cubicBezTo>
                      <a:pt x="849" y="269"/>
                      <a:pt x="849" y="269"/>
                      <a:pt x="849" y="269"/>
                    </a:cubicBezTo>
                    <a:cubicBezTo>
                      <a:pt x="851" y="270"/>
                      <a:pt x="851" y="270"/>
                      <a:pt x="851" y="270"/>
                    </a:cubicBezTo>
                    <a:cubicBezTo>
                      <a:pt x="851" y="269"/>
                      <a:pt x="851" y="269"/>
                      <a:pt x="851" y="269"/>
                    </a:cubicBezTo>
                    <a:cubicBezTo>
                      <a:pt x="853" y="269"/>
                      <a:pt x="853" y="269"/>
                      <a:pt x="853" y="269"/>
                    </a:cubicBezTo>
                    <a:cubicBezTo>
                      <a:pt x="852" y="270"/>
                      <a:pt x="852" y="270"/>
                      <a:pt x="852" y="270"/>
                    </a:cubicBezTo>
                    <a:cubicBezTo>
                      <a:pt x="851" y="272"/>
                      <a:pt x="851" y="272"/>
                      <a:pt x="851" y="272"/>
                    </a:cubicBezTo>
                    <a:cubicBezTo>
                      <a:pt x="853" y="271"/>
                      <a:pt x="853" y="271"/>
                      <a:pt x="853" y="271"/>
                    </a:cubicBezTo>
                    <a:cubicBezTo>
                      <a:pt x="853" y="270"/>
                      <a:pt x="853" y="270"/>
                      <a:pt x="853" y="270"/>
                    </a:cubicBezTo>
                    <a:cubicBezTo>
                      <a:pt x="854" y="269"/>
                      <a:pt x="854" y="269"/>
                      <a:pt x="854" y="269"/>
                    </a:cubicBezTo>
                    <a:cubicBezTo>
                      <a:pt x="855" y="269"/>
                      <a:pt x="855" y="269"/>
                      <a:pt x="855" y="269"/>
                    </a:cubicBezTo>
                    <a:cubicBezTo>
                      <a:pt x="856" y="269"/>
                      <a:pt x="856" y="269"/>
                      <a:pt x="856" y="269"/>
                    </a:cubicBezTo>
                    <a:cubicBezTo>
                      <a:pt x="855" y="270"/>
                      <a:pt x="855" y="270"/>
                      <a:pt x="855" y="270"/>
                    </a:cubicBezTo>
                    <a:cubicBezTo>
                      <a:pt x="854" y="271"/>
                      <a:pt x="854" y="271"/>
                      <a:pt x="854" y="271"/>
                    </a:cubicBezTo>
                    <a:cubicBezTo>
                      <a:pt x="854" y="272"/>
                      <a:pt x="854" y="272"/>
                      <a:pt x="854" y="272"/>
                    </a:cubicBezTo>
                    <a:cubicBezTo>
                      <a:pt x="852" y="273"/>
                      <a:pt x="852" y="273"/>
                      <a:pt x="852" y="273"/>
                    </a:cubicBezTo>
                    <a:cubicBezTo>
                      <a:pt x="852" y="274"/>
                      <a:pt x="852" y="274"/>
                      <a:pt x="852" y="274"/>
                    </a:cubicBezTo>
                    <a:cubicBezTo>
                      <a:pt x="852" y="275"/>
                      <a:pt x="852" y="275"/>
                      <a:pt x="852" y="275"/>
                    </a:cubicBezTo>
                    <a:cubicBezTo>
                      <a:pt x="853" y="275"/>
                      <a:pt x="853" y="275"/>
                      <a:pt x="853" y="275"/>
                    </a:cubicBezTo>
                    <a:cubicBezTo>
                      <a:pt x="853" y="274"/>
                      <a:pt x="853" y="274"/>
                      <a:pt x="853" y="274"/>
                    </a:cubicBezTo>
                    <a:cubicBezTo>
                      <a:pt x="853" y="273"/>
                      <a:pt x="853" y="273"/>
                      <a:pt x="853" y="273"/>
                    </a:cubicBezTo>
                    <a:cubicBezTo>
                      <a:pt x="855" y="272"/>
                      <a:pt x="855" y="272"/>
                      <a:pt x="855" y="272"/>
                    </a:cubicBezTo>
                    <a:cubicBezTo>
                      <a:pt x="856" y="272"/>
                      <a:pt x="856" y="272"/>
                      <a:pt x="856" y="272"/>
                    </a:cubicBezTo>
                    <a:cubicBezTo>
                      <a:pt x="855" y="274"/>
                      <a:pt x="855" y="274"/>
                      <a:pt x="855" y="274"/>
                    </a:cubicBezTo>
                    <a:cubicBezTo>
                      <a:pt x="855" y="275"/>
                      <a:pt x="855" y="275"/>
                      <a:pt x="855" y="275"/>
                    </a:cubicBezTo>
                    <a:cubicBezTo>
                      <a:pt x="856" y="274"/>
                      <a:pt x="856" y="274"/>
                      <a:pt x="856" y="274"/>
                    </a:cubicBezTo>
                    <a:cubicBezTo>
                      <a:pt x="856" y="273"/>
                      <a:pt x="856" y="273"/>
                      <a:pt x="856" y="273"/>
                    </a:cubicBezTo>
                    <a:cubicBezTo>
                      <a:pt x="857" y="273"/>
                      <a:pt x="857" y="273"/>
                      <a:pt x="857" y="273"/>
                    </a:cubicBezTo>
                    <a:cubicBezTo>
                      <a:pt x="857" y="275"/>
                      <a:pt x="857" y="275"/>
                      <a:pt x="857" y="275"/>
                    </a:cubicBezTo>
                    <a:cubicBezTo>
                      <a:pt x="858" y="275"/>
                      <a:pt x="858" y="275"/>
                      <a:pt x="858" y="275"/>
                    </a:cubicBezTo>
                    <a:cubicBezTo>
                      <a:pt x="858" y="274"/>
                      <a:pt x="858" y="274"/>
                      <a:pt x="858" y="274"/>
                    </a:cubicBezTo>
                    <a:cubicBezTo>
                      <a:pt x="858" y="273"/>
                      <a:pt x="858" y="273"/>
                      <a:pt x="858" y="273"/>
                    </a:cubicBezTo>
                    <a:cubicBezTo>
                      <a:pt x="860" y="273"/>
                      <a:pt x="860" y="273"/>
                      <a:pt x="860" y="273"/>
                    </a:cubicBezTo>
                    <a:cubicBezTo>
                      <a:pt x="860" y="274"/>
                      <a:pt x="860" y="274"/>
                      <a:pt x="860" y="274"/>
                    </a:cubicBezTo>
                    <a:cubicBezTo>
                      <a:pt x="861" y="274"/>
                      <a:pt x="861" y="274"/>
                      <a:pt x="861" y="274"/>
                    </a:cubicBezTo>
                    <a:cubicBezTo>
                      <a:pt x="861" y="276"/>
                      <a:pt x="861" y="276"/>
                      <a:pt x="861" y="276"/>
                    </a:cubicBezTo>
                    <a:cubicBezTo>
                      <a:pt x="862" y="276"/>
                      <a:pt x="862" y="276"/>
                      <a:pt x="862" y="276"/>
                    </a:cubicBezTo>
                    <a:cubicBezTo>
                      <a:pt x="863" y="277"/>
                      <a:pt x="863" y="277"/>
                      <a:pt x="863" y="277"/>
                    </a:cubicBezTo>
                    <a:cubicBezTo>
                      <a:pt x="863" y="278"/>
                      <a:pt x="863" y="278"/>
                      <a:pt x="863" y="278"/>
                    </a:cubicBezTo>
                    <a:cubicBezTo>
                      <a:pt x="863" y="279"/>
                      <a:pt x="863" y="279"/>
                      <a:pt x="863" y="279"/>
                    </a:cubicBezTo>
                    <a:cubicBezTo>
                      <a:pt x="861" y="279"/>
                      <a:pt x="861" y="279"/>
                      <a:pt x="861" y="279"/>
                    </a:cubicBezTo>
                    <a:cubicBezTo>
                      <a:pt x="861" y="278"/>
                      <a:pt x="861" y="278"/>
                      <a:pt x="861" y="278"/>
                    </a:cubicBezTo>
                    <a:cubicBezTo>
                      <a:pt x="860" y="277"/>
                      <a:pt x="860" y="277"/>
                      <a:pt x="860" y="277"/>
                    </a:cubicBezTo>
                    <a:cubicBezTo>
                      <a:pt x="859" y="277"/>
                      <a:pt x="859" y="277"/>
                      <a:pt x="859" y="277"/>
                    </a:cubicBezTo>
                    <a:cubicBezTo>
                      <a:pt x="859" y="278"/>
                      <a:pt x="859" y="278"/>
                      <a:pt x="859" y="278"/>
                    </a:cubicBezTo>
                    <a:cubicBezTo>
                      <a:pt x="860" y="278"/>
                      <a:pt x="860" y="278"/>
                      <a:pt x="860" y="278"/>
                    </a:cubicBezTo>
                    <a:cubicBezTo>
                      <a:pt x="860" y="279"/>
                      <a:pt x="860" y="279"/>
                      <a:pt x="860" y="279"/>
                    </a:cubicBezTo>
                    <a:cubicBezTo>
                      <a:pt x="861" y="279"/>
                      <a:pt x="861" y="279"/>
                      <a:pt x="861" y="279"/>
                    </a:cubicBezTo>
                    <a:cubicBezTo>
                      <a:pt x="861" y="280"/>
                      <a:pt x="861" y="280"/>
                      <a:pt x="861" y="280"/>
                    </a:cubicBezTo>
                    <a:cubicBezTo>
                      <a:pt x="860" y="280"/>
                      <a:pt x="860" y="280"/>
                      <a:pt x="860" y="280"/>
                    </a:cubicBezTo>
                    <a:close/>
                    <a:moveTo>
                      <a:pt x="814" y="197"/>
                    </a:moveTo>
                    <a:cubicBezTo>
                      <a:pt x="813" y="199"/>
                      <a:pt x="813" y="199"/>
                      <a:pt x="813" y="199"/>
                    </a:cubicBezTo>
                    <a:cubicBezTo>
                      <a:pt x="815" y="197"/>
                      <a:pt x="815" y="197"/>
                      <a:pt x="815" y="197"/>
                    </a:cubicBezTo>
                    <a:cubicBezTo>
                      <a:pt x="814" y="197"/>
                      <a:pt x="814" y="197"/>
                      <a:pt x="814" y="197"/>
                    </a:cubicBezTo>
                    <a:close/>
                    <a:moveTo>
                      <a:pt x="822" y="214"/>
                    </a:moveTo>
                    <a:cubicBezTo>
                      <a:pt x="823" y="213"/>
                      <a:pt x="823" y="213"/>
                      <a:pt x="823" y="213"/>
                    </a:cubicBezTo>
                    <a:cubicBezTo>
                      <a:pt x="823" y="212"/>
                      <a:pt x="823" y="212"/>
                      <a:pt x="823" y="212"/>
                    </a:cubicBezTo>
                    <a:cubicBezTo>
                      <a:pt x="822" y="214"/>
                      <a:pt x="822" y="214"/>
                      <a:pt x="822" y="214"/>
                    </a:cubicBezTo>
                    <a:cubicBezTo>
                      <a:pt x="821" y="215"/>
                      <a:pt x="821" y="215"/>
                      <a:pt x="821" y="215"/>
                    </a:cubicBezTo>
                    <a:cubicBezTo>
                      <a:pt x="822" y="215"/>
                      <a:pt x="822" y="215"/>
                      <a:pt x="822" y="215"/>
                    </a:cubicBezTo>
                    <a:cubicBezTo>
                      <a:pt x="822" y="214"/>
                      <a:pt x="822" y="214"/>
                      <a:pt x="822" y="214"/>
                    </a:cubicBezTo>
                    <a:close/>
                    <a:moveTo>
                      <a:pt x="829" y="277"/>
                    </a:moveTo>
                    <a:cubicBezTo>
                      <a:pt x="829" y="276"/>
                      <a:pt x="829" y="276"/>
                      <a:pt x="829" y="276"/>
                    </a:cubicBezTo>
                    <a:cubicBezTo>
                      <a:pt x="828" y="277"/>
                      <a:pt x="828" y="277"/>
                      <a:pt x="828" y="277"/>
                    </a:cubicBezTo>
                    <a:cubicBezTo>
                      <a:pt x="829" y="277"/>
                      <a:pt x="829" y="277"/>
                      <a:pt x="829" y="277"/>
                    </a:cubicBezTo>
                    <a:close/>
                    <a:moveTo>
                      <a:pt x="847" y="290"/>
                    </a:moveTo>
                    <a:cubicBezTo>
                      <a:pt x="847" y="289"/>
                      <a:pt x="847" y="289"/>
                      <a:pt x="847" y="289"/>
                    </a:cubicBezTo>
                    <a:cubicBezTo>
                      <a:pt x="846" y="290"/>
                      <a:pt x="846" y="290"/>
                      <a:pt x="846" y="290"/>
                    </a:cubicBezTo>
                    <a:cubicBezTo>
                      <a:pt x="847" y="290"/>
                      <a:pt x="847" y="290"/>
                      <a:pt x="847" y="290"/>
                    </a:cubicBezTo>
                    <a:close/>
                    <a:moveTo>
                      <a:pt x="826" y="205"/>
                    </a:moveTo>
                    <a:cubicBezTo>
                      <a:pt x="826" y="205"/>
                      <a:pt x="826" y="205"/>
                      <a:pt x="826" y="206"/>
                    </a:cubicBezTo>
                    <a:cubicBezTo>
                      <a:pt x="826" y="206"/>
                      <a:pt x="826" y="206"/>
                      <a:pt x="826" y="207"/>
                    </a:cubicBezTo>
                    <a:cubicBezTo>
                      <a:pt x="826" y="207"/>
                      <a:pt x="826" y="207"/>
                      <a:pt x="827" y="207"/>
                    </a:cubicBezTo>
                    <a:cubicBezTo>
                      <a:pt x="827" y="207"/>
                      <a:pt x="827" y="207"/>
                      <a:pt x="827" y="206"/>
                    </a:cubicBezTo>
                    <a:cubicBezTo>
                      <a:pt x="827" y="206"/>
                      <a:pt x="827" y="206"/>
                      <a:pt x="826" y="205"/>
                    </a:cubicBezTo>
                    <a:close/>
                    <a:moveTo>
                      <a:pt x="826" y="134"/>
                    </a:moveTo>
                    <a:cubicBezTo>
                      <a:pt x="826" y="134"/>
                      <a:pt x="826" y="134"/>
                      <a:pt x="827" y="133"/>
                    </a:cubicBezTo>
                    <a:cubicBezTo>
                      <a:pt x="827" y="133"/>
                      <a:pt x="827" y="133"/>
                      <a:pt x="826" y="133"/>
                    </a:cubicBezTo>
                    <a:cubicBezTo>
                      <a:pt x="826" y="133"/>
                      <a:pt x="826" y="133"/>
                      <a:pt x="823" y="135"/>
                    </a:cubicBezTo>
                    <a:cubicBezTo>
                      <a:pt x="823" y="135"/>
                      <a:pt x="823" y="135"/>
                      <a:pt x="822" y="136"/>
                    </a:cubicBezTo>
                    <a:cubicBezTo>
                      <a:pt x="822" y="136"/>
                      <a:pt x="822" y="136"/>
                      <a:pt x="822" y="138"/>
                    </a:cubicBezTo>
                    <a:cubicBezTo>
                      <a:pt x="822" y="138"/>
                      <a:pt x="822" y="138"/>
                      <a:pt x="823" y="137"/>
                    </a:cubicBezTo>
                    <a:cubicBezTo>
                      <a:pt x="823" y="137"/>
                      <a:pt x="823" y="137"/>
                      <a:pt x="824" y="137"/>
                    </a:cubicBezTo>
                    <a:cubicBezTo>
                      <a:pt x="824" y="137"/>
                      <a:pt x="824" y="137"/>
                      <a:pt x="825" y="138"/>
                    </a:cubicBezTo>
                    <a:cubicBezTo>
                      <a:pt x="825" y="138"/>
                      <a:pt x="825" y="138"/>
                      <a:pt x="825" y="137"/>
                    </a:cubicBezTo>
                    <a:cubicBezTo>
                      <a:pt x="825" y="137"/>
                      <a:pt x="825" y="137"/>
                      <a:pt x="824" y="136"/>
                    </a:cubicBezTo>
                    <a:cubicBezTo>
                      <a:pt x="824" y="136"/>
                      <a:pt x="824" y="136"/>
                      <a:pt x="825" y="135"/>
                    </a:cubicBezTo>
                    <a:cubicBezTo>
                      <a:pt x="825" y="135"/>
                      <a:pt x="825" y="135"/>
                      <a:pt x="826" y="134"/>
                    </a:cubicBezTo>
                    <a:close/>
                    <a:moveTo>
                      <a:pt x="842" y="256"/>
                    </a:moveTo>
                    <a:cubicBezTo>
                      <a:pt x="843" y="257"/>
                      <a:pt x="843" y="257"/>
                      <a:pt x="843" y="257"/>
                    </a:cubicBezTo>
                    <a:cubicBezTo>
                      <a:pt x="844" y="256"/>
                      <a:pt x="844" y="256"/>
                      <a:pt x="844" y="256"/>
                    </a:cubicBezTo>
                    <a:cubicBezTo>
                      <a:pt x="843" y="256"/>
                      <a:pt x="843" y="256"/>
                      <a:pt x="843" y="256"/>
                    </a:cubicBezTo>
                    <a:lnTo>
                      <a:pt x="842" y="256"/>
                    </a:lnTo>
                    <a:close/>
                    <a:moveTo>
                      <a:pt x="844" y="238"/>
                    </a:moveTo>
                    <a:cubicBezTo>
                      <a:pt x="844" y="238"/>
                      <a:pt x="844" y="238"/>
                      <a:pt x="844" y="237"/>
                    </a:cubicBezTo>
                    <a:cubicBezTo>
                      <a:pt x="844" y="237"/>
                      <a:pt x="844" y="237"/>
                      <a:pt x="843" y="237"/>
                    </a:cubicBezTo>
                    <a:cubicBezTo>
                      <a:pt x="843" y="237"/>
                      <a:pt x="843" y="237"/>
                      <a:pt x="843" y="238"/>
                    </a:cubicBezTo>
                    <a:cubicBezTo>
                      <a:pt x="843" y="238"/>
                      <a:pt x="843" y="238"/>
                      <a:pt x="844" y="238"/>
                    </a:cubicBezTo>
                    <a:close/>
                    <a:moveTo>
                      <a:pt x="841" y="237"/>
                    </a:moveTo>
                    <a:cubicBezTo>
                      <a:pt x="841" y="237"/>
                      <a:pt x="841" y="237"/>
                      <a:pt x="841" y="238"/>
                    </a:cubicBezTo>
                    <a:cubicBezTo>
                      <a:pt x="841" y="238"/>
                      <a:pt x="841" y="238"/>
                      <a:pt x="842" y="238"/>
                    </a:cubicBezTo>
                    <a:cubicBezTo>
                      <a:pt x="842" y="238"/>
                      <a:pt x="842" y="238"/>
                      <a:pt x="843" y="237"/>
                    </a:cubicBezTo>
                    <a:cubicBezTo>
                      <a:pt x="843" y="237"/>
                      <a:pt x="843" y="237"/>
                      <a:pt x="842" y="236"/>
                    </a:cubicBezTo>
                    <a:cubicBezTo>
                      <a:pt x="842" y="236"/>
                      <a:pt x="842" y="236"/>
                      <a:pt x="841" y="237"/>
                    </a:cubicBezTo>
                    <a:close/>
                    <a:moveTo>
                      <a:pt x="824" y="206"/>
                    </a:moveTo>
                    <a:cubicBezTo>
                      <a:pt x="824" y="206"/>
                      <a:pt x="824" y="206"/>
                      <a:pt x="825" y="205"/>
                    </a:cubicBezTo>
                    <a:cubicBezTo>
                      <a:pt x="825" y="205"/>
                      <a:pt x="825" y="205"/>
                      <a:pt x="825" y="204"/>
                    </a:cubicBezTo>
                    <a:cubicBezTo>
                      <a:pt x="825" y="204"/>
                      <a:pt x="825" y="204"/>
                      <a:pt x="824" y="205"/>
                    </a:cubicBezTo>
                    <a:cubicBezTo>
                      <a:pt x="824" y="205"/>
                      <a:pt x="824" y="205"/>
                      <a:pt x="824" y="206"/>
                    </a:cubicBezTo>
                    <a:close/>
                    <a:moveTo>
                      <a:pt x="825" y="208"/>
                    </a:moveTo>
                    <a:cubicBezTo>
                      <a:pt x="825" y="208"/>
                      <a:pt x="825" y="208"/>
                      <a:pt x="824" y="207"/>
                    </a:cubicBezTo>
                    <a:cubicBezTo>
                      <a:pt x="824" y="207"/>
                      <a:pt x="824" y="207"/>
                      <a:pt x="824" y="208"/>
                    </a:cubicBezTo>
                    <a:cubicBezTo>
                      <a:pt x="824" y="208"/>
                      <a:pt x="824" y="208"/>
                      <a:pt x="823" y="209"/>
                    </a:cubicBezTo>
                    <a:cubicBezTo>
                      <a:pt x="823" y="209"/>
                      <a:pt x="823" y="209"/>
                      <a:pt x="824" y="210"/>
                    </a:cubicBezTo>
                    <a:cubicBezTo>
                      <a:pt x="824" y="210"/>
                      <a:pt x="824" y="210"/>
                      <a:pt x="825" y="209"/>
                    </a:cubicBezTo>
                    <a:cubicBezTo>
                      <a:pt x="825" y="209"/>
                      <a:pt x="825" y="209"/>
                      <a:pt x="826" y="208"/>
                    </a:cubicBezTo>
                    <a:cubicBezTo>
                      <a:pt x="826" y="208"/>
                      <a:pt x="826" y="208"/>
                      <a:pt x="825" y="207"/>
                    </a:cubicBezTo>
                    <a:cubicBezTo>
                      <a:pt x="825" y="207"/>
                      <a:pt x="825" y="207"/>
                      <a:pt x="825" y="208"/>
                    </a:cubicBezTo>
                    <a:close/>
                    <a:moveTo>
                      <a:pt x="805" y="88"/>
                    </a:moveTo>
                    <a:cubicBezTo>
                      <a:pt x="805" y="88"/>
                      <a:pt x="805" y="88"/>
                      <a:pt x="805" y="89"/>
                    </a:cubicBezTo>
                    <a:cubicBezTo>
                      <a:pt x="805" y="89"/>
                      <a:pt x="805" y="89"/>
                      <a:pt x="806" y="87"/>
                    </a:cubicBezTo>
                    <a:cubicBezTo>
                      <a:pt x="806" y="87"/>
                      <a:pt x="806" y="87"/>
                      <a:pt x="805" y="88"/>
                    </a:cubicBezTo>
                    <a:close/>
                    <a:moveTo>
                      <a:pt x="807" y="86"/>
                    </a:moveTo>
                    <a:cubicBezTo>
                      <a:pt x="807" y="86"/>
                      <a:pt x="807" y="86"/>
                      <a:pt x="806" y="86"/>
                    </a:cubicBezTo>
                    <a:cubicBezTo>
                      <a:pt x="806" y="86"/>
                      <a:pt x="806" y="86"/>
                      <a:pt x="806" y="87"/>
                    </a:cubicBezTo>
                    <a:cubicBezTo>
                      <a:pt x="806" y="87"/>
                      <a:pt x="806" y="87"/>
                      <a:pt x="807" y="87"/>
                    </a:cubicBezTo>
                    <a:cubicBezTo>
                      <a:pt x="807" y="87"/>
                      <a:pt x="807" y="87"/>
                      <a:pt x="807" y="86"/>
                    </a:cubicBezTo>
                    <a:close/>
                    <a:moveTo>
                      <a:pt x="816" y="132"/>
                    </a:moveTo>
                    <a:cubicBezTo>
                      <a:pt x="817" y="132"/>
                      <a:pt x="817" y="132"/>
                      <a:pt x="817" y="132"/>
                    </a:cubicBezTo>
                    <a:cubicBezTo>
                      <a:pt x="817" y="131"/>
                      <a:pt x="817" y="131"/>
                      <a:pt x="817" y="131"/>
                    </a:cubicBezTo>
                    <a:cubicBezTo>
                      <a:pt x="816" y="132"/>
                      <a:pt x="816" y="132"/>
                      <a:pt x="816" y="132"/>
                    </a:cubicBezTo>
                    <a:close/>
                    <a:moveTo>
                      <a:pt x="786" y="97"/>
                    </a:moveTo>
                    <a:cubicBezTo>
                      <a:pt x="785" y="98"/>
                      <a:pt x="785" y="98"/>
                      <a:pt x="785" y="98"/>
                    </a:cubicBezTo>
                    <a:cubicBezTo>
                      <a:pt x="784" y="99"/>
                      <a:pt x="784" y="99"/>
                      <a:pt x="784" y="99"/>
                    </a:cubicBezTo>
                    <a:cubicBezTo>
                      <a:pt x="784" y="101"/>
                      <a:pt x="784" y="101"/>
                      <a:pt x="784" y="101"/>
                    </a:cubicBezTo>
                    <a:cubicBezTo>
                      <a:pt x="784" y="102"/>
                      <a:pt x="784" y="102"/>
                      <a:pt x="784" y="102"/>
                    </a:cubicBezTo>
                    <a:cubicBezTo>
                      <a:pt x="784" y="103"/>
                      <a:pt x="784" y="103"/>
                      <a:pt x="784" y="103"/>
                    </a:cubicBezTo>
                    <a:cubicBezTo>
                      <a:pt x="785" y="104"/>
                      <a:pt x="785" y="104"/>
                      <a:pt x="785" y="104"/>
                    </a:cubicBezTo>
                    <a:cubicBezTo>
                      <a:pt x="787" y="104"/>
                      <a:pt x="787" y="104"/>
                      <a:pt x="787" y="104"/>
                    </a:cubicBezTo>
                    <a:cubicBezTo>
                      <a:pt x="788" y="103"/>
                      <a:pt x="788" y="103"/>
                      <a:pt x="788" y="103"/>
                    </a:cubicBezTo>
                    <a:cubicBezTo>
                      <a:pt x="789" y="101"/>
                      <a:pt x="789" y="101"/>
                      <a:pt x="789" y="101"/>
                    </a:cubicBezTo>
                    <a:cubicBezTo>
                      <a:pt x="789" y="100"/>
                      <a:pt x="789" y="100"/>
                      <a:pt x="789" y="100"/>
                    </a:cubicBezTo>
                    <a:cubicBezTo>
                      <a:pt x="789" y="99"/>
                      <a:pt x="789" y="99"/>
                      <a:pt x="789" y="99"/>
                    </a:cubicBezTo>
                    <a:cubicBezTo>
                      <a:pt x="788" y="98"/>
                      <a:pt x="788" y="98"/>
                      <a:pt x="788" y="98"/>
                    </a:cubicBezTo>
                    <a:cubicBezTo>
                      <a:pt x="787" y="98"/>
                      <a:pt x="787" y="98"/>
                      <a:pt x="787" y="98"/>
                    </a:cubicBezTo>
                    <a:cubicBezTo>
                      <a:pt x="787" y="97"/>
                      <a:pt x="787" y="97"/>
                      <a:pt x="787" y="97"/>
                    </a:cubicBezTo>
                    <a:cubicBezTo>
                      <a:pt x="786" y="97"/>
                      <a:pt x="786" y="97"/>
                      <a:pt x="786" y="97"/>
                    </a:cubicBezTo>
                    <a:close/>
                    <a:moveTo>
                      <a:pt x="783" y="104"/>
                    </a:moveTo>
                    <a:cubicBezTo>
                      <a:pt x="783" y="105"/>
                      <a:pt x="783" y="105"/>
                      <a:pt x="783" y="105"/>
                    </a:cubicBezTo>
                    <a:cubicBezTo>
                      <a:pt x="784" y="104"/>
                      <a:pt x="784" y="104"/>
                      <a:pt x="784" y="104"/>
                    </a:cubicBezTo>
                    <a:cubicBezTo>
                      <a:pt x="784" y="103"/>
                      <a:pt x="784" y="103"/>
                      <a:pt x="784" y="103"/>
                    </a:cubicBezTo>
                    <a:cubicBezTo>
                      <a:pt x="783" y="103"/>
                      <a:pt x="783" y="103"/>
                      <a:pt x="783" y="103"/>
                    </a:cubicBezTo>
                    <a:cubicBezTo>
                      <a:pt x="783" y="104"/>
                      <a:pt x="783" y="104"/>
                      <a:pt x="783" y="104"/>
                    </a:cubicBezTo>
                    <a:close/>
                    <a:moveTo>
                      <a:pt x="685" y="193"/>
                    </a:moveTo>
                    <a:cubicBezTo>
                      <a:pt x="685" y="193"/>
                      <a:pt x="685" y="193"/>
                      <a:pt x="685" y="194"/>
                    </a:cubicBezTo>
                    <a:cubicBezTo>
                      <a:pt x="685" y="194"/>
                      <a:pt x="685" y="194"/>
                      <a:pt x="685" y="195"/>
                    </a:cubicBezTo>
                    <a:cubicBezTo>
                      <a:pt x="685" y="195"/>
                      <a:pt x="685" y="195"/>
                      <a:pt x="685" y="196"/>
                    </a:cubicBezTo>
                    <a:cubicBezTo>
                      <a:pt x="685" y="196"/>
                      <a:pt x="685" y="196"/>
                      <a:pt x="686" y="196"/>
                    </a:cubicBezTo>
                    <a:cubicBezTo>
                      <a:pt x="686" y="196"/>
                      <a:pt x="686" y="196"/>
                      <a:pt x="686" y="195"/>
                    </a:cubicBezTo>
                    <a:cubicBezTo>
                      <a:pt x="686" y="195"/>
                      <a:pt x="686" y="195"/>
                      <a:pt x="687" y="194"/>
                    </a:cubicBezTo>
                    <a:cubicBezTo>
                      <a:pt x="687" y="194"/>
                      <a:pt x="687" y="194"/>
                      <a:pt x="686" y="193"/>
                    </a:cubicBezTo>
                    <a:cubicBezTo>
                      <a:pt x="686" y="193"/>
                      <a:pt x="686" y="193"/>
                      <a:pt x="686" y="192"/>
                    </a:cubicBezTo>
                    <a:cubicBezTo>
                      <a:pt x="686" y="192"/>
                      <a:pt x="686" y="192"/>
                      <a:pt x="685" y="193"/>
                    </a:cubicBezTo>
                    <a:close/>
                    <a:moveTo>
                      <a:pt x="787" y="233"/>
                    </a:moveTo>
                    <a:cubicBezTo>
                      <a:pt x="787" y="234"/>
                      <a:pt x="787" y="234"/>
                      <a:pt x="787" y="234"/>
                    </a:cubicBezTo>
                    <a:cubicBezTo>
                      <a:pt x="786" y="234"/>
                      <a:pt x="786" y="234"/>
                      <a:pt x="786" y="234"/>
                    </a:cubicBezTo>
                    <a:cubicBezTo>
                      <a:pt x="785" y="235"/>
                      <a:pt x="785" y="235"/>
                      <a:pt x="785" y="235"/>
                    </a:cubicBezTo>
                    <a:cubicBezTo>
                      <a:pt x="784" y="235"/>
                      <a:pt x="784" y="235"/>
                      <a:pt x="784" y="235"/>
                    </a:cubicBezTo>
                    <a:cubicBezTo>
                      <a:pt x="782" y="235"/>
                      <a:pt x="782" y="235"/>
                      <a:pt x="782" y="235"/>
                    </a:cubicBezTo>
                    <a:cubicBezTo>
                      <a:pt x="782" y="236"/>
                      <a:pt x="782" y="236"/>
                      <a:pt x="782" y="236"/>
                    </a:cubicBezTo>
                    <a:cubicBezTo>
                      <a:pt x="781" y="237"/>
                      <a:pt x="781" y="237"/>
                      <a:pt x="781" y="237"/>
                    </a:cubicBezTo>
                    <a:cubicBezTo>
                      <a:pt x="780" y="237"/>
                      <a:pt x="780" y="237"/>
                      <a:pt x="780" y="237"/>
                    </a:cubicBezTo>
                    <a:cubicBezTo>
                      <a:pt x="781" y="239"/>
                      <a:pt x="781" y="239"/>
                      <a:pt x="781" y="239"/>
                    </a:cubicBezTo>
                    <a:cubicBezTo>
                      <a:pt x="781" y="238"/>
                      <a:pt x="781" y="238"/>
                      <a:pt x="781" y="238"/>
                    </a:cubicBezTo>
                    <a:cubicBezTo>
                      <a:pt x="782" y="239"/>
                      <a:pt x="782" y="239"/>
                      <a:pt x="782" y="239"/>
                    </a:cubicBezTo>
                    <a:cubicBezTo>
                      <a:pt x="783" y="239"/>
                      <a:pt x="783" y="239"/>
                      <a:pt x="783" y="239"/>
                    </a:cubicBezTo>
                    <a:cubicBezTo>
                      <a:pt x="785" y="237"/>
                      <a:pt x="785" y="237"/>
                      <a:pt x="785" y="237"/>
                    </a:cubicBezTo>
                    <a:cubicBezTo>
                      <a:pt x="786" y="236"/>
                      <a:pt x="786" y="236"/>
                      <a:pt x="786" y="236"/>
                    </a:cubicBezTo>
                    <a:cubicBezTo>
                      <a:pt x="788" y="235"/>
                      <a:pt x="788" y="235"/>
                      <a:pt x="788" y="235"/>
                    </a:cubicBezTo>
                    <a:cubicBezTo>
                      <a:pt x="789" y="234"/>
                      <a:pt x="789" y="234"/>
                      <a:pt x="789" y="234"/>
                    </a:cubicBezTo>
                    <a:cubicBezTo>
                      <a:pt x="788" y="233"/>
                      <a:pt x="788" y="233"/>
                      <a:pt x="788" y="233"/>
                    </a:cubicBezTo>
                    <a:cubicBezTo>
                      <a:pt x="788" y="232"/>
                      <a:pt x="788" y="232"/>
                      <a:pt x="788" y="232"/>
                    </a:cubicBezTo>
                    <a:cubicBezTo>
                      <a:pt x="787" y="233"/>
                      <a:pt x="787" y="233"/>
                      <a:pt x="787" y="233"/>
                    </a:cubicBezTo>
                    <a:close/>
                    <a:moveTo>
                      <a:pt x="820" y="77"/>
                    </a:moveTo>
                    <a:cubicBezTo>
                      <a:pt x="820" y="77"/>
                      <a:pt x="820" y="77"/>
                      <a:pt x="821" y="76"/>
                    </a:cubicBezTo>
                    <a:cubicBezTo>
                      <a:pt x="821" y="76"/>
                      <a:pt x="821" y="76"/>
                      <a:pt x="823" y="77"/>
                    </a:cubicBezTo>
                    <a:cubicBezTo>
                      <a:pt x="823" y="77"/>
                      <a:pt x="823" y="77"/>
                      <a:pt x="824" y="76"/>
                    </a:cubicBezTo>
                    <a:cubicBezTo>
                      <a:pt x="824" y="76"/>
                      <a:pt x="824" y="76"/>
                      <a:pt x="822" y="75"/>
                    </a:cubicBezTo>
                    <a:cubicBezTo>
                      <a:pt x="822" y="75"/>
                      <a:pt x="822" y="75"/>
                      <a:pt x="821" y="74"/>
                    </a:cubicBezTo>
                    <a:cubicBezTo>
                      <a:pt x="821" y="74"/>
                      <a:pt x="821" y="74"/>
                      <a:pt x="820" y="75"/>
                    </a:cubicBezTo>
                    <a:cubicBezTo>
                      <a:pt x="820" y="75"/>
                      <a:pt x="820" y="75"/>
                      <a:pt x="819" y="75"/>
                    </a:cubicBezTo>
                    <a:cubicBezTo>
                      <a:pt x="819" y="75"/>
                      <a:pt x="819" y="75"/>
                      <a:pt x="818" y="77"/>
                    </a:cubicBezTo>
                    <a:cubicBezTo>
                      <a:pt x="818" y="77"/>
                      <a:pt x="818" y="77"/>
                      <a:pt x="819" y="78"/>
                    </a:cubicBezTo>
                    <a:cubicBezTo>
                      <a:pt x="819" y="78"/>
                      <a:pt x="819" y="78"/>
                      <a:pt x="820" y="77"/>
                    </a:cubicBezTo>
                    <a:close/>
                    <a:moveTo>
                      <a:pt x="789" y="81"/>
                    </a:moveTo>
                    <a:cubicBezTo>
                      <a:pt x="789" y="83"/>
                      <a:pt x="789" y="83"/>
                      <a:pt x="789" y="83"/>
                    </a:cubicBezTo>
                    <a:cubicBezTo>
                      <a:pt x="790" y="83"/>
                      <a:pt x="790" y="83"/>
                      <a:pt x="790" y="83"/>
                    </a:cubicBezTo>
                    <a:cubicBezTo>
                      <a:pt x="790" y="85"/>
                      <a:pt x="790" y="85"/>
                      <a:pt x="790" y="85"/>
                    </a:cubicBezTo>
                    <a:cubicBezTo>
                      <a:pt x="792" y="85"/>
                      <a:pt x="792" y="85"/>
                      <a:pt x="792" y="85"/>
                    </a:cubicBezTo>
                    <a:cubicBezTo>
                      <a:pt x="795" y="87"/>
                      <a:pt x="795" y="87"/>
                      <a:pt x="795" y="87"/>
                    </a:cubicBezTo>
                    <a:cubicBezTo>
                      <a:pt x="796" y="87"/>
                      <a:pt x="796" y="87"/>
                      <a:pt x="796" y="87"/>
                    </a:cubicBezTo>
                    <a:cubicBezTo>
                      <a:pt x="796" y="86"/>
                      <a:pt x="796" y="86"/>
                      <a:pt x="796" y="86"/>
                    </a:cubicBezTo>
                    <a:cubicBezTo>
                      <a:pt x="796" y="84"/>
                      <a:pt x="796" y="84"/>
                      <a:pt x="796" y="84"/>
                    </a:cubicBezTo>
                    <a:cubicBezTo>
                      <a:pt x="798" y="85"/>
                      <a:pt x="798" y="85"/>
                      <a:pt x="798" y="85"/>
                    </a:cubicBezTo>
                    <a:cubicBezTo>
                      <a:pt x="798" y="86"/>
                      <a:pt x="798" y="86"/>
                      <a:pt x="798" y="86"/>
                    </a:cubicBezTo>
                    <a:cubicBezTo>
                      <a:pt x="798" y="87"/>
                      <a:pt x="798" y="87"/>
                      <a:pt x="798" y="87"/>
                    </a:cubicBezTo>
                    <a:cubicBezTo>
                      <a:pt x="798" y="88"/>
                      <a:pt x="798" y="88"/>
                      <a:pt x="798" y="88"/>
                    </a:cubicBezTo>
                    <a:cubicBezTo>
                      <a:pt x="799" y="85"/>
                      <a:pt x="799" y="85"/>
                      <a:pt x="799" y="85"/>
                    </a:cubicBezTo>
                    <a:cubicBezTo>
                      <a:pt x="799" y="82"/>
                      <a:pt x="799" y="82"/>
                      <a:pt x="799" y="82"/>
                    </a:cubicBezTo>
                    <a:cubicBezTo>
                      <a:pt x="800" y="81"/>
                      <a:pt x="800" y="81"/>
                      <a:pt x="800" y="81"/>
                    </a:cubicBezTo>
                    <a:cubicBezTo>
                      <a:pt x="801" y="79"/>
                      <a:pt x="801" y="79"/>
                      <a:pt x="801" y="79"/>
                    </a:cubicBezTo>
                    <a:cubicBezTo>
                      <a:pt x="802" y="78"/>
                      <a:pt x="802" y="78"/>
                      <a:pt x="802" y="78"/>
                    </a:cubicBezTo>
                    <a:cubicBezTo>
                      <a:pt x="802" y="79"/>
                      <a:pt x="802" y="79"/>
                      <a:pt x="802" y="79"/>
                    </a:cubicBezTo>
                    <a:cubicBezTo>
                      <a:pt x="800" y="82"/>
                      <a:pt x="800" y="82"/>
                      <a:pt x="800" y="82"/>
                    </a:cubicBezTo>
                    <a:cubicBezTo>
                      <a:pt x="800" y="83"/>
                      <a:pt x="800" y="83"/>
                      <a:pt x="800" y="83"/>
                    </a:cubicBezTo>
                    <a:cubicBezTo>
                      <a:pt x="800" y="85"/>
                      <a:pt x="800" y="85"/>
                      <a:pt x="800" y="85"/>
                    </a:cubicBezTo>
                    <a:cubicBezTo>
                      <a:pt x="800" y="87"/>
                      <a:pt x="800" y="87"/>
                      <a:pt x="800" y="87"/>
                    </a:cubicBezTo>
                    <a:cubicBezTo>
                      <a:pt x="801" y="88"/>
                      <a:pt x="801" y="88"/>
                      <a:pt x="801" y="88"/>
                    </a:cubicBezTo>
                    <a:cubicBezTo>
                      <a:pt x="800" y="89"/>
                      <a:pt x="800" y="89"/>
                      <a:pt x="800" y="89"/>
                    </a:cubicBezTo>
                    <a:cubicBezTo>
                      <a:pt x="801" y="89"/>
                      <a:pt x="801" y="89"/>
                      <a:pt x="801" y="89"/>
                    </a:cubicBezTo>
                    <a:cubicBezTo>
                      <a:pt x="802" y="87"/>
                      <a:pt x="802" y="87"/>
                      <a:pt x="802" y="87"/>
                    </a:cubicBezTo>
                    <a:cubicBezTo>
                      <a:pt x="804" y="85"/>
                      <a:pt x="804" y="85"/>
                      <a:pt x="804" y="85"/>
                    </a:cubicBezTo>
                    <a:cubicBezTo>
                      <a:pt x="805" y="82"/>
                      <a:pt x="805" y="82"/>
                      <a:pt x="805" y="82"/>
                    </a:cubicBezTo>
                    <a:cubicBezTo>
                      <a:pt x="806" y="82"/>
                      <a:pt x="806" y="82"/>
                      <a:pt x="806" y="82"/>
                    </a:cubicBezTo>
                    <a:cubicBezTo>
                      <a:pt x="806" y="83"/>
                      <a:pt x="806" y="83"/>
                      <a:pt x="806" y="83"/>
                    </a:cubicBezTo>
                    <a:cubicBezTo>
                      <a:pt x="805" y="84"/>
                      <a:pt x="805" y="84"/>
                      <a:pt x="805" y="84"/>
                    </a:cubicBezTo>
                    <a:cubicBezTo>
                      <a:pt x="805" y="85"/>
                      <a:pt x="805" y="85"/>
                      <a:pt x="805" y="85"/>
                    </a:cubicBezTo>
                    <a:cubicBezTo>
                      <a:pt x="806" y="85"/>
                      <a:pt x="806" y="85"/>
                      <a:pt x="806" y="85"/>
                    </a:cubicBezTo>
                    <a:cubicBezTo>
                      <a:pt x="808" y="84"/>
                      <a:pt x="808" y="84"/>
                      <a:pt x="808" y="84"/>
                    </a:cubicBezTo>
                    <a:cubicBezTo>
                      <a:pt x="809" y="83"/>
                      <a:pt x="809" y="83"/>
                      <a:pt x="809" y="83"/>
                    </a:cubicBezTo>
                    <a:cubicBezTo>
                      <a:pt x="809" y="82"/>
                      <a:pt x="809" y="82"/>
                      <a:pt x="809" y="82"/>
                    </a:cubicBezTo>
                    <a:cubicBezTo>
                      <a:pt x="808" y="82"/>
                      <a:pt x="808" y="82"/>
                      <a:pt x="808" y="82"/>
                    </a:cubicBezTo>
                    <a:cubicBezTo>
                      <a:pt x="808" y="81"/>
                      <a:pt x="808" y="81"/>
                      <a:pt x="808" y="81"/>
                    </a:cubicBezTo>
                    <a:cubicBezTo>
                      <a:pt x="809" y="81"/>
                      <a:pt x="809" y="81"/>
                      <a:pt x="809" y="81"/>
                    </a:cubicBezTo>
                    <a:cubicBezTo>
                      <a:pt x="809" y="79"/>
                      <a:pt x="809" y="79"/>
                      <a:pt x="809" y="79"/>
                    </a:cubicBezTo>
                    <a:cubicBezTo>
                      <a:pt x="808" y="78"/>
                      <a:pt x="808" y="78"/>
                      <a:pt x="808" y="78"/>
                    </a:cubicBezTo>
                    <a:cubicBezTo>
                      <a:pt x="808" y="77"/>
                      <a:pt x="808" y="77"/>
                      <a:pt x="808" y="77"/>
                    </a:cubicBezTo>
                    <a:cubicBezTo>
                      <a:pt x="810" y="76"/>
                      <a:pt x="810" y="76"/>
                      <a:pt x="810" y="76"/>
                    </a:cubicBezTo>
                    <a:cubicBezTo>
                      <a:pt x="811" y="74"/>
                      <a:pt x="811" y="74"/>
                      <a:pt x="811" y="74"/>
                    </a:cubicBezTo>
                    <a:cubicBezTo>
                      <a:pt x="812" y="73"/>
                      <a:pt x="812" y="73"/>
                      <a:pt x="812" y="73"/>
                    </a:cubicBezTo>
                    <a:cubicBezTo>
                      <a:pt x="813" y="74"/>
                      <a:pt x="813" y="74"/>
                      <a:pt x="813" y="74"/>
                    </a:cubicBezTo>
                    <a:cubicBezTo>
                      <a:pt x="812" y="74"/>
                      <a:pt x="812" y="74"/>
                      <a:pt x="812" y="74"/>
                    </a:cubicBezTo>
                    <a:cubicBezTo>
                      <a:pt x="811" y="76"/>
                      <a:pt x="811" y="76"/>
                      <a:pt x="811" y="76"/>
                    </a:cubicBezTo>
                    <a:cubicBezTo>
                      <a:pt x="810" y="78"/>
                      <a:pt x="810" y="78"/>
                      <a:pt x="810" y="78"/>
                    </a:cubicBezTo>
                    <a:cubicBezTo>
                      <a:pt x="810" y="80"/>
                      <a:pt x="810" y="80"/>
                      <a:pt x="810" y="80"/>
                    </a:cubicBezTo>
                    <a:cubicBezTo>
                      <a:pt x="810" y="81"/>
                      <a:pt x="810" y="81"/>
                      <a:pt x="810" y="81"/>
                    </a:cubicBezTo>
                    <a:cubicBezTo>
                      <a:pt x="810" y="82"/>
                      <a:pt x="810" y="82"/>
                      <a:pt x="810" y="82"/>
                    </a:cubicBezTo>
                    <a:cubicBezTo>
                      <a:pt x="811" y="81"/>
                      <a:pt x="811" y="81"/>
                      <a:pt x="811" y="81"/>
                    </a:cubicBezTo>
                    <a:cubicBezTo>
                      <a:pt x="812" y="79"/>
                      <a:pt x="812" y="79"/>
                      <a:pt x="812" y="79"/>
                    </a:cubicBezTo>
                    <a:cubicBezTo>
                      <a:pt x="814" y="77"/>
                      <a:pt x="814" y="77"/>
                      <a:pt x="814" y="77"/>
                    </a:cubicBezTo>
                    <a:cubicBezTo>
                      <a:pt x="815" y="76"/>
                      <a:pt x="815" y="76"/>
                      <a:pt x="815" y="76"/>
                    </a:cubicBezTo>
                    <a:cubicBezTo>
                      <a:pt x="815" y="74"/>
                      <a:pt x="815" y="74"/>
                      <a:pt x="815" y="74"/>
                    </a:cubicBezTo>
                    <a:cubicBezTo>
                      <a:pt x="816" y="73"/>
                      <a:pt x="816" y="73"/>
                      <a:pt x="816" y="73"/>
                    </a:cubicBezTo>
                    <a:cubicBezTo>
                      <a:pt x="817" y="73"/>
                      <a:pt x="817" y="73"/>
                      <a:pt x="817" y="73"/>
                    </a:cubicBezTo>
                    <a:cubicBezTo>
                      <a:pt x="817" y="74"/>
                      <a:pt x="817" y="74"/>
                      <a:pt x="817" y="74"/>
                    </a:cubicBezTo>
                    <a:cubicBezTo>
                      <a:pt x="817" y="75"/>
                      <a:pt x="817" y="75"/>
                      <a:pt x="817" y="75"/>
                    </a:cubicBezTo>
                    <a:cubicBezTo>
                      <a:pt x="818" y="75"/>
                      <a:pt x="818" y="75"/>
                      <a:pt x="818" y="75"/>
                    </a:cubicBezTo>
                    <a:cubicBezTo>
                      <a:pt x="819" y="73"/>
                      <a:pt x="819" y="73"/>
                      <a:pt x="819" y="73"/>
                    </a:cubicBezTo>
                    <a:cubicBezTo>
                      <a:pt x="820" y="73"/>
                      <a:pt x="820" y="73"/>
                      <a:pt x="820" y="73"/>
                    </a:cubicBezTo>
                    <a:cubicBezTo>
                      <a:pt x="822" y="73"/>
                      <a:pt x="822" y="73"/>
                      <a:pt x="822" y="73"/>
                    </a:cubicBezTo>
                    <a:cubicBezTo>
                      <a:pt x="824" y="73"/>
                      <a:pt x="824" y="73"/>
                      <a:pt x="824" y="73"/>
                    </a:cubicBezTo>
                    <a:cubicBezTo>
                      <a:pt x="825" y="73"/>
                      <a:pt x="825" y="73"/>
                      <a:pt x="825" y="73"/>
                    </a:cubicBezTo>
                    <a:cubicBezTo>
                      <a:pt x="826" y="72"/>
                      <a:pt x="826" y="72"/>
                      <a:pt x="826" y="72"/>
                    </a:cubicBezTo>
                    <a:cubicBezTo>
                      <a:pt x="827" y="71"/>
                      <a:pt x="827" y="71"/>
                      <a:pt x="827" y="71"/>
                    </a:cubicBezTo>
                    <a:cubicBezTo>
                      <a:pt x="828" y="70"/>
                      <a:pt x="828" y="70"/>
                      <a:pt x="828" y="70"/>
                    </a:cubicBezTo>
                    <a:cubicBezTo>
                      <a:pt x="828" y="69"/>
                      <a:pt x="828" y="69"/>
                      <a:pt x="828" y="69"/>
                    </a:cubicBezTo>
                    <a:cubicBezTo>
                      <a:pt x="827" y="68"/>
                      <a:pt x="827" y="68"/>
                      <a:pt x="827" y="68"/>
                    </a:cubicBezTo>
                    <a:cubicBezTo>
                      <a:pt x="828" y="66"/>
                      <a:pt x="828" y="66"/>
                      <a:pt x="828" y="66"/>
                    </a:cubicBezTo>
                    <a:cubicBezTo>
                      <a:pt x="827" y="63"/>
                      <a:pt x="827" y="63"/>
                      <a:pt x="827" y="63"/>
                    </a:cubicBezTo>
                    <a:cubicBezTo>
                      <a:pt x="826" y="65"/>
                      <a:pt x="826" y="65"/>
                      <a:pt x="826" y="65"/>
                    </a:cubicBezTo>
                    <a:cubicBezTo>
                      <a:pt x="825" y="67"/>
                      <a:pt x="825" y="67"/>
                      <a:pt x="825" y="67"/>
                    </a:cubicBezTo>
                    <a:cubicBezTo>
                      <a:pt x="824" y="67"/>
                      <a:pt x="824" y="67"/>
                      <a:pt x="824" y="67"/>
                    </a:cubicBezTo>
                    <a:cubicBezTo>
                      <a:pt x="824" y="66"/>
                      <a:pt x="824" y="66"/>
                      <a:pt x="824" y="66"/>
                    </a:cubicBezTo>
                    <a:cubicBezTo>
                      <a:pt x="825" y="65"/>
                      <a:pt x="825" y="65"/>
                      <a:pt x="825" y="65"/>
                    </a:cubicBezTo>
                    <a:cubicBezTo>
                      <a:pt x="826" y="64"/>
                      <a:pt x="826" y="64"/>
                      <a:pt x="826" y="64"/>
                    </a:cubicBezTo>
                    <a:cubicBezTo>
                      <a:pt x="826" y="63"/>
                      <a:pt x="826" y="63"/>
                      <a:pt x="826" y="63"/>
                    </a:cubicBezTo>
                    <a:cubicBezTo>
                      <a:pt x="825" y="62"/>
                      <a:pt x="825" y="62"/>
                      <a:pt x="825" y="62"/>
                    </a:cubicBezTo>
                    <a:cubicBezTo>
                      <a:pt x="825" y="61"/>
                      <a:pt x="825" y="61"/>
                      <a:pt x="825" y="61"/>
                    </a:cubicBezTo>
                    <a:cubicBezTo>
                      <a:pt x="824" y="61"/>
                      <a:pt x="824" y="61"/>
                      <a:pt x="824" y="61"/>
                    </a:cubicBezTo>
                    <a:cubicBezTo>
                      <a:pt x="823" y="61"/>
                      <a:pt x="823" y="61"/>
                      <a:pt x="823" y="61"/>
                    </a:cubicBezTo>
                    <a:cubicBezTo>
                      <a:pt x="823" y="62"/>
                      <a:pt x="823" y="62"/>
                      <a:pt x="823" y="62"/>
                    </a:cubicBezTo>
                    <a:cubicBezTo>
                      <a:pt x="822" y="61"/>
                      <a:pt x="822" y="61"/>
                      <a:pt x="822" y="61"/>
                    </a:cubicBezTo>
                    <a:cubicBezTo>
                      <a:pt x="821" y="61"/>
                      <a:pt x="821" y="61"/>
                      <a:pt x="821" y="61"/>
                    </a:cubicBezTo>
                    <a:cubicBezTo>
                      <a:pt x="820" y="62"/>
                      <a:pt x="820" y="62"/>
                      <a:pt x="820" y="62"/>
                    </a:cubicBezTo>
                    <a:cubicBezTo>
                      <a:pt x="819" y="62"/>
                      <a:pt x="819" y="62"/>
                      <a:pt x="819" y="62"/>
                    </a:cubicBezTo>
                    <a:cubicBezTo>
                      <a:pt x="820" y="61"/>
                      <a:pt x="820" y="61"/>
                      <a:pt x="820" y="61"/>
                    </a:cubicBezTo>
                    <a:cubicBezTo>
                      <a:pt x="823" y="60"/>
                      <a:pt x="823" y="60"/>
                      <a:pt x="823" y="60"/>
                    </a:cubicBezTo>
                    <a:cubicBezTo>
                      <a:pt x="824" y="60"/>
                      <a:pt x="824" y="60"/>
                      <a:pt x="824" y="60"/>
                    </a:cubicBezTo>
                    <a:cubicBezTo>
                      <a:pt x="826" y="58"/>
                      <a:pt x="826" y="58"/>
                      <a:pt x="826" y="58"/>
                    </a:cubicBezTo>
                    <a:cubicBezTo>
                      <a:pt x="827" y="57"/>
                      <a:pt x="827" y="57"/>
                      <a:pt x="827" y="57"/>
                    </a:cubicBezTo>
                    <a:cubicBezTo>
                      <a:pt x="828" y="55"/>
                      <a:pt x="828" y="55"/>
                      <a:pt x="828" y="55"/>
                    </a:cubicBezTo>
                    <a:cubicBezTo>
                      <a:pt x="829" y="53"/>
                      <a:pt x="829" y="53"/>
                      <a:pt x="829" y="53"/>
                    </a:cubicBezTo>
                    <a:cubicBezTo>
                      <a:pt x="828" y="52"/>
                      <a:pt x="828" y="52"/>
                      <a:pt x="828" y="52"/>
                    </a:cubicBezTo>
                    <a:cubicBezTo>
                      <a:pt x="827" y="52"/>
                      <a:pt x="827" y="52"/>
                      <a:pt x="827" y="52"/>
                    </a:cubicBezTo>
                    <a:cubicBezTo>
                      <a:pt x="827" y="53"/>
                      <a:pt x="827" y="53"/>
                      <a:pt x="827" y="53"/>
                    </a:cubicBezTo>
                    <a:cubicBezTo>
                      <a:pt x="826" y="52"/>
                      <a:pt x="826" y="52"/>
                      <a:pt x="826" y="52"/>
                    </a:cubicBezTo>
                    <a:cubicBezTo>
                      <a:pt x="827" y="52"/>
                      <a:pt x="827" y="52"/>
                      <a:pt x="827" y="52"/>
                    </a:cubicBezTo>
                    <a:cubicBezTo>
                      <a:pt x="827" y="51"/>
                      <a:pt x="827" y="51"/>
                      <a:pt x="827" y="51"/>
                    </a:cubicBezTo>
                    <a:cubicBezTo>
                      <a:pt x="828" y="51"/>
                      <a:pt x="828" y="51"/>
                      <a:pt x="828" y="51"/>
                    </a:cubicBezTo>
                    <a:cubicBezTo>
                      <a:pt x="829" y="50"/>
                      <a:pt x="829" y="50"/>
                      <a:pt x="829" y="50"/>
                    </a:cubicBezTo>
                    <a:cubicBezTo>
                      <a:pt x="829" y="49"/>
                      <a:pt x="829" y="49"/>
                      <a:pt x="829" y="49"/>
                    </a:cubicBezTo>
                    <a:cubicBezTo>
                      <a:pt x="830" y="48"/>
                      <a:pt x="830" y="48"/>
                      <a:pt x="830" y="48"/>
                    </a:cubicBezTo>
                    <a:cubicBezTo>
                      <a:pt x="830" y="46"/>
                      <a:pt x="830" y="46"/>
                      <a:pt x="830" y="46"/>
                    </a:cubicBezTo>
                    <a:cubicBezTo>
                      <a:pt x="830" y="45"/>
                      <a:pt x="830" y="45"/>
                      <a:pt x="830" y="45"/>
                    </a:cubicBezTo>
                    <a:cubicBezTo>
                      <a:pt x="828" y="45"/>
                      <a:pt x="828" y="45"/>
                      <a:pt x="828" y="45"/>
                    </a:cubicBezTo>
                    <a:cubicBezTo>
                      <a:pt x="827" y="45"/>
                      <a:pt x="827" y="45"/>
                      <a:pt x="827" y="45"/>
                    </a:cubicBezTo>
                    <a:cubicBezTo>
                      <a:pt x="826" y="48"/>
                      <a:pt x="826" y="48"/>
                      <a:pt x="826" y="48"/>
                    </a:cubicBezTo>
                    <a:cubicBezTo>
                      <a:pt x="826" y="49"/>
                      <a:pt x="826" y="49"/>
                      <a:pt x="826" y="49"/>
                    </a:cubicBezTo>
                    <a:cubicBezTo>
                      <a:pt x="826" y="50"/>
                      <a:pt x="826" y="50"/>
                      <a:pt x="826" y="50"/>
                    </a:cubicBezTo>
                    <a:cubicBezTo>
                      <a:pt x="826" y="51"/>
                      <a:pt x="826" y="51"/>
                      <a:pt x="826" y="51"/>
                    </a:cubicBezTo>
                    <a:cubicBezTo>
                      <a:pt x="825" y="52"/>
                      <a:pt x="825" y="52"/>
                      <a:pt x="825" y="52"/>
                    </a:cubicBezTo>
                    <a:cubicBezTo>
                      <a:pt x="825" y="51"/>
                      <a:pt x="825" y="51"/>
                      <a:pt x="825" y="51"/>
                    </a:cubicBezTo>
                    <a:cubicBezTo>
                      <a:pt x="824" y="50"/>
                      <a:pt x="824" y="50"/>
                      <a:pt x="824" y="50"/>
                    </a:cubicBezTo>
                    <a:cubicBezTo>
                      <a:pt x="824" y="49"/>
                      <a:pt x="824" y="49"/>
                      <a:pt x="824" y="49"/>
                    </a:cubicBezTo>
                    <a:cubicBezTo>
                      <a:pt x="825" y="47"/>
                      <a:pt x="825" y="47"/>
                      <a:pt x="825" y="47"/>
                    </a:cubicBezTo>
                    <a:cubicBezTo>
                      <a:pt x="825" y="46"/>
                      <a:pt x="825" y="46"/>
                      <a:pt x="825" y="46"/>
                    </a:cubicBezTo>
                    <a:cubicBezTo>
                      <a:pt x="825" y="45"/>
                      <a:pt x="825" y="45"/>
                      <a:pt x="825" y="45"/>
                    </a:cubicBezTo>
                    <a:cubicBezTo>
                      <a:pt x="826" y="45"/>
                      <a:pt x="826" y="45"/>
                      <a:pt x="826" y="45"/>
                    </a:cubicBezTo>
                    <a:cubicBezTo>
                      <a:pt x="826" y="43"/>
                      <a:pt x="826" y="43"/>
                      <a:pt x="826" y="43"/>
                    </a:cubicBezTo>
                    <a:cubicBezTo>
                      <a:pt x="825" y="42"/>
                      <a:pt x="825" y="42"/>
                      <a:pt x="825" y="42"/>
                    </a:cubicBezTo>
                    <a:cubicBezTo>
                      <a:pt x="824" y="42"/>
                      <a:pt x="824" y="42"/>
                      <a:pt x="824" y="42"/>
                    </a:cubicBezTo>
                    <a:cubicBezTo>
                      <a:pt x="823" y="43"/>
                      <a:pt x="823" y="43"/>
                      <a:pt x="823" y="43"/>
                    </a:cubicBezTo>
                    <a:cubicBezTo>
                      <a:pt x="822" y="44"/>
                      <a:pt x="822" y="44"/>
                      <a:pt x="822" y="44"/>
                    </a:cubicBezTo>
                    <a:cubicBezTo>
                      <a:pt x="822" y="43"/>
                      <a:pt x="822" y="43"/>
                      <a:pt x="822" y="43"/>
                    </a:cubicBezTo>
                    <a:cubicBezTo>
                      <a:pt x="822" y="41"/>
                      <a:pt x="822" y="41"/>
                      <a:pt x="822" y="41"/>
                    </a:cubicBezTo>
                    <a:cubicBezTo>
                      <a:pt x="821" y="39"/>
                      <a:pt x="821" y="39"/>
                      <a:pt x="821" y="39"/>
                    </a:cubicBezTo>
                    <a:cubicBezTo>
                      <a:pt x="821" y="36"/>
                      <a:pt x="821" y="36"/>
                      <a:pt x="821" y="36"/>
                    </a:cubicBezTo>
                    <a:cubicBezTo>
                      <a:pt x="821" y="34"/>
                      <a:pt x="821" y="34"/>
                      <a:pt x="821" y="34"/>
                    </a:cubicBezTo>
                    <a:cubicBezTo>
                      <a:pt x="822" y="33"/>
                      <a:pt x="822" y="33"/>
                      <a:pt x="822" y="33"/>
                    </a:cubicBezTo>
                    <a:cubicBezTo>
                      <a:pt x="822" y="31"/>
                      <a:pt x="822" y="31"/>
                      <a:pt x="822" y="31"/>
                    </a:cubicBezTo>
                    <a:cubicBezTo>
                      <a:pt x="822" y="29"/>
                      <a:pt x="822" y="29"/>
                      <a:pt x="822" y="29"/>
                    </a:cubicBezTo>
                    <a:cubicBezTo>
                      <a:pt x="823" y="27"/>
                      <a:pt x="823" y="27"/>
                      <a:pt x="823" y="27"/>
                    </a:cubicBezTo>
                    <a:cubicBezTo>
                      <a:pt x="823" y="26"/>
                      <a:pt x="823" y="26"/>
                      <a:pt x="823" y="26"/>
                    </a:cubicBezTo>
                    <a:cubicBezTo>
                      <a:pt x="822" y="24"/>
                      <a:pt x="822" y="24"/>
                      <a:pt x="822" y="24"/>
                    </a:cubicBezTo>
                    <a:cubicBezTo>
                      <a:pt x="822" y="23"/>
                      <a:pt x="822" y="23"/>
                      <a:pt x="822" y="23"/>
                    </a:cubicBezTo>
                    <a:cubicBezTo>
                      <a:pt x="820" y="22"/>
                      <a:pt x="820" y="22"/>
                      <a:pt x="820" y="22"/>
                    </a:cubicBezTo>
                    <a:cubicBezTo>
                      <a:pt x="819" y="21"/>
                      <a:pt x="819" y="21"/>
                      <a:pt x="819" y="21"/>
                    </a:cubicBezTo>
                    <a:cubicBezTo>
                      <a:pt x="818" y="20"/>
                      <a:pt x="818" y="20"/>
                      <a:pt x="818" y="20"/>
                    </a:cubicBezTo>
                    <a:cubicBezTo>
                      <a:pt x="817" y="20"/>
                      <a:pt x="817" y="20"/>
                      <a:pt x="817" y="20"/>
                    </a:cubicBezTo>
                    <a:cubicBezTo>
                      <a:pt x="817" y="21"/>
                      <a:pt x="817" y="21"/>
                      <a:pt x="817" y="21"/>
                    </a:cubicBezTo>
                    <a:cubicBezTo>
                      <a:pt x="815" y="20"/>
                      <a:pt x="815" y="20"/>
                      <a:pt x="815" y="20"/>
                    </a:cubicBezTo>
                    <a:cubicBezTo>
                      <a:pt x="814" y="20"/>
                      <a:pt x="814" y="20"/>
                      <a:pt x="814" y="20"/>
                    </a:cubicBezTo>
                    <a:cubicBezTo>
                      <a:pt x="814" y="21"/>
                      <a:pt x="814" y="21"/>
                      <a:pt x="814" y="21"/>
                    </a:cubicBezTo>
                    <a:cubicBezTo>
                      <a:pt x="813" y="23"/>
                      <a:pt x="813" y="23"/>
                      <a:pt x="813" y="23"/>
                    </a:cubicBezTo>
                    <a:cubicBezTo>
                      <a:pt x="814" y="24"/>
                      <a:pt x="814" y="24"/>
                      <a:pt x="814" y="24"/>
                    </a:cubicBezTo>
                    <a:cubicBezTo>
                      <a:pt x="815" y="24"/>
                      <a:pt x="815" y="24"/>
                      <a:pt x="815" y="24"/>
                    </a:cubicBezTo>
                    <a:cubicBezTo>
                      <a:pt x="816" y="23"/>
                      <a:pt x="816" y="23"/>
                      <a:pt x="816" y="23"/>
                    </a:cubicBezTo>
                    <a:cubicBezTo>
                      <a:pt x="817" y="24"/>
                      <a:pt x="817" y="24"/>
                      <a:pt x="817" y="24"/>
                    </a:cubicBezTo>
                    <a:cubicBezTo>
                      <a:pt x="818" y="25"/>
                      <a:pt x="818" y="25"/>
                      <a:pt x="818" y="25"/>
                    </a:cubicBezTo>
                    <a:cubicBezTo>
                      <a:pt x="819" y="25"/>
                      <a:pt x="819" y="25"/>
                      <a:pt x="819" y="25"/>
                    </a:cubicBezTo>
                    <a:cubicBezTo>
                      <a:pt x="819" y="26"/>
                      <a:pt x="819" y="26"/>
                      <a:pt x="819" y="26"/>
                    </a:cubicBezTo>
                    <a:cubicBezTo>
                      <a:pt x="817" y="28"/>
                      <a:pt x="817" y="28"/>
                      <a:pt x="817" y="28"/>
                    </a:cubicBezTo>
                    <a:cubicBezTo>
                      <a:pt x="816" y="28"/>
                      <a:pt x="816" y="28"/>
                      <a:pt x="816" y="28"/>
                    </a:cubicBezTo>
                    <a:cubicBezTo>
                      <a:pt x="815" y="27"/>
                      <a:pt x="815" y="27"/>
                      <a:pt x="815" y="27"/>
                    </a:cubicBezTo>
                    <a:cubicBezTo>
                      <a:pt x="814" y="27"/>
                      <a:pt x="814" y="27"/>
                      <a:pt x="814" y="27"/>
                    </a:cubicBezTo>
                    <a:cubicBezTo>
                      <a:pt x="812" y="27"/>
                      <a:pt x="812" y="27"/>
                      <a:pt x="812" y="27"/>
                    </a:cubicBezTo>
                    <a:cubicBezTo>
                      <a:pt x="813" y="28"/>
                      <a:pt x="813" y="28"/>
                      <a:pt x="813" y="28"/>
                    </a:cubicBezTo>
                    <a:cubicBezTo>
                      <a:pt x="814" y="28"/>
                      <a:pt x="814" y="28"/>
                      <a:pt x="814" y="28"/>
                    </a:cubicBezTo>
                    <a:cubicBezTo>
                      <a:pt x="813" y="29"/>
                      <a:pt x="813" y="29"/>
                      <a:pt x="813" y="29"/>
                    </a:cubicBezTo>
                    <a:cubicBezTo>
                      <a:pt x="812" y="29"/>
                      <a:pt x="812" y="29"/>
                      <a:pt x="812" y="29"/>
                    </a:cubicBezTo>
                    <a:cubicBezTo>
                      <a:pt x="810" y="28"/>
                      <a:pt x="810" y="28"/>
                      <a:pt x="810" y="28"/>
                    </a:cubicBezTo>
                    <a:cubicBezTo>
                      <a:pt x="808" y="29"/>
                      <a:pt x="808" y="29"/>
                      <a:pt x="808" y="29"/>
                    </a:cubicBezTo>
                    <a:cubicBezTo>
                      <a:pt x="808" y="30"/>
                      <a:pt x="808" y="30"/>
                      <a:pt x="808" y="30"/>
                    </a:cubicBezTo>
                    <a:cubicBezTo>
                      <a:pt x="807" y="31"/>
                      <a:pt x="807" y="31"/>
                      <a:pt x="807" y="31"/>
                    </a:cubicBezTo>
                    <a:cubicBezTo>
                      <a:pt x="807" y="32"/>
                      <a:pt x="807" y="32"/>
                      <a:pt x="807" y="32"/>
                    </a:cubicBezTo>
                    <a:cubicBezTo>
                      <a:pt x="808" y="32"/>
                      <a:pt x="808" y="32"/>
                      <a:pt x="808" y="32"/>
                    </a:cubicBezTo>
                    <a:cubicBezTo>
                      <a:pt x="808" y="34"/>
                      <a:pt x="808" y="34"/>
                      <a:pt x="808" y="34"/>
                    </a:cubicBezTo>
                    <a:cubicBezTo>
                      <a:pt x="810" y="34"/>
                      <a:pt x="810" y="34"/>
                      <a:pt x="810" y="34"/>
                    </a:cubicBezTo>
                    <a:cubicBezTo>
                      <a:pt x="810" y="35"/>
                      <a:pt x="810" y="35"/>
                      <a:pt x="810" y="35"/>
                    </a:cubicBezTo>
                    <a:cubicBezTo>
                      <a:pt x="809" y="35"/>
                      <a:pt x="809" y="35"/>
                      <a:pt x="809" y="35"/>
                    </a:cubicBezTo>
                    <a:cubicBezTo>
                      <a:pt x="809" y="36"/>
                      <a:pt x="809" y="36"/>
                      <a:pt x="809" y="36"/>
                    </a:cubicBezTo>
                    <a:cubicBezTo>
                      <a:pt x="809" y="37"/>
                      <a:pt x="809" y="37"/>
                      <a:pt x="809" y="37"/>
                    </a:cubicBezTo>
                    <a:cubicBezTo>
                      <a:pt x="808" y="37"/>
                      <a:pt x="808" y="37"/>
                      <a:pt x="808" y="37"/>
                    </a:cubicBezTo>
                    <a:cubicBezTo>
                      <a:pt x="806" y="37"/>
                      <a:pt x="806" y="37"/>
                      <a:pt x="806" y="37"/>
                    </a:cubicBezTo>
                    <a:cubicBezTo>
                      <a:pt x="805" y="36"/>
                      <a:pt x="805" y="36"/>
                      <a:pt x="805" y="36"/>
                    </a:cubicBezTo>
                    <a:cubicBezTo>
                      <a:pt x="804" y="35"/>
                      <a:pt x="804" y="35"/>
                      <a:pt x="804" y="35"/>
                    </a:cubicBezTo>
                    <a:cubicBezTo>
                      <a:pt x="803" y="36"/>
                      <a:pt x="803" y="36"/>
                      <a:pt x="803" y="36"/>
                    </a:cubicBezTo>
                    <a:cubicBezTo>
                      <a:pt x="803" y="37"/>
                      <a:pt x="803" y="37"/>
                      <a:pt x="803" y="37"/>
                    </a:cubicBezTo>
                    <a:cubicBezTo>
                      <a:pt x="804" y="38"/>
                      <a:pt x="804" y="38"/>
                      <a:pt x="804" y="38"/>
                    </a:cubicBezTo>
                    <a:cubicBezTo>
                      <a:pt x="803" y="39"/>
                      <a:pt x="803" y="39"/>
                      <a:pt x="803" y="39"/>
                    </a:cubicBezTo>
                    <a:cubicBezTo>
                      <a:pt x="802" y="39"/>
                      <a:pt x="802" y="39"/>
                      <a:pt x="802" y="39"/>
                    </a:cubicBezTo>
                    <a:cubicBezTo>
                      <a:pt x="802" y="38"/>
                      <a:pt x="802" y="38"/>
                      <a:pt x="802" y="38"/>
                    </a:cubicBezTo>
                    <a:cubicBezTo>
                      <a:pt x="802" y="37"/>
                      <a:pt x="802" y="37"/>
                      <a:pt x="802" y="37"/>
                    </a:cubicBezTo>
                    <a:cubicBezTo>
                      <a:pt x="800" y="37"/>
                      <a:pt x="800" y="37"/>
                      <a:pt x="800" y="37"/>
                    </a:cubicBezTo>
                    <a:cubicBezTo>
                      <a:pt x="799" y="36"/>
                      <a:pt x="799" y="36"/>
                      <a:pt x="799" y="36"/>
                    </a:cubicBezTo>
                    <a:cubicBezTo>
                      <a:pt x="798" y="36"/>
                      <a:pt x="798" y="36"/>
                      <a:pt x="798" y="36"/>
                    </a:cubicBezTo>
                    <a:cubicBezTo>
                      <a:pt x="798" y="37"/>
                      <a:pt x="798" y="37"/>
                      <a:pt x="798" y="37"/>
                    </a:cubicBezTo>
                    <a:cubicBezTo>
                      <a:pt x="798" y="38"/>
                      <a:pt x="798" y="38"/>
                      <a:pt x="798" y="38"/>
                    </a:cubicBezTo>
                    <a:cubicBezTo>
                      <a:pt x="798" y="40"/>
                      <a:pt x="798" y="40"/>
                      <a:pt x="798" y="40"/>
                    </a:cubicBezTo>
                    <a:cubicBezTo>
                      <a:pt x="799" y="41"/>
                      <a:pt x="799" y="41"/>
                      <a:pt x="799" y="41"/>
                    </a:cubicBezTo>
                    <a:cubicBezTo>
                      <a:pt x="800" y="42"/>
                      <a:pt x="800" y="42"/>
                      <a:pt x="800" y="42"/>
                    </a:cubicBezTo>
                    <a:cubicBezTo>
                      <a:pt x="801" y="42"/>
                      <a:pt x="801" y="42"/>
                      <a:pt x="801" y="42"/>
                    </a:cubicBezTo>
                    <a:cubicBezTo>
                      <a:pt x="802" y="43"/>
                      <a:pt x="802" y="43"/>
                      <a:pt x="802" y="43"/>
                    </a:cubicBezTo>
                    <a:cubicBezTo>
                      <a:pt x="801" y="43"/>
                      <a:pt x="801" y="43"/>
                      <a:pt x="801" y="43"/>
                    </a:cubicBezTo>
                    <a:cubicBezTo>
                      <a:pt x="800" y="43"/>
                      <a:pt x="800" y="43"/>
                      <a:pt x="800" y="43"/>
                    </a:cubicBezTo>
                    <a:cubicBezTo>
                      <a:pt x="801" y="44"/>
                      <a:pt x="801" y="44"/>
                      <a:pt x="801" y="44"/>
                    </a:cubicBezTo>
                    <a:cubicBezTo>
                      <a:pt x="802" y="45"/>
                      <a:pt x="802" y="45"/>
                      <a:pt x="802" y="45"/>
                    </a:cubicBezTo>
                    <a:cubicBezTo>
                      <a:pt x="803" y="46"/>
                      <a:pt x="803" y="46"/>
                      <a:pt x="803" y="46"/>
                    </a:cubicBezTo>
                    <a:cubicBezTo>
                      <a:pt x="805" y="46"/>
                      <a:pt x="805" y="46"/>
                      <a:pt x="805" y="46"/>
                    </a:cubicBezTo>
                    <a:cubicBezTo>
                      <a:pt x="805" y="45"/>
                      <a:pt x="805" y="45"/>
                      <a:pt x="805" y="45"/>
                    </a:cubicBezTo>
                    <a:cubicBezTo>
                      <a:pt x="806" y="45"/>
                      <a:pt x="806" y="45"/>
                      <a:pt x="806" y="45"/>
                    </a:cubicBezTo>
                    <a:cubicBezTo>
                      <a:pt x="806" y="46"/>
                      <a:pt x="806" y="46"/>
                      <a:pt x="806" y="46"/>
                    </a:cubicBezTo>
                    <a:cubicBezTo>
                      <a:pt x="805" y="46"/>
                      <a:pt x="805" y="46"/>
                      <a:pt x="805" y="46"/>
                    </a:cubicBezTo>
                    <a:cubicBezTo>
                      <a:pt x="805" y="48"/>
                      <a:pt x="805" y="48"/>
                      <a:pt x="805" y="48"/>
                    </a:cubicBezTo>
                    <a:cubicBezTo>
                      <a:pt x="804" y="48"/>
                      <a:pt x="804" y="48"/>
                      <a:pt x="804" y="48"/>
                    </a:cubicBezTo>
                    <a:cubicBezTo>
                      <a:pt x="802" y="47"/>
                      <a:pt x="802" y="47"/>
                      <a:pt x="802" y="47"/>
                    </a:cubicBezTo>
                    <a:cubicBezTo>
                      <a:pt x="799" y="46"/>
                      <a:pt x="799" y="46"/>
                      <a:pt x="799" y="46"/>
                    </a:cubicBezTo>
                    <a:cubicBezTo>
                      <a:pt x="798" y="45"/>
                      <a:pt x="798" y="45"/>
                      <a:pt x="798" y="45"/>
                    </a:cubicBezTo>
                    <a:cubicBezTo>
                      <a:pt x="797" y="44"/>
                      <a:pt x="797" y="44"/>
                      <a:pt x="797" y="44"/>
                    </a:cubicBezTo>
                    <a:cubicBezTo>
                      <a:pt x="796" y="44"/>
                      <a:pt x="796" y="44"/>
                      <a:pt x="796" y="44"/>
                    </a:cubicBezTo>
                    <a:cubicBezTo>
                      <a:pt x="795" y="45"/>
                      <a:pt x="795" y="45"/>
                      <a:pt x="795" y="45"/>
                    </a:cubicBezTo>
                    <a:cubicBezTo>
                      <a:pt x="795" y="46"/>
                      <a:pt x="795" y="46"/>
                      <a:pt x="795" y="46"/>
                    </a:cubicBezTo>
                    <a:cubicBezTo>
                      <a:pt x="795" y="48"/>
                      <a:pt x="795" y="48"/>
                      <a:pt x="795" y="48"/>
                    </a:cubicBezTo>
                    <a:cubicBezTo>
                      <a:pt x="794" y="49"/>
                      <a:pt x="794" y="49"/>
                      <a:pt x="794" y="49"/>
                    </a:cubicBezTo>
                    <a:cubicBezTo>
                      <a:pt x="794" y="50"/>
                      <a:pt x="794" y="50"/>
                      <a:pt x="794" y="50"/>
                    </a:cubicBezTo>
                    <a:cubicBezTo>
                      <a:pt x="793" y="50"/>
                      <a:pt x="793" y="50"/>
                      <a:pt x="793" y="50"/>
                    </a:cubicBezTo>
                    <a:cubicBezTo>
                      <a:pt x="793" y="53"/>
                      <a:pt x="793" y="53"/>
                      <a:pt x="793" y="53"/>
                    </a:cubicBezTo>
                    <a:cubicBezTo>
                      <a:pt x="794" y="54"/>
                      <a:pt x="794" y="54"/>
                      <a:pt x="794" y="54"/>
                    </a:cubicBezTo>
                    <a:cubicBezTo>
                      <a:pt x="796" y="54"/>
                      <a:pt x="796" y="54"/>
                      <a:pt x="796" y="54"/>
                    </a:cubicBezTo>
                    <a:cubicBezTo>
                      <a:pt x="797" y="55"/>
                      <a:pt x="797" y="55"/>
                      <a:pt x="797" y="55"/>
                    </a:cubicBezTo>
                    <a:cubicBezTo>
                      <a:pt x="798" y="54"/>
                      <a:pt x="798" y="54"/>
                      <a:pt x="798" y="54"/>
                    </a:cubicBezTo>
                    <a:cubicBezTo>
                      <a:pt x="798" y="55"/>
                      <a:pt x="798" y="55"/>
                      <a:pt x="798" y="55"/>
                    </a:cubicBezTo>
                    <a:cubicBezTo>
                      <a:pt x="797" y="55"/>
                      <a:pt x="797" y="55"/>
                      <a:pt x="797" y="55"/>
                    </a:cubicBezTo>
                    <a:cubicBezTo>
                      <a:pt x="796" y="55"/>
                      <a:pt x="796" y="55"/>
                      <a:pt x="796" y="55"/>
                    </a:cubicBezTo>
                    <a:cubicBezTo>
                      <a:pt x="794" y="55"/>
                      <a:pt x="794" y="55"/>
                      <a:pt x="794" y="55"/>
                    </a:cubicBezTo>
                    <a:cubicBezTo>
                      <a:pt x="793" y="54"/>
                      <a:pt x="793" y="54"/>
                      <a:pt x="793" y="54"/>
                    </a:cubicBezTo>
                    <a:cubicBezTo>
                      <a:pt x="792" y="55"/>
                      <a:pt x="792" y="55"/>
                      <a:pt x="792" y="55"/>
                    </a:cubicBezTo>
                    <a:cubicBezTo>
                      <a:pt x="790" y="57"/>
                      <a:pt x="790" y="57"/>
                      <a:pt x="790" y="57"/>
                    </a:cubicBezTo>
                    <a:cubicBezTo>
                      <a:pt x="790" y="58"/>
                      <a:pt x="790" y="58"/>
                      <a:pt x="790" y="58"/>
                    </a:cubicBezTo>
                    <a:cubicBezTo>
                      <a:pt x="791" y="59"/>
                      <a:pt x="791" y="59"/>
                      <a:pt x="791" y="59"/>
                    </a:cubicBezTo>
                    <a:cubicBezTo>
                      <a:pt x="790" y="60"/>
                      <a:pt x="790" y="60"/>
                      <a:pt x="790" y="60"/>
                    </a:cubicBezTo>
                    <a:cubicBezTo>
                      <a:pt x="790" y="61"/>
                      <a:pt x="790" y="61"/>
                      <a:pt x="790" y="61"/>
                    </a:cubicBezTo>
                    <a:cubicBezTo>
                      <a:pt x="791" y="61"/>
                      <a:pt x="791" y="61"/>
                      <a:pt x="791" y="61"/>
                    </a:cubicBezTo>
                    <a:cubicBezTo>
                      <a:pt x="793" y="61"/>
                      <a:pt x="793" y="61"/>
                      <a:pt x="793" y="61"/>
                    </a:cubicBezTo>
                    <a:cubicBezTo>
                      <a:pt x="794" y="60"/>
                      <a:pt x="794" y="60"/>
                      <a:pt x="794" y="60"/>
                    </a:cubicBezTo>
                    <a:cubicBezTo>
                      <a:pt x="795" y="60"/>
                      <a:pt x="795" y="60"/>
                      <a:pt x="795" y="60"/>
                    </a:cubicBezTo>
                    <a:cubicBezTo>
                      <a:pt x="794" y="61"/>
                      <a:pt x="794" y="61"/>
                      <a:pt x="794" y="61"/>
                    </a:cubicBezTo>
                    <a:cubicBezTo>
                      <a:pt x="793" y="61"/>
                      <a:pt x="793" y="61"/>
                      <a:pt x="793" y="61"/>
                    </a:cubicBezTo>
                    <a:cubicBezTo>
                      <a:pt x="793" y="63"/>
                      <a:pt x="793" y="63"/>
                      <a:pt x="793" y="63"/>
                    </a:cubicBezTo>
                    <a:cubicBezTo>
                      <a:pt x="794" y="63"/>
                      <a:pt x="794" y="63"/>
                      <a:pt x="794" y="63"/>
                    </a:cubicBezTo>
                    <a:cubicBezTo>
                      <a:pt x="795" y="62"/>
                      <a:pt x="795" y="62"/>
                      <a:pt x="795" y="62"/>
                    </a:cubicBezTo>
                    <a:cubicBezTo>
                      <a:pt x="796" y="62"/>
                      <a:pt x="796" y="62"/>
                      <a:pt x="796" y="62"/>
                    </a:cubicBezTo>
                    <a:cubicBezTo>
                      <a:pt x="797" y="61"/>
                      <a:pt x="797" y="61"/>
                      <a:pt x="797" y="61"/>
                    </a:cubicBezTo>
                    <a:cubicBezTo>
                      <a:pt x="797" y="62"/>
                      <a:pt x="797" y="62"/>
                      <a:pt x="797" y="62"/>
                    </a:cubicBezTo>
                    <a:cubicBezTo>
                      <a:pt x="796" y="63"/>
                      <a:pt x="796" y="63"/>
                      <a:pt x="796" y="63"/>
                    </a:cubicBezTo>
                    <a:cubicBezTo>
                      <a:pt x="797" y="63"/>
                      <a:pt x="797" y="63"/>
                      <a:pt x="797" y="63"/>
                    </a:cubicBezTo>
                    <a:cubicBezTo>
                      <a:pt x="799" y="63"/>
                      <a:pt x="799" y="63"/>
                      <a:pt x="799" y="63"/>
                    </a:cubicBezTo>
                    <a:cubicBezTo>
                      <a:pt x="799" y="64"/>
                      <a:pt x="799" y="64"/>
                      <a:pt x="799" y="64"/>
                    </a:cubicBezTo>
                    <a:cubicBezTo>
                      <a:pt x="798" y="64"/>
                      <a:pt x="798" y="64"/>
                      <a:pt x="798" y="64"/>
                    </a:cubicBezTo>
                    <a:cubicBezTo>
                      <a:pt x="798" y="65"/>
                      <a:pt x="798" y="65"/>
                      <a:pt x="798" y="65"/>
                    </a:cubicBezTo>
                    <a:cubicBezTo>
                      <a:pt x="799" y="65"/>
                      <a:pt x="799" y="65"/>
                      <a:pt x="799" y="65"/>
                    </a:cubicBezTo>
                    <a:cubicBezTo>
                      <a:pt x="801" y="65"/>
                      <a:pt x="801" y="65"/>
                      <a:pt x="801" y="65"/>
                    </a:cubicBezTo>
                    <a:cubicBezTo>
                      <a:pt x="802" y="66"/>
                      <a:pt x="802" y="66"/>
                      <a:pt x="802" y="66"/>
                    </a:cubicBezTo>
                    <a:cubicBezTo>
                      <a:pt x="805" y="67"/>
                      <a:pt x="805" y="67"/>
                      <a:pt x="805" y="67"/>
                    </a:cubicBezTo>
                    <a:cubicBezTo>
                      <a:pt x="803" y="67"/>
                      <a:pt x="803" y="67"/>
                      <a:pt x="803" y="67"/>
                    </a:cubicBezTo>
                    <a:cubicBezTo>
                      <a:pt x="802" y="67"/>
                      <a:pt x="802" y="67"/>
                      <a:pt x="802" y="67"/>
                    </a:cubicBezTo>
                    <a:cubicBezTo>
                      <a:pt x="800" y="66"/>
                      <a:pt x="800" y="66"/>
                      <a:pt x="800" y="66"/>
                    </a:cubicBezTo>
                    <a:cubicBezTo>
                      <a:pt x="798" y="67"/>
                      <a:pt x="798" y="67"/>
                      <a:pt x="798" y="67"/>
                    </a:cubicBezTo>
                    <a:cubicBezTo>
                      <a:pt x="800" y="68"/>
                      <a:pt x="800" y="68"/>
                      <a:pt x="800" y="68"/>
                    </a:cubicBezTo>
                    <a:cubicBezTo>
                      <a:pt x="802" y="68"/>
                      <a:pt x="802" y="68"/>
                      <a:pt x="802" y="68"/>
                    </a:cubicBezTo>
                    <a:cubicBezTo>
                      <a:pt x="805" y="68"/>
                      <a:pt x="805" y="68"/>
                      <a:pt x="805" y="68"/>
                    </a:cubicBezTo>
                    <a:cubicBezTo>
                      <a:pt x="806" y="69"/>
                      <a:pt x="806" y="69"/>
                      <a:pt x="806" y="69"/>
                    </a:cubicBezTo>
                    <a:cubicBezTo>
                      <a:pt x="803" y="70"/>
                      <a:pt x="803" y="70"/>
                      <a:pt x="803" y="70"/>
                    </a:cubicBezTo>
                    <a:cubicBezTo>
                      <a:pt x="802" y="69"/>
                      <a:pt x="802" y="69"/>
                      <a:pt x="802" y="69"/>
                    </a:cubicBezTo>
                    <a:cubicBezTo>
                      <a:pt x="800" y="69"/>
                      <a:pt x="800" y="69"/>
                      <a:pt x="800" y="69"/>
                    </a:cubicBezTo>
                    <a:cubicBezTo>
                      <a:pt x="798" y="69"/>
                      <a:pt x="798" y="69"/>
                      <a:pt x="798" y="69"/>
                    </a:cubicBezTo>
                    <a:cubicBezTo>
                      <a:pt x="797" y="68"/>
                      <a:pt x="797" y="68"/>
                      <a:pt x="797" y="68"/>
                    </a:cubicBezTo>
                    <a:cubicBezTo>
                      <a:pt x="796" y="67"/>
                      <a:pt x="796" y="67"/>
                      <a:pt x="796" y="67"/>
                    </a:cubicBezTo>
                    <a:cubicBezTo>
                      <a:pt x="794" y="66"/>
                      <a:pt x="794" y="66"/>
                      <a:pt x="794" y="66"/>
                    </a:cubicBezTo>
                    <a:cubicBezTo>
                      <a:pt x="793" y="67"/>
                      <a:pt x="793" y="67"/>
                      <a:pt x="793" y="67"/>
                    </a:cubicBezTo>
                    <a:cubicBezTo>
                      <a:pt x="791" y="67"/>
                      <a:pt x="791" y="67"/>
                      <a:pt x="791" y="67"/>
                    </a:cubicBezTo>
                    <a:cubicBezTo>
                      <a:pt x="790" y="68"/>
                      <a:pt x="790" y="68"/>
                      <a:pt x="790" y="68"/>
                    </a:cubicBezTo>
                    <a:cubicBezTo>
                      <a:pt x="790" y="70"/>
                      <a:pt x="790" y="70"/>
                      <a:pt x="790" y="70"/>
                    </a:cubicBezTo>
                    <a:cubicBezTo>
                      <a:pt x="791" y="72"/>
                      <a:pt x="791" y="72"/>
                      <a:pt x="791" y="72"/>
                    </a:cubicBezTo>
                    <a:cubicBezTo>
                      <a:pt x="791" y="73"/>
                      <a:pt x="791" y="73"/>
                      <a:pt x="791" y="73"/>
                    </a:cubicBezTo>
                    <a:cubicBezTo>
                      <a:pt x="791" y="74"/>
                      <a:pt x="791" y="74"/>
                      <a:pt x="791" y="74"/>
                    </a:cubicBezTo>
                    <a:cubicBezTo>
                      <a:pt x="790" y="72"/>
                      <a:pt x="790" y="72"/>
                      <a:pt x="790" y="72"/>
                    </a:cubicBezTo>
                    <a:cubicBezTo>
                      <a:pt x="789" y="72"/>
                      <a:pt x="789" y="72"/>
                      <a:pt x="789" y="72"/>
                    </a:cubicBezTo>
                    <a:cubicBezTo>
                      <a:pt x="788" y="74"/>
                      <a:pt x="788" y="74"/>
                      <a:pt x="788" y="74"/>
                    </a:cubicBezTo>
                    <a:cubicBezTo>
                      <a:pt x="788" y="76"/>
                      <a:pt x="788" y="76"/>
                      <a:pt x="788" y="76"/>
                    </a:cubicBezTo>
                    <a:cubicBezTo>
                      <a:pt x="789" y="76"/>
                      <a:pt x="789" y="76"/>
                      <a:pt x="789" y="76"/>
                    </a:cubicBezTo>
                    <a:cubicBezTo>
                      <a:pt x="790" y="76"/>
                      <a:pt x="790" y="76"/>
                      <a:pt x="790" y="76"/>
                    </a:cubicBezTo>
                    <a:cubicBezTo>
                      <a:pt x="791" y="76"/>
                      <a:pt x="791" y="76"/>
                      <a:pt x="791" y="76"/>
                    </a:cubicBezTo>
                    <a:cubicBezTo>
                      <a:pt x="791" y="77"/>
                      <a:pt x="791" y="77"/>
                      <a:pt x="791" y="77"/>
                    </a:cubicBezTo>
                    <a:cubicBezTo>
                      <a:pt x="792" y="77"/>
                      <a:pt x="792" y="77"/>
                      <a:pt x="792" y="77"/>
                    </a:cubicBezTo>
                    <a:cubicBezTo>
                      <a:pt x="791" y="78"/>
                      <a:pt x="791" y="78"/>
                      <a:pt x="791" y="78"/>
                    </a:cubicBezTo>
                    <a:cubicBezTo>
                      <a:pt x="790" y="77"/>
                      <a:pt x="790" y="77"/>
                      <a:pt x="790" y="77"/>
                    </a:cubicBezTo>
                    <a:cubicBezTo>
                      <a:pt x="788" y="77"/>
                      <a:pt x="788" y="77"/>
                      <a:pt x="788" y="77"/>
                    </a:cubicBezTo>
                    <a:cubicBezTo>
                      <a:pt x="788" y="79"/>
                      <a:pt x="788" y="79"/>
                      <a:pt x="788" y="79"/>
                    </a:cubicBezTo>
                    <a:cubicBezTo>
                      <a:pt x="788" y="80"/>
                      <a:pt x="788" y="80"/>
                      <a:pt x="788" y="80"/>
                    </a:cubicBezTo>
                    <a:cubicBezTo>
                      <a:pt x="789" y="80"/>
                      <a:pt x="789" y="80"/>
                      <a:pt x="789" y="80"/>
                    </a:cubicBezTo>
                    <a:cubicBezTo>
                      <a:pt x="789" y="81"/>
                      <a:pt x="789" y="81"/>
                      <a:pt x="789" y="81"/>
                    </a:cubicBezTo>
                    <a:close/>
                    <a:moveTo>
                      <a:pt x="762" y="99"/>
                    </a:moveTo>
                    <a:cubicBezTo>
                      <a:pt x="761" y="99"/>
                      <a:pt x="761" y="99"/>
                      <a:pt x="761" y="99"/>
                    </a:cubicBezTo>
                    <a:cubicBezTo>
                      <a:pt x="760" y="98"/>
                      <a:pt x="760" y="98"/>
                      <a:pt x="760" y="98"/>
                    </a:cubicBezTo>
                    <a:cubicBezTo>
                      <a:pt x="759" y="99"/>
                      <a:pt x="759" y="99"/>
                      <a:pt x="759" y="99"/>
                    </a:cubicBezTo>
                    <a:cubicBezTo>
                      <a:pt x="757" y="99"/>
                      <a:pt x="757" y="99"/>
                      <a:pt x="757" y="99"/>
                    </a:cubicBezTo>
                    <a:cubicBezTo>
                      <a:pt x="756" y="100"/>
                      <a:pt x="756" y="100"/>
                      <a:pt x="756" y="100"/>
                    </a:cubicBezTo>
                    <a:cubicBezTo>
                      <a:pt x="755" y="101"/>
                      <a:pt x="755" y="101"/>
                      <a:pt x="755" y="101"/>
                    </a:cubicBezTo>
                    <a:cubicBezTo>
                      <a:pt x="756" y="102"/>
                      <a:pt x="756" y="102"/>
                      <a:pt x="756" y="102"/>
                    </a:cubicBezTo>
                    <a:cubicBezTo>
                      <a:pt x="757" y="103"/>
                      <a:pt x="757" y="103"/>
                      <a:pt x="757" y="103"/>
                    </a:cubicBezTo>
                    <a:cubicBezTo>
                      <a:pt x="756" y="103"/>
                      <a:pt x="756" y="103"/>
                      <a:pt x="756" y="103"/>
                    </a:cubicBezTo>
                    <a:cubicBezTo>
                      <a:pt x="755" y="101"/>
                      <a:pt x="755" y="101"/>
                      <a:pt x="755" y="101"/>
                    </a:cubicBezTo>
                    <a:cubicBezTo>
                      <a:pt x="754" y="102"/>
                      <a:pt x="754" y="102"/>
                      <a:pt x="754" y="102"/>
                    </a:cubicBezTo>
                    <a:cubicBezTo>
                      <a:pt x="755" y="103"/>
                      <a:pt x="755" y="103"/>
                      <a:pt x="755" y="103"/>
                    </a:cubicBezTo>
                    <a:cubicBezTo>
                      <a:pt x="756" y="104"/>
                      <a:pt x="756" y="104"/>
                      <a:pt x="756" y="104"/>
                    </a:cubicBezTo>
                    <a:cubicBezTo>
                      <a:pt x="757" y="106"/>
                      <a:pt x="757" y="106"/>
                      <a:pt x="757" y="106"/>
                    </a:cubicBezTo>
                    <a:cubicBezTo>
                      <a:pt x="758" y="106"/>
                      <a:pt x="758" y="106"/>
                      <a:pt x="758" y="106"/>
                    </a:cubicBezTo>
                    <a:cubicBezTo>
                      <a:pt x="758" y="107"/>
                      <a:pt x="758" y="107"/>
                      <a:pt x="758" y="107"/>
                    </a:cubicBezTo>
                    <a:cubicBezTo>
                      <a:pt x="756" y="107"/>
                      <a:pt x="756" y="107"/>
                      <a:pt x="756" y="107"/>
                    </a:cubicBezTo>
                    <a:cubicBezTo>
                      <a:pt x="756" y="108"/>
                      <a:pt x="756" y="108"/>
                      <a:pt x="756" y="108"/>
                    </a:cubicBezTo>
                    <a:cubicBezTo>
                      <a:pt x="758" y="110"/>
                      <a:pt x="758" y="110"/>
                      <a:pt x="758" y="110"/>
                    </a:cubicBezTo>
                    <a:cubicBezTo>
                      <a:pt x="759" y="110"/>
                      <a:pt x="759" y="110"/>
                      <a:pt x="759" y="110"/>
                    </a:cubicBezTo>
                    <a:cubicBezTo>
                      <a:pt x="759" y="111"/>
                      <a:pt x="759" y="111"/>
                      <a:pt x="759" y="111"/>
                    </a:cubicBezTo>
                    <a:cubicBezTo>
                      <a:pt x="757" y="111"/>
                      <a:pt x="757" y="111"/>
                      <a:pt x="757" y="111"/>
                    </a:cubicBezTo>
                    <a:cubicBezTo>
                      <a:pt x="756" y="112"/>
                      <a:pt x="756" y="112"/>
                      <a:pt x="756" y="112"/>
                    </a:cubicBezTo>
                    <a:cubicBezTo>
                      <a:pt x="756" y="113"/>
                      <a:pt x="756" y="113"/>
                      <a:pt x="756" y="113"/>
                    </a:cubicBezTo>
                    <a:cubicBezTo>
                      <a:pt x="757" y="112"/>
                      <a:pt x="757" y="112"/>
                      <a:pt x="757" y="112"/>
                    </a:cubicBezTo>
                    <a:cubicBezTo>
                      <a:pt x="758" y="113"/>
                      <a:pt x="758" y="113"/>
                      <a:pt x="758" y="113"/>
                    </a:cubicBezTo>
                    <a:cubicBezTo>
                      <a:pt x="760" y="112"/>
                      <a:pt x="760" y="112"/>
                      <a:pt x="760" y="112"/>
                    </a:cubicBezTo>
                    <a:cubicBezTo>
                      <a:pt x="760" y="113"/>
                      <a:pt x="760" y="113"/>
                      <a:pt x="760" y="113"/>
                    </a:cubicBezTo>
                    <a:cubicBezTo>
                      <a:pt x="762" y="113"/>
                      <a:pt x="762" y="113"/>
                      <a:pt x="762" y="113"/>
                    </a:cubicBezTo>
                    <a:cubicBezTo>
                      <a:pt x="762" y="114"/>
                      <a:pt x="762" y="114"/>
                      <a:pt x="762" y="114"/>
                    </a:cubicBezTo>
                    <a:cubicBezTo>
                      <a:pt x="763" y="115"/>
                      <a:pt x="763" y="115"/>
                      <a:pt x="763" y="115"/>
                    </a:cubicBezTo>
                    <a:cubicBezTo>
                      <a:pt x="764" y="115"/>
                      <a:pt x="764" y="115"/>
                      <a:pt x="764" y="115"/>
                    </a:cubicBezTo>
                    <a:cubicBezTo>
                      <a:pt x="764" y="114"/>
                      <a:pt x="764" y="114"/>
                      <a:pt x="764" y="114"/>
                    </a:cubicBezTo>
                    <a:cubicBezTo>
                      <a:pt x="765" y="115"/>
                      <a:pt x="765" y="115"/>
                      <a:pt x="765" y="115"/>
                    </a:cubicBezTo>
                    <a:cubicBezTo>
                      <a:pt x="766" y="114"/>
                      <a:pt x="766" y="114"/>
                      <a:pt x="766" y="114"/>
                    </a:cubicBezTo>
                    <a:cubicBezTo>
                      <a:pt x="767" y="114"/>
                      <a:pt x="767" y="114"/>
                      <a:pt x="767" y="114"/>
                    </a:cubicBezTo>
                    <a:cubicBezTo>
                      <a:pt x="767" y="115"/>
                      <a:pt x="767" y="115"/>
                      <a:pt x="767" y="115"/>
                    </a:cubicBezTo>
                    <a:cubicBezTo>
                      <a:pt x="766" y="116"/>
                      <a:pt x="766" y="116"/>
                      <a:pt x="766" y="116"/>
                    </a:cubicBezTo>
                    <a:cubicBezTo>
                      <a:pt x="766" y="119"/>
                      <a:pt x="766" y="119"/>
                      <a:pt x="766" y="119"/>
                    </a:cubicBezTo>
                    <a:cubicBezTo>
                      <a:pt x="766" y="120"/>
                      <a:pt x="766" y="120"/>
                      <a:pt x="766" y="120"/>
                    </a:cubicBezTo>
                    <a:cubicBezTo>
                      <a:pt x="766" y="121"/>
                      <a:pt x="766" y="121"/>
                      <a:pt x="766" y="121"/>
                    </a:cubicBezTo>
                    <a:cubicBezTo>
                      <a:pt x="767" y="122"/>
                      <a:pt x="767" y="122"/>
                      <a:pt x="767" y="122"/>
                    </a:cubicBezTo>
                    <a:cubicBezTo>
                      <a:pt x="766" y="124"/>
                      <a:pt x="766" y="124"/>
                      <a:pt x="766" y="124"/>
                    </a:cubicBezTo>
                    <a:cubicBezTo>
                      <a:pt x="766" y="125"/>
                      <a:pt x="766" y="125"/>
                      <a:pt x="766" y="125"/>
                    </a:cubicBezTo>
                    <a:cubicBezTo>
                      <a:pt x="766" y="126"/>
                      <a:pt x="766" y="126"/>
                      <a:pt x="766" y="126"/>
                    </a:cubicBezTo>
                    <a:cubicBezTo>
                      <a:pt x="764" y="127"/>
                      <a:pt x="764" y="127"/>
                      <a:pt x="764" y="127"/>
                    </a:cubicBezTo>
                    <a:cubicBezTo>
                      <a:pt x="763" y="128"/>
                      <a:pt x="763" y="128"/>
                      <a:pt x="763" y="128"/>
                    </a:cubicBezTo>
                    <a:cubicBezTo>
                      <a:pt x="762" y="129"/>
                      <a:pt x="762" y="129"/>
                      <a:pt x="762" y="129"/>
                    </a:cubicBezTo>
                    <a:cubicBezTo>
                      <a:pt x="761" y="130"/>
                      <a:pt x="761" y="130"/>
                      <a:pt x="761" y="130"/>
                    </a:cubicBezTo>
                    <a:cubicBezTo>
                      <a:pt x="761" y="131"/>
                      <a:pt x="761" y="131"/>
                      <a:pt x="761" y="131"/>
                    </a:cubicBezTo>
                    <a:cubicBezTo>
                      <a:pt x="760" y="132"/>
                      <a:pt x="760" y="132"/>
                      <a:pt x="760" y="132"/>
                    </a:cubicBezTo>
                    <a:cubicBezTo>
                      <a:pt x="759" y="133"/>
                      <a:pt x="759" y="133"/>
                      <a:pt x="759" y="133"/>
                    </a:cubicBezTo>
                    <a:cubicBezTo>
                      <a:pt x="759" y="134"/>
                      <a:pt x="759" y="134"/>
                      <a:pt x="759" y="134"/>
                    </a:cubicBezTo>
                    <a:cubicBezTo>
                      <a:pt x="760" y="135"/>
                      <a:pt x="760" y="135"/>
                      <a:pt x="760" y="135"/>
                    </a:cubicBezTo>
                    <a:cubicBezTo>
                      <a:pt x="760" y="136"/>
                      <a:pt x="760" y="136"/>
                      <a:pt x="760" y="136"/>
                    </a:cubicBezTo>
                    <a:cubicBezTo>
                      <a:pt x="759" y="136"/>
                      <a:pt x="759" y="136"/>
                      <a:pt x="759" y="136"/>
                    </a:cubicBezTo>
                    <a:cubicBezTo>
                      <a:pt x="759" y="137"/>
                      <a:pt x="759" y="137"/>
                      <a:pt x="759" y="137"/>
                    </a:cubicBezTo>
                    <a:cubicBezTo>
                      <a:pt x="760" y="138"/>
                      <a:pt x="760" y="138"/>
                      <a:pt x="760" y="138"/>
                    </a:cubicBezTo>
                    <a:cubicBezTo>
                      <a:pt x="759" y="139"/>
                      <a:pt x="759" y="139"/>
                      <a:pt x="759" y="139"/>
                    </a:cubicBezTo>
                    <a:cubicBezTo>
                      <a:pt x="758" y="140"/>
                      <a:pt x="758" y="140"/>
                      <a:pt x="758" y="140"/>
                    </a:cubicBezTo>
                    <a:cubicBezTo>
                      <a:pt x="759" y="141"/>
                      <a:pt x="759" y="141"/>
                      <a:pt x="759" y="141"/>
                    </a:cubicBezTo>
                    <a:cubicBezTo>
                      <a:pt x="760" y="141"/>
                      <a:pt x="760" y="141"/>
                      <a:pt x="760" y="141"/>
                    </a:cubicBezTo>
                    <a:cubicBezTo>
                      <a:pt x="760" y="142"/>
                      <a:pt x="760" y="142"/>
                      <a:pt x="760" y="142"/>
                    </a:cubicBezTo>
                    <a:cubicBezTo>
                      <a:pt x="761" y="143"/>
                      <a:pt x="761" y="143"/>
                      <a:pt x="761" y="143"/>
                    </a:cubicBezTo>
                    <a:cubicBezTo>
                      <a:pt x="761" y="142"/>
                      <a:pt x="761" y="142"/>
                      <a:pt x="761" y="142"/>
                    </a:cubicBezTo>
                    <a:cubicBezTo>
                      <a:pt x="762" y="141"/>
                      <a:pt x="762" y="141"/>
                      <a:pt x="762" y="141"/>
                    </a:cubicBezTo>
                    <a:cubicBezTo>
                      <a:pt x="762" y="142"/>
                      <a:pt x="762" y="142"/>
                      <a:pt x="762" y="142"/>
                    </a:cubicBezTo>
                    <a:cubicBezTo>
                      <a:pt x="763" y="142"/>
                      <a:pt x="763" y="142"/>
                      <a:pt x="763" y="142"/>
                    </a:cubicBezTo>
                    <a:cubicBezTo>
                      <a:pt x="764" y="140"/>
                      <a:pt x="764" y="140"/>
                      <a:pt x="764" y="140"/>
                    </a:cubicBezTo>
                    <a:cubicBezTo>
                      <a:pt x="765" y="141"/>
                      <a:pt x="765" y="141"/>
                      <a:pt x="765" y="141"/>
                    </a:cubicBezTo>
                    <a:cubicBezTo>
                      <a:pt x="764" y="142"/>
                      <a:pt x="764" y="142"/>
                      <a:pt x="764" y="142"/>
                    </a:cubicBezTo>
                    <a:cubicBezTo>
                      <a:pt x="763" y="142"/>
                      <a:pt x="763" y="142"/>
                      <a:pt x="763" y="142"/>
                    </a:cubicBezTo>
                    <a:cubicBezTo>
                      <a:pt x="763" y="143"/>
                      <a:pt x="763" y="143"/>
                      <a:pt x="763" y="143"/>
                    </a:cubicBezTo>
                    <a:cubicBezTo>
                      <a:pt x="763" y="144"/>
                      <a:pt x="763" y="144"/>
                      <a:pt x="763" y="144"/>
                    </a:cubicBezTo>
                    <a:cubicBezTo>
                      <a:pt x="764" y="146"/>
                      <a:pt x="764" y="146"/>
                      <a:pt x="764" y="146"/>
                    </a:cubicBezTo>
                    <a:cubicBezTo>
                      <a:pt x="766" y="145"/>
                      <a:pt x="766" y="145"/>
                      <a:pt x="766" y="145"/>
                    </a:cubicBezTo>
                    <a:cubicBezTo>
                      <a:pt x="766" y="146"/>
                      <a:pt x="766" y="146"/>
                      <a:pt x="766" y="146"/>
                    </a:cubicBezTo>
                    <a:cubicBezTo>
                      <a:pt x="767" y="146"/>
                      <a:pt x="767" y="146"/>
                      <a:pt x="767" y="146"/>
                    </a:cubicBezTo>
                    <a:cubicBezTo>
                      <a:pt x="768" y="145"/>
                      <a:pt x="768" y="145"/>
                      <a:pt x="768" y="145"/>
                    </a:cubicBezTo>
                    <a:cubicBezTo>
                      <a:pt x="770" y="145"/>
                      <a:pt x="770" y="145"/>
                      <a:pt x="770" y="145"/>
                    </a:cubicBezTo>
                    <a:cubicBezTo>
                      <a:pt x="769" y="143"/>
                      <a:pt x="769" y="143"/>
                      <a:pt x="769" y="143"/>
                    </a:cubicBezTo>
                    <a:cubicBezTo>
                      <a:pt x="770" y="143"/>
                      <a:pt x="770" y="143"/>
                      <a:pt x="770" y="143"/>
                    </a:cubicBezTo>
                    <a:cubicBezTo>
                      <a:pt x="771" y="143"/>
                      <a:pt x="771" y="143"/>
                      <a:pt x="771" y="143"/>
                    </a:cubicBezTo>
                    <a:cubicBezTo>
                      <a:pt x="771" y="144"/>
                      <a:pt x="771" y="144"/>
                      <a:pt x="771" y="144"/>
                    </a:cubicBezTo>
                    <a:cubicBezTo>
                      <a:pt x="771" y="145"/>
                      <a:pt x="771" y="145"/>
                      <a:pt x="771" y="145"/>
                    </a:cubicBezTo>
                    <a:cubicBezTo>
                      <a:pt x="772" y="143"/>
                      <a:pt x="772" y="143"/>
                      <a:pt x="772" y="143"/>
                    </a:cubicBezTo>
                    <a:cubicBezTo>
                      <a:pt x="773" y="143"/>
                      <a:pt x="773" y="143"/>
                      <a:pt x="773" y="143"/>
                    </a:cubicBezTo>
                    <a:cubicBezTo>
                      <a:pt x="773" y="145"/>
                      <a:pt x="773" y="145"/>
                      <a:pt x="773" y="145"/>
                    </a:cubicBezTo>
                    <a:cubicBezTo>
                      <a:pt x="771" y="147"/>
                      <a:pt x="771" y="147"/>
                      <a:pt x="771" y="147"/>
                    </a:cubicBezTo>
                    <a:cubicBezTo>
                      <a:pt x="771" y="148"/>
                      <a:pt x="771" y="148"/>
                      <a:pt x="771" y="148"/>
                    </a:cubicBezTo>
                    <a:cubicBezTo>
                      <a:pt x="772" y="149"/>
                      <a:pt x="772" y="149"/>
                      <a:pt x="772" y="149"/>
                    </a:cubicBezTo>
                    <a:cubicBezTo>
                      <a:pt x="773" y="150"/>
                      <a:pt x="773" y="150"/>
                      <a:pt x="773" y="150"/>
                    </a:cubicBezTo>
                    <a:cubicBezTo>
                      <a:pt x="774" y="150"/>
                      <a:pt x="774" y="150"/>
                      <a:pt x="774" y="150"/>
                    </a:cubicBezTo>
                    <a:cubicBezTo>
                      <a:pt x="776" y="150"/>
                      <a:pt x="776" y="150"/>
                      <a:pt x="776" y="150"/>
                    </a:cubicBezTo>
                    <a:cubicBezTo>
                      <a:pt x="776" y="149"/>
                      <a:pt x="776" y="149"/>
                      <a:pt x="776" y="149"/>
                    </a:cubicBezTo>
                    <a:cubicBezTo>
                      <a:pt x="777" y="149"/>
                      <a:pt x="777" y="149"/>
                      <a:pt x="777" y="149"/>
                    </a:cubicBezTo>
                    <a:cubicBezTo>
                      <a:pt x="777" y="150"/>
                      <a:pt x="777" y="150"/>
                      <a:pt x="777" y="150"/>
                    </a:cubicBezTo>
                    <a:cubicBezTo>
                      <a:pt x="777" y="151"/>
                      <a:pt x="777" y="151"/>
                      <a:pt x="777" y="151"/>
                    </a:cubicBezTo>
                    <a:cubicBezTo>
                      <a:pt x="778" y="151"/>
                      <a:pt x="778" y="151"/>
                      <a:pt x="778" y="151"/>
                    </a:cubicBezTo>
                    <a:cubicBezTo>
                      <a:pt x="779" y="151"/>
                      <a:pt x="779" y="151"/>
                      <a:pt x="779" y="151"/>
                    </a:cubicBezTo>
                    <a:cubicBezTo>
                      <a:pt x="780" y="151"/>
                      <a:pt x="780" y="151"/>
                      <a:pt x="780" y="151"/>
                    </a:cubicBezTo>
                    <a:cubicBezTo>
                      <a:pt x="779" y="150"/>
                      <a:pt x="779" y="150"/>
                      <a:pt x="779" y="150"/>
                    </a:cubicBezTo>
                    <a:cubicBezTo>
                      <a:pt x="779" y="149"/>
                      <a:pt x="779" y="149"/>
                      <a:pt x="779" y="149"/>
                    </a:cubicBezTo>
                    <a:cubicBezTo>
                      <a:pt x="780" y="148"/>
                      <a:pt x="780" y="148"/>
                      <a:pt x="780" y="148"/>
                    </a:cubicBezTo>
                    <a:cubicBezTo>
                      <a:pt x="780" y="149"/>
                      <a:pt x="780" y="149"/>
                      <a:pt x="780" y="149"/>
                    </a:cubicBezTo>
                    <a:cubicBezTo>
                      <a:pt x="780" y="150"/>
                      <a:pt x="780" y="150"/>
                      <a:pt x="780" y="150"/>
                    </a:cubicBezTo>
                    <a:cubicBezTo>
                      <a:pt x="780" y="151"/>
                      <a:pt x="780" y="151"/>
                      <a:pt x="780" y="151"/>
                    </a:cubicBezTo>
                    <a:cubicBezTo>
                      <a:pt x="781" y="151"/>
                      <a:pt x="781" y="151"/>
                      <a:pt x="781" y="151"/>
                    </a:cubicBezTo>
                    <a:cubicBezTo>
                      <a:pt x="781" y="150"/>
                      <a:pt x="781" y="150"/>
                      <a:pt x="781" y="150"/>
                    </a:cubicBezTo>
                    <a:cubicBezTo>
                      <a:pt x="782" y="150"/>
                      <a:pt x="782" y="150"/>
                      <a:pt x="782" y="150"/>
                    </a:cubicBezTo>
                    <a:cubicBezTo>
                      <a:pt x="783" y="149"/>
                      <a:pt x="783" y="149"/>
                      <a:pt x="783" y="149"/>
                    </a:cubicBezTo>
                    <a:cubicBezTo>
                      <a:pt x="783" y="150"/>
                      <a:pt x="783" y="150"/>
                      <a:pt x="783" y="150"/>
                    </a:cubicBezTo>
                    <a:cubicBezTo>
                      <a:pt x="782" y="151"/>
                      <a:pt x="782" y="151"/>
                      <a:pt x="782" y="151"/>
                    </a:cubicBezTo>
                    <a:cubicBezTo>
                      <a:pt x="782" y="152"/>
                      <a:pt x="782" y="152"/>
                      <a:pt x="782" y="152"/>
                    </a:cubicBezTo>
                    <a:cubicBezTo>
                      <a:pt x="784" y="152"/>
                      <a:pt x="784" y="152"/>
                      <a:pt x="784" y="152"/>
                    </a:cubicBezTo>
                    <a:cubicBezTo>
                      <a:pt x="785" y="151"/>
                      <a:pt x="785" y="151"/>
                      <a:pt x="785" y="151"/>
                    </a:cubicBezTo>
                    <a:cubicBezTo>
                      <a:pt x="786" y="149"/>
                      <a:pt x="786" y="149"/>
                      <a:pt x="786" y="149"/>
                    </a:cubicBezTo>
                    <a:cubicBezTo>
                      <a:pt x="786" y="150"/>
                      <a:pt x="786" y="150"/>
                      <a:pt x="786" y="150"/>
                    </a:cubicBezTo>
                    <a:cubicBezTo>
                      <a:pt x="785" y="151"/>
                      <a:pt x="785" y="151"/>
                      <a:pt x="785" y="151"/>
                    </a:cubicBezTo>
                    <a:cubicBezTo>
                      <a:pt x="785" y="152"/>
                      <a:pt x="785" y="152"/>
                      <a:pt x="785" y="152"/>
                    </a:cubicBezTo>
                    <a:cubicBezTo>
                      <a:pt x="787" y="151"/>
                      <a:pt x="787" y="151"/>
                      <a:pt x="787" y="151"/>
                    </a:cubicBezTo>
                    <a:cubicBezTo>
                      <a:pt x="787" y="150"/>
                      <a:pt x="787" y="150"/>
                      <a:pt x="787" y="150"/>
                    </a:cubicBezTo>
                    <a:cubicBezTo>
                      <a:pt x="788" y="149"/>
                      <a:pt x="788" y="149"/>
                      <a:pt x="788" y="149"/>
                    </a:cubicBezTo>
                    <a:cubicBezTo>
                      <a:pt x="787" y="152"/>
                      <a:pt x="787" y="152"/>
                      <a:pt x="787" y="152"/>
                    </a:cubicBezTo>
                    <a:cubicBezTo>
                      <a:pt x="788" y="152"/>
                      <a:pt x="788" y="152"/>
                      <a:pt x="788" y="152"/>
                    </a:cubicBezTo>
                    <a:cubicBezTo>
                      <a:pt x="789" y="153"/>
                      <a:pt x="789" y="153"/>
                      <a:pt x="789" y="153"/>
                    </a:cubicBezTo>
                    <a:cubicBezTo>
                      <a:pt x="791" y="154"/>
                      <a:pt x="791" y="154"/>
                      <a:pt x="791" y="154"/>
                    </a:cubicBezTo>
                    <a:cubicBezTo>
                      <a:pt x="792" y="153"/>
                      <a:pt x="792" y="153"/>
                      <a:pt x="792" y="153"/>
                    </a:cubicBezTo>
                    <a:cubicBezTo>
                      <a:pt x="793" y="154"/>
                      <a:pt x="793" y="154"/>
                      <a:pt x="793" y="154"/>
                    </a:cubicBezTo>
                    <a:cubicBezTo>
                      <a:pt x="794" y="153"/>
                      <a:pt x="794" y="153"/>
                      <a:pt x="794" y="153"/>
                    </a:cubicBezTo>
                    <a:cubicBezTo>
                      <a:pt x="795" y="153"/>
                      <a:pt x="795" y="153"/>
                      <a:pt x="795" y="153"/>
                    </a:cubicBezTo>
                    <a:cubicBezTo>
                      <a:pt x="795" y="151"/>
                      <a:pt x="795" y="151"/>
                      <a:pt x="795" y="151"/>
                    </a:cubicBezTo>
                    <a:cubicBezTo>
                      <a:pt x="796" y="150"/>
                      <a:pt x="796" y="150"/>
                      <a:pt x="796" y="150"/>
                    </a:cubicBezTo>
                    <a:cubicBezTo>
                      <a:pt x="797" y="149"/>
                      <a:pt x="797" y="149"/>
                      <a:pt x="797" y="149"/>
                    </a:cubicBezTo>
                    <a:cubicBezTo>
                      <a:pt x="796" y="148"/>
                      <a:pt x="796" y="148"/>
                      <a:pt x="796" y="148"/>
                    </a:cubicBezTo>
                    <a:cubicBezTo>
                      <a:pt x="797" y="147"/>
                      <a:pt x="797" y="147"/>
                      <a:pt x="797" y="147"/>
                    </a:cubicBezTo>
                    <a:cubicBezTo>
                      <a:pt x="797" y="149"/>
                      <a:pt x="797" y="149"/>
                      <a:pt x="797" y="149"/>
                    </a:cubicBezTo>
                    <a:cubicBezTo>
                      <a:pt x="798" y="149"/>
                      <a:pt x="798" y="149"/>
                      <a:pt x="798" y="149"/>
                    </a:cubicBezTo>
                    <a:cubicBezTo>
                      <a:pt x="798" y="150"/>
                      <a:pt x="798" y="150"/>
                      <a:pt x="798" y="150"/>
                    </a:cubicBezTo>
                    <a:cubicBezTo>
                      <a:pt x="797" y="150"/>
                      <a:pt x="797" y="150"/>
                      <a:pt x="797" y="150"/>
                    </a:cubicBezTo>
                    <a:cubicBezTo>
                      <a:pt x="796" y="152"/>
                      <a:pt x="796" y="152"/>
                      <a:pt x="796" y="152"/>
                    </a:cubicBezTo>
                    <a:cubicBezTo>
                      <a:pt x="797" y="155"/>
                      <a:pt x="797" y="155"/>
                      <a:pt x="797" y="155"/>
                    </a:cubicBezTo>
                    <a:cubicBezTo>
                      <a:pt x="798" y="155"/>
                      <a:pt x="798" y="155"/>
                      <a:pt x="798" y="155"/>
                    </a:cubicBezTo>
                    <a:cubicBezTo>
                      <a:pt x="799" y="155"/>
                      <a:pt x="799" y="155"/>
                      <a:pt x="799" y="155"/>
                    </a:cubicBezTo>
                    <a:cubicBezTo>
                      <a:pt x="799" y="156"/>
                      <a:pt x="799" y="156"/>
                      <a:pt x="799" y="156"/>
                    </a:cubicBezTo>
                    <a:cubicBezTo>
                      <a:pt x="801" y="156"/>
                      <a:pt x="801" y="156"/>
                      <a:pt x="801" y="156"/>
                    </a:cubicBezTo>
                    <a:cubicBezTo>
                      <a:pt x="802" y="156"/>
                      <a:pt x="802" y="156"/>
                      <a:pt x="802" y="156"/>
                    </a:cubicBezTo>
                    <a:cubicBezTo>
                      <a:pt x="804" y="155"/>
                      <a:pt x="804" y="155"/>
                      <a:pt x="804" y="155"/>
                    </a:cubicBezTo>
                    <a:cubicBezTo>
                      <a:pt x="805" y="155"/>
                      <a:pt x="805" y="155"/>
                      <a:pt x="805" y="155"/>
                    </a:cubicBezTo>
                    <a:cubicBezTo>
                      <a:pt x="807" y="156"/>
                      <a:pt x="807" y="156"/>
                      <a:pt x="807" y="156"/>
                    </a:cubicBezTo>
                    <a:cubicBezTo>
                      <a:pt x="808" y="156"/>
                      <a:pt x="808" y="156"/>
                      <a:pt x="808" y="156"/>
                    </a:cubicBezTo>
                    <a:cubicBezTo>
                      <a:pt x="809" y="156"/>
                      <a:pt x="809" y="156"/>
                      <a:pt x="809" y="156"/>
                    </a:cubicBezTo>
                    <a:cubicBezTo>
                      <a:pt x="810" y="155"/>
                      <a:pt x="810" y="155"/>
                      <a:pt x="810" y="155"/>
                    </a:cubicBezTo>
                    <a:cubicBezTo>
                      <a:pt x="810" y="153"/>
                      <a:pt x="810" y="153"/>
                      <a:pt x="810" y="153"/>
                    </a:cubicBezTo>
                    <a:cubicBezTo>
                      <a:pt x="811" y="153"/>
                      <a:pt x="811" y="153"/>
                      <a:pt x="811" y="153"/>
                    </a:cubicBezTo>
                    <a:cubicBezTo>
                      <a:pt x="811" y="152"/>
                      <a:pt x="811" y="152"/>
                      <a:pt x="811" y="152"/>
                    </a:cubicBezTo>
                    <a:cubicBezTo>
                      <a:pt x="811" y="151"/>
                      <a:pt x="811" y="151"/>
                      <a:pt x="811" y="151"/>
                    </a:cubicBezTo>
                    <a:cubicBezTo>
                      <a:pt x="812" y="153"/>
                      <a:pt x="812" y="153"/>
                      <a:pt x="812" y="153"/>
                    </a:cubicBezTo>
                    <a:cubicBezTo>
                      <a:pt x="813" y="152"/>
                      <a:pt x="813" y="152"/>
                      <a:pt x="813" y="152"/>
                    </a:cubicBezTo>
                    <a:cubicBezTo>
                      <a:pt x="814" y="152"/>
                      <a:pt x="814" y="152"/>
                      <a:pt x="814" y="152"/>
                    </a:cubicBezTo>
                    <a:cubicBezTo>
                      <a:pt x="815" y="152"/>
                      <a:pt x="815" y="152"/>
                      <a:pt x="815" y="152"/>
                    </a:cubicBezTo>
                    <a:cubicBezTo>
                      <a:pt x="815" y="151"/>
                      <a:pt x="815" y="151"/>
                      <a:pt x="815" y="151"/>
                    </a:cubicBezTo>
                    <a:cubicBezTo>
                      <a:pt x="815" y="150"/>
                      <a:pt x="815" y="150"/>
                      <a:pt x="815" y="150"/>
                    </a:cubicBezTo>
                    <a:cubicBezTo>
                      <a:pt x="815" y="149"/>
                      <a:pt x="815" y="149"/>
                      <a:pt x="815" y="149"/>
                    </a:cubicBezTo>
                    <a:cubicBezTo>
                      <a:pt x="814" y="149"/>
                      <a:pt x="814" y="149"/>
                      <a:pt x="814" y="149"/>
                    </a:cubicBezTo>
                    <a:cubicBezTo>
                      <a:pt x="813" y="149"/>
                      <a:pt x="813" y="149"/>
                      <a:pt x="813" y="149"/>
                    </a:cubicBezTo>
                    <a:cubicBezTo>
                      <a:pt x="812" y="149"/>
                      <a:pt x="812" y="149"/>
                      <a:pt x="812" y="149"/>
                    </a:cubicBezTo>
                    <a:cubicBezTo>
                      <a:pt x="811" y="148"/>
                      <a:pt x="811" y="148"/>
                      <a:pt x="811" y="148"/>
                    </a:cubicBezTo>
                    <a:cubicBezTo>
                      <a:pt x="812" y="148"/>
                      <a:pt x="812" y="148"/>
                      <a:pt x="812" y="148"/>
                    </a:cubicBezTo>
                    <a:cubicBezTo>
                      <a:pt x="813" y="148"/>
                      <a:pt x="813" y="148"/>
                      <a:pt x="813" y="148"/>
                    </a:cubicBezTo>
                    <a:cubicBezTo>
                      <a:pt x="814" y="148"/>
                      <a:pt x="814" y="148"/>
                      <a:pt x="814" y="148"/>
                    </a:cubicBezTo>
                    <a:cubicBezTo>
                      <a:pt x="815" y="147"/>
                      <a:pt x="815" y="147"/>
                      <a:pt x="815" y="147"/>
                    </a:cubicBezTo>
                    <a:cubicBezTo>
                      <a:pt x="816" y="147"/>
                      <a:pt x="816" y="147"/>
                      <a:pt x="816" y="147"/>
                    </a:cubicBezTo>
                    <a:cubicBezTo>
                      <a:pt x="817" y="146"/>
                      <a:pt x="817" y="146"/>
                      <a:pt x="817" y="146"/>
                    </a:cubicBezTo>
                    <a:cubicBezTo>
                      <a:pt x="817" y="145"/>
                      <a:pt x="817" y="145"/>
                      <a:pt x="817" y="145"/>
                    </a:cubicBezTo>
                    <a:cubicBezTo>
                      <a:pt x="817" y="144"/>
                      <a:pt x="817" y="144"/>
                      <a:pt x="817" y="144"/>
                    </a:cubicBezTo>
                    <a:cubicBezTo>
                      <a:pt x="817" y="143"/>
                      <a:pt x="817" y="143"/>
                      <a:pt x="817" y="143"/>
                    </a:cubicBezTo>
                    <a:cubicBezTo>
                      <a:pt x="818" y="143"/>
                      <a:pt x="818" y="143"/>
                      <a:pt x="818" y="143"/>
                    </a:cubicBezTo>
                    <a:cubicBezTo>
                      <a:pt x="818" y="142"/>
                      <a:pt x="818" y="142"/>
                      <a:pt x="818" y="142"/>
                    </a:cubicBezTo>
                    <a:cubicBezTo>
                      <a:pt x="816" y="142"/>
                      <a:pt x="816" y="142"/>
                      <a:pt x="816" y="142"/>
                    </a:cubicBezTo>
                    <a:cubicBezTo>
                      <a:pt x="815" y="142"/>
                      <a:pt x="815" y="142"/>
                      <a:pt x="815" y="142"/>
                    </a:cubicBezTo>
                    <a:cubicBezTo>
                      <a:pt x="816" y="141"/>
                      <a:pt x="816" y="141"/>
                      <a:pt x="816" y="141"/>
                    </a:cubicBezTo>
                    <a:cubicBezTo>
                      <a:pt x="816" y="140"/>
                      <a:pt x="816" y="140"/>
                      <a:pt x="816" y="140"/>
                    </a:cubicBezTo>
                    <a:cubicBezTo>
                      <a:pt x="815" y="139"/>
                      <a:pt x="815" y="139"/>
                      <a:pt x="815" y="139"/>
                    </a:cubicBezTo>
                    <a:cubicBezTo>
                      <a:pt x="813" y="139"/>
                      <a:pt x="813" y="139"/>
                      <a:pt x="813" y="139"/>
                    </a:cubicBezTo>
                    <a:cubicBezTo>
                      <a:pt x="812" y="138"/>
                      <a:pt x="812" y="138"/>
                      <a:pt x="812" y="138"/>
                    </a:cubicBezTo>
                    <a:cubicBezTo>
                      <a:pt x="813" y="138"/>
                      <a:pt x="813" y="138"/>
                      <a:pt x="813" y="138"/>
                    </a:cubicBezTo>
                    <a:cubicBezTo>
                      <a:pt x="813" y="137"/>
                      <a:pt x="813" y="137"/>
                      <a:pt x="813" y="137"/>
                    </a:cubicBezTo>
                    <a:cubicBezTo>
                      <a:pt x="813" y="136"/>
                      <a:pt x="813" y="136"/>
                      <a:pt x="813" y="136"/>
                    </a:cubicBezTo>
                    <a:cubicBezTo>
                      <a:pt x="811" y="135"/>
                      <a:pt x="811" y="135"/>
                      <a:pt x="811" y="135"/>
                    </a:cubicBezTo>
                    <a:cubicBezTo>
                      <a:pt x="810" y="135"/>
                      <a:pt x="810" y="135"/>
                      <a:pt x="810" y="135"/>
                    </a:cubicBezTo>
                    <a:cubicBezTo>
                      <a:pt x="809" y="135"/>
                      <a:pt x="809" y="135"/>
                      <a:pt x="809" y="135"/>
                    </a:cubicBezTo>
                    <a:cubicBezTo>
                      <a:pt x="807" y="135"/>
                      <a:pt x="807" y="135"/>
                      <a:pt x="807" y="135"/>
                    </a:cubicBezTo>
                    <a:cubicBezTo>
                      <a:pt x="805" y="136"/>
                      <a:pt x="805" y="136"/>
                      <a:pt x="805" y="136"/>
                    </a:cubicBezTo>
                    <a:cubicBezTo>
                      <a:pt x="803" y="134"/>
                      <a:pt x="803" y="134"/>
                      <a:pt x="803" y="134"/>
                    </a:cubicBezTo>
                    <a:cubicBezTo>
                      <a:pt x="803" y="133"/>
                      <a:pt x="803" y="133"/>
                      <a:pt x="803" y="133"/>
                    </a:cubicBezTo>
                    <a:cubicBezTo>
                      <a:pt x="802" y="133"/>
                      <a:pt x="802" y="133"/>
                      <a:pt x="802" y="133"/>
                    </a:cubicBezTo>
                    <a:cubicBezTo>
                      <a:pt x="801" y="134"/>
                      <a:pt x="801" y="134"/>
                      <a:pt x="801" y="134"/>
                    </a:cubicBezTo>
                    <a:cubicBezTo>
                      <a:pt x="800" y="134"/>
                      <a:pt x="800" y="134"/>
                      <a:pt x="800" y="134"/>
                    </a:cubicBezTo>
                    <a:cubicBezTo>
                      <a:pt x="799" y="134"/>
                      <a:pt x="799" y="134"/>
                      <a:pt x="799" y="134"/>
                    </a:cubicBezTo>
                    <a:cubicBezTo>
                      <a:pt x="798" y="134"/>
                      <a:pt x="798" y="134"/>
                      <a:pt x="798" y="134"/>
                    </a:cubicBezTo>
                    <a:cubicBezTo>
                      <a:pt x="798" y="135"/>
                      <a:pt x="798" y="135"/>
                      <a:pt x="798" y="135"/>
                    </a:cubicBezTo>
                    <a:cubicBezTo>
                      <a:pt x="797" y="134"/>
                      <a:pt x="797" y="134"/>
                      <a:pt x="797" y="134"/>
                    </a:cubicBezTo>
                    <a:cubicBezTo>
                      <a:pt x="796" y="134"/>
                      <a:pt x="796" y="134"/>
                      <a:pt x="796" y="134"/>
                    </a:cubicBezTo>
                    <a:cubicBezTo>
                      <a:pt x="795" y="134"/>
                      <a:pt x="795" y="134"/>
                      <a:pt x="795" y="134"/>
                    </a:cubicBezTo>
                    <a:cubicBezTo>
                      <a:pt x="793" y="134"/>
                      <a:pt x="793" y="134"/>
                      <a:pt x="793" y="134"/>
                    </a:cubicBezTo>
                    <a:cubicBezTo>
                      <a:pt x="793" y="135"/>
                      <a:pt x="793" y="135"/>
                      <a:pt x="793" y="135"/>
                    </a:cubicBezTo>
                    <a:cubicBezTo>
                      <a:pt x="792" y="134"/>
                      <a:pt x="792" y="134"/>
                      <a:pt x="792" y="134"/>
                    </a:cubicBezTo>
                    <a:cubicBezTo>
                      <a:pt x="791" y="135"/>
                      <a:pt x="791" y="135"/>
                      <a:pt x="791" y="135"/>
                    </a:cubicBezTo>
                    <a:cubicBezTo>
                      <a:pt x="788" y="134"/>
                      <a:pt x="788" y="134"/>
                      <a:pt x="788" y="134"/>
                    </a:cubicBezTo>
                    <a:cubicBezTo>
                      <a:pt x="788" y="135"/>
                      <a:pt x="788" y="135"/>
                      <a:pt x="788" y="135"/>
                    </a:cubicBezTo>
                    <a:cubicBezTo>
                      <a:pt x="789" y="135"/>
                      <a:pt x="789" y="135"/>
                      <a:pt x="789" y="135"/>
                    </a:cubicBezTo>
                    <a:cubicBezTo>
                      <a:pt x="789" y="136"/>
                      <a:pt x="789" y="136"/>
                      <a:pt x="789" y="136"/>
                    </a:cubicBezTo>
                    <a:cubicBezTo>
                      <a:pt x="790" y="137"/>
                      <a:pt x="790" y="137"/>
                      <a:pt x="790" y="137"/>
                    </a:cubicBezTo>
                    <a:cubicBezTo>
                      <a:pt x="789" y="137"/>
                      <a:pt x="789" y="137"/>
                      <a:pt x="789" y="137"/>
                    </a:cubicBezTo>
                    <a:cubicBezTo>
                      <a:pt x="788" y="136"/>
                      <a:pt x="788" y="136"/>
                      <a:pt x="788" y="136"/>
                    </a:cubicBezTo>
                    <a:cubicBezTo>
                      <a:pt x="787" y="136"/>
                      <a:pt x="787" y="136"/>
                      <a:pt x="787" y="136"/>
                    </a:cubicBezTo>
                    <a:cubicBezTo>
                      <a:pt x="786" y="136"/>
                      <a:pt x="786" y="136"/>
                      <a:pt x="786" y="136"/>
                    </a:cubicBezTo>
                    <a:cubicBezTo>
                      <a:pt x="785" y="136"/>
                      <a:pt x="785" y="136"/>
                      <a:pt x="785" y="136"/>
                    </a:cubicBezTo>
                    <a:cubicBezTo>
                      <a:pt x="786" y="135"/>
                      <a:pt x="786" y="135"/>
                      <a:pt x="786" y="135"/>
                    </a:cubicBezTo>
                    <a:cubicBezTo>
                      <a:pt x="786" y="134"/>
                      <a:pt x="786" y="134"/>
                      <a:pt x="786" y="134"/>
                    </a:cubicBezTo>
                    <a:cubicBezTo>
                      <a:pt x="785" y="133"/>
                      <a:pt x="785" y="133"/>
                      <a:pt x="785" y="133"/>
                    </a:cubicBezTo>
                    <a:cubicBezTo>
                      <a:pt x="785" y="132"/>
                      <a:pt x="785" y="132"/>
                      <a:pt x="785" y="132"/>
                    </a:cubicBezTo>
                    <a:cubicBezTo>
                      <a:pt x="783" y="132"/>
                      <a:pt x="783" y="132"/>
                      <a:pt x="783" y="132"/>
                    </a:cubicBezTo>
                    <a:cubicBezTo>
                      <a:pt x="783" y="133"/>
                      <a:pt x="783" y="133"/>
                      <a:pt x="783" y="133"/>
                    </a:cubicBezTo>
                    <a:cubicBezTo>
                      <a:pt x="783" y="134"/>
                      <a:pt x="783" y="134"/>
                      <a:pt x="783" y="134"/>
                    </a:cubicBezTo>
                    <a:cubicBezTo>
                      <a:pt x="782" y="134"/>
                      <a:pt x="782" y="134"/>
                      <a:pt x="782" y="134"/>
                    </a:cubicBezTo>
                    <a:cubicBezTo>
                      <a:pt x="783" y="133"/>
                      <a:pt x="783" y="133"/>
                      <a:pt x="783" y="133"/>
                    </a:cubicBezTo>
                    <a:cubicBezTo>
                      <a:pt x="782" y="132"/>
                      <a:pt x="782" y="132"/>
                      <a:pt x="782" y="132"/>
                    </a:cubicBezTo>
                    <a:cubicBezTo>
                      <a:pt x="781" y="132"/>
                      <a:pt x="781" y="132"/>
                      <a:pt x="781" y="132"/>
                    </a:cubicBezTo>
                    <a:cubicBezTo>
                      <a:pt x="780" y="132"/>
                      <a:pt x="780" y="132"/>
                      <a:pt x="780" y="132"/>
                    </a:cubicBezTo>
                    <a:cubicBezTo>
                      <a:pt x="780" y="131"/>
                      <a:pt x="780" y="131"/>
                      <a:pt x="780" y="131"/>
                    </a:cubicBezTo>
                    <a:cubicBezTo>
                      <a:pt x="780" y="129"/>
                      <a:pt x="780" y="129"/>
                      <a:pt x="780" y="129"/>
                    </a:cubicBezTo>
                    <a:cubicBezTo>
                      <a:pt x="778" y="130"/>
                      <a:pt x="778" y="130"/>
                      <a:pt x="778" y="130"/>
                    </a:cubicBezTo>
                    <a:cubicBezTo>
                      <a:pt x="777" y="131"/>
                      <a:pt x="777" y="131"/>
                      <a:pt x="777" y="131"/>
                    </a:cubicBezTo>
                    <a:cubicBezTo>
                      <a:pt x="777" y="133"/>
                      <a:pt x="777" y="133"/>
                      <a:pt x="777" y="133"/>
                    </a:cubicBezTo>
                    <a:cubicBezTo>
                      <a:pt x="776" y="133"/>
                      <a:pt x="776" y="133"/>
                      <a:pt x="776" y="133"/>
                    </a:cubicBezTo>
                    <a:cubicBezTo>
                      <a:pt x="776" y="131"/>
                      <a:pt x="776" y="131"/>
                      <a:pt x="776" y="131"/>
                    </a:cubicBezTo>
                    <a:cubicBezTo>
                      <a:pt x="776" y="130"/>
                      <a:pt x="776" y="130"/>
                      <a:pt x="776" y="130"/>
                    </a:cubicBezTo>
                    <a:cubicBezTo>
                      <a:pt x="777" y="128"/>
                      <a:pt x="777" y="128"/>
                      <a:pt x="777" y="128"/>
                    </a:cubicBezTo>
                    <a:cubicBezTo>
                      <a:pt x="776" y="127"/>
                      <a:pt x="776" y="127"/>
                      <a:pt x="776" y="127"/>
                    </a:cubicBezTo>
                    <a:cubicBezTo>
                      <a:pt x="775" y="127"/>
                      <a:pt x="775" y="127"/>
                      <a:pt x="775" y="127"/>
                    </a:cubicBezTo>
                    <a:cubicBezTo>
                      <a:pt x="776" y="126"/>
                      <a:pt x="776" y="126"/>
                      <a:pt x="776" y="126"/>
                    </a:cubicBezTo>
                    <a:cubicBezTo>
                      <a:pt x="776" y="125"/>
                      <a:pt x="776" y="125"/>
                      <a:pt x="776" y="125"/>
                    </a:cubicBezTo>
                    <a:cubicBezTo>
                      <a:pt x="776" y="124"/>
                      <a:pt x="776" y="124"/>
                      <a:pt x="776" y="124"/>
                    </a:cubicBezTo>
                    <a:cubicBezTo>
                      <a:pt x="775" y="124"/>
                      <a:pt x="775" y="124"/>
                      <a:pt x="775" y="124"/>
                    </a:cubicBezTo>
                    <a:cubicBezTo>
                      <a:pt x="774" y="124"/>
                      <a:pt x="774" y="124"/>
                      <a:pt x="774" y="124"/>
                    </a:cubicBezTo>
                    <a:cubicBezTo>
                      <a:pt x="773" y="123"/>
                      <a:pt x="773" y="123"/>
                      <a:pt x="773" y="123"/>
                    </a:cubicBezTo>
                    <a:cubicBezTo>
                      <a:pt x="772" y="123"/>
                      <a:pt x="772" y="123"/>
                      <a:pt x="772" y="123"/>
                    </a:cubicBezTo>
                    <a:cubicBezTo>
                      <a:pt x="772" y="124"/>
                      <a:pt x="772" y="124"/>
                      <a:pt x="772" y="124"/>
                    </a:cubicBezTo>
                    <a:cubicBezTo>
                      <a:pt x="770" y="124"/>
                      <a:pt x="770" y="124"/>
                      <a:pt x="770" y="124"/>
                    </a:cubicBezTo>
                    <a:cubicBezTo>
                      <a:pt x="771" y="123"/>
                      <a:pt x="771" y="123"/>
                      <a:pt x="771" y="123"/>
                    </a:cubicBezTo>
                    <a:cubicBezTo>
                      <a:pt x="771" y="122"/>
                      <a:pt x="771" y="122"/>
                      <a:pt x="771" y="122"/>
                    </a:cubicBezTo>
                    <a:cubicBezTo>
                      <a:pt x="772" y="121"/>
                      <a:pt x="772" y="121"/>
                      <a:pt x="772" y="121"/>
                    </a:cubicBezTo>
                    <a:cubicBezTo>
                      <a:pt x="773" y="121"/>
                      <a:pt x="773" y="121"/>
                      <a:pt x="773" y="121"/>
                    </a:cubicBezTo>
                    <a:cubicBezTo>
                      <a:pt x="774" y="123"/>
                      <a:pt x="774" y="123"/>
                      <a:pt x="774" y="123"/>
                    </a:cubicBezTo>
                    <a:cubicBezTo>
                      <a:pt x="775" y="123"/>
                      <a:pt x="775" y="123"/>
                      <a:pt x="775" y="123"/>
                    </a:cubicBezTo>
                    <a:cubicBezTo>
                      <a:pt x="775" y="122"/>
                      <a:pt x="775" y="122"/>
                      <a:pt x="775" y="122"/>
                    </a:cubicBezTo>
                    <a:cubicBezTo>
                      <a:pt x="774" y="121"/>
                      <a:pt x="774" y="121"/>
                      <a:pt x="774" y="121"/>
                    </a:cubicBezTo>
                    <a:cubicBezTo>
                      <a:pt x="773" y="120"/>
                      <a:pt x="773" y="120"/>
                      <a:pt x="773" y="120"/>
                    </a:cubicBezTo>
                    <a:cubicBezTo>
                      <a:pt x="774" y="120"/>
                      <a:pt x="774" y="120"/>
                      <a:pt x="774" y="120"/>
                    </a:cubicBezTo>
                    <a:cubicBezTo>
                      <a:pt x="772" y="119"/>
                      <a:pt x="772" y="119"/>
                      <a:pt x="772" y="119"/>
                    </a:cubicBezTo>
                    <a:cubicBezTo>
                      <a:pt x="771" y="118"/>
                      <a:pt x="771" y="118"/>
                      <a:pt x="771" y="118"/>
                    </a:cubicBezTo>
                    <a:cubicBezTo>
                      <a:pt x="772" y="118"/>
                      <a:pt x="772" y="118"/>
                      <a:pt x="772" y="118"/>
                    </a:cubicBezTo>
                    <a:cubicBezTo>
                      <a:pt x="772" y="117"/>
                      <a:pt x="772" y="117"/>
                      <a:pt x="772" y="117"/>
                    </a:cubicBezTo>
                    <a:cubicBezTo>
                      <a:pt x="773" y="118"/>
                      <a:pt x="773" y="118"/>
                      <a:pt x="773" y="118"/>
                    </a:cubicBezTo>
                    <a:cubicBezTo>
                      <a:pt x="774" y="119"/>
                      <a:pt x="774" y="119"/>
                      <a:pt x="774" y="119"/>
                    </a:cubicBezTo>
                    <a:cubicBezTo>
                      <a:pt x="776" y="120"/>
                      <a:pt x="776" y="120"/>
                      <a:pt x="776" y="120"/>
                    </a:cubicBezTo>
                    <a:cubicBezTo>
                      <a:pt x="777" y="121"/>
                      <a:pt x="777" y="121"/>
                      <a:pt x="777" y="121"/>
                    </a:cubicBezTo>
                    <a:cubicBezTo>
                      <a:pt x="777" y="120"/>
                      <a:pt x="777" y="120"/>
                      <a:pt x="777" y="120"/>
                    </a:cubicBezTo>
                    <a:cubicBezTo>
                      <a:pt x="778" y="121"/>
                      <a:pt x="778" y="121"/>
                      <a:pt x="778" y="121"/>
                    </a:cubicBezTo>
                    <a:cubicBezTo>
                      <a:pt x="780" y="121"/>
                      <a:pt x="780" y="121"/>
                      <a:pt x="780" y="121"/>
                    </a:cubicBezTo>
                    <a:cubicBezTo>
                      <a:pt x="781" y="121"/>
                      <a:pt x="781" y="121"/>
                      <a:pt x="781" y="121"/>
                    </a:cubicBezTo>
                    <a:cubicBezTo>
                      <a:pt x="782" y="120"/>
                      <a:pt x="782" y="120"/>
                      <a:pt x="782" y="120"/>
                    </a:cubicBezTo>
                    <a:cubicBezTo>
                      <a:pt x="781" y="119"/>
                      <a:pt x="781" y="119"/>
                      <a:pt x="781" y="119"/>
                    </a:cubicBezTo>
                    <a:cubicBezTo>
                      <a:pt x="779" y="117"/>
                      <a:pt x="779" y="117"/>
                      <a:pt x="779" y="117"/>
                    </a:cubicBezTo>
                    <a:cubicBezTo>
                      <a:pt x="778" y="116"/>
                      <a:pt x="778" y="116"/>
                      <a:pt x="778" y="116"/>
                    </a:cubicBezTo>
                    <a:cubicBezTo>
                      <a:pt x="777" y="116"/>
                      <a:pt x="777" y="116"/>
                      <a:pt x="777" y="116"/>
                    </a:cubicBezTo>
                    <a:cubicBezTo>
                      <a:pt x="777" y="115"/>
                      <a:pt x="777" y="115"/>
                      <a:pt x="777" y="115"/>
                    </a:cubicBezTo>
                    <a:cubicBezTo>
                      <a:pt x="775" y="114"/>
                      <a:pt x="775" y="114"/>
                      <a:pt x="775" y="114"/>
                    </a:cubicBezTo>
                    <a:cubicBezTo>
                      <a:pt x="774" y="113"/>
                      <a:pt x="774" y="113"/>
                      <a:pt x="774" y="113"/>
                    </a:cubicBezTo>
                    <a:cubicBezTo>
                      <a:pt x="775" y="112"/>
                      <a:pt x="775" y="112"/>
                      <a:pt x="775" y="112"/>
                    </a:cubicBezTo>
                    <a:cubicBezTo>
                      <a:pt x="776" y="113"/>
                      <a:pt x="776" y="113"/>
                      <a:pt x="776" y="113"/>
                    </a:cubicBezTo>
                    <a:cubicBezTo>
                      <a:pt x="777" y="114"/>
                      <a:pt x="777" y="114"/>
                      <a:pt x="777" y="114"/>
                    </a:cubicBezTo>
                    <a:cubicBezTo>
                      <a:pt x="778" y="115"/>
                      <a:pt x="778" y="115"/>
                      <a:pt x="778" y="115"/>
                    </a:cubicBezTo>
                    <a:cubicBezTo>
                      <a:pt x="779" y="114"/>
                      <a:pt x="779" y="114"/>
                      <a:pt x="779" y="114"/>
                    </a:cubicBezTo>
                    <a:cubicBezTo>
                      <a:pt x="778" y="112"/>
                      <a:pt x="778" y="112"/>
                      <a:pt x="778" y="112"/>
                    </a:cubicBezTo>
                    <a:cubicBezTo>
                      <a:pt x="777" y="110"/>
                      <a:pt x="777" y="110"/>
                      <a:pt x="777" y="110"/>
                    </a:cubicBezTo>
                    <a:cubicBezTo>
                      <a:pt x="776" y="110"/>
                      <a:pt x="776" y="110"/>
                      <a:pt x="776" y="110"/>
                    </a:cubicBezTo>
                    <a:cubicBezTo>
                      <a:pt x="774" y="110"/>
                      <a:pt x="774" y="110"/>
                      <a:pt x="774" y="110"/>
                    </a:cubicBezTo>
                    <a:cubicBezTo>
                      <a:pt x="773" y="111"/>
                      <a:pt x="773" y="111"/>
                      <a:pt x="773" y="111"/>
                    </a:cubicBezTo>
                    <a:cubicBezTo>
                      <a:pt x="772" y="111"/>
                      <a:pt x="772" y="111"/>
                      <a:pt x="772" y="111"/>
                    </a:cubicBezTo>
                    <a:cubicBezTo>
                      <a:pt x="771" y="110"/>
                      <a:pt x="771" y="110"/>
                      <a:pt x="771" y="110"/>
                    </a:cubicBezTo>
                    <a:cubicBezTo>
                      <a:pt x="770" y="110"/>
                      <a:pt x="770" y="110"/>
                      <a:pt x="770" y="110"/>
                    </a:cubicBezTo>
                    <a:cubicBezTo>
                      <a:pt x="769" y="109"/>
                      <a:pt x="769" y="109"/>
                      <a:pt x="769" y="109"/>
                    </a:cubicBezTo>
                    <a:cubicBezTo>
                      <a:pt x="768" y="111"/>
                      <a:pt x="768" y="111"/>
                      <a:pt x="768" y="111"/>
                    </a:cubicBezTo>
                    <a:cubicBezTo>
                      <a:pt x="766" y="112"/>
                      <a:pt x="766" y="112"/>
                      <a:pt x="766" y="112"/>
                    </a:cubicBezTo>
                    <a:cubicBezTo>
                      <a:pt x="766" y="113"/>
                      <a:pt x="766" y="113"/>
                      <a:pt x="766" y="113"/>
                    </a:cubicBezTo>
                    <a:cubicBezTo>
                      <a:pt x="765" y="114"/>
                      <a:pt x="765" y="114"/>
                      <a:pt x="765" y="114"/>
                    </a:cubicBezTo>
                    <a:cubicBezTo>
                      <a:pt x="765" y="113"/>
                      <a:pt x="765" y="113"/>
                      <a:pt x="765" y="113"/>
                    </a:cubicBezTo>
                    <a:cubicBezTo>
                      <a:pt x="766" y="112"/>
                      <a:pt x="766" y="112"/>
                      <a:pt x="766" y="112"/>
                    </a:cubicBezTo>
                    <a:cubicBezTo>
                      <a:pt x="766" y="111"/>
                      <a:pt x="766" y="111"/>
                      <a:pt x="766" y="111"/>
                    </a:cubicBezTo>
                    <a:cubicBezTo>
                      <a:pt x="769" y="109"/>
                      <a:pt x="769" y="109"/>
                      <a:pt x="769" y="109"/>
                    </a:cubicBezTo>
                    <a:cubicBezTo>
                      <a:pt x="769" y="108"/>
                      <a:pt x="769" y="108"/>
                      <a:pt x="769" y="108"/>
                    </a:cubicBezTo>
                    <a:cubicBezTo>
                      <a:pt x="769" y="107"/>
                      <a:pt x="769" y="107"/>
                      <a:pt x="769" y="107"/>
                    </a:cubicBezTo>
                    <a:cubicBezTo>
                      <a:pt x="769" y="104"/>
                      <a:pt x="769" y="104"/>
                      <a:pt x="769" y="104"/>
                    </a:cubicBezTo>
                    <a:cubicBezTo>
                      <a:pt x="768" y="103"/>
                      <a:pt x="768" y="103"/>
                      <a:pt x="768" y="103"/>
                    </a:cubicBezTo>
                    <a:cubicBezTo>
                      <a:pt x="766" y="103"/>
                      <a:pt x="766" y="103"/>
                      <a:pt x="766" y="103"/>
                    </a:cubicBezTo>
                    <a:cubicBezTo>
                      <a:pt x="766" y="101"/>
                      <a:pt x="766" y="101"/>
                      <a:pt x="766" y="101"/>
                    </a:cubicBezTo>
                    <a:cubicBezTo>
                      <a:pt x="765" y="101"/>
                      <a:pt x="765" y="101"/>
                      <a:pt x="765" y="101"/>
                    </a:cubicBezTo>
                    <a:cubicBezTo>
                      <a:pt x="763" y="100"/>
                      <a:pt x="763" y="100"/>
                      <a:pt x="763" y="100"/>
                    </a:cubicBezTo>
                    <a:cubicBezTo>
                      <a:pt x="762" y="99"/>
                      <a:pt x="762" y="99"/>
                      <a:pt x="762" y="99"/>
                    </a:cubicBezTo>
                    <a:close/>
                    <a:moveTo>
                      <a:pt x="801" y="318"/>
                    </a:moveTo>
                    <a:cubicBezTo>
                      <a:pt x="802" y="318"/>
                      <a:pt x="802" y="318"/>
                      <a:pt x="802" y="318"/>
                    </a:cubicBezTo>
                    <a:cubicBezTo>
                      <a:pt x="803" y="318"/>
                      <a:pt x="803" y="318"/>
                      <a:pt x="803" y="318"/>
                    </a:cubicBezTo>
                    <a:cubicBezTo>
                      <a:pt x="803" y="317"/>
                      <a:pt x="803" y="317"/>
                      <a:pt x="803" y="317"/>
                    </a:cubicBezTo>
                    <a:cubicBezTo>
                      <a:pt x="802" y="316"/>
                      <a:pt x="802" y="316"/>
                      <a:pt x="802" y="316"/>
                    </a:cubicBezTo>
                    <a:cubicBezTo>
                      <a:pt x="801" y="316"/>
                      <a:pt x="801" y="316"/>
                      <a:pt x="801" y="316"/>
                    </a:cubicBezTo>
                    <a:cubicBezTo>
                      <a:pt x="801" y="317"/>
                      <a:pt x="801" y="317"/>
                      <a:pt x="801" y="317"/>
                    </a:cubicBezTo>
                    <a:cubicBezTo>
                      <a:pt x="801" y="318"/>
                      <a:pt x="801" y="318"/>
                      <a:pt x="801" y="318"/>
                    </a:cubicBezTo>
                    <a:close/>
                    <a:moveTo>
                      <a:pt x="809" y="341"/>
                    </a:moveTo>
                    <a:cubicBezTo>
                      <a:pt x="809" y="341"/>
                      <a:pt x="809" y="341"/>
                      <a:pt x="808" y="342"/>
                    </a:cubicBezTo>
                    <a:cubicBezTo>
                      <a:pt x="808" y="342"/>
                      <a:pt x="808" y="342"/>
                      <a:pt x="807" y="343"/>
                    </a:cubicBezTo>
                    <a:cubicBezTo>
                      <a:pt x="807" y="343"/>
                      <a:pt x="807" y="343"/>
                      <a:pt x="807" y="344"/>
                    </a:cubicBezTo>
                    <a:cubicBezTo>
                      <a:pt x="807" y="344"/>
                      <a:pt x="807" y="344"/>
                      <a:pt x="807" y="345"/>
                    </a:cubicBezTo>
                    <a:cubicBezTo>
                      <a:pt x="807" y="345"/>
                      <a:pt x="807" y="345"/>
                      <a:pt x="808" y="344"/>
                    </a:cubicBezTo>
                    <a:cubicBezTo>
                      <a:pt x="808" y="344"/>
                      <a:pt x="808" y="344"/>
                      <a:pt x="809" y="344"/>
                    </a:cubicBezTo>
                    <a:cubicBezTo>
                      <a:pt x="809" y="344"/>
                      <a:pt x="809" y="344"/>
                      <a:pt x="810" y="343"/>
                    </a:cubicBezTo>
                    <a:cubicBezTo>
                      <a:pt x="810" y="343"/>
                      <a:pt x="810" y="343"/>
                      <a:pt x="811" y="343"/>
                    </a:cubicBezTo>
                    <a:cubicBezTo>
                      <a:pt x="811" y="343"/>
                      <a:pt x="811" y="343"/>
                      <a:pt x="811" y="342"/>
                    </a:cubicBezTo>
                    <a:cubicBezTo>
                      <a:pt x="811" y="342"/>
                      <a:pt x="811" y="342"/>
                      <a:pt x="810" y="342"/>
                    </a:cubicBezTo>
                    <a:cubicBezTo>
                      <a:pt x="810" y="342"/>
                      <a:pt x="810" y="342"/>
                      <a:pt x="810" y="341"/>
                    </a:cubicBezTo>
                    <a:cubicBezTo>
                      <a:pt x="810" y="341"/>
                      <a:pt x="810" y="341"/>
                      <a:pt x="809" y="341"/>
                    </a:cubicBezTo>
                    <a:close/>
                    <a:moveTo>
                      <a:pt x="799" y="315"/>
                    </a:moveTo>
                    <a:cubicBezTo>
                      <a:pt x="799" y="316"/>
                      <a:pt x="799" y="316"/>
                      <a:pt x="799" y="316"/>
                    </a:cubicBezTo>
                    <a:cubicBezTo>
                      <a:pt x="801" y="316"/>
                      <a:pt x="801" y="316"/>
                      <a:pt x="801" y="316"/>
                    </a:cubicBezTo>
                    <a:cubicBezTo>
                      <a:pt x="800" y="315"/>
                      <a:pt x="800" y="315"/>
                      <a:pt x="800" y="315"/>
                    </a:cubicBezTo>
                    <a:cubicBezTo>
                      <a:pt x="799" y="315"/>
                      <a:pt x="799" y="315"/>
                      <a:pt x="799" y="315"/>
                    </a:cubicBezTo>
                    <a:close/>
                    <a:moveTo>
                      <a:pt x="771" y="306"/>
                    </a:moveTo>
                    <a:cubicBezTo>
                      <a:pt x="772" y="306"/>
                      <a:pt x="772" y="306"/>
                      <a:pt x="772" y="306"/>
                    </a:cubicBezTo>
                    <a:cubicBezTo>
                      <a:pt x="772" y="305"/>
                      <a:pt x="772" y="305"/>
                      <a:pt x="772" y="305"/>
                    </a:cubicBezTo>
                    <a:cubicBezTo>
                      <a:pt x="773" y="305"/>
                      <a:pt x="773" y="305"/>
                      <a:pt x="773" y="305"/>
                    </a:cubicBezTo>
                    <a:cubicBezTo>
                      <a:pt x="772" y="304"/>
                      <a:pt x="772" y="304"/>
                      <a:pt x="772" y="304"/>
                    </a:cubicBezTo>
                    <a:cubicBezTo>
                      <a:pt x="771" y="303"/>
                      <a:pt x="771" y="303"/>
                      <a:pt x="771" y="303"/>
                    </a:cubicBezTo>
                    <a:cubicBezTo>
                      <a:pt x="770" y="303"/>
                      <a:pt x="770" y="303"/>
                      <a:pt x="770" y="303"/>
                    </a:cubicBezTo>
                    <a:cubicBezTo>
                      <a:pt x="770" y="302"/>
                      <a:pt x="770" y="302"/>
                      <a:pt x="770" y="302"/>
                    </a:cubicBezTo>
                    <a:cubicBezTo>
                      <a:pt x="769" y="302"/>
                      <a:pt x="769" y="302"/>
                      <a:pt x="769" y="302"/>
                    </a:cubicBezTo>
                    <a:cubicBezTo>
                      <a:pt x="768" y="302"/>
                      <a:pt x="768" y="302"/>
                      <a:pt x="768" y="302"/>
                    </a:cubicBezTo>
                    <a:cubicBezTo>
                      <a:pt x="768" y="303"/>
                      <a:pt x="768" y="303"/>
                      <a:pt x="768" y="303"/>
                    </a:cubicBezTo>
                    <a:cubicBezTo>
                      <a:pt x="769" y="303"/>
                      <a:pt x="769" y="303"/>
                      <a:pt x="769" y="303"/>
                    </a:cubicBezTo>
                    <a:cubicBezTo>
                      <a:pt x="769" y="304"/>
                      <a:pt x="769" y="304"/>
                      <a:pt x="769" y="304"/>
                    </a:cubicBezTo>
                    <a:cubicBezTo>
                      <a:pt x="770" y="305"/>
                      <a:pt x="770" y="305"/>
                      <a:pt x="770" y="305"/>
                    </a:cubicBezTo>
                    <a:cubicBezTo>
                      <a:pt x="770" y="306"/>
                      <a:pt x="770" y="306"/>
                      <a:pt x="770" y="306"/>
                    </a:cubicBezTo>
                    <a:cubicBezTo>
                      <a:pt x="771" y="306"/>
                      <a:pt x="771" y="306"/>
                      <a:pt x="771" y="306"/>
                    </a:cubicBezTo>
                    <a:close/>
                    <a:moveTo>
                      <a:pt x="781" y="314"/>
                    </a:moveTo>
                    <a:cubicBezTo>
                      <a:pt x="780" y="314"/>
                      <a:pt x="780" y="314"/>
                      <a:pt x="780" y="314"/>
                    </a:cubicBezTo>
                    <a:cubicBezTo>
                      <a:pt x="779" y="314"/>
                      <a:pt x="779" y="314"/>
                      <a:pt x="779" y="314"/>
                    </a:cubicBezTo>
                    <a:cubicBezTo>
                      <a:pt x="780" y="315"/>
                      <a:pt x="780" y="315"/>
                      <a:pt x="780" y="315"/>
                    </a:cubicBezTo>
                    <a:cubicBezTo>
                      <a:pt x="781" y="316"/>
                      <a:pt x="781" y="316"/>
                      <a:pt x="781" y="316"/>
                    </a:cubicBezTo>
                    <a:cubicBezTo>
                      <a:pt x="782" y="316"/>
                      <a:pt x="782" y="316"/>
                      <a:pt x="782" y="316"/>
                    </a:cubicBezTo>
                    <a:cubicBezTo>
                      <a:pt x="783" y="316"/>
                      <a:pt x="783" y="316"/>
                      <a:pt x="783" y="316"/>
                    </a:cubicBezTo>
                    <a:cubicBezTo>
                      <a:pt x="782" y="315"/>
                      <a:pt x="782" y="315"/>
                      <a:pt x="782" y="315"/>
                    </a:cubicBezTo>
                    <a:cubicBezTo>
                      <a:pt x="781" y="314"/>
                      <a:pt x="781" y="314"/>
                      <a:pt x="781" y="314"/>
                    </a:cubicBezTo>
                    <a:close/>
                    <a:moveTo>
                      <a:pt x="770" y="228"/>
                    </a:moveTo>
                    <a:cubicBezTo>
                      <a:pt x="770" y="228"/>
                      <a:pt x="770" y="228"/>
                      <a:pt x="769" y="227"/>
                    </a:cubicBezTo>
                    <a:cubicBezTo>
                      <a:pt x="769" y="227"/>
                      <a:pt x="769" y="227"/>
                      <a:pt x="770" y="229"/>
                    </a:cubicBezTo>
                    <a:cubicBezTo>
                      <a:pt x="770" y="229"/>
                      <a:pt x="770" y="229"/>
                      <a:pt x="770" y="228"/>
                    </a:cubicBezTo>
                    <a:close/>
                    <a:moveTo>
                      <a:pt x="772" y="230"/>
                    </a:moveTo>
                    <a:cubicBezTo>
                      <a:pt x="772" y="229"/>
                      <a:pt x="772" y="229"/>
                      <a:pt x="772" y="229"/>
                    </a:cubicBezTo>
                    <a:cubicBezTo>
                      <a:pt x="771" y="229"/>
                      <a:pt x="771" y="229"/>
                      <a:pt x="771" y="229"/>
                    </a:cubicBezTo>
                    <a:cubicBezTo>
                      <a:pt x="770" y="229"/>
                      <a:pt x="770" y="229"/>
                      <a:pt x="770" y="229"/>
                    </a:cubicBezTo>
                    <a:cubicBezTo>
                      <a:pt x="771" y="230"/>
                      <a:pt x="771" y="230"/>
                      <a:pt x="771" y="230"/>
                    </a:cubicBezTo>
                    <a:cubicBezTo>
                      <a:pt x="772" y="230"/>
                      <a:pt x="772" y="230"/>
                      <a:pt x="772" y="230"/>
                    </a:cubicBezTo>
                    <a:close/>
                    <a:moveTo>
                      <a:pt x="769" y="298"/>
                    </a:moveTo>
                    <a:cubicBezTo>
                      <a:pt x="768" y="297"/>
                      <a:pt x="768" y="297"/>
                      <a:pt x="768" y="297"/>
                    </a:cubicBezTo>
                    <a:cubicBezTo>
                      <a:pt x="767" y="297"/>
                      <a:pt x="767" y="297"/>
                      <a:pt x="767" y="297"/>
                    </a:cubicBezTo>
                    <a:cubicBezTo>
                      <a:pt x="767" y="298"/>
                      <a:pt x="767" y="298"/>
                      <a:pt x="767" y="298"/>
                    </a:cubicBezTo>
                    <a:cubicBezTo>
                      <a:pt x="768" y="298"/>
                      <a:pt x="768" y="298"/>
                      <a:pt x="768" y="298"/>
                    </a:cubicBezTo>
                    <a:cubicBezTo>
                      <a:pt x="769" y="298"/>
                      <a:pt x="769" y="298"/>
                      <a:pt x="769" y="298"/>
                    </a:cubicBezTo>
                    <a:close/>
                    <a:moveTo>
                      <a:pt x="769" y="224"/>
                    </a:moveTo>
                    <a:cubicBezTo>
                      <a:pt x="768" y="223"/>
                      <a:pt x="768" y="223"/>
                      <a:pt x="768" y="223"/>
                    </a:cubicBezTo>
                    <a:cubicBezTo>
                      <a:pt x="767" y="223"/>
                      <a:pt x="767" y="223"/>
                      <a:pt x="767" y="223"/>
                    </a:cubicBezTo>
                    <a:cubicBezTo>
                      <a:pt x="767" y="224"/>
                      <a:pt x="767" y="224"/>
                      <a:pt x="767" y="224"/>
                    </a:cubicBezTo>
                    <a:cubicBezTo>
                      <a:pt x="768" y="224"/>
                      <a:pt x="768" y="224"/>
                      <a:pt x="768" y="224"/>
                    </a:cubicBezTo>
                    <a:cubicBezTo>
                      <a:pt x="768" y="225"/>
                      <a:pt x="768" y="225"/>
                      <a:pt x="768" y="225"/>
                    </a:cubicBezTo>
                    <a:cubicBezTo>
                      <a:pt x="769" y="224"/>
                      <a:pt x="769" y="224"/>
                      <a:pt x="769" y="224"/>
                    </a:cubicBezTo>
                    <a:close/>
                    <a:moveTo>
                      <a:pt x="853" y="264"/>
                    </a:moveTo>
                    <a:cubicBezTo>
                      <a:pt x="853" y="264"/>
                      <a:pt x="853" y="264"/>
                      <a:pt x="852" y="263"/>
                    </a:cubicBezTo>
                    <a:cubicBezTo>
                      <a:pt x="852" y="263"/>
                      <a:pt x="852" y="263"/>
                      <a:pt x="851" y="264"/>
                    </a:cubicBezTo>
                    <a:cubicBezTo>
                      <a:pt x="851" y="264"/>
                      <a:pt x="851" y="264"/>
                      <a:pt x="852" y="266"/>
                    </a:cubicBezTo>
                    <a:cubicBezTo>
                      <a:pt x="852" y="266"/>
                      <a:pt x="852" y="266"/>
                      <a:pt x="853" y="265"/>
                    </a:cubicBezTo>
                    <a:cubicBezTo>
                      <a:pt x="853" y="265"/>
                      <a:pt x="853" y="265"/>
                      <a:pt x="853" y="264"/>
                    </a:cubicBezTo>
                    <a:close/>
                    <a:moveTo>
                      <a:pt x="859" y="270"/>
                    </a:moveTo>
                    <a:cubicBezTo>
                      <a:pt x="859" y="270"/>
                      <a:pt x="859" y="270"/>
                      <a:pt x="858" y="270"/>
                    </a:cubicBezTo>
                    <a:cubicBezTo>
                      <a:pt x="858" y="270"/>
                      <a:pt x="858" y="270"/>
                      <a:pt x="857" y="270"/>
                    </a:cubicBezTo>
                    <a:cubicBezTo>
                      <a:pt x="857" y="270"/>
                      <a:pt x="857" y="270"/>
                      <a:pt x="857" y="271"/>
                    </a:cubicBezTo>
                    <a:cubicBezTo>
                      <a:pt x="857" y="271"/>
                      <a:pt x="857" y="271"/>
                      <a:pt x="858" y="271"/>
                    </a:cubicBezTo>
                    <a:cubicBezTo>
                      <a:pt x="858" y="271"/>
                      <a:pt x="858" y="271"/>
                      <a:pt x="859" y="270"/>
                    </a:cubicBezTo>
                    <a:close/>
                    <a:moveTo>
                      <a:pt x="861" y="451"/>
                    </a:moveTo>
                    <a:cubicBezTo>
                      <a:pt x="861" y="451"/>
                      <a:pt x="861" y="451"/>
                      <a:pt x="862" y="451"/>
                    </a:cubicBezTo>
                    <a:cubicBezTo>
                      <a:pt x="862" y="451"/>
                      <a:pt x="862" y="451"/>
                      <a:pt x="863" y="450"/>
                    </a:cubicBezTo>
                    <a:cubicBezTo>
                      <a:pt x="863" y="450"/>
                      <a:pt x="863" y="450"/>
                      <a:pt x="862" y="450"/>
                    </a:cubicBezTo>
                    <a:cubicBezTo>
                      <a:pt x="862" y="450"/>
                      <a:pt x="862" y="450"/>
                      <a:pt x="861" y="451"/>
                    </a:cubicBezTo>
                    <a:close/>
                    <a:moveTo>
                      <a:pt x="863" y="429"/>
                    </a:moveTo>
                    <a:cubicBezTo>
                      <a:pt x="863" y="429"/>
                      <a:pt x="863" y="429"/>
                      <a:pt x="862" y="430"/>
                    </a:cubicBezTo>
                    <a:cubicBezTo>
                      <a:pt x="862" y="431"/>
                      <a:pt x="862" y="431"/>
                      <a:pt x="862" y="431"/>
                    </a:cubicBezTo>
                    <a:cubicBezTo>
                      <a:pt x="862" y="431"/>
                      <a:pt x="862" y="431"/>
                      <a:pt x="863" y="430"/>
                    </a:cubicBezTo>
                    <a:cubicBezTo>
                      <a:pt x="863" y="430"/>
                      <a:pt x="863" y="430"/>
                      <a:pt x="863" y="429"/>
                    </a:cubicBezTo>
                    <a:close/>
                    <a:moveTo>
                      <a:pt x="838" y="250"/>
                    </a:moveTo>
                    <a:cubicBezTo>
                      <a:pt x="837" y="250"/>
                      <a:pt x="837" y="250"/>
                      <a:pt x="837" y="250"/>
                    </a:cubicBezTo>
                    <a:cubicBezTo>
                      <a:pt x="838" y="251"/>
                      <a:pt x="838" y="251"/>
                      <a:pt x="838" y="251"/>
                    </a:cubicBezTo>
                    <a:cubicBezTo>
                      <a:pt x="838" y="250"/>
                      <a:pt x="838" y="250"/>
                      <a:pt x="838" y="250"/>
                    </a:cubicBezTo>
                    <a:close/>
                    <a:moveTo>
                      <a:pt x="830" y="330"/>
                    </a:moveTo>
                    <a:cubicBezTo>
                      <a:pt x="830" y="330"/>
                      <a:pt x="830" y="330"/>
                      <a:pt x="829" y="330"/>
                    </a:cubicBezTo>
                    <a:cubicBezTo>
                      <a:pt x="829" y="330"/>
                      <a:pt x="829" y="330"/>
                      <a:pt x="829" y="329"/>
                    </a:cubicBezTo>
                    <a:cubicBezTo>
                      <a:pt x="829" y="329"/>
                      <a:pt x="829" y="329"/>
                      <a:pt x="828" y="328"/>
                    </a:cubicBezTo>
                    <a:cubicBezTo>
                      <a:pt x="828" y="328"/>
                      <a:pt x="828" y="328"/>
                      <a:pt x="828" y="329"/>
                    </a:cubicBezTo>
                    <a:cubicBezTo>
                      <a:pt x="828" y="329"/>
                      <a:pt x="828" y="329"/>
                      <a:pt x="828" y="330"/>
                    </a:cubicBezTo>
                    <a:cubicBezTo>
                      <a:pt x="828" y="330"/>
                      <a:pt x="828" y="330"/>
                      <a:pt x="828" y="331"/>
                    </a:cubicBezTo>
                    <a:cubicBezTo>
                      <a:pt x="828" y="331"/>
                      <a:pt x="828" y="331"/>
                      <a:pt x="829" y="332"/>
                    </a:cubicBezTo>
                    <a:cubicBezTo>
                      <a:pt x="829" y="332"/>
                      <a:pt x="829" y="332"/>
                      <a:pt x="830" y="331"/>
                    </a:cubicBezTo>
                    <a:cubicBezTo>
                      <a:pt x="830" y="331"/>
                      <a:pt x="830" y="331"/>
                      <a:pt x="830" y="330"/>
                    </a:cubicBezTo>
                    <a:close/>
                    <a:moveTo>
                      <a:pt x="832" y="323"/>
                    </a:moveTo>
                    <a:cubicBezTo>
                      <a:pt x="831" y="324"/>
                      <a:pt x="831" y="324"/>
                      <a:pt x="831" y="324"/>
                    </a:cubicBezTo>
                    <a:cubicBezTo>
                      <a:pt x="832" y="324"/>
                      <a:pt x="832" y="324"/>
                      <a:pt x="832" y="324"/>
                    </a:cubicBezTo>
                    <a:cubicBezTo>
                      <a:pt x="833" y="325"/>
                      <a:pt x="833" y="325"/>
                      <a:pt x="833" y="325"/>
                    </a:cubicBezTo>
                    <a:cubicBezTo>
                      <a:pt x="834" y="324"/>
                      <a:pt x="834" y="324"/>
                      <a:pt x="834" y="324"/>
                    </a:cubicBezTo>
                    <a:cubicBezTo>
                      <a:pt x="834" y="323"/>
                      <a:pt x="834" y="323"/>
                      <a:pt x="834" y="323"/>
                    </a:cubicBezTo>
                    <a:cubicBezTo>
                      <a:pt x="834" y="322"/>
                      <a:pt x="834" y="322"/>
                      <a:pt x="834" y="322"/>
                    </a:cubicBezTo>
                    <a:cubicBezTo>
                      <a:pt x="833" y="323"/>
                      <a:pt x="833" y="323"/>
                      <a:pt x="833" y="323"/>
                    </a:cubicBezTo>
                    <a:cubicBezTo>
                      <a:pt x="832" y="323"/>
                      <a:pt x="832" y="323"/>
                      <a:pt x="832" y="323"/>
                    </a:cubicBezTo>
                    <a:close/>
                    <a:moveTo>
                      <a:pt x="826" y="332"/>
                    </a:moveTo>
                    <a:cubicBezTo>
                      <a:pt x="826" y="332"/>
                      <a:pt x="826" y="332"/>
                      <a:pt x="826" y="333"/>
                    </a:cubicBezTo>
                    <a:cubicBezTo>
                      <a:pt x="826" y="333"/>
                      <a:pt x="826" y="333"/>
                      <a:pt x="826" y="334"/>
                    </a:cubicBezTo>
                    <a:cubicBezTo>
                      <a:pt x="826" y="334"/>
                      <a:pt x="826" y="334"/>
                      <a:pt x="827" y="334"/>
                    </a:cubicBezTo>
                    <a:cubicBezTo>
                      <a:pt x="827" y="334"/>
                      <a:pt x="827" y="334"/>
                      <a:pt x="828" y="334"/>
                    </a:cubicBezTo>
                    <a:cubicBezTo>
                      <a:pt x="828" y="334"/>
                      <a:pt x="828" y="334"/>
                      <a:pt x="828" y="335"/>
                    </a:cubicBezTo>
                    <a:cubicBezTo>
                      <a:pt x="828" y="335"/>
                      <a:pt x="828" y="335"/>
                      <a:pt x="829" y="335"/>
                    </a:cubicBezTo>
                    <a:cubicBezTo>
                      <a:pt x="829" y="335"/>
                      <a:pt x="829" y="335"/>
                      <a:pt x="829" y="334"/>
                    </a:cubicBezTo>
                    <a:cubicBezTo>
                      <a:pt x="829" y="334"/>
                      <a:pt x="829" y="334"/>
                      <a:pt x="830" y="333"/>
                    </a:cubicBezTo>
                    <a:cubicBezTo>
                      <a:pt x="830" y="333"/>
                      <a:pt x="830" y="333"/>
                      <a:pt x="829" y="332"/>
                    </a:cubicBezTo>
                    <a:cubicBezTo>
                      <a:pt x="829" y="332"/>
                      <a:pt x="829" y="332"/>
                      <a:pt x="827" y="332"/>
                    </a:cubicBezTo>
                    <a:cubicBezTo>
                      <a:pt x="827" y="332"/>
                      <a:pt x="827" y="332"/>
                      <a:pt x="826" y="332"/>
                    </a:cubicBezTo>
                    <a:close/>
                    <a:moveTo>
                      <a:pt x="834" y="299"/>
                    </a:moveTo>
                    <a:cubicBezTo>
                      <a:pt x="834" y="299"/>
                      <a:pt x="834" y="299"/>
                      <a:pt x="835" y="299"/>
                    </a:cubicBezTo>
                    <a:cubicBezTo>
                      <a:pt x="835" y="299"/>
                      <a:pt x="835" y="299"/>
                      <a:pt x="836" y="298"/>
                    </a:cubicBezTo>
                    <a:cubicBezTo>
                      <a:pt x="836" y="298"/>
                      <a:pt x="836" y="298"/>
                      <a:pt x="835" y="298"/>
                    </a:cubicBezTo>
                    <a:cubicBezTo>
                      <a:pt x="835" y="298"/>
                      <a:pt x="835" y="298"/>
                      <a:pt x="834" y="299"/>
                    </a:cubicBezTo>
                    <a:close/>
                    <a:moveTo>
                      <a:pt x="836" y="303"/>
                    </a:moveTo>
                    <a:cubicBezTo>
                      <a:pt x="836" y="303"/>
                      <a:pt x="836" y="303"/>
                      <a:pt x="837" y="303"/>
                    </a:cubicBezTo>
                    <a:cubicBezTo>
                      <a:pt x="837" y="303"/>
                      <a:pt x="837" y="303"/>
                      <a:pt x="836" y="302"/>
                    </a:cubicBezTo>
                    <a:cubicBezTo>
                      <a:pt x="836" y="302"/>
                      <a:pt x="836" y="302"/>
                      <a:pt x="836" y="303"/>
                    </a:cubicBezTo>
                    <a:close/>
                    <a:moveTo>
                      <a:pt x="857" y="17"/>
                    </a:moveTo>
                    <a:cubicBezTo>
                      <a:pt x="857" y="17"/>
                      <a:pt x="857" y="17"/>
                      <a:pt x="857" y="18"/>
                    </a:cubicBezTo>
                    <a:cubicBezTo>
                      <a:pt x="857" y="18"/>
                      <a:pt x="857" y="18"/>
                      <a:pt x="858" y="18"/>
                    </a:cubicBezTo>
                    <a:cubicBezTo>
                      <a:pt x="858" y="18"/>
                      <a:pt x="858" y="18"/>
                      <a:pt x="857" y="17"/>
                    </a:cubicBezTo>
                    <a:close/>
                    <a:moveTo>
                      <a:pt x="437" y="382"/>
                    </a:moveTo>
                    <a:cubicBezTo>
                      <a:pt x="438" y="383"/>
                      <a:pt x="438" y="383"/>
                      <a:pt x="438" y="383"/>
                    </a:cubicBezTo>
                    <a:cubicBezTo>
                      <a:pt x="438" y="384"/>
                      <a:pt x="438" y="384"/>
                      <a:pt x="438" y="384"/>
                    </a:cubicBezTo>
                    <a:cubicBezTo>
                      <a:pt x="439" y="383"/>
                      <a:pt x="439" y="383"/>
                      <a:pt x="439" y="383"/>
                    </a:cubicBezTo>
                    <a:cubicBezTo>
                      <a:pt x="438" y="381"/>
                      <a:pt x="438" y="381"/>
                      <a:pt x="438" y="381"/>
                    </a:cubicBezTo>
                    <a:cubicBezTo>
                      <a:pt x="437" y="380"/>
                      <a:pt x="437" y="380"/>
                      <a:pt x="437" y="380"/>
                    </a:cubicBezTo>
                    <a:cubicBezTo>
                      <a:pt x="437" y="382"/>
                      <a:pt x="437" y="382"/>
                      <a:pt x="437" y="382"/>
                    </a:cubicBezTo>
                    <a:close/>
                    <a:moveTo>
                      <a:pt x="440" y="394"/>
                    </a:moveTo>
                    <a:cubicBezTo>
                      <a:pt x="440" y="395"/>
                      <a:pt x="440" y="395"/>
                      <a:pt x="440" y="395"/>
                    </a:cubicBezTo>
                    <a:cubicBezTo>
                      <a:pt x="440" y="396"/>
                      <a:pt x="440" y="396"/>
                      <a:pt x="440" y="396"/>
                    </a:cubicBezTo>
                    <a:cubicBezTo>
                      <a:pt x="441" y="395"/>
                      <a:pt x="441" y="395"/>
                      <a:pt x="441" y="395"/>
                    </a:cubicBezTo>
                    <a:cubicBezTo>
                      <a:pt x="440" y="394"/>
                      <a:pt x="440" y="394"/>
                      <a:pt x="440" y="394"/>
                    </a:cubicBezTo>
                    <a:close/>
                    <a:moveTo>
                      <a:pt x="452" y="411"/>
                    </a:moveTo>
                    <a:cubicBezTo>
                      <a:pt x="452" y="411"/>
                      <a:pt x="452" y="411"/>
                      <a:pt x="451" y="411"/>
                    </a:cubicBezTo>
                    <a:cubicBezTo>
                      <a:pt x="451" y="411"/>
                      <a:pt x="451" y="411"/>
                      <a:pt x="452" y="413"/>
                    </a:cubicBezTo>
                    <a:cubicBezTo>
                      <a:pt x="452" y="413"/>
                      <a:pt x="452" y="413"/>
                      <a:pt x="452" y="411"/>
                    </a:cubicBezTo>
                    <a:close/>
                    <a:moveTo>
                      <a:pt x="437" y="377"/>
                    </a:moveTo>
                    <a:cubicBezTo>
                      <a:pt x="437" y="378"/>
                      <a:pt x="437" y="378"/>
                      <a:pt x="437" y="378"/>
                    </a:cubicBezTo>
                    <a:cubicBezTo>
                      <a:pt x="438" y="378"/>
                      <a:pt x="438" y="378"/>
                      <a:pt x="438" y="378"/>
                    </a:cubicBezTo>
                    <a:cubicBezTo>
                      <a:pt x="437" y="377"/>
                      <a:pt x="437" y="377"/>
                      <a:pt x="437" y="377"/>
                    </a:cubicBezTo>
                    <a:close/>
                    <a:moveTo>
                      <a:pt x="450" y="410"/>
                    </a:moveTo>
                    <a:cubicBezTo>
                      <a:pt x="449" y="410"/>
                      <a:pt x="449" y="410"/>
                      <a:pt x="449" y="410"/>
                    </a:cubicBezTo>
                    <a:cubicBezTo>
                      <a:pt x="447" y="409"/>
                      <a:pt x="447" y="409"/>
                      <a:pt x="447" y="409"/>
                    </a:cubicBezTo>
                    <a:cubicBezTo>
                      <a:pt x="445" y="409"/>
                      <a:pt x="445" y="409"/>
                      <a:pt x="445" y="409"/>
                    </a:cubicBezTo>
                    <a:cubicBezTo>
                      <a:pt x="444" y="408"/>
                      <a:pt x="444" y="408"/>
                      <a:pt x="444" y="408"/>
                    </a:cubicBezTo>
                    <a:cubicBezTo>
                      <a:pt x="443" y="407"/>
                      <a:pt x="443" y="407"/>
                      <a:pt x="443" y="407"/>
                    </a:cubicBezTo>
                    <a:cubicBezTo>
                      <a:pt x="441" y="406"/>
                      <a:pt x="441" y="406"/>
                      <a:pt x="441" y="406"/>
                    </a:cubicBezTo>
                    <a:cubicBezTo>
                      <a:pt x="440" y="405"/>
                      <a:pt x="440" y="405"/>
                      <a:pt x="440" y="405"/>
                    </a:cubicBezTo>
                    <a:cubicBezTo>
                      <a:pt x="440" y="404"/>
                      <a:pt x="440" y="404"/>
                      <a:pt x="440" y="404"/>
                    </a:cubicBezTo>
                    <a:cubicBezTo>
                      <a:pt x="439" y="404"/>
                      <a:pt x="439" y="404"/>
                      <a:pt x="439" y="404"/>
                    </a:cubicBezTo>
                    <a:cubicBezTo>
                      <a:pt x="438" y="403"/>
                      <a:pt x="438" y="403"/>
                      <a:pt x="438" y="403"/>
                    </a:cubicBezTo>
                    <a:cubicBezTo>
                      <a:pt x="437" y="402"/>
                      <a:pt x="437" y="402"/>
                      <a:pt x="437" y="402"/>
                    </a:cubicBezTo>
                    <a:cubicBezTo>
                      <a:pt x="436" y="403"/>
                      <a:pt x="436" y="403"/>
                      <a:pt x="436" y="403"/>
                    </a:cubicBezTo>
                    <a:cubicBezTo>
                      <a:pt x="434" y="403"/>
                      <a:pt x="434" y="403"/>
                      <a:pt x="434" y="403"/>
                    </a:cubicBezTo>
                    <a:cubicBezTo>
                      <a:pt x="435" y="404"/>
                      <a:pt x="435" y="404"/>
                      <a:pt x="435" y="404"/>
                    </a:cubicBezTo>
                    <a:cubicBezTo>
                      <a:pt x="435" y="405"/>
                      <a:pt x="435" y="405"/>
                      <a:pt x="435" y="405"/>
                    </a:cubicBezTo>
                    <a:cubicBezTo>
                      <a:pt x="436" y="406"/>
                      <a:pt x="436" y="406"/>
                      <a:pt x="436" y="406"/>
                    </a:cubicBezTo>
                    <a:cubicBezTo>
                      <a:pt x="439" y="406"/>
                      <a:pt x="439" y="406"/>
                      <a:pt x="439" y="406"/>
                    </a:cubicBezTo>
                    <a:cubicBezTo>
                      <a:pt x="438" y="407"/>
                      <a:pt x="438" y="407"/>
                      <a:pt x="438" y="407"/>
                    </a:cubicBezTo>
                    <a:cubicBezTo>
                      <a:pt x="436" y="407"/>
                      <a:pt x="436" y="407"/>
                      <a:pt x="436" y="407"/>
                    </a:cubicBezTo>
                    <a:cubicBezTo>
                      <a:pt x="435" y="408"/>
                      <a:pt x="435" y="408"/>
                      <a:pt x="435" y="408"/>
                    </a:cubicBezTo>
                    <a:cubicBezTo>
                      <a:pt x="436" y="409"/>
                      <a:pt x="436" y="409"/>
                      <a:pt x="436" y="409"/>
                    </a:cubicBezTo>
                    <a:cubicBezTo>
                      <a:pt x="435" y="410"/>
                      <a:pt x="435" y="410"/>
                      <a:pt x="435" y="410"/>
                    </a:cubicBezTo>
                    <a:cubicBezTo>
                      <a:pt x="436" y="411"/>
                      <a:pt x="436" y="411"/>
                      <a:pt x="436" y="411"/>
                    </a:cubicBezTo>
                    <a:cubicBezTo>
                      <a:pt x="437" y="410"/>
                      <a:pt x="437" y="410"/>
                      <a:pt x="437" y="410"/>
                    </a:cubicBezTo>
                    <a:cubicBezTo>
                      <a:pt x="437" y="411"/>
                      <a:pt x="437" y="411"/>
                      <a:pt x="437" y="411"/>
                    </a:cubicBezTo>
                    <a:cubicBezTo>
                      <a:pt x="439" y="411"/>
                      <a:pt x="439" y="411"/>
                      <a:pt x="439" y="411"/>
                    </a:cubicBezTo>
                    <a:cubicBezTo>
                      <a:pt x="439" y="413"/>
                      <a:pt x="439" y="413"/>
                      <a:pt x="439" y="413"/>
                    </a:cubicBezTo>
                    <a:cubicBezTo>
                      <a:pt x="440" y="413"/>
                      <a:pt x="440" y="413"/>
                      <a:pt x="440" y="413"/>
                    </a:cubicBezTo>
                    <a:cubicBezTo>
                      <a:pt x="441" y="413"/>
                      <a:pt x="441" y="413"/>
                      <a:pt x="441" y="413"/>
                    </a:cubicBezTo>
                    <a:cubicBezTo>
                      <a:pt x="440" y="415"/>
                      <a:pt x="440" y="415"/>
                      <a:pt x="440" y="415"/>
                    </a:cubicBezTo>
                    <a:cubicBezTo>
                      <a:pt x="440" y="416"/>
                      <a:pt x="440" y="416"/>
                      <a:pt x="440" y="416"/>
                    </a:cubicBezTo>
                    <a:cubicBezTo>
                      <a:pt x="441" y="416"/>
                      <a:pt x="441" y="416"/>
                      <a:pt x="441" y="416"/>
                    </a:cubicBezTo>
                    <a:cubicBezTo>
                      <a:pt x="441" y="415"/>
                      <a:pt x="441" y="415"/>
                      <a:pt x="441" y="415"/>
                    </a:cubicBezTo>
                    <a:cubicBezTo>
                      <a:pt x="443" y="414"/>
                      <a:pt x="443" y="414"/>
                      <a:pt x="443" y="414"/>
                    </a:cubicBezTo>
                    <a:cubicBezTo>
                      <a:pt x="443" y="416"/>
                      <a:pt x="443" y="416"/>
                      <a:pt x="443" y="416"/>
                    </a:cubicBezTo>
                    <a:cubicBezTo>
                      <a:pt x="442" y="417"/>
                      <a:pt x="442" y="417"/>
                      <a:pt x="442" y="417"/>
                    </a:cubicBezTo>
                    <a:cubicBezTo>
                      <a:pt x="442" y="418"/>
                      <a:pt x="442" y="418"/>
                      <a:pt x="442" y="418"/>
                    </a:cubicBezTo>
                    <a:cubicBezTo>
                      <a:pt x="443" y="419"/>
                      <a:pt x="443" y="419"/>
                      <a:pt x="443" y="419"/>
                    </a:cubicBezTo>
                    <a:cubicBezTo>
                      <a:pt x="445" y="419"/>
                      <a:pt x="445" y="419"/>
                      <a:pt x="445" y="419"/>
                    </a:cubicBezTo>
                    <a:cubicBezTo>
                      <a:pt x="445" y="420"/>
                      <a:pt x="445" y="420"/>
                      <a:pt x="445" y="420"/>
                    </a:cubicBezTo>
                    <a:cubicBezTo>
                      <a:pt x="446" y="420"/>
                      <a:pt x="446" y="420"/>
                      <a:pt x="446" y="420"/>
                    </a:cubicBezTo>
                    <a:cubicBezTo>
                      <a:pt x="446" y="421"/>
                      <a:pt x="446" y="421"/>
                      <a:pt x="446" y="421"/>
                    </a:cubicBezTo>
                    <a:cubicBezTo>
                      <a:pt x="446" y="422"/>
                      <a:pt x="446" y="422"/>
                      <a:pt x="446" y="422"/>
                    </a:cubicBezTo>
                    <a:cubicBezTo>
                      <a:pt x="447" y="424"/>
                      <a:pt x="447" y="424"/>
                      <a:pt x="447" y="424"/>
                    </a:cubicBezTo>
                    <a:cubicBezTo>
                      <a:pt x="448" y="423"/>
                      <a:pt x="448" y="423"/>
                      <a:pt x="448" y="423"/>
                    </a:cubicBezTo>
                    <a:cubicBezTo>
                      <a:pt x="449" y="423"/>
                      <a:pt x="449" y="423"/>
                      <a:pt x="449" y="423"/>
                    </a:cubicBezTo>
                    <a:cubicBezTo>
                      <a:pt x="450" y="423"/>
                      <a:pt x="450" y="423"/>
                      <a:pt x="450" y="423"/>
                    </a:cubicBezTo>
                    <a:cubicBezTo>
                      <a:pt x="448" y="425"/>
                      <a:pt x="448" y="425"/>
                      <a:pt x="448" y="425"/>
                    </a:cubicBezTo>
                    <a:cubicBezTo>
                      <a:pt x="450" y="428"/>
                      <a:pt x="450" y="428"/>
                      <a:pt x="450" y="428"/>
                    </a:cubicBezTo>
                    <a:cubicBezTo>
                      <a:pt x="451" y="428"/>
                      <a:pt x="451" y="428"/>
                      <a:pt x="451" y="428"/>
                    </a:cubicBezTo>
                    <a:cubicBezTo>
                      <a:pt x="452" y="429"/>
                      <a:pt x="452" y="429"/>
                      <a:pt x="452" y="429"/>
                    </a:cubicBezTo>
                    <a:cubicBezTo>
                      <a:pt x="455" y="431"/>
                      <a:pt x="455" y="431"/>
                      <a:pt x="455" y="431"/>
                    </a:cubicBezTo>
                    <a:cubicBezTo>
                      <a:pt x="456" y="431"/>
                      <a:pt x="456" y="431"/>
                      <a:pt x="456" y="431"/>
                    </a:cubicBezTo>
                    <a:cubicBezTo>
                      <a:pt x="457" y="431"/>
                      <a:pt x="457" y="431"/>
                      <a:pt x="457" y="431"/>
                    </a:cubicBezTo>
                    <a:cubicBezTo>
                      <a:pt x="456" y="427"/>
                      <a:pt x="456" y="427"/>
                      <a:pt x="456" y="427"/>
                    </a:cubicBezTo>
                    <a:cubicBezTo>
                      <a:pt x="457" y="426"/>
                      <a:pt x="457" y="426"/>
                      <a:pt x="457" y="426"/>
                    </a:cubicBezTo>
                    <a:cubicBezTo>
                      <a:pt x="456" y="425"/>
                      <a:pt x="456" y="425"/>
                      <a:pt x="456" y="425"/>
                    </a:cubicBezTo>
                    <a:cubicBezTo>
                      <a:pt x="456" y="422"/>
                      <a:pt x="456" y="422"/>
                      <a:pt x="456" y="422"/>
                    </a:cubicBezTo>
                    <a:cubicBezTo>
                      <a:pt x="455" y="421"/>
                      <a:pt x="455" y="421"/>
                      <a:pt x="455" y="421"/>
                    </a:cubicBezTo>
                    <a:cubicBezTo>
                      <a:pt x="453" y="419"/>
                      <a:pt x="453" y="419"/>
                      <a:pt x="453" y="419"/>
                    </a:cubicBezTo>
                    <a:cubicBezTo>
                      <a:pt x="452" y="415"/>
                      <a:pt x="452" y="415"/>
                      <a:pt x="452" y="415"/>
                    </a:cubicBezTo>
                    <a:cubicBezTo>
                      <a:pt x="451" y="413"/>
                      <a:pt x="451" y="413"/>
                      <a:pt x="451" y="413"/>
                    </a:cubicBezTo>
                    <a:cubicBezTo>
                      <a:pt x="451" y="411"/>
                      <a:pt x="451" y="411"/>
                      <a:pt x="451" y="411"/>
                    </a:cubicBezTo>
                    <a:cubicBezTo>
                      <a:pt x="450" y="410"/>
                      <a:pt x="450" y="410"/>
                      <a:pt x="450" y="410"/>
                    </a:cubicBezTo>
                    <a:close/>
                    <a:moveTo>
                      <a:pt x="443" y="372"/>
                    </a:moveTo>
                    <a:cubicBezTo>
                      <a:pt x="443" y="372"/>
                      <a:pt x="443" y="372"/>
                      <a:pt x="442" y="372"/>
                    </a:cubicBezTo>
                    <a:cubicBezTo>
                      <a:pt x="442" y="372"/>
                      <a:pt x="442" y="372"/>
                      <a:pt x="441" y="373"/>
                    </a:cubicBezTo>
                    <a:cubicBezTo>
                      <a:pt x="441" y="373"/>
                      <a:pt x="441" y="373"/>
                      <a:pt x="441" y="374"/>
                    </a:cubicBezTo>
                    <a:cubicBezTo>
                      <a:pt x="441" y="374"/>
                      <a:pt x="441" y="374"/>
                      <a:pt x="443" y="373"/>
                    </a:cubicBezTo>
                    <a:cubicBezTo>
                      <a:pt x="443" y="373"/>
                      <a:pt x="443" y="373"/>
                      <a:pt x="443" y="372"/>
                    </a:cubicBezTo>
                    <a:close/>
                    <a:moveTo>
                      <a:pt x="442" y="383"/>
                    </a:moveTo>
                    <a:cubicBezTo>
                      <a:pt x="442" y="383"/>
                      <a:pt x="442" y="383"/>
                      <a:pt x="443" y="383"/>
                    </a:cubicBezTo>
                    <a:cubicBezTo>
                      <a:pt x="443" y="383"/>
                      <a:pt x="443" y="383"/>
                      <a:pt x="442" y="382"/>
                    </a:cubicBezTo>
                    <a:cubicBezTo>
                      <a:pt x="442" y="382"/>
                      <a:pt x="442" y="382"/>
                      <a:pt x="442" y="383"/>
                    </a:cubicBezTo>
                    <a:close/>
                    <a:moveTo>
                      <a:pt x="727" y="223"/>
                    </a:moveTo>
                    <a:cubicBezTo>
                      <a:pt x="728" y="223"/>
                      <a:pt x="728" y="223"/>
                      <a:pt x="728" y="223"/>
                    </a:cubicBezTo>
                    <a:cubicBezTo>
                      <a:pt x="728" y="222"/>
                      <a:pt x="728" y="222"/>
                      <a:pt x="728" y="222"/>
                    </a:cubicBezTo>
                    <a:cubicBezTo>
                      <a:pt x="728" y="221"/>
                      <a:pt x="728" y="221"/>
                      <a:pt x="728" y="221"/>
                    </a:cubicBezTo>
                    <a:cubicBezTo>
                      <a:pt x="727" y="222"/>
                      <a:pt x="727" y="222"/>
                      <a:pt x="727" y="222"/>
                    </a:cubicBezTo>
                    <a:cubicBezTo>
                      <a:pt x="727" y="223"/>
                      <a:pt x="727" y="223"/>
                      <a:pt x="727" y="223"/>
                    </a:cubicBezTo>
                    <a:close/>
                    <a:moveTo>
                      <a:pt x="436" y="376"/>
                    </a:moveTo>
                    <a:cubicBezTo>
                      <a:pt x="436" y="376"/>
                      <a:pt x="436" y="376"/>
                      <a:pt x="436" y="375"/>
                    </a:cubicBezTo>
                    <a:cubicBezTo>
                      <a:pt x="436" y="375"/>
                      <a:pt x="436" y="375"/>
                      <a:pt x="436" y="374"/>
                    </a:cubicBezTo>
                    <a:cubicBezTo>
                      <a:pt x="436" y="374"/>
                      <a:pt x="436" y="374"/>
                      <a:pt x="433" y="371"/>
                    </a:cubicBezTo>
                    <a:cubicBezTo>
                      <a:pt x="433" y="371"/>
                      <a:pt x="433" y="371"/>
                      <a:pt x="433" y="373"/>
                    </a:cubicBezTo>
                    <a:cubicBezTo>
                      <a:pt x="433" y="373"/>
                      <a:pt x="433" y="373"/>
                      <a:pt x="435" y="375"/>
                    </a:cubicBezTo>
                    <a:cubicBezTo>
                      <a:pt x="435" y="375"/>
                      <a:pt x="435" y="375"/>
                      <a:pt x="435" y="376"/>
                    </a:cubicBezTo>
                    <a:cubicBezTo>
                      <a:pt x="435" y="376"/>
                      <a:pt x="435" y="376"/>
                      <a:pt x="436" y="376"/>
                    </a:cubicBezTo>
                    <a:close/>
                    <a:moveTo>
                      <a:pt x="723" y="214"/>
                    </a:moveTo>
                    <a:cubicBezTo>
                      <a:pt x="723" y="214"/>
                      <a:pt x="723" y="214"/>
                      <a:pt x="723" y="215"/>
                    </a:cubicBezTo>
                    <a:cubicBezTo>
                      <a:pt x="723" y="215"/>
                      <a:pt x="723" y="215"/>
                      <a:pt x="723" y="216"/>
                    </a:cubicBezTo>
                    <a:cubicBezTo>
                      <a:pt x="723" y="216"/>
                      <a:pt x="723" y="216"/>
                      <a:pt x="724" y="215"/>
                    </a:cubicBezTo>
                    <a:cubicBezTo>
                      <a:pt x="724" y="215"/>
                      <a:pt x="724" y="215"/>
                      <a:pt x="725" y="215"/>
                    </a:cubicBezTo>
                    <a:cubicBezTo>
                      <a:pt x="725" y="215"/>
                      <a:pt x="725" y="215"/>
                      <a:pt x="724" y="214"/>
                    </a:cubicBezTo>
                    <a:cubicBezTo>
                      <a:pt x="724" y="214"/>
                      <a:pt x="724" y="214"/>
                      <a:pt x="723" y="214"/>
                    </a:cubicBezTo>
                    <a:close/>
                    <a:moveTo>
                      <a:pt x="439" y="378"/>
                    </a:moveTo>
                    <a:cubicBezTo>
                      <a:pt x="438" y="379"/>
                      <a:pt x="438" y="379"/>
                      <a:pt x="438" y="379"/>
                    </a:cubicBezTo>
                    <a:cubicBezTo>
                      <a:pt x="439" y="379"/>
                      <a:pt x="439" y="379"/>
                      <a:pt x="439" y="379"/>
                    </a:cubicBezTo>
                    <a:cubicBezTo>
                      <a:pt x="439" y="380"/>
                      <a:pt x="439" y="380"/>
                      <a:pt x="439" y="380"/>
                    </a:cubicBezTo>
                    <a:cubicBezTo>
                      <a:pt x="439" y="381"/>
                      <a:pt x="439" y="381"/>
                      <a:pt x="439" y="381"/>
                    </a:cubicBezTo>
                    <a:cubicBezTo>
                      <a:pt x="440" y="381"/>
                      <a:pt x="440" y="381"/>
                      <a:pt x="440" y="381"/>
                    </a:cubicBezTo>
                    <a:cubicBezTo>
                      <a:pt x="441" y="383"/>
                      <a:pt x="441" y="383"/>
                      <a:pt x="441" y="383"/>
                    </a:cubicBezTo>
                    <a:cubicBezTo>
                      <a:pt x="442" y="381"/>
                      <a:pt x="442" y="381"/>
                      <a:pt x="442" y="381"/>
                    </a:cubicBezTo>
                    <a:cubicBezTo>
                      <a:pt x="442" y="378"/>
                      <a:pt x="442" y="378"/>
                      <a:pt x="442" y="378"/>
                    </a:cubicBezTo>
                    <a:cubicBezTo>
                      <a:pt x="441" y="377"/>
                      <a:pt x="441" y="377"/>
                      <a:pt x="441" y="377"/>
                    </a:cubicBezTo>
                    <a:cubicBezTo>
                      <a:pt x="439" y="378"/>
                      <a:pt x="439" y="378"/>
                      <a:pt x="439" y="378"/>
                    </a:cubicBezTo>
                    <a:close/>
                    <a:moveTo>
                      <a:pt x="441" y="388"/>
                    </a:moveTo>
                    <a:cubicBezTo>
                      <a:pt x="441" y="388"/>
                      <a:pt x="441" y="388"/>
                      <a:pt x="441" y="389"/>
                    </a:cubicBezTo>
                    <a:cubicBezTo>
                      <a:pt x="441" y="389"/>
                      <a:pt x="441" y="389"/>
                      <a:pt x="441" y="390"/>
                    </a:cubicBezTo>
                    <a:cubicBezTo>
                      <a:pt x="441" y="390"/>
                      <a:pt x="441" y="390"/>
                      <a:pt x="442" y="389"/>
                    </a:cubicBezTo>
                    <a:cubicBezTo>
                      <a:pt x="442" y="389"/>
                      <a:pt x="442" y="389"/>
                      <a:pt x="441" y="388"/>
                    </a:cubicBezTo>
                    <a:close/>
                    <a:moveTo>
                      <a:pt x="436" y="369"/>
                    </a:moveTo>
                    <a:cubicBezTo>
                      <a:pt x="435" y="369"/>
                      <a:pt x="435" y="369"/>
                      <a:pt x="435" y="369"/>
                    </a:cubicBezTo>
                    <a:cubicBezTo>
                      <a:pt x="436" y="371"/>
                      <a:pt x="436" y="371"/>
                      <a:pt x="436" y="371"/>
                    </a:cubicBezTo>
                    <a:cubicBezTo>
                      <a:pt x="436" y="372"/>
                      <a:pt x="436" y="372"/>
                      <a:pt x="436" y="372"/>
                    </a:cubicBezTo>
                    <a:cubicBezTo>
                      <a:pt x="437" y="374"/>
                      <a:pt x="437" y="374"/>
                      <a:pt x="437" y="374"/>
                    </a:cubicBezTo>
                    <a:cubicBezTo>
                      <a:pt x="438" y="375"/>
                      <a:pt x="438" y="375"/>
                      <a:pt x="438" y="375"/>
                    </a:cubicBezTo>
                    <a:cubicBezTo>
                      <a:pt x="438" y="373"/>
                      <a:pt x="438" y="373"/>
                      <a:pt x="438" y="373"/>
                    </a:cubicBezTo>
                    <a:cubicBezTo>
                      <a:pt x="437" y="371"/>
                      <a:pt x="437" y="371"/>
                      <a:pt x="437" y="371"/>
                    </a:cubicBezTo>
                    <a:cubicBezTo>
                      <a:pt x="436" y="369"/>
                      <a:pt x="436" y="369"/>
                      <a:pt x="436" y="369"/>
                    </a:cubicBezTo>
                    <a:close/>
                    <a:moveTo>
                      <a:pt x="442" y="391"/>
                    </a:moveTo>
                    <a:cubicBezTo>
                      <a:pt x="442" y="390"/>
                      <a:pt x="442" y="390"/>
                      <a:pt x="442" y="390"/>
                    </a:cubicBezTo>
                    <a:cubicBezTo>
                      <a:pt x="440" y="391"/>
                      <a:pt x="440" y="391"/>
                      <a:pt x="440" y="391"/>
                    </a:cubicBezTo>
                    <a:cubicBezTo>
                      <a:pt x="440" y="392"/>
                      <a:pt x="440" y="392"/>
                      <a:pt x="440" y="392"/>
                    </a:cubicBezTo>
                    <a:cubicBezTo>
                      <a:pt x="441" y="392"/>
                      <a:pt x="441" y="392"/>
                      <a:pt x="441" y="392"/>
                    </a:cubicBezTo>
                    <a:cubicBezTo>
                      <a:pt x="442" y="391"/>
                      <a:pt x="442" y="391"/>
                      <a:pt x="442" y="391"/>
                    </a:cubicBezTo>
                    <a:close/>
                    <a:moveTo>
                      <a:pt x="439" y="377"/>
                    </a:moveTo>
                    <a:cubicBezTo>
                      <a:pt x="439" y="376"/>
                      <a:pt x="439" y="376"/>
                      <a:pt x="439" y="376"/>
                    </a:cubicBezTo>
                    <a:cubicBezTo>
                      <a:pt x="438" y="376"/>
                      <a:pt x="438" y="376"/>
                      <a:pt x="438" y="376"/>
                    </a:cubicBezTo>
                    <a:cubicBezTo>
                      <a:pt x="439" y="377"/>
                      <a:pt x="439" y="377"/>
                      <a:pt x="439" y="377"/>
                    </a:cubicBezTo>
                    <a:close/>
                    <a:moveTo>
                      <a:pt x="820" y="484"/>
                    </a:moveTo>
                    <a:cubicBezTo>
                      <a:pt x="820" y="484"/>
                      <a:pt x="820" y="484"/>
                      <a:pt x="819" y="484"/>
                    </a:cubicBezTo>
                    <a:cubicBezTo>
                      <a:pt x="819" y="484"/>
                      <a:pt x="819" y="484"/>
                      <a:pt x="818" y="484"/>
                    </a:cubicBezTo>
                    <a:cubicBezTo>
                      <a:pt x="818" y="484"/>
                      <a:pt x="818" y="484"/>
                      <a:pt x="819" y="485"/>
                    </a:cubicBezTo>
                    <a:cubicBezTo>
                      <a:pt x="819" y="485"/>
                      <a:pt x="819" y="485"/>
                      <a:pt x="820" y="484"/>
                    </a:cubicBezTo>
                    <a:close/>
                    <a:moveTo>
                      <a:pt x="818" y="467"/>
                    </a:moveTo>
                    <a:cubicBezTo>
                      <a:pt x="819" y="466"/>
                      <a:pt x="819" y="466"/>
                      <a:pt x="819" y="466"/>
                    </a:cubicBezTo>
                    <a:cubicBezTo>
                      <a:pt x="817" y="467"/>
                      <a:pt x="817" y="467"/>
                      <a:pt x="817" y="467"/>
                    </a:cubicBezTo>
                    <a:cubicBezTo>
                      <a:pt x="818" y="467"/>
                      <a:pt x="818" y="467"/>
                      <a:pt x="818" y="467"/>
                    </a:cubicBezTo>
                    <a:close/>
                    <a:moveTo>
                      <a:pt x="454" y="416"/>
                    </a:moveTo>
                    <a:cubicBezTo>
                      <a:pt x="454" y="416"/>
                      <a:pt x="454" y="416"/>
                      <a:pt x="454" y="418"/>
                    </a:cubicBezTo>
                    <a:cubicBezTo>
                      <a:pt x="454" y="418"/>
                      <a:pt x="454" y="418"/>
                      <a:pt x="456" y="419"/>
                    </a:cubicBezTo>
                    <a:cubicBezTo>
                      <a:pt x="456" y="419"/>
                      <a:pt x="456" y="419"/>
                      <a:pt x="457" y="419"/>
                    </a:cubicBezTo>
                    <a:cubicBezTo>
                      <a:pt x="457" y="419"/>
                      <a:pt x="457" y="419"/>
                      <a:pt x="455" y="417"/>
                    </a:cubicBezTo>
                    <a:cubicBezTo>
                      <a:pt x="455" y="417"/>
                      <a:pt x="455" y="417"/>
                      <a:pt x="454" y="416"/>
                    </a:cubicBezTo>
                    <a:close/>
                    <a:moveTo>
                      <a:pt x="446" y="405"/>
                    </a:moveTo>
                    <a:cubicBezTo>
                      <a:pt x="446" y="405"/>
                      <a:pt x="446" y="405"/>
                      <a:pt x="446" y="406"/>
                    </a:cubicBezTo>
                    <a:cubicBezTo>
                      <a:pt x="446" y="406"/>
                      <a:pt x="446" y="406"/>
                      <a:pt x="447" y="406"/>
                    </a:cubicBezTo>
                    <a:cubicBezTo>
                      <a:pt x="447" y="406"/>
                      <a:pt x="447" y="406"/>
                      <a:pt x="448" y="405"/>
                    </a:cubicBezTo>
                    <a:cubicBezTo>
                      <a:pt x="448" y="405"/>
                      <a:pt x="448" y="405"/>
                      <a:pt x="447" y="405"/>
                    </a:cubicBezTo>
                    <a:cubicBezTo>
                      <a:pt x="447" y="405"/>
                      <a:pt x="447" y="405"/>
                      <a:pt x="446" y="405"/>
                    </a:cubicBezTo>
                    <a:close/>
                    <a:moveTo>
                      <a:pt x="815" y="452"/>
                    </a:moveTo>
                    <a:cubicBezTo>
                      <a:pt x="817" y="452"/>
                      <a:pt x="817" y="452"/>
                      <a:pt x="817" y="452"/>
                    </a:cubicBezTo>
                    <a:cubicBezTo>
                      <a:pt x="818" y="453"/>
                      <a:pt x="818" y="453"/>
                      <a:pt x="818" y="453"/>
                    </a:cubicBezTo>
                    <a:cubicBezTo>
                      <a:pt x="820" y="453"/>
                      <a:pt x="820" y="453"/>
                      <a:pt x="820" y="453"/>
                    </a:cubicBezTo>
                    <a:cubicBezTo>
                      <a:pt x="821" y="453"/>
                      <a:pt x="821" y="453"/>
                      <a:pt x="821" y="453"/>
                    </a:cubicBezTo>
                    <a:cubicBezTo>
                      <a:pt x="821" y="452"/>
                      <a:pt x="821" y="452"/>
                      <a:pt x="821" y="452"/>
                    </a:cubicBezTo>
                    <a:cubicBezTo>
                      <a:pt x="820" y="451"/>
                      <a:pt x="820" y="451"/>
                      <a:pt x="820" y="451"/>
                    </a:cubicBezTo>
                    <a:cubicBezTo>
                      <a:pt x="820" y="450"/>
                      <a:pt x="820" y="450"/>
                      <a:pt x="820" y="450"/>
                    </a:cubicBezTo>
                    <a:cubicBezTo>
                      <a:pt x="819" y="450"/>
                      <a:pt x="819" y="450"/>
                      <a:pt x="819" y="450"/>
                    </a:cubicBezTo>
                    <a:cubicBezTo>
                      <a:pt x="818" y="449"/>
                      <a:pt x="818" y="449"/>
                      <a:pt x="818" y="449"/>
                    </a:cubicBezTo>
                    <a:cubicBezTo>
                      <a:pt x="816" y="448"/>
                      <a:pt x="816" y="448"/>
                      <a:pt x="816" y="448"/>
                    </a:cubicBezTo>
                    <a:cubicBezTo>
                      <a:pt x="815" y="446"/>
                      <a:pt x="815" y="446"/>
                      <a:pt x="815" y="446"/>
                    </a:cubicBezTo>
                    <a:cubicBezTo>
                      <a:pt x="813" y="446"/>
                      <a:pt x="813" y="446"/>
                      <a:pt x="813" y="446"/>
                    </a:cubicBezTo>
                    <a:cubicBezTo>
                      <a:pt x="811" y="446"/>
                      <a:pt x="811" y="446"/>
                      <a:pt x="811" y="446"/>
                    </a:cubicBezTo>
                    <a:cubicBezTo>
                      <a:pt x="808" y="445"/>
                      <a:pt x="808" y="445"/>
                      <a:pt x="808" y="445"/>
                    </a:cubicBezTo>
                    <a:cubicBezTo>
                      <a:pt x="807" y="444"/>
                      <a:pt x="807" y="444"/>
                      <a:pt x="807" y="444"/>
                    </a:cubicBezTo>
                    <a:cubicBezTo>
                      <a:pt x="806" y="445"/>
                      <a:pt x="806" y="445"/>
                      <a:pt x="806" y="445"/>
                    </a:cubicBezTo>
                    <a:cubicBezTo>
                      <a:pt x="807" y="446"/>
                      <a:pt x="807" y="446"/>
                      <a:pt x="807" y="446"/>
                    </a:cubicBezTo>
                    <a:cubicBezTo>
                      <a:pt x="808" y="447"/>
                      <a:pt x="808" y="447"/>
                      <a:pt x="808" y="447"/>
                    </a:cubicBezTo>
                    <a:cubicBezTo>
                      <a:pt x="810" y="448"/>
                      <a:pt x="810" y="448"/>
                      <a:pt x="810" y="448"/>
                    </a:cubicBezTo>
                    <a:cubicBezTo>
                      <a:pt x="810" y="449"/>
                      <a:pt x="810" y="449"/>
                      <a:pt x="810" y="449"/>
                    </a:cubicBezTo>
                    <a:cubicBezTo>
                      <a:pt x="811" y="450"/>
                      <a:pt x="811" y="450"/>
                      <a:pt x="811" y="450"/>
                    </a:cubicBezTo>
                    <a:cubicBezTo>
                      <a:pt x="814" y="452"/>
                      <a:pt x="814" y="452"/>
                      <a:pt x="814" y="452"/>
                    </a:cubicBezTo>
                    <a:cubicBezTo>
                      <a:pt x="815" y="452"/>
                      <a:pt x="815" y="452"/>
                      <a:pt x="815" y="452"/>
                    </a:cubicBezTo>
                    <a:close/>
                    <a:moveTo>
                      <a:pt x="440" y="385"/>
                    </a:moveTo>
                    <a:cubicBezTo>
                      <a:pt x="441" y="384"/>
                      <a:pt x="441" y="384"/>
                      <a:pt x="441" y="384"/>
                    </a:cubicBezTo>
                    <a:cubicBezTo>
                      <a:pt x="441" y="383"/>
                      <a:pt x="441" y="383"/>
                      <a:pt x="441" y="383"/>
                    </a:cubicBezTo>
                    <a:cubicBezTo>
                      <a:pt x="439" y="384"/>
                      <a:pt x="439" y="384"/>
                      <a:pt x="439" y="384"/>
                    </a:cubicBezTo>
                    <a:cubicBezTo>
                      <a:pt x="440" y="385"/>
                      <a:pt x="440" y="385"/>
                      <a:pt x="440" y="385"/>
                    </a:cubicBezTo>
                    <a:close/>
                    <a:moveTo>
                      <a:pt x="806" y="476"/>
                    </a:moveTo>
                    <a:cubicBezTo>
                      <a:pt x="806" y="476"/>
                      <a:pt x="806" y="476"/>
                      <a:pt x="809" y="477"/>
                    </a:cubicBezTo>
                    <a:cubicBezTo>
                      <a:pt x="809" y="477"/>
                      <a:pt x="809" y="477"/>
                      <a:pt x="810" y="478"/>
                    </a:cubicBezTo>
                    <a:cubicBezTo>
                      <a:pt x="810" y="478"/>
                      <a:pt x="810" y="478"/>
                      <a:pt x="811" y="479"/>
                    </a:cubicBezTo>
                    <a:cubicBezTo>
                      <a:pt x="811" y="479"/>
                      <a:pt x="811" y="479"/>
                      <a:pt x="812" y="478"/>
                    </a:cubicBezTo>
                    <a:cubicBezTo>
                      <a:pt x="812" y="478"/>
                      <a:pt x="812" y="478"/>
                      <a:pt x="812" y="477"/>
                    </a:cubicBezTo>
                    <a:cubicBezTo>
                      <a:pt x="812" y="477"/>
                      <a:pt x="812" y="477"/>
                      <a:pt x="812" y="476"/>
                    </a:cubicBezTo>
                    <a:cubicBezTo>
                      <a:pt x="812" y="476"/>
                      <a:pt x="812" y="476"/>
                      <a:pt x="813" y="475"/>
                    </a:cubicBezTo>
                    <a:cubicBezTo>
                      <a:pt x="813" y="475"/>
                      <a:pt x="813" y="475"/>
                      <a:pt x="814" y="475"/>
                    </a:cubicBezTo>
                    <a:cubicBezTo>
                      <a:pt x="814" y="475"/>
                      <a:pt x="814" y="475"/>
                      <a:pt x="814" y="474"/>
                    </a:cubicBezTo>
                    <a:cubicBezTo>
                      <a:pt x="814" y="474"/>
                      <a:pt x="814" y="474"/>
                      <a:pt x="813" y="474"/>
                    </a:cubicBezTo>
                    <a:cubicBezTo>
                      <a:pt x="813" y="474"/>
                      <a:pt x="813" y="474"/>
                      <a:pt x="812" y="474"/>
                    </a:cubicBezTo>
                    <a:cubicBezTo>
                      <a:pt x="812" y="474"/>
                      <a:pt x="812" y="474"/>
                      <a:pt x="811" y="475"/>
                    </a:cubicBezTo>
                    <a:cubicBezTo>
                      <a:pt x="811" y="475"/>
                      <a:pt x="811" y="475"/>
                      <a:pt x="809" y="475"/>
                    </a:cubicBezTo>
                    <a:cubicBezTo>
                      <a:pt x="809" y="475"/>
                      <a:pt x="809" y="475"/>
                      <a:pt x="809" y="474"/>
                    </a:cubicBezTo>
                    <a:cubicBezTo>
                      <a:pt x="809" y="474"/>
                      <a:pt x="809" y="474"/>
                      <a:pt x="808" y="474"/>
                    </a:cubicBezTo>
                    <a:cubicBezTo>
                      <a:pt x="808" y="474"/>
                      <a:pt x="808" y="474"/>
                      <a:pt x="806" y="473"/>
                    </a:cubicBezTo>
                    <a:cubicBezTo>
                      <a:pt x="806" y="473"/>
                      <a:pt x="806" y="473"/>
                      <a:pt x="805" y="474"/>
                    </a:cubicBezTo>
                    <a:cubicBezTo>
                      <a:pt x="805" y="474"/>
                      <a:pt x="805" y="474"/>
                      <a:pt x="805" y="475"/>
                    </a:cubicBezTo>
                    <a:cubicBezTo>
                      <a:pt x="805" y="475"/>
                      <a:pt x="805" y="475"/>
                      <a:pt x="806" y="476"/>
                    </a:cubicBezTo>
                    <a:close/>
                    <a:moveTo>
                      <a:pt x="804" y="472"/>
                    </a:moveTo>
                    <a:cubicBezTo>
                      <a:pt x="804" y="472"/>
                      <a:pt x="804" y="472"/>
                      <a:pt x="804" y="471"/>
                    </a:cubicBezTo>
                    <a:cubicBezTo>
                      <a:pt x="804" y="471"/>
                      <a:pt x="804" y="471"/>
                      <a:pt x="805" y="470"/>
                    </a:cubicBezTo>
                    <a:cubicBezTo>
                      <a:pt x="805" y="470"/>
                      <a:pt x="805" y="470"/>
                      <a:pt x="804" y="469"/>
                    </a:cubicBezTo>
                    <a:cubicBezTo>
                      <a:pt x="804" y="469"/>
                      <a:pt x="804" y="469"/>
                      <a:pt x="802" y="471"/>
                    </a:cubicBezTo>
                    <a:cubicBezTo>
                      <a:pt x="802" y="471"/>
                      <a:pt x="802" y="471"/>
                      <a:pt x="802" y="472"/>
                    </a:cubicBezTo>
                    <a:cubicBezTo>
                      <a:pt x="802" y="472"/>
                      <a:pt x="802" y="472"/>
                      <a:pt x="803" y="472"/>
                    </a:cubicBezTo>
                    <a:cubicBezTo>
                      <a:pt x="803" y="472"/>
                      <a:pt x="803" y="472"/>
                      <a:pt x="803" y="473"/>
                    </a:cubicBezTo>
                    <a:cubicBezTo>
                      <a:pt x="803" y="473"/>
                      <a:pt x="803" y="473"/>
                      <a:pt x="804" y="474"/>
                    </a:cubicBezTo>
                    <a:cubicBezTo>
                      <a:pt x="804" y="474"/>
                      <a:pt x="804" y="474"/>
                      <a:pt x="805" y="474"/>
                    </a:cubicBezTo>
                    <a:cubicBezTo>
                      <a:pt x="805" y="474"/>
                      <a:pt x="805" y="474"/>
                      <a:pt x="804" y="473"/>
                    </a:cubicBezTo>
                    <a:cubicBezTo>
                      <a:pt x="804" y="473"/>
                      <a:pt x="804" y="473"/>
                      <a:pt x="804" y="472"/>
                    </a:cubicBezTo>
                    <a:close/>
                    <a:moveTo>
                      <a:pt x="434" y="367"/>
                    </a:moveTo>
                    <a:cubicBezTo>
                      <a:pt x="433" y="368"/>
                      <a:pt x="433" y="368"/>
                      <a:pt x="433" y="368"/>
                    </a:cubicBezTo>
                    <a:cubicBezTo>
                      <a:pt x="435" y="368"/>
                      <a:pt x="435" y="368"/>
                      <a:pt x="435" y="368"/>
                    </a:cubicBezTo>
                    <a:cubicBezTo>
                      <a:pt x="436" y="368"/>
                      <a:pt x="436" y="368"/>
                      <a:pt x="436" y="368"/>
                    </a:cubicBezTo>
                    <a:cubicBezTo>
                      <a:pt x="437" y="367"/>
                      <a:pt x="437" y="367"/>
                      <a:pt x="437" y="367"/>
                    </a:cubicBezTo>
                    <a:cubicBezTo>
                      <a:pt x="435" y="366"/>
                      <a:pt x="435" y="366"/>
                      <a:pt x="435" y="366"/>
                    </a:cubicBezTo>
                    <a:cubicBezTo>
                      <a:pt x="434" y="367"/>
                      <a:pt x="434" y="367"/>
                      <a:pt x="434" y="367"/>
                    </a:cubicBezTo>
                    <a:close/>
                    <a:moveTo>
                      <a:pt x="727" y="224"/>
                    </a:moveTo>
                    <a:cubicBezTo>
                      <a:pt x="726" y="222"/>
                      <a:pt x="726" y="222"/>
                      <a:pt x="726" y="222"/>
                    </a:cubicBezTo>
                    <a:cubicBezTo>
                      <a:pt x="725" y="223"/>
                      <a:pt x="725" y="223"/>
                      <a:pt x="725" y="223"/>
                    </a:cubicBezTo>
                    <a:cubicBezTo>
                      <a:pt x="726" y="223"/>
                      <a:pt x="726" y="223"/>
                      <a:pt x="726" y="223"/>
                    </a:cubicBezTo>
                    <a:cubicBezTo>
                      <a:pt x="726" y="224"/>
                      <a:pt x="726" y="224"/>
                      <a:pt x="726" y="224"/>
                    </a:cubicBezTo>
                    <a:cubicBezTo>
                      <a:pt x="727" y="224"/>
                      <a:pt x="727" y="224"/>
                      <a:pt x="727" y="224"/>
                    </a:cubicBezTo>
                    <a:close/>
                    <a:moveTo>
                      <a:pt x="435" y="362"/>
                    </a:moveTo>
                    <a:cubicBezTo>
                      <a:pt x="435" y="362"/>
                      <a:pt x="435" y="362"/>
                      <a:pt x="436" y="361"/>
                    </a:cubicBezTo>
                    <a:cubicBezTo>
                      <a:pt x="436" y="361"/>
                      <a:pt x="436" y="361"/>
                      <a:pt x="436" y="360"/>
                    </a:cubicBezTo>
                    <a:cubicBezTo>
                      <a:pt x="436" y="360"/>
                      <a:pt x="436" y="360"/>
                      <a:pt x="435" y="361"/>
                    </a:cubicBezTo>
                    <a:cubicBezTo>
                      <a:pt x="435" y="361"/>
                      <a:pt x="435" y="361"/>
                      <a:pt x="435" y="362"/>
                    </a:cubicBezTo>
                    <a:close/>
                    <a:moveTo>
                      <a:pt x="446" y="388"/>
                    </a:moveTo>
                    <a:cubicBezTo>
                      <a:pt x="446" y="388"/>
                      <a:pt x="446" y="388"/>
                      <a:pt x="445" y="389"/>
                    </a:cubicBezTo>
                    <a:cubicBezTo>
                      <a:pt x="445" y="389"/>
                      <a:pt x="445" y="389"/>
                      <a:pt x="444" y="389"/>
                    </a:cubicBezTo>
                    <a:cubicBezTo>
                      <a:pt x="444" y="389"/>
                      <a:pt x="444" y="389"/>
                      <a:pt x="443" y="391"/>
                    </a:cubicBezTo>
                    <a:cubicBezTo>
                      <a:pt x="443" y="391"/>
                      <a:pt x="443" y="391"/>
                      <a:pt x="445" y="390"/>
                    </a:cubicBezTo>
                    <a:cubicBezTo>
                      <a:pt x="445" y="390"/>
                      <a:pt x="445" y="390"/>
                      <a:pt x="446" y="389"/>
                    </a:cubicBezTo>
                    <a:cubicBezTo>
                      <a:pt x="446" y="389"/>
                      <a:pt x="446" y="389"/>
                      <a:pt x="448" y="388"/>
                    </a:cubicBezTo>
                    <a:cubicBezTo>
                      <a:pt x="448" y="388"/>
                      <a:pt x="448" y="388"/>
                      <a:pt x="448" y="387"/>
                    </a:cubicBezTo>
                    <a:cubicBezTo>
                      <a:pt x="448" y="387"/>
                      <a:pt x="448" y="387"/>
                      <a:pt x="446" y="388"/>
                    </a:cubicBezTo>
                    <a:close/>
                    <a:moveTo>
                      <a:pt x="503" y="173"/>
                    </a:moveTo>
                    <a:cubicBezTo>
                      <a:pt x="503" y="173"/>
                      <a:pt x="503" y="173"/>
                      <a:pt x="503" y="172"/>
                    </a:cubicBezTo>
                    <a:cubicBezTo>
                      <a:pt x="503" y="172"/>
                      <a:pt x="503" y="172"/>
                      <a:pt x="503" y="171"/>
                    </a:cubicBezTo>
                    <a:cubicBezTo>
                      <a:pt x="503" y="171"/>
                      <a:pt x="503" y="171"/>
                      <a:pt x="503" y="168"/>
                    </a:cubicBezTo>
                    <a:cubicBezTo>
                      <a:pt x="503" y="168"/>
                      <a:pt x="503" y="168"/>
                      <a:pt x="503" y="166"/>
                    </a:cubicBezTo>
                    <a:cubicBezTo>
                      <a:pt x="503" y="166"/>
                      <a:pt x="503" y="166"/>
                      <a:pt x="502" y="167"/>
                    </a:cubicBezTo>
                    <a:cubicBezTo>
                      <a:pt x="502" y="167"/>
                      <a:pt x="502" y="167"/>
                      <a:pt x="501" y="167"/>
                    </a:cubicBezTo>
                    <a:cubicBezTo>
                      <a:pt x="501" y="167"/>
                      <a:pt x="501" y="167"/>
                      <a:pt x="501" y="168"/>
                    </a:cubicBezTo>
                    <a:cubicBezTo>
                      <a:pt x="501" y="168"/>
                      <a:pt x="501" y="168"/>
                      <a:pt x="501" y="170"/>
                    </a:cubicBezTo>
                    <a:cubicBezTo>
                      <a:pt x="501" y="170"/>
                      <a:pt x="501" y="170"/>
                      <a:pt x="501" y="171"/>
                    </a:cubicBezTo>
                    <a:cubicBezTo>
                      <a:pt x="501" y="171"/>
                      <a:pt x="501" y="171"/>
                      <a:pt x="501" y="172"/>
                    </a:cubicBezTo>
                    <a:cubicBezTo>
                      <a:pt x="501" y="172"/>
                      <a:pt x="501" y="172"/>
                      <a:pt x="500" y="173"/>
                    </a:cubicBezTo>
                    <a:cubicBezTo>
                      <a:pt x="500" y="173"/>
                      <a:pt x="500" y="173"/>
                      <a:pt x="502" y="174"/>
                    </a:cubicBezTo>
                    <a:cubicBezTo>
                      <a:pt x="502" y="174"/>
                      <a:pt x="502" y="174"/>
                      <a:pt x="503" y="173"/>
                    </a:cubicBezTo>
                    <a:close/>
                    <a:moveTo>
                      <a:pt x="705" y="121"/>
                    </a:moveTo>
                    <a:cubicBezTo>
                      <a:pt x="705" y="121"/>
                      <a:pt x="705" y="121"/>
                      <a:pt x="706" y="121"/>
                    </a:cubicBezTo>
                    <a:cubicBezTo>
                      <a:pt x="706" y="121"/>
                      <a:pt x="706" y="121"/>
                      <a:pt x="706" y="120"/>
                    </a:cubicBezTo>
                    <a:cubicBezTo>
                      <a:pt x="706" y="120"/>
                      <a:pt x="706" y="120"/>
                      <a:pt x="707" y="120"/>
                    </a:cubicBezTo>
                    <a:cubicBezTo>
                      <a:pt x="707" y="120"/>
                      <a:pt x="707" y="120"/>
                      <a:pt x="708" y="119"/>
                    </a:cubicBezTo>
                    <a:cubicBezTo>
                      <a:pt x="708" y="119"/>
                      <a:pt x="708" y="119"/>
                      <a:pt x="709" y="118"/>
                    </a:cubicBezTo>
                    <a:cubicBezTo>
                      <a:pt x="709" y="118"/>
                      <a:pt x="709" y="118"/>
                      <a:pt x="709" y="117"/>
                    </a:cubicBezTo>
                    <a:cubicBezTo>
                      <a:pt x="709" y="117"/>
                      <a:pt x="709" y="117"/>
                      <a:pt x="709" y="116"/>
                    </a:cubicBezTo>
                    <a:cubicBezTo>
                      <a:pt x="709" y="116"/>
                      <a:pt x="709" y="116"/>
                      <a:pt x="709" y="115"/>
                    </a:cubicBezTo>
                    <a:cubicBezTo>
                      <a:pt x="709" y="115"/>
                      <a:pt x="709" y="115"/>
                      <a:pt x="707" y="115"/>
                    </a:cubicBezTo>
                    <a:cubicBezTo>
                      <a:pt x="707" y="115"/>
                      <a:pt x="707" y="115"/>
                      <a:pt x="705" y="116"/>
                    </a:cubicBezTo>
                    <a:cubicBezTo>
                      <a:pt x="705" y="116"/>
                      <a:pt x="705" y="116"/>
                      <a:pt x="705" y="117"/>
                    </a:cubicBezTo>
                    <a:cubicBezTo>
                      <a:pt x="705" y="117"/>
                      <a:pt x="705" y="117"/>
                      <a:pt x="705" y="118"/>
                    </a:cubicBezTo>
                    <a:cubicBezTo>
                      <a:pt x="705" y="118"/>
                      <a:pt x="705" y="118"/>
                      <a:pt x="703" y="118"/>
                    </a:cubicBezTo>
                    <a:cubicBezTo>
                      <a:pt x="703" y="118"/>
                      <a:pt x="703" y="118"/>
                      <a:pt x="703" y="119"/>
                    </a:cubicBezTo>
                    <a:cubicBezTo>
                      <a:pt x="703" y="119"/>
                      <a:pt x="703" y="119"/>
                      <a:pt x="704" y="120"/>
                    </a:cubicBezTo>
                    <a:cubicBezTo>
                      <a:pt x="704" y="120"/>
                      <a:pt x="704" y="120"/>
                      <a:pt x="705" y="121"/>
                    </a:cubicBezTo>
                    <a:close/>
                    <a:moveTo>
                      <a:pt x="723" y="421"/>
                    </a:moveTo>
                    <a:cubicBezTo>
                      <a:pt x="723" y="421"/>
                      <a:pt x="723" y="421"/>
                      <a:pt x="725" y="420"/>
                    </a:cubicBezTo>
                    <a:cubicBezTo>
                      <a:pt x="725" y="420"/>
                      <a:pt x="725" y="420"/>
                      <a:pt x="724" y="419"/>
                    </a:cubicBezTo>
                    <a:cubicBezTo>
                      <a:pt x="724" y="419"/>
                      <a:pt x="724" y="419"/>
                      <a:pt x="724" y="420"/>
                    </a:cubicBezTo>
                    <a:cubicBezTo>
                      <a:pt x="724" y="420"/>
                      <a:pt x="724" y="420"/>
                      <a:pt x="723" y="420"/>
                    </a:cubicBezTo>
                    <a:cubicBezTo>
                      <a:pt x="723" y="420"/>
                      <a:pt x="723" y="420"/>
                      <a:pt x="723" y="421"/>
                    </a:cubicBezTo>
                    <a:close/>
                    <a:moveTo>
                      <a:pt x="865" y="456"/>
                    </a:moveTo>
                    <a:cubicBezTo>
                      <a:pt x="865" y="456"/>
                      <a:pt x="865" y="456"/>
                      <a:pt x="865" y="457"/>
                    </a:cubicBezTo>
                    <a:cubicBezTo>
                      <a:pt x="865" y="457"/>
                      <a:pt x="865" y="457"/>
                      <a:pt x="865" y="458"/>
                    </a:cubicBezTo>
                    <a:cubicBezTo>
                      <a:pt x="865" y="458"/>
                      <a:pt x="865" y="458"/>
                      <a:pt x="866" y="457"/>
                    </a:cubicBezTo>
                    <a:cubicBezTo>
                      <a:pt x="866" y="457"/>
                      <a:pt x="866" y="457"/>
                      <a:pt x="866" y="458"/>
                    </a:cubicBezTo>
                    <a:cubicBezTo>
                      <a:pt x="866" y="458"/>
                      <a:pt x="866" y="458"/>
                      <a:pt x="865" y="459"/>
                    </a:cubicBezTo>
                    <a:cubicBezTo>
                      <a:pt x="865" y="459"/>
                      <a:pt x="865" y="459"/>
                      <a:pt x="865" y="460"/>
                    </a:cubicBezTo>
                    <a:cubicBezTo>
                      <a:pt x="865" y="460"/>
                      <a:pt x="865" y="460"/>
                      <a:pt x="866" y="460"/>
                    </a:cubicBezTo>
                    <a:cubicBezTo>
                      <a:pt x="866" y="460"/>
                      <a:pt x="866" y="460"/>
                      <a:pt x="867" y="459"/>
                    </a:cubicBezTo>
                    <a:cubicBezTo>
                      <a:pt x="867" y="459"/>
                      <a:pt x="867" y="459"/>
                      <a:pt x="868" y="459"/>
                    </a:cubicBezTo>
                    <a:cubicBezTo>
                      <a:pt x="868" y="459"/>
                      <a:pt x="868" y="459"/>
                      <a:pt x="868" y="458"/>
                    </a:cubicBezTo>
                    <a:cubicBezTo>
                      <a:pt x="868" y="458"/>
                      <a:pt x="868" y="458"/>
                      <a:pt x="869" y="458"/>
                    </a:cubicBezTo>
                    <a:cubicBezTo>
                      <a:pt x="869" y="458"/>
                      <a:pt x="869" y="458"/>
                      <a:pt x="870" y="457"/>
                    </a:cubicBezTo>
                    <a:cubicBezTo>
                      <a:pt x="870" y="457"/>
                      <a:pt x="870" y="457"/>
                      <a:pt x="870" y="458"/>
                    </a:cubicBezTo>
                    <a:cubicBezTo>
                      <a:pt x="870" y="458"/>
                      <a:pt x="870" y="458"/>
                      <a:pt x="870" y="459"/>
                    </a:cubicBezTo>
                    <a:cubicBezTo>
                      <a:pt x="870" y="459"/>
                      <a:pt x="870" y="459"/>
                      <a:pt x="869" y="460"/>
                    </a:cubicBezTo>
                    <a:cubicBezTo>
                      <a:pt x="869" y="460"/>
                      <a:pt x="869" y="460"/>
                      <a:pt x="868" y="460"/>
                    </a:cubicBezTo>
                    <a:cubicBezTo>
                      <a:pt x="868" y="460"/>
                      <a:pt x="868" y="460"/>
                      <a:pt x="867" y="461"/>
                    </a:cubicBezTo>
                    <a:cubicBezTo>
                      <a:pt x="867" y="461"/>
                      <a:pt x="867" y="461"/>
                      <a:pt x="866" y="462"/>
                    </a:cubicBezTo>
                    <a:cubicBezTo>
                      <a:pt x="866" y="462"/>
                      <a:pt x="866" y="462"/>
                      <a:pt x="865" y="462"/>
                    </a:cubicBezTo>
                    <a:cubicBezTo>
                      <a:pt x="865" y="462"/>
                      <a:pt x="865" y="462"/>
                      <a:pt x="867" y="463"/>
                    </a:cubicBezTo>
                    <a:cubicBezTo>
                      <a:pt x="867" y="463"/>
                      <a:pt x="867" y="463"/>
                      <a:pt x="866" y="463"/>
                    </a:cubicBezTo>
                    <a:cubicBezTo>
                      <a:pt x="866" y="463"/>
                      <a:pt x="866" y="463"/>
                      <a:pt x="865" y="463"/>
                    </a:cubicBezTo>
                    <a:cubicBezTo>
                      <a:pt x="865" y="463"/>
                      <a:pt x="865" y="463"/>
                      <a:pt x="864" y="463"/>
                    </a:cubicBezTo>
                    <a:cubicBezTo>
                      <a:pt x="864" y="463"/>
                      <a:pt x="864" y="463"/>
                      <a:pt x="865" y="464"/>
                    </a:cubicBezTo>
                    <a:cubicBezTo>
                      <a:pt x="865" y="464"/>
                      <a:pt x="865" y="464"/>
                      <a:pt x="866" y="464"/>
                    </a:cubicBezTo>
                    <a:cubicBezTo>
                      <a:pt x="866" y="464"/>
                      <a:pt x="866" y="464"/>
                      <a:pt x="865" y="465"/>
                    </a:cubicBezTo>
                    <a:cubicBezTo>
                      <a:pt x="865" y="465"/>
                      <a:pt x="865" y="465"/>
                      <a:pt x="864" y="464"/>
                    </a:cubicBezTo>
                    <a:cubicBezTo>
                      <a:pt x="864" y="464"/>
                      <a:pt x="864" y="464"/>
                      <a:pt x="864" y="465"/>
                    </a:cubicBezTo>
                    <a:cubicBezTo>
                      <a:pt x="864" y="465"/>
                      <a:pt x="864" y="465"/>
                      <a:pt x="863" y="465"/>
                    </a:cubicBezTo>
                    <a:cubicBezTo>
                      <a:pt x="863" y="465"/>
                      <a:pt x="863" y="465"/>
                      <a:pt x="863" y="464"/>
                    </a:cubicBezTo>
                    <a:cubicBezTo>
                      <a:pt x="863" y="464"/>
                      <a:pt x="863" y="464"/>
                      <a:pt x="862" y="464"/>
                    </a:cubicBezTo>
                    <a:cubicBezTo>
                      <a:pt x="862" y="464"/>
                      <a:pt x="862" y="464"/>
                      <a:pt x="862" y="466"/>
                    </a:cubicBezTo>
                    <a:cubicBezTo>
                      <a:pt x="862" y="466"/>
                      <a:pt x="862" y="466"/>
                      <a:pt x="861" y="467"/>
                    </a:cubicBezTo>
                    <a:cubicBezTo>
                      <a:pt x="861" y="467"/>
                      <a:pt x="861" y="467"/>
                      <a:pt x="861" y="468"/>
                    </a:cubicBezTo>
                    <a:cubicBezTo>
                      <a:pt x="861" y="468"/>
                      <a:pt x="861" y="468"/>
                      <a:pt x="860" y="469"/>
                    </a:cubicBezTo>
                    <a:cubicBezTo>
                      <a:pt x="860" y="469"/>
                      <a:pt x="860" y="469"/>
                      <a:pt x="859" y="469"/>
                    </a:cubicBezTo>
                    <a:cubicBezTo>
                      <a:pt x="859" y="469"/>
                      <a:pt x="859" y="469"/>
                      <a:pt x="860" y="468"/>
                    </a:cubicBezTo>
                    <a:cubicBezTo>
                      <a:pt x="860" y="468"/>
                      <a:pt x="860" y="468"/>
                      <a:pt x="859" y="468"/>
                    </a:cubicBezTo>
                    <a:cubicBezTo>
                      <a:pt x="859" y="468"/>
                      <a:pt x="859" y="468"/>
                      <a:pt x="858" y="468"/>
                    </a:cubicBezTo>
                    <a:cubicBezTo>
                      <a:pt x="858" y="468"/>
                      <a:pt x="858" y="468"/>
                      <a:pt x="857" y="469"/>
                    </a:cubicBezTo>
                    <a:cubicBezTo>
                      <a:pt x="857" y="469"/>
                      <a:pt x="857" y="469"/>
                      <a:pt x="857" y="470"/>
                    </a:cubicBezTo>
                    <a:cubicBezTo>
                      <a:pt x="857" y="470"/>
                      <a:pt x="857" y="470"/>
                      <a:pt x="856" y="471"/>
                    </a:cubicBezTo>
                    <a:cubicBezTo>
                      <a:pt x="856" y="471"/>
                      <a:pt x="856" y="471"/>
                      <a:pt x="856" y="472"/>
                    </a:cubicBezTo>
                    <a:cubicBezTo>
                      <a:pt x="856" y="472"/>
                      <a:pt x="856" y="472"/>
                      <a:pt x="855" y="472"/>
                    </a:cubicBezTo>
                    <a:cubicBezTo>
                      <a:pt x="855" y="472"/>
                      <a:pt x="855" y="472"/>
                      <a:pt x="854" y="473"/>
                    </a:cubicBezTo>
                    <a:cubicBezTo>
                      <a:pt x="854" y="473"/>
                      <a:pt x="854" y="473"/>
                      <a:pt x="854" y="472"/>
                    </a:cubicBezTo>
                    <a:cubicBezTo>
                      <a:pt x="854" y="472"/>
                      <a:pt x="854" y="472"/>
                      <a:pt x="853" y="472"/>
                    </a:cubicBezTo>
                    <a:cubicBezTo>
                      <a:pt x="853" y="472"/>
                      <a:pt x="853" y="472"/>
                      <a:pt x="853" y="473"/>
                    </a:cubicBezTo>
                    <a:cubicBezTo>
                      <a:pt x="853" y="473"/>
                      <a:pt x="853" y="473"/>
                      <a:pt x="852" y="473"/>
                    </a:cubicBezTo>
                    <a:cubicBezTo>
                      <a:pt x="852" y="473"/>
                      <a:pt x="852" y="473"/>
                      <a:pt x="852" y="472"/>
                    </a:cubicBezTo>
                    <a:cubicBezTo>
                      <a:pt x="852" y="472"/>
                      <a:pt x="852" y="472"/>
                      <a:pt x="851" y="472"/>
                    </a:cubicBezTo>
                    <a:cubicBezTo>
                      <a:pt x="851" y="472"/>
                      <a:pt x="851" y="472"/>
                      <a:pt x="851" y="471"/>
                    </a:cubicBezTo>
                    <a:cubicBezTo>
                      <a:pt x="851" y="471"/>
                      <a:pt x="851" y="471"/>
                      <a:pt x="852" y="471"/>
                    </a:cubicBezTo>
                    <a:cubicBezTo>
                      <a:pt x="852" y="471"/>
                      <a:pt x="852" y="471"/>
                      <a:pt x="853" y="470"/>
                    </a:cubicBezTo>
                    <a:cubicBezTo>
                      <a:pt x="853" y="470"/>
                      <a:pt x="853" y="470"/>
                      <a:pt x="854" y="470"/>
                    </a:cubicBezTo>
                    <a:cubicBezTo>
                      <a:pt x="854" y="470"/>
                      <a:pt x="854" y="470"/>
                      <a:pt x="855" y="469"/>
                    </a:cubicBezTo>
                    <a:cubicBezTo>
                      <a:pt x="855" y="469"/>
                      <a:pt x="855" y="469"/>
                      <a:pt x="856" y="469"/>
                    </a:cubicBezTo>
                    <a:cubicBezTo>
                      <a:pt x="856" y="469"/>
                      <a:pt x="856" y="469"/>
                      <a:pt x="856" y="468"/>
                    </a:cubicBezTo>
                    <a:cubicBezTo>
                      <a:pt x="856" y="468"/>
                      <a:pt x="856" y="468"/>
                      <a:pt x="857" y="468"/>
                    </a:cubicBezTo>
                    <a:cubicBezTo>
                      <a:pt x="857" y="468"/>
                      <a:pt x="857" y="468"/>
                      <a:pt x="858" y="467"/>
                    </a:cubicBezTo>
                    <a:cubicBezTo>
                      <a:pt x="858" y="467"/>
                      <a:pt x="858" y="467"/>
                      <a:pt x="859" y="467"/>
                    </a:cubicBezTo>
                    <a:cubicBezTo>
                      <a:pt x="859" y="467"/>
                      <a:pt x="859" y="467"/>
                      <a:pt x="859" y="466"/>
                    </a:cubicBezTo>
                    <a:cubicBezTo>
                      <a:pt x="859" y="466"/>
                      <a:pt x="859" y="466"/>
                      <a:pt x="858" y="466"/>
                    </a:cubicBezTo>
                    <a:cubicBezTo>
                      <a:pt x="858" y="466"/>
                      <a:pt x="858" y="466"/>
                      <a:pt x="857" y="467"/>
                    </a:cubicBezTo>
                    <a:cubicBezTo>
                      <a:pt x="857" y="467"/>
                      <a:pt x="857" y="467"/>
                      <a:pt x="857" y="466"/>
                    </a:cubicBezTo>
                    <a:cubicBezTo>
                      <a:pt x="857" y="466"/>
                      <a:pt x="857" y="466"/>
                      <a:pt x="856" y="466"/>
                    </a:cubicBezTo>
                    <a:cubicBezTo>
                      <a:pt x="856" y="466"/>
                      <a:pt x="856" y="466"/>
                      <a:pt x="855" y="466"/>
                    </a:cubicBezTo>
                    <a:cubicBezTo>
                      <a:pt x="855" y="466"/>
                      <a:pt x="855" y="466"/>
                      <a:pt x="855" y="467"/>
                    </a:cubicBezTo>
                    <a:cubicBezTo>
                      <a:pt x="855" y="467"/>
                      <a:pt x="855" y="467"/>
                      <a:pt x="854" y="467"/>
                    </a:cubicBezTo>
                    <a:cubicBezTo>
                      <a:pt x="854" y="467"/>
                      <a:pt x="854" y="467"/>
                      <a:pt x="853" y="467"/>
                    </a:cubicBezTo>
                    <a:cubicBezTo>
                      <a:pt x="853" y="467"/>
                      <a:pt x="853" y="467"/>
                      <a:pt x="852" y="467"/>
                    </a:cubicBezTo>
                    <a:cubicBezTo>
                      <a:pt x="852" y="467"/>
                      <a:pt x="852" y="467"/>
                      <a:pt x="851" y="467"/>
                    </a:cubicBezTo>
                    <a:cubicBezTo>
                      <a:pt x="851" y="467"/>
                      <a:pt x="851" y="467"/>
                      <a:pt x="852" y="466"/>
                    </a:cubicBezTo>
                    <a:cubicBezTo>
                      <a:pt x="852" y="466"/>
                      <a:pt x="852" y="466"/>
                      <a:pt x="854" y="466"/>
                    </a:cubicBezTo>
                    <a:cubicBezTo>
                      <a:pt x="854" y="466"/>
                      <a:pt x="854" y="466"/>
                      <a:pt x="854" y="465"/>
                    </a:cubicBezTo>
                    <a:cubicBezTo>
                      <a:pt x="854" y="465"/>
                      <a:pt x="854" y="465"/>
                      <a:pt x="853" y="465"/>
                    </a:cubicBezTo>
                    <a:cubicBezTo>
                      <a:pt x="853" y="465"/>
                      <a:pt x="853" y="465"/>
                      <a:pt x="853" y="464"/>
                    </a:cubicBezTo>
                    <a:cubicBezTo>
                      <a:pt x="853" y="464"/>
                      <a:pt x="853" y="464"/>
                      <a:pt x="852" y="464"/>
                    </a:cubicBezTo>
                    <a:cubicBezTo>
                      <a:pt x="852" y="464"/>
                      <a:pt x="852" y="464"/>
                      <a:pt x="852" y="463"/>
                    </a:cubicBezTo>
                    <a:cubicBezTo>
                      <a:pt x="852" y="463"/>
                      <a:pt x="852" y="463"/>
                      <a:pt x="851" y="464"/>
                    </a:cubicBezTo>
                    <a:cubicBezTo>
                      <a:pt x="851" y="464"/>
                      <a:pt x="851" y="464"/>
                      <a:pt x="851" y="465"/>
                    </a:cubicBezTo>
                    <a:cubicBezTo>
                      <a:pt x="851" y="465"/>
                      <a:pt x="851" y="465"/>
                      <a:pt x="851" y="466"/>
                    </a:cubicBezTo>
                    <a:cubicBezTo>
                      <a:pt x="851" y="466"/>
                      <a:pt x="851" y="466"/>
                      <a:pt x="850" y="466"/>
                    </a:cubicBezTo>
                    <a:cubicBezTo>
                      <a:pt x="850" y="466"/>
                      <a:pt x="850" y="466"/>
                      <a:pt x="849" y="466"/>
                    </a:cubicBezTo>
                    <a:cubicBezTo>
                      <a:pt x="849" y="466"/>
                      <a:pt x="849" y="466"/>
                      <a:pt x="848" y="466"/>
                    </a:cubicBezTo>
                    <a:cubicBezTo>
                      <a:pt x="848" y="466"/>
                      <a:pt x="848" y="466"/>
                      <a:pt x="847" y="466"/>
                    </a:cubicBezTo>
                    <a:cubicBezTo>
                      <a:pt x="847" y="466"/>
                      <a:pt x="847" y="466"/>
                      <a:pt x="846" y="466"/>
                    </a:cubicBezTo>
                    <a:cubicBezTo>
                      <a:pt x="846" y="466"/>
                      <a:pt x="846" y="466"/>
                      <a:pt x="844" y="466"/>
                    </a:cubicBezTo>
                    <a:cubicBezTo>
                      <a:pt x="844" y="466"/>
                      <a:pt x="844" y="466"/>
                      <a:pt x="844" y="465"/>
                    </a:cubicBezTo>
                    <a:cubicBezTo>
                      <a:pt x="844" y="465"/>
                      <a:pt x="844" y="465"/>
                      <a:pt x="843" y="465"/>
                    </a:cubicBezTo>
                    <a:cubicBezTo>
                      <a:pt x="843" y="465"/>
                      <a:pt x="843" y="465"/>
                      <a:pt x="841" y="465"/>
                    </a:cubicBezTo>
                    <a:cubicBezTo>
                      <a:pt x="841" y="465"/>
                      <a:pt x="841" y="465"/>
                      <a:pt x="840" y="465"/>
                    </a:cubicBezTo>
                    <a:cubicBezTo>
                      <a:pt x="840" y="465"/>
                      <a:pt x="840" y="465"/>
                      <a:pt x="838" y="465"/>
                    </a:cubicBezTo>
                    <a:cubicBezTo>
                      <a:pt x="838" y="465"/>
                      <a:pt x="838" y="465"/>
                      <a:pt x="837" y="465"/>
                    </a:cubicBezTo>
                    <a:cubicBezTo>
                      <a:pt x="837" y="465"/>
                      <a:pt x="837" y="465"/>
                      <a:pt x="836" y="466"/>
                    </a:cubicBezTo>
                    <a:cubicBezTo>
                      <a:pt x="836" y="466"/>
                      <a:pt x="836" y="466"/>
                      <a:pt x="835" y="466"/>
                    </a:cubicBezTo>
                    <a:cubicBezTo>
                      <a:pt x="835" y="466"/>
                      <a:pt x="835" y="466"/>
                      <a:pt x="833" y="465"/>
                    </a:cubicBezTo>
                    <a:cubicBezTo>
                      <a:pt x="833" y="465"/>
                      <a:pt x="833" y="465"/>
                      <a:pt x="833" y="464"/>
                    </a:cubicBezTo>
                    <a:cubicBezTo>
                      <a:pt x="833" y="464"/>
                      <a:pt x="833" y="464"/>
                      <a:pt x="833" y="463"/>
                    </a:cubicBezTo>
                    <a:cubicBezTo>
                      <a:pt x="833" y="463"/>
                      <a:pt x="833" y="463"/>
                      <a:pt x="835" y="462"/>
                    </a:cubicBezTo>
                    <a:cubicBezTo>
                      <a:pt x="835" y="462"/>
                      <a:pt x="835" y="462"/>
                      <a:pt x="836" y="461"/>
                    </a:cubicBezTo>
                    <a:cubicBezTo>
                      <a:pt x="836" y="461"/>
                      <a:pt x="836" y="461"/>
                      <a:pt x="837" y="460"/>
                    </a:cubicBezTo>
                    <a:cubicBezTo>
                      <a:pt x="837" y="460"/>
                      <a:pt x="837" y="460"/>
                      <a:pt x="838" y="458"/>
                    </a:cubicBezTo>
                    <a:cubicBezTo>
                      <a:pt x="838" y="458"/>
                      <a:pt x="838" y="458"/>
                      <a:pt x="839" y="457"/>
                    </a:cubicBezTo>
                    <a:cubicBezTo>
                      <a:pt x="839" y="457"/>
                      <a:pt x="839" y="457"/>
                      <a:pt x="838" y="457"/>
                    </a:cubicBezTo>
                    <a:cubicBezTo>
                      <a:pt x="838" y="457"/>
                      <a:pt x="838" y="457"/>
                      <a:pt x="838" y="456"/>
                    </a:cubicBezTo>
                    <a:cubicBezTo>
                      <a:pt x="838" y="456"/>
                      <a:pt x="838" y="456"/>
                      <a:pt x="839" y="455"/>
                    </a:cubicBezTo>
                    <a:cubicBezTo>
                      <a:pt x="839" y="455"/>
                      <a:pt x="839" y="455"/>
                      <a:pt x="840" y="454"/>
                    </a:cubicBezTo>
                    <a:cubicBezTo>
                      <a:pt x="840" y="454"/>
                      <a:pt x="840" y="454"/>
                      <a:pt x="840" y="453"/>
                    </a:cubicBezTo>
                    <a:cubicBezTo>
                      <a:pt x="840" y="453"/>
                      <a:pt x="840" y="453"/>
                      <a:pt x="841" y="454"/>
                    </a:cubicBezTo>
                    <a:cubicBezTo>
                      <a:pt x="841" y="454"/>
                      <a:pt x="841" y="454"/>
                      <a:pt x="842" y="453"/>
                    </a:cubicBezTo>
                    <a:cubicBezTo>
                      <a:pt x="842" y="453"/>
                      <a:pt x="842" y="453"/>
                      <a:pt x="842" y="452"/>
                    </a:cubicBezTo>
                    <a:cubicBezTo>
                      <a:pt x="842" y="452"/>
                      <a:pt x="842" y="452"/>
                      <a:pt x="842" y="451"/>
                    </a:cubicBezTo>
                    <a:cubicBezTo>
                      <a:pt x="842" y="451"/>
                      <a:pt x="842" y="451"/>
                      <a:pt x="842" y="450"/>
                    </a:cubicBezTo>
                    <a:cubicBezTo>
                      <a:pt x="842" y="450"/>
                      <a:pt x="842" y="450"/>
                      <a:pt x="843" y="450"/>
                    </a:cubicBezTo>
                    <a:cubicBezTo>
                      <a:pt x="843" y="450"/>
                      <a:pt x="843" y="450"/>
                      <a:pt x="844" y="450"/>
                    </a:cubicBezTo>
                    <a:cubicBezTo>
                      <a:pt x="844" y="450"/>
                      <a:pt x="844" y="450"/>
                      <a:pt x="844" y="449"/>
                    </a:cubicBezTo>
                    <a:cubicBezTo>
                      <a:pt x="844" y="449"/>
                      <a:pt x="844" y="449"/>
                      <a:pt x="844" y="448"/>
                    </a:cubicBezTo>
                    <a:cubicBezTo>
                      <a:pt x="844" y="448"/>
                      <a:pt x="844" y="448"/>
                      <a:pt x="845" y="446"/>
                    </a:cubicBezTo>
                    <a:cubicBezTo>
                      <a:pt x="845" y="446"/>
                      <a:pt x="845" y="446"/>
                      <a:pt x="846" y="444"/>
                    </a:cubicBezTo>
                    <a:cubicBezTo>
                      <a:pt x="846" y="444"/>
                      <a:pt x="846" y="444"/>
                      <a:pt x="847" y="443"/>
                    </a:cubicBezTo>
                    <a:cubicBezTo>
                      <a:pt x="847" y="443"/>
                      <a:pt x="847" y="443"/>
                      <a:pt x="847" y="442"/>
                    </a:cubicBezTo>
                    <a:cubicBezTo>
                      <a:pt x="847" y="442"/>
                      <a:pt x="847" y="442"/>
                      <a:pt x="848" y="442"/>
                    </a:cubicBezTo>
                    <a:cubicBezTo>
                      <a:pt x="848" y="442"/>
                      <a:pt x="848" y="442"/>
                      <a:pt x="848" y="441"/>
                    </a:cubicBezTo>
                    <a:cubicBezTo>
                      <a:pt x="848" y="441"/>
                      <a:pt x="848" y="441"/>
                      <a:pt x="849" y="440"/>
                    </a:cubicBezTo>
                    <a:cubicBezTo>
                      <a:pt x="849" y="440"/>
                      <a:pt x="849" y="440"/>
                      <a:pt x="850" y="439"/>
                    </a:cubicBezTo>
                    <a:cubicBezTo>
                      <a:pt x="850" y="439"/>
                      <a:pt x="850" y="439"/>
                      <a:pt x="851" y="438"/>
                    </a:cubicBezTo>
                    <a:cubicBezTo>
                      <a:pt x="851" y="438"/>
                      <a:pt x="851" y="438"/>
                      <a:pt x="851" y="437"/>
                    </a:cubicBezTo>
                    <a:cubicBezTo>
                      <a:pt x="851" y="437"/>
                      <a:pt x="851" y="437"/>
                      <a:pt x="852" y="437"/>
                    </a:cubicBezTo>
                    <a:cubicBezTo>
                      <a:pt x="852" y="437"/>
                      <a:pt x="852" y="437"/>
                      <a:pt x="852" y="436"/>
                    </a:cubicBezTo>
                    <a:cubicBezTo>
                      <a:pt x="852" y="436"/>
                      <a:pt x="852" y="436"/>
                      <a:pt x="853" y="435"/>
                    </a:cubicBezTo>
                    <a:cubicBezTo>
                      <a:pt x="853" y="435"/>
                      <a:pt x="853" y="435"/>
                      <a:pt x="854" y="435"/>
                    </a:cubicBezTo>
                    <a:cubicBezTo>
                      <a:pt x="854" y="435"/>
                      <a:pt x="854" y="435"/>
                      <a:pt x="855" y="435"/>
                    </a:cubicBezTo>
                    <a:cubicBezTo>
                      <a:pt x="855" y="435"/>
                      <a:pt x="855" y="435"/>
                      <a:pt x="856" y="434"/>
                    </a:cubicBezTo>
                    <a:cubicBezTo>
                      <a:pt x="856" y="434"/>
                      <a:pt x="856" y="434"/>
                      <a:pt x="857" y="434"/>
                    </a:cubicBezTo>
                    <a:cubicBezTo>
                      <a:pt x="857" y="434"/>
                      <a:pt x="857" y="434"/>
                      <a:pt x="858" y="433"/>
                    </a:cubicBezTo>
                    <a:cubicBezTo>
                      <a:pt x="858" y="433"/>
                      <a:pt x="858" y="433"/>
                      <a:pt x="858" y="434"/>
                    </a:cubicBezTo>
                    <a:cubicBezTo>
                      <a:pt x="858" y="434"/>
                      <a:pt x="858" y="434"/>
                      <a:pt x="859" y="434"/>
                    </a:cubicBezTo>
                    <a:cubicBezTo>
                      <a:pt x="859" y="434"/>
                      <a:pt x="859" y="434"/>
                      <a:pt x="859" y="433"/>
                    </a:cubicBezTo>
                    <a:cubicBezTo>
                      <a:pt x="859" y="433"/>
                      <a:pt x="859" y="433"/>
                      <a:pt x="860" y="433"/>
                    </a:cubicBezTo>
                    <a:cubicBezTo>
                      <a:pt x="860" y="433"/>
                      <a:pt x="860" y="433"/>
                      <a:pt x="860" y="434"/>
                    </a:cubicBezTo>
                    <a:cubicBezTo>
                      <a:pt x="860" y="434"/>
                      <a:pt x="860" y="434"/>
                      <a:pt x="860" y="435"/>
                    </a:cubicBezTo>
                    <a:cubicBezTo>
                      <a:pt x="860" y="435"/>
                      <a:pt x="860" y="435"/>
                      <a:pt x="859" y="435"/>
                    </a:cubicBezTo>
                    <a:cubicBezTo>
                      <a:pt x="859" y="435"/>
                      <a:pt x="859" y="435"/>
                      <a:pt x="858" y="435"/>
                    </a:cubicBezTo>
                    <a:cubicBezTo>
                      <a:pt x="858" y="435"/>
                      <a:pt x="858" y="435"/>
                      <a:pt x="857" y="435"/>
                    </a:cubicBezTo>
                    <a:cubicBezTo>
                      <a:pt x="857" y="435"/>
                      <a:pt x="857" y="435"/>
                      <a:pt x="856" y="435"/>
                    </a:cubicBezTo>
                    <a:cubicBezTo>
                      <a:pt x="856" y="435"/>
                      <a:pt x="856" y="435"/>
                      <a:pt x="857" y="436"/>
                    </a:cubicBezTo>
                    <a:cubicBezTo>
                      <a:pt x="857" y="436"/>
                      <a:pt x="857" y="436"/>
                      <a:pt x="857" y="437"/>
                    </a:cubicBezTo>
                    <a:cubicBezTo>
                      <a:pt x="857" y="437"/>
                      <a:pt x="857" y="437"/>
                      <a:pt x="858" y="436"/>
                    </a:cubicBezTo>
                    <a:cubicBezTo>
                      <a:pt x="858" y="436"/>
                      <a:pt x="858" y="436"/>
                      <a:pt x="858" y="437"/>
                    </a:cubicBezTo>
                    <a:cubicBezTo>
                      <a:pt x="858" y="437"/>
                      <a:pt x="858" y="437"/>
                      <a:pt x="857" y="439"/>
                    </a:cubicBezTo>
                    <a:cubicBezTo>
                      <a:pt x="857" y="439"/>
                      <a:pt x="857" y="439"/>
                      <a:pt x="856" y="440"/>
                    </a:cubicBezTo>
                    <a:cubicBezTo>
                      <a:pt x="856" y="440"/>
                      <a:pt x="856" y="440"/>
                      <a:pt x="856" y="439"/>
                    </a:cubicBezTo>
                    <a:cubicBezTo>
                      <a:pt x="856" y="439"/>
                      <a:pt x="856" y="439"/>
                      <a:pt x="855" y="439"/>
                    </a:cubicBezTo>
                    <a:cubicBezTo>
                      <a:pt x="855" y="439"/>
                      <a:pt x="855" y="439"/>
                      <a:pt x="855" y="440"/>
                    </a:cubicBezTo>
                    <a:cubicBezTo>
                      <a:pt x="855" y="440"/>
                      <a:pt x="855" y="440"/>
                      <a:pt x="855" y="441"/>
                    </a:cubicBezTo>
                    <a:cubicBezTo>
                      <a:pt x="855" y="441"/>
                      <a:pt x="855" y="441"/>
                      <a:pt x="854" y="441"/>
                    </a:cubicBezTo>
                    <a:cubicBezTo>
                      <a:pt x="854" y="441"/>
                      <a:pt x="854" y="441"/>
                      <a:pt x="853" y="442"/>
                    </a:cubicBezTo>
                    <a:cubicBezTo>
                      <a:pt x="853" y="442"/>
                      <a:pt x="853" y="442"/>
                      <a:pt x="853" y="443"/>
                    </a:cubicBezTo>
                    <a:cubicBezTo>
                      <a:pt x="853" y="443"/>
                      <a:pt x="853" y="443"/>
                      <a:pt x="852" y="444"/>
                    </a:cubicBezTo>
                    <a:cubicBezTo>
                      <a:pt x="852" y="444"/>
                      <a:pt x="852" y="444"/>
                      <a:pt x="851" y="445"/>
                    </a:cubicBezTo>
                    <a:cubicBezTo>
                      <a:pt x="851" y="445"/>
                      <a:pt x="851" y="445"/>
                      <a:pt x="851" y="446"/>
                    </a:cubicBezTo>
                    <a:cubicBezTo>
                      <a:pt x="851" y="446"/>
                      <a:pt x="851" y="446"/>
                      <a:pt x="851" y="447"/>
                    </a:cubicBezTo>
                    <a:cubicBezTo>
                      <a:pt x="851" y="447"/>
                      <a:pt x="851" y="447"/>
                      <a:pt x="850" y="448"/>
                    </a:cubicBezTo>
                    <a:cubicBezTo>
                      <a:pt x="850" y="448"/>
                      <a:pt x="850" y="448"/>
                      <a:pt x="850" y="449"/>
                    </a:cubicBezTo>
                    <a:cubicBezTo>
                      <a:pt x="850" y="449"/>
                      <a:pt x="850" y="449"/>
                      <a:pt x="851" y="448"/>
                    </a:cubicBezTo>
                    <a:cubicBezTo>
                      <a:pt x="851" y="448"/>
                      <a:pt x="851" y="448"/>
                      <a:pt x="852" y="447"/>
                    </a:cubicBezTo>
                    <a:cubicBezTo>
                      <a:pt x="852" y="447"/>
                      <a:pt x="852" y="447"/>
                      <a:pt x="853" y="446"/>
                    </a:cubicBezTo>
                    <a:cubicBezTo>
                      <a:pt x="853" y="446"/>
                      <a:pt x="853" y="446"/>
                      <a:pt x="853" y="445"/>
                    </a:cubicBezTo>
                    <a:cubicBezTo>
                      <a:pt x="853" y="445"/>
                      <a:pt x="853" y="445"/>
                      <a:pt x="854" y="445"/>
                    </a:cubicBezTo>
                    <a:cubicBezTo>
                      <a:pt x="854" y="445"/>
                      <a:pt x="854" y="445"/>
                      <a:pt x="855" y="445"/>
                    </a:cubicBezTo>
                    <a:cubicBezTo>
                      <a:pt x="855" y="445"/>
                      <a:pt x="855" y="445"/>
                      <a:pt x="854" y="446"/>
                    </a:cubicBezTo>
                    <a:cubicBezTo>
                      <a:pt x="854" y="446"/>
                      <a:pt x="854" y="446"/>
                      <a:pt x="855" y="446"/>
                    </a:cubicBezTo>
                    <a:cubicBezTo>
                      <a:pt x="855" y="446"/>
                      <a:pt x="855" y="446"/>
                      <a:pt x="856" y="447"/>
                    </a:cubicBezTo>
                    <a:cubicBezTo>
                      <a:pt x="856" y="447"/>
                      <a:pt x="856" y="447"/>
                      <a:pt x="857" y="447"/>
                    </a:cubicBezTo>
                    <a:cubicBezTo>
                      <a:pt x="857" y="447"/>
                      <a:pt x="857" y="447"/>
                      <a:pt x="858" y="446"/>
                    </a:cubicBezTo>
                    <a:cubicBezTo>
                      <a:pt x="858" y="446"/>
                      <a:pt x="858" y="446"/>
                      <a:pt x="858" y="447"/>
                    </a:cubicBezTo>
                    <a:cubicBezTo>
                      <a:pt x="858" y="447"/>
                      <a:pt x="858" y="447"/>
                      <a:pt x="857" y="448"/>
                    </a:cubicBezTo>
                    <a:cubicBezTo>
                      <a:pt x="857" y="448"/>
                      <a:pt x="857" y="448"/>
                      <a:pt x="856" y="448"/>
                    </a:cubicBezTo>
                    <a:cubicBezTo>
                      <a:pt x="856" y="448"/>
                      <a:pt x="856" y="448"/>
                      <a:pt x="855" y="448"/>
                    </a:cubicBezTo>
                    <a:cubicBezTo>
                      <a:pt x="855" y="448"/>
                      <a:pt x="855" y="448"/>
                      <a:pt x="854" y="449"/>
                    </a:cubicBezTo>
                    <a:cubicBezTo>
                      <a:pt x="854" y="449"/>
                      <a:pt x="854" y="449"/>
                      <a:pt x="854" y="450"/>
                    </a:cubicBezTo>
                    <a:cubicBezTo>
                      <a:pt x="854" y="450"/>
                      <a:pt x="854" y="450"/>
                      <a:pt x="855" y="449"/>
                    </a:cubicBezTo>
                    <a:cubicBezTo>
                      <a:pt x="855" y="449"/>
                      <a:pt x="855" y="449"/>
                      <a:pt x="855" y="450"/>
                    </a:cubicBezTo>
                    <a:cubicBezTo>
                      <a:pt x="855" y="450"/>
                      <a:pt x="855" y="450"/>
                      <a:pt x="855" y="451"/>
                    </a:cubicBezTo>
                    <a:cubicBezTo>
                      <a:pt x="855" y="451"/>
                      <a:pt x="855" y="451"/>
                      <a:pt x="854" y="451"/>
                    </a:cubicBezTo>
                    <a:cubicBezTo>
                      <a:pt x="854" y="451"/>
                      <a:pt x="854" y="451"/>
                      <a:pt x="854" y="452"/>
                    </a:cubicBezTo>
                    <a:cubicBezTo>
                      <a:pt x="854" y="452"/>
                      <a:pt x="854" y="452"/>
                      <a:pt x="855" y="451"/>
                    </a:cubicBezTo>
                    <a:cubicBezTo>
                      <a:pt x="855" y="451"/>
                      <a:pt x="855" y="451"/>
                      <a:pt x="856" y="452"/>
                    </a:cubicBezTo>
                    <a:cubicBezTo>
                      <a:pt x="856" y="452"/>
                      <a:pt x="856" y="452"/>
                      <a:pt x="857" y="451"/>
                    </a:cubicBezTo>
                    <a:cubicBezTo>
                      <a:pt x="857" y="451"/>
                      <a:pt x="857" y="451"/>
                      <a:pt x="858" y="451"/>
                    </a:cubicBezTo>
                    <a:cubicBezTo>
                      <a:pt x="858" y="451"/>
                      <a:pt x="858" y="451"/>
                      <a:pt x="858" y="452"/>
                    </a:cubicBezTo>
                    <a:cubicBezTo>
                      <a:pt x="858" y="452"/>
                      <a:pt x="858" y="452"/>
                      <a:pt x="857" y="452"/>
                    </a:cubicBezTo>
                    <a:cubicBezTo>
                      <a:pt x="857" y="452"/>
                      <a:pt x="857" y="452"/>
                      <a:pt x="858" y="453"/>
                    </a:cubicBezTo>
                    <a:cubicBezTo>
                      <a:pt x="858" y="453"/>
                      <a:pt x="858" y="453"/>
                      <a:pt x="858" y="452"/>
                    </a:cubicBezTo>
                    <a:cubicBezTo>
                      <a:pt x="858" y="452"/>
                      <a:pt x="858" y="452"/>
                      <a:pt x="859" y="451"/>
                    </a:cubicBezTo>
                    <a:cubicBezTo>
                      <a:pt x="859" y="451"/>
                      <a:pt x="859" y="451"/>
                      <a:pt x="860" y="451"/>
                    </a:cubicBezTo>
                    <a:cubicBezTo>
                      <a:pt x="860" y="451"/>
                      <a:pt x="860" y="451"/>
                      <a:pt x="859" y="452"/>
                    </a:cubicBezTo>
                    <a:cubicBezTo>
                      <a:pt x="859" y="452"/>
                      <a:pt x="859" y="452"/>
                      <a:pt x="859" y="453"/>
                    </a:cubicBezTo>
                    <a:cubicBezTo>
                      <a:pt x="859" y="453"/>
                      <a:pt x="859" y="453"/>
                      <a:pt x="860" y="452"/>
                    </a:cubicBezTo>
                    <a:cubicBezTo>
                      <a:pt x="860" y="452"/>
                      <a:pt x="860" y="452"/>
                      <a:pt x="860" y="453"/>
                    </a:cubicBezTo>
                    <a:cubicBezTo>
                      <a:pt x="860" y="453"/>
                      <a:pt x="860" y="453"/>
                      <a:pt x="861" y="452"/>
                    </a:cubicBezTo>
                    <a:cubicBezTo>
                      <a:pt x="861" y="452"/>
                      <a:pt x="861" y="452"/>
                      <a:pt x="862" y="452"/>
                    </a:cubicBezTo>
                    <a:cubicBezTo>
                      <a:pt x="862" y="452"/>
                      <a:pt x="862" y="452"/>
                      <a:pt x="863" y="451"/>
                    </a:cubicBezTo>
                    <a:cubicBezTo>
                      <a:pt x="863" y="451"/>
                      <a:pt x="863" y="451"/>
                      <a:pt x="864" y="451"/>
                    </a:cubicBezTo>
                    <a:cubicBezTo>
                      <a:pt x="864" y="451"/>
                      <a:pt x="864" y="451"/>
                      <a:pt x="865" y="451"/>
                    </a:cubicBezTo>
                    <a:cubicBezTo>
                      <a:pt x="865" y="451"/>
                      <a:pt x="865" y="451"/>
                      <a:pt x="866" y="451"/>
                    </a:cubicBezTo>
                    <a:cubicBezTo>
                      <a:pt x="866" y="451"/>
                      <a:pt x="866" y="451"/>
                      <a:pt x="867" y="451"/>
                    </a:cubicBezTo>
                    <a:cubicBezTo>
                      <a:pt x="867" y="451"/>
                      <a:pt x="867" y="451"/>
                      <a:pt x="868" y="452"/>
                    </a:cubicBezTo>
                    <a:cubicBezTo>
                      <a:pt x="868" y="452"/>
                      <a:pt x="868" y="452"/>
                      <a:pt x="869" y="452"/>
                    </a:cubicBezTo>
                    <a:cubicBezTo>
                      <a:pt x="869" y="452"/>
                      <a:pt x="869" y="452"/>
                      <a:pt x="869" y="453"/>
                    </a:cubicBezTo>
                    <a:cubicBezTo>
                      <a:pt x="869" y="453"/>
                      <a:pt x="869" y="453"/>
                      <a:pt x="868" y="454"/>
                    </a:cubicBezTo>
                    <a:cubicBezTo>
                      <a:pt x="868" y="454"/>
                      <a:pt x="868" y="454"/>
                      <a:pt x="867" y="455"/>
                    </a:cubicBezTo>
                    <a:cubicBezTo>
                      <a:pt x="867" y="455"/>
                      <a:pt x="867" y="455"/>
                      <a:pt x="866" y="455"/>
                    </a:cubicBezTo>
                    <a:cubicBezTo>
                      <a:pt x="866" y="455"/>
                      <a:pt x="866" y="455"/>
                      <a:pt x="866" y="456"/>
                    </a:cubicBezTo>
                    <a:cubicBezTo>
                      <a:pt x="866" y="456"/>
                      <a:pt x="866" y="456"/>
                      <a:pt x="865" y="456"/>
                    </a:cubicBezTo>
                    <a:close/>
                    <a:moveTo>
                      <a:pt x="864" y="453"/>
                    </a:moveTo>
                    <a:cubicBezTo>
                      <a:pt x="864" y="453"/>
                      <a:pt x="864" y="453"/>
                      <a:pt x="864" y="452"/>
                    </a:cubicBezTo>
                    <a:cubicBezTo>
                      <a:pt x="864" y="452"/>
                      <a:pt x="864" y="452"/>
                      <a:pt x="863" y="452"/>
                    </a:cubicBezTo>
                    <a:cubicBezTo>
                      <a:pt x="863" y="452"/>
                      <a:pt x="863" y="452"/>
                      <a:pt x="864" y="453"/>
                    </a:cubicBezTo>
                    <a:cubicBezTo>
                      <a:pt x="864" y="453"/>
                      <a:pt x="864" y="453"/>
                      <a:pt x="863" y="454"/>
                    </a:cubicBezTo>
                    <a:cubicBezTo>
                      <a:pt x="863" y="454"/>
                      <a:pt x="863" y="454"/>
                      <a:pt x="864" y="454"/>
                    </a:cubicBezTo>
                    <a:cubicBezTo>
                      <a:pt x="864" y="454"/>
                      <a:pt x="864" y="454"/>
                      <a:pt x="864" y="453"/>
                    </a:cubicBezTo>
                    <a:close/>
                    <a:moveTo>
                      <a:pt x="864" y="467"/>
                    </a:moveTo>
                    <a:cubicBezTo>
                      <a:pt x="863" y="468"/>
                      <a:pt x="863" y="468"/>
                      <a:pt x="863" y="468"/>
                    </a:cubicBezTo>
                    <a:cubicBezTo>
                      <a:pt x="864" y="468"/>
                      <a:pt x="864" y="468"/>
                      <a:pt x="864" y="468"/>
                    </a:cubicBezTo>
                    <a:cubicBezTo>
                      <a:pt x="863" y="469"/>
                      <a:pt x="863" y="469"/>
                      <a:pt x="863" y="469"/>
                    </a:cubicBezTo>
                    <a:cubicBezTo>
                      <a:pt x="862" y="470"/>
                      <a:pt x="862" y="470"/>
                      <a:pt x="862" y="470"/>
                    </a:cubicBezTo>
                    <a:cubicBezTo>
                      <a:pt x="862" y="472"/>
                      <a:pt x="862" y="472"/>
                      <a:pt x="862" y="472"/>
                    </a:cubicBezTo>
                    <a:cubicBezTo>
                      <a:pt x="861" y="473"/>
                      <a:pt x="861" y="473"/>
                      <a:pt x="861" y="473"/>
                    </a:cubicBezTo>
                    <a:cubicBezTo>
                      <a:pt x="861" y="474"/>
                      <a:pt x="861" y="474"/>
                      <a:pt x="861" y="474"/>
                    </a:cubicBezTo>
                    <a:cubicBezTo>
                      <a:pt x="862" y="474"/>
                      <a:pt x="862" y="474"/>
                      <a:pt x="862" y="474"/>
                    </a:cubicBezTo>
                    <a:cubicBezTo>
                      <a:pt x="863" y="473"/>
                      <a:pt x="863" y="473"/>
                      <a:pt x="863" y="473"/>
                    </a:cubicBezTo>
                    <a:cubicBezTo>
                      <a:pt x="864" y="472"/>
                      <a:pt x="864" y="472"/>
                      <a:pt x="864" y="472"/>
                    </a:cubicBezTo>
                    <a:cubicBezTo>
                      <a:pt x="865" y="470"/>
                      <a:pt x="865" y="470"/>
                      <a:pt x="865" y="470"/>
                    </a:cubicBezTo>
                    <a:cubicBezTo>
                      <a:pt x="866" y="470"/>
                      <a:pt x="866" y="470"/>
                      <a:pt x="866" y="470"/>
                    </a:cubicBezTo>
                    <a:cubicBezTo>
                      <a:pt x="867" y="470"/>
                      <a:pt x="867" y="470"/>
                      <a:pt x="867" y="470"/>
                    </a:cubicBezTo>
                    <a:cubicBezTo>
                      <a:pt x="867" y="471"/>
                      <a:pt x="867" y="471"/>
                      <a:pt x="867" y="471"/>
                    </a:cubicBezTo>
                    <a:cubicBezTo>
                      <a:pt x="866" y="471"/>
                      <a:pt x="866" y="471"/>
                      <a:pt x="866" y="471"/>
                    </a:cubicBezTo>
                    <a:cubicBezTo>
                      <a:pt x="865" y="472"/>
                      <a:pt x="865" y="472"/>
                      <a:pt x="865" y="472"/>
                    </a:cubicBezTo>
                    <a:cubicBezTo>
                      <a:pt x="865" y="473"/>
                      <a:pt x="865" y="473"/>
                      <a:pt x="865" y="473"/>
                    </a:cubicBezTo>
                    <a:cubicBezTo>
                      <a:pt x="865" y="474"/>
                      <a:pt x="865" y="474"/>
                      <a:pt x="865" y="474"/>
                    </a:cubicBezTo>
                    <a:cubicBezTo>
                      <a:pt x="865" y="475"/>
                      <a:pt x="865" y="475"/>
                      <a:pt x="865" y="475"/>
                    </a:cubicBezTo>
                    <a:cubicBezTo>
                      <a:pt x="866" y="476"/>
                      <a:pt x="866" y="476"/>
                      <a:pt x="866" y="476"/>
                    </a:cubicBezTo>
                    <a:cubicBezTo>
                      <a:pt x="866" y="475"/>
                      <a:pt x="866" y="475"/>
                      <a:pt x="866" y="475"/>
                    </a:cubicBezTo>
                    <a:cubicBezTo>
                      <a:pt x="866" y="474"/>
                      <a:pt x="866" y="474"/>
                      <a:pt x="866" y="474"/>
                    </a:cubicBezTo>
                    <a:cubicBezTo>
                      <a:pt x="867" y="474"/>
                      <a:pt x="867" y="474"/>
                      <a:pt x="867" y="474"/>
                    </a:cubicBezTo>
                    <a:cubicBezTo>
                      <a:pt x="868" y="475"/>
                      <a:pt x="868" y="475"/>
                      <a:pt x="868" y="475"/>
                    </a:cubicBezTo>
                    <a:cubicBezTo>
                      <a:pt x="869" y="475"/>
                      <a:pt x="869" y="475"/>
                      <a:pt x="869" y="475"/>
                    </a:cubicBezTo>
                    <a:cubicBezTo>
                      <a:pt x="869" y="474"/>
                      <a:pt x="869" y="474"/>
                      <a:pt x="869" y="474"/>
                    </a:cubicBezTo>
                    <a:cubicBezTo>
                      <a:pt x="869" y="473"/>
                      <a:pt x="869" y="473"/>
                      <a:pt x="869" y="473"/>
                    </a:cubicBezTo>
                    <a:cubicBezTo>
                      <a:pt x="869" y="472"/>
                      <a:pt x="869" y="472"/>
                      <a:pt x="869" y="472"/>
                    </a:cubicBezTo>
                    <a:cubicBezTo>
                      <a:pt x="870" y="472"/>
                      <a:pt x="870" y="472"/>
                      <a:pt x="870" y="472"/>
                    </a:cubicBezTo>
                    <a:cubicBezTo>
                      <a:pt x="870" y="471"/>
                      <a:pt x="870" y="471"/>
                      <a:pt x="870" y="471"/>
                    </a:cubicBezTo>
                    <a:cubicBezTo>
                      <a:pt x="870" y="470"/>
                      <a:pt x="870" y="470"/>
                      <a:pt x="870" y="470"/>
                    </a:cubicBezTo>
                    <a:cubicBezTo>
                      <a:pt x="871" y="469"/>
                      <a:pt x="871" y="469"/>
                      <a:pt x="871" y="469"/>
                    </a:cubicBezTo>
                    <a:cubicBezTo>
                      <a:pt x="872" y="468"/>
                      <a:pt x="872" y="468"/>
                      <a:pt x="872" y="468"/>
                    </a:cubicBezTo>
                    <a:cubicBezTo>
                      <a:pt x="871" y="466"/>
                      <a:pt x="871" y="466"/>
                      <a:pt x="871" y="466"/>
                    </a:cubicBezTo>
                    <a:cubicBezTo>
                      <a:pt x="871" y="467"/>
                      <a:pt x="871" y="467"/>
                      <a:pt x="871" y="467"/>
                    </a:cubicBezTo>
                    <a:cubicBezTo>
                      <a:pt x="870" y="467"/>
                      <a:pt x="870" y="467"/>
                      <a:pt x="870" y="467"/>
                    </a:cubicBezTo>
                    <a:cubicBezTo>
                      <a:pt x="869" y="468"/>
                      <a:pt x="869" y="468"/>
                      <a:pt x="869" y="468"/>
                    </a:cubicBezTo>
                    <a:cubicBezTo>
                      <a:pt x="868" y="468"/>
                      <a:pt x="868" y="468"/>
                      <a:pt x="868" y="468"/>
                    </a:cubicBezTo>
                    <a:cubicBezTo>
                      <a:pt x="868" y="467"/>
                      <a:pt x="868" y="467"/>
                      <a:pt x="868" y="467"/>
                    </a:cubicBezTo>
                    <a:cubicBezTo>
                      <a:pt x="868" y="466"/>
                      <a:pt x="868" y="466"/>
                      <a:pt x="868" y="466"/>
                    </a:cubicBezTo>
                    <a:cubicBezTo>
                      <a:pt x="869" y="465"/>
                      <a:pt x="869" y="465"/>
                      <a:pt x="869" y="465"/>
                    </a:cubicBezTo>
                    <a:cubicBezTo>
                      <a:pt x="870" y="464"/>
                      <a:pt x="870" y="464"/>
                      <a:pt x="870" y="464"/>
                    </a:cubicBezTo>
                    <a:cubicBezTo>
                      <a:pt x="871" y="464"/>
                      <a:pt x="871" y="464"/>
                      <a:pt x="871" y="464"/>
                    </a:cubicBezTo>
                    <a:cubicBezTo>
                      <a:pt x="871" y="463"/>
                      <a:pt x="871" y="463"/>
                      <a:pt x="871" y="463"/>
                    </a:cubicBezTo>
                    <a:cubicBezTo>
                      <a:pt x="870" y="463"/>
                      <a:pt x="870" y="463"/>
                      <a:pt x="870" y="463"/>
                    </a:cubicBezTo>
                    <a:cubicBezTo>
                      <a:pt x="869" y="464"/>
                      <a:pt x="869" y="464"/>
                      <a:pt x="869" y="464"/>
                    </a:cubicBezTo>
                    <a:cubicBezTo>
                      <a:pt x="868" y="464"/>
                      <a:pt x="868" y="464"/>
                      <a:pt x="868" y="464"/>
                    </a:cubicBezTo>
                    <a:cubicBezTo>
                      <a:pt x="868" y="465"/>
                      <a:pt x="868" y="465"/>
                      <a:pt x="868" y="465"/>
                    </a:cubicBezTo>
                    <a:cubicBezTo>
                      <a:pt x="866" y="466"/>
                      <a:pt x="866" y="466"/>
                      <a:pt x="866" y="466"/>
                    </a:cubicBezTo>
                    <a:cubicBezTo>
                      <a:pt x="866" y="467"/>
                      <a:pt x="866" y="467"/>
                      <a:pt x="866" y="467"/>
                    </a:cubicBezTo>
                    <a:cubicBezTo>
                      <a:pt x="865" y="466"/>
                      <a:pt x="865" y="466"/>
                      <a:pt x="865" y="466"/>
                    </a:cubicBezTo>
                    <a:cubicBezTo>
                      <a:pt x="864" y="465"/>
                      <a:pt x="864" y="465"/>
                      <a:pt x="864" y="465"/>
                    </a:cubicBezTo>
                    <a:cubicBezTo>
                      <a:pt x="864" y="466"/>
                      <a:pt x="864" y="466"/>
                      <a:pt x="864" y="466"/>
                    </a:cubicBezTo>
                    <a:cubicBezTo>
                      <a:pt x="864" y="467"/>
                      <a:pt x="864" y="467"/>
                      <a:pt x="864" y="467"/>
                    </a:cubicBezTo>
                    <a:close/>
                    <a:moveTo>
                      <a:pt x="858" y="440"/>
                    </a:moveTo>
                    <a:cubicBezTo>
                      <a:pt x="859" y="440"/>
                      <a:pt x="859" y="440"/>
                      <a:pt x="859" y="440"/>
                    </a:cubicBezTo>
                    <a:cubicBezTo>
                      <a:pt x="859" y="439"/>
                      <a:pt x="859" y="439"/>
                      <a:pt x="859" y="439"/>
                    </a:cubicBezTo>
                    <a:cubicBezTo>
                      <a:pt x="858" y="439"/>
                      <a:pt x="858" y="439"/>
                      <a:pt x="858" y="439"/>
                    </a:cubicBezTo>
                    <a:cubicBezTo>
                      <a:pt x="858" y="440"/>
                      <a:pt x="858" y="440"/>
                      <a:pt x="858" y="440"/>
                    </a:cubicBezTo>
                    <a:close/>
                    <a:moveTo>
                      <a:pt x="850" y="475"/>
                    </a:moveTo>
                    <a:cubicBezTo>
                      <a:pt x="850" y="475"/>
                      <a:pt x="850" y="475"/>
                      <a:pt x="851" y="474"/>
                    </a:cubicBezTo>
                    <a:cubicBezTo>
                      <a:pt x="851" y="474"/>
                      <a:pt x="851" y="474"/>
                      <a:pt x="850" y="474"/>
                    </a:cubicBezTo>
                    <a:cubicBezTo>
                      <a:pt x="850" y="474"/>
                      <a:pt x="850" y="474"/>
                      <a:pt x="850" y="475"/>
                    </a:cubicBezTo>
                    <a:close/>
                    <a:moveTo>
                      <a:pt x="849" y="470"/>
                    </a:moveTo>
                    <a:cubicBezTo>
                      <a:pt x="849" y="470"/>
                      <a:pt x="849" y="470"/>
                      <a:pt x="848" y="470"/>
                    </a:cubicBezTo>
                    <a:cubicBezTo>
                      <a:pt x="848" y="470"/>
                      <a:pt x="848" y="470"/>
                      <a:pt x="849" y="471"/>
                    </a:cubicBezTo>
                    <a:cubicBezTo>
                      <a:pt x="849" y="471"/>
                      <a:pt x="849" y="471"/>
                      <a:pt x="849" y="470"/>
                    </a:cubicBezTo>
                    <a:close/>
                    <a:moveTo>
                      <a:pt x="837" y="455"/>
                    </a:moveTo>
                    <a:cubicBezTo>
                      <a:pt x="836" y="456"/>
                      <a:pt x="836" y="456"/>
                      <a:pt x="836" y="456"/>
                    </a:cubicBezTo>
                    <a:cubicBezTo>
                      <a:pt x="837" y="456"/>
                      <a:pt x="837" y="456"/>
                      <a:pt x="837" y="456"/>
                    </a:cubicBezTo>
                    <a:cubicBezTo>
                      <a:pt x="837" y="455"/>
                      <a:pt x="837" y="455"/>
                      <a:pt x="837" y="455"/>
                    </a:cubicBezTo>
                    <a:close/>
                    <a:moveTo>
                      <a:pt x="849" y="474"/>
                    </a:moveTo>
                    <a:cubicBezTo>
                      <a:pt x="849" y="474"/>
                      <a:pt x="849" y="474"/>
                      <a:pt x="849" y="473"/>
                    </a:cubicBezTo>
                    <a:cubicBezTo>
                      <a:pt x="849" y="473"/>
                      <a:pt x="849" y="473"/>
                      <a:pt x="849" y="472"/>
                    </a:cubicBezTo>
                    <a:cubicBezTo>
                      <a:pt x="849" y="472"/>
                      <a:pt x="849" y="472"/>
                      <a:pt x="848" y="473"/>
                    </a:cubicBezTo>
                    <a:cubicBezTo>
                      <a:pt x="848" y="473"/>
                      <a:pt x="848" y="473"/>
                      <a:pt x="849" y="474"/>
                    </a:cubicBezTo>
                    <a:close/>
                    <a:moveTo>
                      <a:pt x="830" y="38"/>
                    </a:moveTo>
                    <a:cubicBezTo>
                      <a:pt x="830" y="37"/>
                      <a:pt x="830" y="37"/>
                      <a:pt x="830" y="37"/>
                    </a:cubicBezTo>
                    <a:cubicBezTo>
                      <a:pt x="829" y="36"/>
                      <a:pt x="829" y="36"/>
                      <a:pt x="829" y="36"/>
                    </a:cubicBezTo>
                    <a:cubicBezTo>
                      <a:pt x="829" y="34"/>
                      <a:pt x="829" y="34"/>
                      <a:pt x="829" y="34"/>
                    </a:cubicBezTo>
                    <a:cubicBezTo>
                      <a:pt x="830" y="34"/>
                      <a:pt x="830" y="34"/>
                      <a:pt x="830" y="34"/>
                    </a:cubicBezTo>
                    <a:cubicBezTo>
                      <a:pt x="831" y="34"/>
                      <a:pt x="831" y="34"/>
                      <a:pt x="831" y="34"/>
                    </a:cubicBezTo>
                    <a:cubicBezTo>
                      <a:pt x="832" y="34"/>
                      <a:pt x="832" y="34"/>
                      <a:pt x="832" y="34"/>
                    </a:cubicBezTo>
                    <a:cubicBezTo>
                      <a:pt x="833" y="34"/>
                      <a:pt x="833" y="34"/>
                      <a:pt x="833" y="34"/>
                    </a:cubicBezTo>
                    <a:cubicBezTo>
                      <a:pt x="837" y="34"/>
                      <a:pt x="837" y="34"/>
                      <a:pt x="837" y="34"/>
                    </a:cubicBezTo>
                    <a:cubicBezTo>
                      <a:pt x="839" y="35"/>
                      <a:pt x="839" y="35"/>
                      <a:pt x="839" y="35"/>
                    </a:cubicBezTo>
                    <a:cubicBezTo>
                      <a:pt x="838" y="33"/>
                      <a:pt x="838" y="33"/>
                      <a:pt x="838" y="33"/>
                    </a:cubicBezTo>
                    <a:cubicBezTo>
                      <a:pt x="837" y="33"/>
                      <a:pt x="837" y="33"/>
                      <a:pt x="837" y="33"/>
                    </a:cubicBezTo>
                    <a:cubicBezTo>
                      <a:pt x="835" y="33"/>
                      <a:pt x="835" y="33"/>
                      <a:pt x="835" y="33"/>
                    </a:cubicBezTo>
                    <a:cubicBezTo>
                      <a:pt x="833" y="32"/>
                      <a:pt x="833" y="32"/>
                      <a:pt x="833" y="32"/>
                    </a:cubicBezTo>
                    <a:cubicBezTo>
                      <a:pt x="832" y="32"/>
                      <a:pt x="832" y="32"/>
                      <a:pt x="832" y="32"/>
                    </a:cubicBezTo>
                    <a:cubicBezTo>
                      <a:pt x="830" y="32"/>
                      <a:pt x="830" y="32"/>
                      <a:pt x="830" y="32"/>
                    </a:cubicBezTo>
                    <a:cubicBezTo>
                      <a:pt x="830" y="31"/>
                      <a:pt x="830" y="31"/>
                      <a:pt x="830" y="31"/>
                    </a:cubicBezTo>
                    <a:cubicBezTo>
                      <a:pt x="831" y="30"/>
                      <a:pt x="831" y="30"/>
                      <a:pt x="831" y="30"/>
                    </a:cubicBezTo>
                    <a:cubicBezTo>
                      <a:pt x="831" y="29"/>
                      <a:pt x="831" y="29"/>
                      <a:pt x="831" y="29"/>
                    </a:cubicBezTo>
                    <a:cubicBezTo>
                      <a:pt x="831" y="28"/>
                      <a:pt x="831" y="28"/>
                      <a:pt x="831" y="28"/>
                    </a:cubicBezTo>
                    <a:cubicBezTo>
                      <a:pt x="832" y="28"/>
                      <a:pt x="832" y="28"/>
                      <a:pt x="832" y="28"/>
                    </a:cubicBezTo>
                    <a:cubicBezTo>
                      <a:pt x="833" y="29"/>
                      <a:pt x="833" y="29"/>
                      <a:pt x="833" y="29"/>
                    </a:cubicBezTo>
                    <a:cubicBezTo>
                      <a:pt x="835" y="29"/>
                      <a:pt x="835" y="29"/>
                      <a:pt x="835" y="29"/>
                    </a:cubicBezTo>
                    <a:cubicBezTo>
                      <a:pt x="836" y="29"/>
                      <a:pt x="836" y="29"/>
                      <a:pt x="836" y="29"/>
                    </a:cubicBezTo>
                    <a:cubicBezTo>
                      <a:pt x="835" y="28"/>
                      <a:pt x="835" y="28"/>
                      <a:pt x="835" y="28"/>
                    </a:cubicBezTo>
                    <a:cubicBezTo>
                      <a:pt x="834" y="28"/>
                      <a:pt x="834" y="28"/>
                      <a:pt x="834" y="28"/>
                    </a:cubicBezTo>
                    <a:cubicBezTo>
                      <a:pt x="833" y="27"/>
                      <a:pt x="833" y="27"/>
                      <a:pt x="833" y="27"/>
                    </a:cubicBezTo>
                    <a:cubicBezTo>
                      <a:pt x="833" y="26"/>
                      <a:pt x="833" y="26"/>
                      <a:pt x="833" y="26"/>
                    </a:cubicBezTo>
                    <a:cubicBezTo>
                      <a:pt x="835" y="26"/>
                      <a:pt x="835" y="26"/>
                      <a:pt x="835" y="26"/>
                    </a:cubicBezTo>
                    <a:cubicBezTo>
                      <a:pt x="836" y="25"/>
                      <a:pt x="836" y="25"/>
                      <a:pt x="836" y="25"/>
                    </a:cubicBezTo>
                    <a:cubicBezTo>
                      <a:pt x="839" y="25"/>
                      <a:pt x="839" y="25"/>
                      <a:pt x="839" y="25"/>
                    </a:cubicBezTo>
                    <a:cubicBezTo>
                      <a:pt x="839" y="24"/>
                      <a:pt x="839" y="24"/>
                      <a:pt x="839" y="24"/>
                    </a:cubicBezTo>
                    <a:cubicBezTo>
                      <a:pt x="841" y="24"/>
                      <a:pt x="841" y="24"/>
                      <a:pt x="841" y="24"/>
                    </a:cubicBezTo>
                    <a:cubicBezTo>
                      <a:pt x="842" y="24"/>
                      <a:pt x="842" y="24"/>
                      <a:pt x="842" y="24"/>
                    </a:cubicBezTo>
                    <a:cubicBezTo>
                      <a:pt x="842" y="23"/>
                      <a:pt x="842" y="23"/>
                      <a:pt x="842" y="23"/>
                    </a:cubicBezTo>
                    <a:cubicBezTo>
                      <a:pt x="839" y="23"/>
                      <a:pt x="839" y="23"/>
                      <a:pt x="839" y="23"/>
                    </a:cubicBezTo>
                    <a:cubicBezTo>
                      <a:pt x="837" y="24"/>
                      <a:pt x="837" y="24"/>
                      <a:pt x="837" y="24"/>
                    </a:cubicBezTo>
                    <a:cubicBezTo>
                      <a:pt x="835" y="24"/>
                      <a:pt x="835" y="24"/>
                      <a:pt x="835" y="24"/>
                    </a:cubicBezTo>
                    <a:cubicBezTo>
                      <a:pt x="834" y="24"/>
                      <a:pt x="834" y="24"/>
                      <a:pt x="834" y="24"/>
                    </a:cubicBezTo>
                    <a:cubicBezTo>
                      <a:pt x="833" y="25"/>
                      <a:pt x="833" y="25"/>
                      <a:pt x="833" y="25"/>
                    </a:cubicBezTo>
                    <a:cubicBezTo>
                      <a:pt x="832" y="25"/>
                      <a:pt x="832" y="25"/>
                      <a:pt x="832" y="25"/>
                    </a:cubicBezTo>
                    <a:cubicBezTo>
                      <a:pt x="832" y="24"/>
                      <a:pt x="832" y="24"/>
                      <a:pt x="832" y="24"/>
                    </a:cubicBezTo>
                    <a:cubicBezTo>
                      <a:pt x="832" y="23"/>
                      <a:pt x="832" y="23"/>
                      <a:pt x="832" y="23"/>
                    </a:cubicBezTo>
                    <a:cubicBezTo>
                      <a:pt x="834" y="22"/>
                      <a:pt x="834" y="22"/>
                      <a:pt x="834" y="22"/>
                    </a:cubicBezTo>
                    <a:cubicBezTo>
                      <a:pt x="835" y="21"/>
                      <a:pt x="835" y="21"/>
                      <a:pt x="835" y="21"/>
                    </a:cubicBezTo>
                    <a:cubicBezTo>
                      <a:pt x="837" y="21"/>
                      <a:pt x="837" y="21"/>
                      <a:pt x="837" y="21"/>
                    </a:cubicBezTo>
                    <a:cubicBezTo>
                      <a:pt x="838" y="20"/>
                      <a:pt x="838" y="20"/>
                      <a:pt x="838" y="20"/>
                    </a:cubicBezTo>
                    <a:cubicBezTo>
                      <a:pt x="837" y="20"/>
                      <a:pt x="837" y="20"/>
                      <a:pt x="837" y="20"/>
                    </a:cubicBezTo>
                    <a:cubicBezTo>
                      <a:pt x="836" y="20"/>
                      <a:pt x="836" y="20"/>
                      <a:pt x="836" y="20"/>
                    </a:cubicBezTo>
                    <a:cubicBezTo>
                      <a:pt x="837" y="18"/>
                      <a:pt x="837" y="18"/>
                      <a:pt x="837" y="18"/>
                    </a:cubicBezTo>
                    <a:cubicBezTo>
                      <a:pt x="836" y="18"/>
                      <a:pt x="836" y="18"/>
                      <a:pt x="836" y="18"/>
                    </a:cubicBezTo>
                    <a:cubicBezTo>
                      <a:pt x="836" y="19"/>
                      <a:pt x="836" y="19"/>
                      <a:pt x="836" y="19"/>
                    </a:cubicBezTo>
                    <a:cubicBezTo>
                      <a:pt x="835" y="20"/>
                      <a:pt x="835" y="20"/>
                      <a:pt x="835" y="20"/>
                    </a:cubicBezTo>
                    <a:cubicBezTo>
                      <a:pt x="835" y="19"/>
                      <a:pt x="835" y="19"/>
                      <a:pt x="835" y="19"/>
                    </a:cubicBezTo>
                    <a:cubicBezTo>
                      <a:pt x="834" y="19"/>
                      <a:pt x="834" y="19"/>
                      <a:pt x="834" y="19"/>
                    </a:cubicBezTo>
                    <a:cubicBezTo>
                      <a:pt x="833" y="19"/>
                      <a:pt x="833" y="19"/>
                      <a:pt x="833" y="19"/>
                    </a:cubicBezTo>
                    <a:cubicBezTo>
                      <a:pt x="832" y="20"/>
                      <a:pt x="832" y="20"/>
                      <a:pt x="832" y="20"/>
                    </a:cubicBezTo>
                    <a:cubicBezTo>
                      <a:pt x="832" y="21"/>
                      <a:pt x="832" y="21"/>
                      <a:pt x="832" y="21"/>
                    </a:cubicBezTo>
                    <a:cubicBezTo>
                      <a:pt x="830" y="22"/>
                      <a:pt x="830" y="22"/>
                      <a:pt x="830" y="22"/>
                    </a:cubicBezTo>
                    <a:cubicBezTo>
                      <a:pt x="830" y="21"/>
                      <a:pt x="830" y="21"/>
                      <a:pt x="830" y="21"/>
                    </a:cubicBezTo>
                    <a:cubicBezTo>
                      <a:pt x="830" y="19"/>
                      <a:pt x="830" y="19"/>
                      <a:pt x="830" y="19"/>
                    </a:cubicBezTo>
                    <a:cubicBezTo>
                      <a:pt x="829" y="18"/>
                      <a:pt x="829" y="18"/>
                      <a:pt x="829" y="18"/>
                    </a:cubicBezTo>
                    <a:cubicBezTo>
                      <a:pt x="830" y="18"/>
                      <a:pt x="830" y="18"/>
                      <a:pt x="830" y="18"/>
                    </a:cubicBezTo>
                    <a:cubicBezTo>
                      <a:pt x="831" y="18"/>
                      <a:pt x="831" y="18"/>
                      <a:pt x="831" y="18"/>
                    </a:cubicBezTo>
                    <a:cubicBezTo>
                      <a:pt x="831" y="17"/>
                      <a:pt x="831" y="17"/>
                      <a:pt x="831" y="17"/>
                    </a:cubicBezTo>
                    <a:cubicBezTo>
                      <a:pt x="832" y="16"/>
                      <a:pt x="832" y="16"/>
                      <a:pt x="832" y="16"/>
                    </a:cubicBezTo>
                    <a:cubicBezTo>
                      <a:pt x="833" y="16"/>
                      <a:pt x="833" y="16"/>
                      <a:pt x="833" y="16"/>
                    </a:cubicBezTo>
                    <a:cubicBezTo>
                      <a:pt x="834" y="15"/>
                      <a:pt x="834" y="15"/>
                      <a:pt x="834" y="15"/>
                    </a:cubicBezTo>
                    <a:cubicBezTo>
                      <a:pt x="835" y="14"/>
                      <a:pt x="835" y="14"/>
                      <a:pt x="835" y="14"/>
                    </a:cubicBezTo>
                    <a:cubicBezTo>
                      <a:pt x="836" y="15"/>
                      <a:pt x="836" y="15"/>
                      <a:pt x="836" y="15"/>
                    </a:cubicBezTo>
                    <a:cubicBezTo>
                      <a:pt x="838" y="14"/>
                      <a:pt x="838" y="14"/>
                      <a:pt x="838" y="14"/>
                    </a:cubicBezTo>
                    <a:cubicBezTo>
                      <a:pt x="841" y="13"/>
                      <a:pt x="841" y="13"/>
                      <a:pt x="841" y="13"/>
                    </a:cubicBezTo>
                    <a:cubicBezTo>
                      <a:pt x="842" y="13"/>
                      <a:pt x="842" y="13"/>
                      <a:pt x="842" y="13"/>
                    </a:cubicBezTo>
                    <a:cubicBezTo>
                      <a:pt x="842" y="14"/>
                      <a:pt x="842" y="14"/>
                      <a:pt x="842" y="14"/>
                    </a:cubicBezTo>
                    <a:cubicBezTo>
                      <a:pt x="842" y="15"/>
                      <a:pt x="842" y="15"/>
                      <a:pt x="842" y="15"/>
                    </a:cubicBezTo>
                    <a:cubicBezTo>
                      <a:pt x="842" y="18"/>
                      <a:pt x="842" y="18"/>
                      <a:pt x="842" y="18"/>
                    </a:cubicBezTo>
                    <a:cubicBezTo>
                      <a:pt x="843" y="17"/>
                      <a:pt x="843" y="17"/>
                      <a:pt x="843" y="17"/>
                    </a:cubicBezTo>
                    <a:cubicBezTo>
                      <a:pt x="843" y="16"/>
                      <a:pt x="843" y="16"/>
                      <a:pt x="843" y="16"/>
                    </a:cubicBezTo>
                    <a:cubicBezTo>
                      <a:pt x="844" y="15"/>
                      <a:pt x="844" y="15"/>
                      <a:pt x="844" y="15"/>
                    </a:cubicBezTo>
                    <a:cubicBezTo>
                      <a:pt x="845" y="15"/>
                      <a:pt x="845" y="15"/>
                      <a:pt x="845" y="15"/>
                    </a:cubicBezTo>
                    <a:cubicBezTo>
                      <a:pt x="844" y="16"/>
                      <a:pt x="844" y="16"/>
                      <a:pt x="844" y="16"/>
                    </a:cubicBezTo>
                    <a:cubicBezTo>
                      <a:pt x="844" y="17"/>
                      <a:pt x="844" y="17"/>
                      <a:pt x="844" y="17"/>
                    </a:cubicBezTo>
                    <a:cubicBezTo>
                      <a:pt x="845" y="16"/>
                      <a:pt x="845" y="16"/>
                      <a:pt x="845" y="16"/>
                    </a:cubicBezTo>
                    <a:cubicBezTo>
                      <a:pt x="845" y="15"/>
                      <a:pt x="845" y="15"/>
                      <a:pt x="845" y="15"/>
                    </a:cubicBezTo>
                    <a:cubicBezTo>
                      <a:pt x="846" y="15"/>
                      <a:pt x="846" y="15"/>
                      <a:pt x="846" y="15"/>
                    </a:cubicBezTo>
                    <a:cubicBezTo>
                      <a:pt x="845" y="14"/>
                      <a:pt x="845" y="14"/>
                      <a:pt x="845" y="14"/>
                    </a:cubicBezTo>
                    <a:cubicBezTo>
                      <a:pt x="846" y="12"/>
                      <a:pt x="846" y="12"/>
                      <a:pt x="846" y="12"/>
                    </a:cubicBezTo>
                    <a:cubicBezTo>
                      <a:pt x="848" y="11"/>
                      <a:pt x="848" y="11"/>
                      <a:pt x="848" y="11"/>
                    </a:cubicBezTo>
                    <a:cubicBezTo>
                      <a:pt x="849" y="11"/>
                      <a:pt x="849" y="11"/>
                      <a:pt x="849" y="11"/>
                    </a:cubicBezTo>
                    <a:cubicBezTo>
                      <a:pt x="849" y="12"/>
                      <a:pt x="849" y="12"/>
                      <a:pt x="849" y="12"/>
                    </a:cubicBezTo>
                    <a:cubicBezTo>
                      <a:pt x="849" y="14"/>
                      <a:pt x="849" y="14"/>
                      <a:pt x="849" y="14"/>
                    </a:cubicBezTo>
                    <a:cubicBezTo>
                      <a:pt x="850" y="14"/>
                      <a:pt x="850" y="14"/>
                      <a:pt x="850" y="14"/>
                    </a:cubicBezTo>
                    <a:cubicBezTo>
                      <a:pt x="850" y="16"/>
                      <a:pt x="850" y="16"/>
                      <a:pt x="850" y="16"/>
                    </a:cubicBezTo>
                    <a:cubicBezTo>
                      <a:pt x="850" y="17"/>
                      <a:pt x="850" y="17"/>
                      <a:pt x="850" y="17"/>
                    </a:cubicBezTo>
                    <a:cubicBezTo>
                      <a:pt x="850" y="18"/>
                      <a:pt x="850" y="18"/>
                      <a:pt x="850" y="18"/>
                    </a:cubicBezTo>
                    <a:cubicBezTo>
                      <a:pt x="850" y="19"/>
                      <a:pt x="850" y="19"/>
                      <a:pt x="850" y="19"/>
                    </a:cubicBezTo>
                    <a:cubicBezTo>
                      <a:pt x="851" y="19"/>
                      <a:pt x="851" y="19"/>
                      <a:pt x="851" y="19"/>
                    </a:cubicBezTo>
                    <a:cubicBezTo>
                      <a:pt x="851" y="18"/>
                      <a:pt x="851" y="18"/>
                      <a:pt x="851" y="18"/>
                    </a:cubicBezTo>
                    <a:cubicBezTo>
                      <a:pt x="851" y="17"/>
                      <a:pt x="851" y="17"/>
                      <a:pt x="851" y="17"/>
                    </a:cubicBezTo>
                    <a:cubicBezTo>
                      <a:pt x="852" y="16"/>
                      <a:pt x="852" y="16"/>
                      <a:pt x="852" y="16"/>
                    </a:cubicBezTo>
                    <a:cubicBezTo>
                      <a:pt x="853" y="14"/>
                      <a:pt x="853" y="14"/>
                      <a:pt x="853" y="14"/>
                    </a:cubicBezTo>
                    <a:cubicBezTo>
                      <a:pt x="854" y="14"/>
                      <a:pt x="854" y="14"/>
                      <a:pt x="854" y="14"/>
                    </a:cubicBezTo>
                    <a:cubicBezTo>
                      <a:pt x="855" y="16"/>
                      <a:pt x="855" y="16"/>
                      <a:pt x="855" y="16"/>
                    </a:cubicBezTo>
                    <a:cubicBezTo>
                      <a:pt x="855" y="17"/>
                      <a:pt x="855" y="17"/>
                      <a:pt x="855" y="17"/>
                    </a:cubicBezTo>
                    <a:cubicBezTo>
                      <a:pt x="854" y="19"/>
                      <a:pt x="854" y="19"/>
                      <a:pt x="854" y="19"/>
                    </a:cubicBezTo>
                    <a:cubicBezTo>
                      <a:pt x="855" y="19"/>
                      <a:pt x="855" y="19"/>
                      <a:pt x="855" y="19"/>
                    </a:cubicBezTo>
                    <a:cubicBezTo>
                      <a:pt x="855" y="20"/>
                      <a:pt x="855" y="20"/>
                      <a:pt x="855" y="20"/>
                    </a:cubicBezTo>
                    <a:cubicBezTo>
                      <a:pt x="856" y="19"/>
                      <a:pt x="856" y="19"/>
                      <a:pt x="856" y="19"/>
                    </a:cubicBezTo>
                    <a:cubicBezTo>
                      <a:pt x="856" y="18"/>
                      <a:pt x="856" y="18"/>
                      <a:pt x="856" y="18"/>
                    </a:cubicBezTo>
                    <a:cubicBezTo>
                      <a:pt x="857" y="18"/>
                      <a:pt x="857" y="18"/>
                      <a:pt x="857" y="18"/>
                    </a:cubicBezTo>
                    <a:cubicBezTo>
                      <a:pt x="857" y="19"/>
                      <a:pt x="857" y="19"/>
                      <a:pt x="857" y="19"/>
                    </a:cubicBezTo>
                    <a:cubicBezTo>
                      <a:pt x="858" y="20"/>
                      <a:pt x="858" y="20"/>
                      <a:pt x="858" y="20"/>
                    </a:cubicBezTo>
                    <a:cubicBezTo>
                      <a:pt x="859" y="19"/>
                      <a:pt x="859" y="19"/>
                      <a:pt x="859" y="19"/>
                    </a:cubicBezTo>
                    <a:cubicBezTo>
                      <a:pt x="859" y="20"/>
                      <a:pt x="859" y="20"/>
                      <a:pt x="859" y="20"/>
                    </a:cubicBezTo>
                    <a:cubicBezTo>
                      <a:pt x="860" y="20"/>
                      <a:pt x="860" y="20"/>
                      <a:pt x="860" y="20"/>
                    </a:cubicBezTo>
                    <a:cubicBezTo>
                      <a:pt x="860" y="18"/>
                      <a:pt x="860" y="18"/>
                      <a:pt x="860" y="18"/>
                    </a:cubicBezTo>
                    <a:cubicBezTo>
                      <a:pt x="859" y="16"/>
                      <a:pt x="859" y="16"/>
                      <a:pt x="859" y="16"/>
                    </a:cubicBezTo>
                    <a:cubicBezTo>
                      <a:pt x="858" y="16"/>
                      <a:pt x="858" y="16"/>
                      <a:pt x="858" y="16"/>
                    </a:cubicBezTo>
                    <a:cubicBezTo>
                      <a:pt x="858" y="15"/>
                      <a:pt x="858" y="15"/>
                      <a:pt x="858" y="15"/>
                    </a:cubicBezTo>
                    <a:cubicBezTo>
                      <a:pt x="858" y="14"/>
                      <a:pt x="858" y="14"/>
                      <a:pt x="858" y="14"/>
                    </a:cubicBezTo>
                    <a:cubicBezTo>
                      <a:pt x="857" y="13"/>
                      <a:pt x="857" y="13"/>
                      <a:pt x="857" y="13"/>
                    </a:cubicBezTo>
                    <a:cubicBezTo>
                      <a:pt x="856" y="12"/>
                      <a:pt x="856" y="12"/>
                      <a:pt x="856" y="12"/>
                    </a:cubicBezTo>
                    <a:cubicBezTo>
                      <a:pt x="856" y="11"/>
                      <a:pt x="856" y="11"/>
                      <a:pt x="856" y="11"/>
                    </a:cubicBezTo>
                    <a:cubicBezTo>
                      <a:pt x="856" y="10"/>
                      <a:pt x="856" y="10"/>
                      <a:pt x="856" y="10"/>
                    </a:cubicBezTo>
                    <a:cubicBezTo>
                      <a:pt x="857" y="10"/>
                      <a:pt x="857" y="10"/>
                      <a:pt x="857" y="10"/>
                    </a:cubicBezTo>
                    <a:cubicBezTo>
                      <a:pt x="858" y="11"/>
                      <a:pt x="858" y="11"/>
                      <a:pt x="858" y="11"/>
                    </a:cubicBezTo>
                    <a:cubicBezTo>
                      <a:pt x="859" y="10"/>
                      <a:pt x="859" y="10"/>
                      <a:pt x="859" y="10"/>
                    </a:cubicBezTo>
                    <a:cubicBezTo>
                      <a:pt x="860" y="11"/>
                      <a:pt x="860" y="11"/>
                      <a:pt x="860" y="11"/>
                    </a:cubicBezTo>
                    <a:cubicBezTo>
                      <a:pt x="861" y="10"/>
                      <a:pt x="861" y="10"/>
                      <a:pt x="861" y="10"/>
                    </a:cubicBezTo>
                    <a:cubicBezTo>
                      <a:pt x="861" y="8"/>
                      <a:pt x="861" y="8"/>
                      <a:pt x="861" y="8"/>
                    </a:cubicBezTo>
                    <a:cubicBezTo>
                      <a:pt x="860" y="7"/>
                      <a:pt x="860" y="7"/>
                      <a:pt x="860" y="7"/>
                    </a:cubicBezTo>
                    <a:cubicBezTo>
                      <a:pt x="860" y="6"/>
                      <a:pt x="860" y="6"/>
                      <a:pt x="860" y="6"/>
                    </a:cubicBezTo>
                    <a:cubicBezTo>
                      <a:pt x="862" y="6"/>
                      <a:pt x="862" y="6"/>
                      <a:pt x="862" y="6"/>
                    </a:cubicBezTo>
                    <a:cubicBezTo>
                      <a:pt x="865" y="6"/>
                      <a:pt x="865" y="6"/>
                      <a:pt x="865" y="6"/>
                    </a:cubicBezTo>
                    <a:cubicBezTo>
                      <a:pt x="866" y="7"/>
                      <a:pt x="866" y="7"/>
                      <a:pt x="866" y="7"/>
                    </a:cubicBezTo>
                    <a:cubicBezTo>
                      <a:pt x="866" y="8"/>
                      <a:pt x="866" y="8"/>
                      <a:pt x="866" y="8"/>
                    </a:cubicBezTo>
                    <a:cubicBezTo>
                      <a:pt x="865" y="9"/>
                      <a:pt x="865" y="9"/>
                      <a:pt x="865" y="9"/>
                    </a:cubicBezTo>
                    <a:cubicBezTo>
                      <a:pt x="867" y="10"/>
                      <a:pt x="867" y="10"/>
                      <a:pt x="867" y="10"/>
                    </a:cubicBezTo>
                    <a:cubicBezTo>
                      <a:pt x="867" y="11"/>
                      <a:pt x="867" y="11"/>
                      <a:pt x="867" y="11"/>
                    </a:cubicBezTo>
                    <a:cubicBezTo>
                      <a:pt x="867" y="13"/>
                      <a:pt x="867" y="13"/>
                      <a:pt x="867" y="13"/>
                    </a:cubicBezTo>
                    <a:cubicBezTo>
                      <a:pt x="867" y="15"/>
                      <a:pt x="867" y="15"/>
                      <a:pt x="867" y="15"/>
                    </a:cubicBezTo>
                    <a:cubicBezTo>
                      <a:pt x="868" y="15"/>
                      <a:pt x="868" y="15"/>
                      <a:pt x="868" y="15"/>
                    </a:cubicBezTo>
                    <a:cubicBezTo>
                      <a:pt x="869" y="13"/>
                      <a:pt x="869" y="13"/>
                      <a:pt x="869" y="13"/>
                    </a:cubicBezTo>
                    <a:cubicBezTo>
                      <a:pt x="869" y="14"/>
                      <a:pt x="869" y="14"/>
                      <a:pt x="869" y="14"/>
                    </a:cubicBezTo>
                    <a:cubicBezTo>
                      <a:pt x="869" y="15"/>
                      <a:pt x="869" y="15"/>
                      <a:pt x="869" y="15"/>
                    </a:cubicBezTo>
                    <a:cubicBezTo>
                      <a:pt x="870" y="15"/>
                      <a:pt x="870" y="15"/>
                      <a:pt x="870" y="15"/>
                    </a:cubicBezTo>
                    <a:cubicBezTo>
                      <a:pt x="871" y="15"/>
                      <a:pt x="871" y="15"/>
                      <a:pt x="871" y="15"/>
                    </a:cubicBezTo>
                    <a:cubicBezTo>
                      <a:pt x="871" y="14"/>
                      <a:pt x="871" y="14"/>
                      <a:pt x="871" y="14"/>
                    </a:cubicBezTo>
                    <a:cubicBezTo>
                      <a:pt x="873" y="13"/>
                      <a:pt x="873" y="13"/>
                      <a:pt x="873" y="13"/>
                    </a:cubicBezTo>
                    <a:cubicBezTo>
                      <a:pt x="872" y="10"/>
                      <a:pt x="872" y="10"/>
                      <a:pt x="872" y="10"/>
                    </a:cubicBezTo>
                    <a:cubicBezTo>
                      <a:pt x="873" y="9"/>
                      <a:pt x="873" y="9"/>
                      <a:pt x="873" y="9"/>
                    </a:cubicBezTo>
                    <a:cubicBezTo>
                      <a:pt x="874" y="9"/>
                      <a:pt x="874" y="9"/>
                      <a:pt x="874" y="9"/>
                    </a:cubicBezTo>
                    <a:cubicBezTo>
                      <a:pt x="875" y="10"/>
                      <a:pt x="875" y="10"/>
                      <a:pt x="875" y="10"/>
                    </a:cubicBezTo>
                    <a:cubicBezTo>
                      <a:pt x="877" y="10"/>
                      <a:pt x="877" y="10"/>
                      <a:pt x="877" y="10"/>
                    </a:cubicBezTo>
                    <a:cubicBezTo>
                      <a:pt x="877" y="9"/>
                      <a:pt x="877" y="9"/>
                      <a:pt x="877" y="9"/>
                    </a:cubicBezTo>
                    <a:cubicBezTo>
                      <a:pt x="875" y="8"/>
                      <a:pt x="875" y="8"/>
                      <a:pt x="875" y="8"/>
                    </a:cubicBezTo>
                    <a:cubicBezTo>
                      <a:pt x="874" y="6"/>
                      <a:pt x="874" y="6"/>
                      <a:pt x="874" y="6"/>
                    </a:cubicBezTo>
                    <a:cubicBezTo>
                      <a:pt x="875" y="5"/>
                      <a:pt x="875" y="5"/>
                      <a:pt x="875" y="5"/>
                    </a:cubicBezTo>
                    <a:cubicBezTo>
                      <a:pt x="875" y="4"/>
                      <a:pt x="875" y="4"/>
                      <a:pt x="875" y="4"/>
                    </a:cubicBezTo>
                    <a:cubicBezTo>
                      <a:pt x="876" y="4"/>
                      <a:pt x="876" y="4"/>
                      <a:pt x="876" y="4"/>
                    </a:cubicBezTo>
                    <a:cubicBezTo>
                      <a:pt x="878" y="5"/>
                      <a:pt x="878" y="5"/>
                      <a:pt x="878" y="5"/>
                    </a:cubicBezTo>
                    <a:cubicBezTo>
                      <a:pt x="878" y="7"/>
                      <a:pt x="878" y="7"/>
                      <a:pt x="878" y="7"/>
                    </a:cubicBezTo>
                    <a:cubicBezTo>
                      <a:pt x="879" y="8"/>
                      <a:pt x="879" y="8"/>
                      <a:pt x="879" y="8"/>
                    </a:cubicBezTo>
                    <a:cubicBezTo>
                      <a:pt x="879" y="10"/>
                      <a:pt x="879" y="10"/>
                      <a:pt x="879" y="10"/>
                    </a:cubicBezTo>
                    <a:cubicBezTo>
                      <a:pt x="879" y="11"/>
                      <a:pt x="879" y="11"/>
                      <a:pt x="879" y="11"/>
                    </a:cubicBezTo>
                    <a:cubicBezTo>
                      <a:pt x="879" y="13"/>
                      <a:pt x="879" y="13"/>
                      <a:pt x="879" y="13"/>
                    </a:cubicBezTo>
                    <a:cubicBezTo>
                      <a:pt x="880" y="14"/>
                      <a:pt x="880" y="14"/>
                      <a:pt x="880" y="14"/>
                    </a:cubicBezTo>
                    <a:cubicBezTo>
                      <a:pt x="881" y="13"/>
                      <a:pt x="881" y="13"/>
                      <a:pt x="881" y="13"/>
                    </a:cubicBezTo>
                    <a:cubicBezTo>
                      <a:pt x="881" y="12"/>
                      <a:pt x="881" y="12"/>
                      <a:pt x="881" y="12"/>
                    </a:cubicBezTo>
                    <a:cubicBezTo>
                      <a:pt x="880" y="11"/>
                      <a:pt x="880" y="11"/>
                      <a:pt x="880" y="11"/>
                    </a:cubicBezTo>
                    <a:cubicBezTo>
                      <a:pt x="880" y="9"/>
                      <a:pt x="880" y="9"/>
                      <a:pt x="880" y="9"/>
                    </a:cubicBezTo>
                    <a:cubicBezTo>
                      <a:pt x="880" y="7"/>
                      <a:pt x="880" y="7"/>
                      <a:pt x="880" y="7"/>
                    </a:cubicBezTo>
                    <a:cubicBezTo>
                      <a:pt x="880" y="5"/>
                      <a:pt x="880" y="5"/>
                      <a:pt x="880" y="5"/>
                    </a:cubicBezTo>
                    <a:cubicBezTo>
                      <a:pt x="880" y="3"/>
                      <a:pt x="880" y="3"/>
                      <a:pt x="880" y="3"/>
                    </a:cubicBezTo>
                    <a:cubicBezTo>
                      <a:pt x="880" y="2"/>
                      <a:pt x="880" y="2"/>
                      <a:pt x="880" y="2"/>
                    </a:cubicBezTo>
                    <a:cubicBezTo>
                      <a:pt x="881" y="2"/>
                      <a:pt x="881" y="2"/>
                      <a:pt x="881" y="2"/>
                    </a:cubicBezTo>
                    <a:cubicBezTo>
                      <a:pt x="882" y="3"/>
                      <a:pt x="882" y="3"/>
                      <a:pt x="882" y="3"/>
                    </a:cubicBezTo>
                    <a:cubicBezTo>
                      <a:pt x="883" y="3"/>
                      <a:pt x="883" y="3"/>
                      <a:pt x="883" y="3"/>
                    </a:cubicBezTo>
                    <a:cubicBezTo>
                      <a:pt x="883" y="5"/>
                      <a:pt x="883" y="5"/>
                      <a:pt x="883" y="5"/>
                    </a:cubicBezTo>
                    <a:cubicBezTo>
                      <a:pt x="884" y="6"/>
                      <a:pt x="884" y="6"/>
                      <a:pt x="884" y="6"/>
                    </a:cubicBezTo>
                    <a:cubicBezTo>
                      <a:pt x="884" y="8"/>
                      <a:pt x="884" y="8"/>
                      <a:pt x="884" y="8"/>
                    </a:cubicBezTo>
                    <a:cubicBezTo>
                      <a:pt x="884" y="10"/>
                      <a:pt x="884" y="10"/>
                      <a:pt x="884" y="10"/>
                    </a:cubicBezTo>
                    <a:cubicBezTo>
                      <a:pt x="885" y="10"/>
                      <a:pt x="885" y="10"/>
                      <a:pt x="885" y="10"/>
                    </a:cubicBezTo>
                    <a:cubicBezTo>
                      <a:pt x="885" y="9"/>
                      <a:pt x="885" y="9"/>
                      <a:pt x="885" y="9"/>
                    </a:cubicBezTo>
                    <a:cubicBezTo>
                      <a:pt x="885" y="8"/>
                      <a:pt x="885" y="8"/>
                      <a:pt x="885" y="8"/>
                    </a:cubicBezTo>
                    <a:cubicBezTo>
                      <a:pt x="886" y="8"/>
                      <a:pt x="886" y="8"/>
                      <a:pt x="886" y="8"/>
                    </a:cubicBezTo>
                    <a:cubicBezTo>
                      <a:pt x="888" y="10"/>
                      <a:pt x="888" y="10"/>
                      <a:pt x="888" y="10"/>
                    </a:cubicBezTo>
                    <a:cubicBezTo>
                      <a:pt x="889" y="10"/>
                      <a:pt x="889" y="10"/>
                      <a:pt x="889" y="10"/>
                    </a:cubicBezTo>
                    <a:cubicBezTo>
                      <a:pt x="889" y="9"/>
                      <a:pt x="889" y="9"/>
                      <a:pt x="889" y="9"/>
                    </a:cubicBezTo>
                    <a:cubicBezTo>
                      <a:pt x="888" y="9"/>
                      <a:pt x="888" y="9"/>
                      <a:pt x="888" y="9"/>
                    </a:cubicBezTo>
                    <a:cubicBezTo>
                      <a:pt x="887" y="8"/>
                      <a:pt x="887" y="8"/>
                      <a:pt x="887" y="8"/>
                    </a:cubicBezTo>
                    <a:cubicBezTo>
                      <a:pt x="888" y="7"/>
                      <a:pt x="888" y="7"/>
                      <a:pt x="888" y="7"/>
                    </a:cubicBezTo>
                    <a:cubicBezTo>
                      <a:pt x="888" y="6"/>
                      <a:pt x="888" y="6"/>
                      <a:pt x="888" y="6"/>
                    </a:cubicBezTo>
                    <a:cubicBezTo>
                      <a:pt x="886" y="5"/>
                      <a:pt x="886" y="5"/>
                      <a:pt x="886" y="5"/>
                    </a:cubicBezTo>
                    <a:cubicBezTo>
                      <a:pt x="886" y="4"/>
                      <a:pt x="886" y="4"/>
                      <a:pt x="886" y="4"/>
                    </a:cubicBezTo>
                    <a:cubicBezTo>
                      <a:pt x="888" y="4"/>
                      <a:pt x="888" y="4"/>
                      <a:pt x="888" y="4"/>
                    </a:cubicBezTo>
                    <a:cubicBezTo>
                      <a:pt x="887" y="3"/>
                      <a:pt x="887" y="3"/>
                      <a:pt x="887" y="3"/>
                    </a:cubicBezTo>
                    <a:cubicBezTo>
                      <a:pt x="886" y="3"/>
                      <a:pt x="886" y="3"/>
                      <a:pt x="886" y="3"/>
                    </a:cubicBezTo>
                    <a:cubicBezTo>
                      <a:pt x="885" y="2"/>
                      <a:pt x="885" y="2"/>
                      <a:pt x="885" y="2"/>
                    </a:cubicBezTo>
                    <a:cubicBezTo>
                      <a:pt x="886" y="2"/>
                      <a:pt x="886" y="2"/>
                      <a:pt x="886" y="2"/>
                    </a:cubicBezTo>
                    <a:cubicBezTo>
                      <a:pt x="887" y="2"/>
                      <a:pt x="887" y="2"/>
                      <a:pt x="887" y="2"/>
                    </a:cubicBezTo>
                    <a:cubicBezTo>
                      <a:pt x="888" y="0"/>
                      <a:pt x="888" y="0"/>
                      <a:pt x="888" y="0"/>
                    </a:cubicBezTo>
                    <a:cubicBezTo>
                      <a:pt x="891" y="1"/>
                      <a:pt x="891" y="1"/>
                      <a:pt x="891" y="1"/>
                    </a:cubicBezTo>
                    <a:cubicBezTo>
                      <a:pt x="891" y="3"/>
                      <a:pt x="891" y="3"/>
                      <a:pt x="891" y="3"/>
                    </a:cubicBezTo>
                    <a:cubicBezTo>
                      <a:pt x="891" y="4"/>
                      <a:pt x="891" y="4"/>
                      <a:pt x="891" y="4"/>
                    </a:cubicBezTo>
                    <a:cubicBezTo>
                      <a:pt x="891" y="5"/>
                      <a:pt x="891" y="5"/>
                      <a:pt x="891" y="5"/>
                    </a:cubicBezTo>
                    <a:cubicBezTo>
                      <a:pt x="892" y="4"/>
                      <a:pt x="892" y="4"/>
                      <a:pt x="892" y="4"/>
                    </a:cubicBezTo>
                    <a:cubicBezTo>
                      <a:pt x="893" y="3"/>
                      <a:pt x="893" y="3"/>
                      <a:pt x="893" y="3"/>
                    </a:cubicBezTo>
                    <a:cubicBezTo>
                      <a:pt x="893" y="2"/>
                      <a:pt x="893" y="2"/>
                      <a:pt x="893" y="2"/>
                    </a:cubicBezTo>
                    <a:cubicBezTo>
                      <a:pt x="894" y="3"/>
                      <a:pt x="894" y="3"/>
                      <a:pt x="894" y="3"/>
                    </a:cubicBezTo>
                    <a:cubicBezTo>
                      <a:pt x="893" y="5"/>
                      <a:pt x="893" y="5"/>
                      <a:pt x="893" y="5"/>
                    </a:cubicBezTo>
                    <a:cubicBezTo>
                      <a:pt x="894" y="5"/>
                      <a:pt x="894" y="5"/>
                      <a:pt x="894" y="5"/>
                    </a:cubicBezTo>
                    <a:cubicBezTo>
                      <a:pt x="895" y="5"/>
                      <a:pt x="895" y="5"/>
                      <a:pt x="895" y="5"/>
                    </a:cubicBezTo>
                    <a:cubicBezTo>
                      <a:pt x="896" y="3"/>
                      <a:pt x="896" y="3"/>
                      <a:pt x="896" y="3"/>
                    </a:cubicBezTo>
                    <a:cubicBezTo>
                      <a:pt x="897" y="4"/>
                      <a:pt x="897" y="4"/>
                      <a:pt x="897" y="4"/>
                    </a:cubicBezTo>
                    <a:cubicBezTo>
                      <a:pt x="897" y="5"/>
                      <a:pt x="897" y="5"/>
                      <a:pt x="897" y="5"/>
                    </a:cubicBezTo>
                    <a:cubicBezTo>
                      <a:pt x="896" y="6"/>
                      <a:pt x="896" y="6"/>
                      <a:pt x="896" y="6"/>
                    </a:cubicBezTo>
                    <a:cubicBezTo>
                      <a:pt x="897" y="8"/>
                      <a:pt x="897" y="8"/>
                      <a:pt x="897" y="8"/>
                    </a:cubicBezTo>
                    <a:cubicBezTo>
                      <a:pt x="896" y="9"/>
                      <a:pt x="896" y="9"/>
                      <a:pt x="896" y="9"/>
                    </a:cubicBezTo>
                    <a:cubicBezTo>
                      <a:pt x="897" y="10"/>
                      <a:pt x="897" y="10"/>
                      <a:pt x="897" y="10"/>
                    </a:cubicBezTo>
                    <a:cubicBezTo>
                      <a:pt x="898" y="9"/>
                      <a:pt x="898" y="9"/>
                      <a:pt x="898" y="9"/>
                    </a:cubicBezTo>
                    <a:cubicBezTo>
                      <a:pt x="899" y="10"/>
                      <a:pt x="899" y="10"/>
                      <a:pt x="899" y="10"/>
                    </a:cubicBezTo>
                    <a:cubicBezTo>
                      <a:pt x="899" y="9"/>
                      <a:pt x="899" y="9"/>
                      <a:pt x="899" y="9"/>
                    </a:cubicBezTo>
                    <a:cubicBezTo>
                      <a:pt x="899" y="7"/>
                      <a:pt x="899" y="7"/>
                      <a:pt x="899" y="7"/>
                    </a:cubicBezTo>
                    <a:cubicBezTo>
                      <a:pt x="900" y="5"/>
                      <a:pt x="900" y="5"/>
                      <a:pt x="900" y="5"/>
                    </a:cubicBezTo>
                    <a:cubicBezTo>
                      <a:pt x="899" y="2"/>
                      <a:pt x="899" y="2"/>
                      <a:pt x="899" y="2"/>
                    </a:cubicBezTo>
                    <a:cubicBezTo>
                      <a:pt x="899" y="1"/>
                      <a:pt x="899" y="1"/>
                      <a:pt x="899" y="1"/>
                    </a:cubicBezTo>
                    <a:cubicBezTo>
                      <a:pt x="900" y="0"/>
                      <a:pt x="900" y="0"/>
                      <a:pt x="900" y="0"/>
                    </a:cubicBezTo>
                    <a:cubicBezTo>
                      <a:pt x="901" y="1"/>
                      <a:pt x="901" y="1"/>
                      <a:pt x="901" y="1"/>
                    </a:cubicBezTo>
                    <a:cubicBezTo>
                      <a:pt x="902" y="1"/>
                      <a:pt x="902" y="1"/>
                      <a:pt x="902" y="1"/>
                    </a:cubicBezTo>
                    <a:cubicBezTo>
                      <a:pt x="903" y="1"/>
                      <a:pt x="903" y="1"/>
                      <a:pt x="903" y="1"/>
                    </a:cubicBezTo>
                    <a:cubicBezTo>
                      <a:pt x="905" y="1"/>
                      <a:pt x="905" y="1"/>
                      <a:pt x="905" y="1"/>
                    </a:cubicBezTo>
                    <a:cubicBezTo>
                      <a:pt x="906" y="1"/>
                      <a:pt x="906" y="1"/>
                      <a:pt x="906" y="1"/>
                    </a:cubicBezTo>
                    <a:cubicBezTo>
                      <a:pt x="907" y="2"/>
                      <a:pt x="907" y="2"/>
                      <a:pt x="907" y="2"/>
                    </a:cubicBezTo>
                    <a:cubicBezTo>
                      <a:pt x="908" y="3"/>
                      <a:pt x="908" y="3"/>
                      <a:pt x="908" y="3"/>
                    </a:cubicBezTo>
                    <a:cubicBezTo>
                      <a:pt x="910" y="2"/>
                      <a:pt x="910" y="2"/>
                      <a:pt x="910" y="2"/>
                    </a:cubicBezTo>
                    <a:cubicBezTo>
                      <a:pt x="911" y="3"/>
                      <a:pt x="911" y="3"/>
                      <a:pt x="911" y="3"/>
                    </a:cubicBezTo>
                    <a:cubicBezTo>
                      <a:pt x="912" y="4"/>
                      <a:pt x="912" y="4"/>
                      <a:pt x="912" y="4"/>
                    </a:cubicBezTo>
                    <a:cubicBezTo>
                      <a:pt x="912" y="5"/>
                      <a:pt x="912" y="5"/>
                      <a:pt x="912" y="5"/>
                    </a:cubicBezTo>
                    <a:cubicBezTo>
                      <a:pt x="912" y="6"/>
                      <a:pt x="912" y="6"/>
                      <a:pt x="912" y="6"/>
                    </a:cubicBezTo>
                    <a:cubicBezTo>
                      <a:pt x="912" y="8"/>
                      <a:pt x="912" y="8"/>
                      <a:pt x="912" y="8"/>
                    </a:cubicBezTo>
                    <a:cubicBezTo>
                      <a:pt x="912" y="9"/>
                      <a:pt x="912" y="9"/>
                      <a:pt x="912" y="9"/>
                    </a:cubicBezTo>
                    <a:cubicBezTo>
                      <a:pt x="913" y="8"/>
                      <a:pt x="913" y="8"/>
                      <a:pt x="913" y="8"/>
                    </a:cubicBezTo>
                    <a:cubicBezTo>
                      <a:pt x="914" y="7"/>
                      <a:pt x="914" y="7"/>
                      <a:pt x="914" y="7"/>
                    </a:cubicBezTo>
                    <a:cubicBezTo>
                      <a:pt x="916" y="5"/>
                      <a:pt x="916" y="5"/>
                      <a:pt x="916" y="5"/>
                    </a:cubicBezTo>
                    <a:cubicBezTo>
                      <a:pt x="917" y="4"/>
                      <a:pt x="917" y="4"/>
                      <a:pt x="917" y="4"/>
                    </a:cubicBezTo>
                    <a:cubicBezTo>
                      <a:pt x="918" y="4"/>
                      <a:pt x="918" y="4"/>
                      <a:pt x="918" y="4"/>
                    </a:cubicBezTo>
                    <a:cubicBezTo>
                      <a:pt x="920" y="5"/>
                      <a:pt x="920" y="5"/>
                      <a:pt x="920" y="5"/>
                    </a:cubicBezTo>
                    <a:cubicBezTo>
                      <a:pt x="921" y="5"/>
                      <a:pt x="921" y="5"/>
                      <a:pt x="921" y="5"/>
                    </a:cubicBezTo>
                    <a:cubicBezTo>
                      <a:pt x="921" y="6"/>
                      <a:pt x="921" y="6"/>
                      <a:pt x="921" y="6"/>
                    </a:cubicBezTo>
                    <a:cubicBezTo>
                      <a:pt x="920" y="7"/>
                      <a:pt x="920" y="7"/>
                      <a:pt x="920" y="7"/>
                    </a:cubicBezTo>
                    <a:cubicBezTo>
                      <a:pt x="920" y="9"/>
                      <a:pt x="920" y="9"/>
                      <a:pt x="920" y="9"/>
                    </a:cubicBezTo>
                    <a:cubicBezTo>
                      <a:pt x="921" y="8"/>
                      <a:pt x="921" y="8"/>
                      <a:pt x="921" y="8"/>
                    </a:cubicBezTo>
                    <a:cubicBezTo>
                      <a:pt x="921" y="7"/>
                      <a:pt x="921" y="7"/>
                      <a:pt x="921" y="7"/>
                    </a:cubicBezTo>
                    <a:cubicBezTo>
                      <a:pt x="923" y="6"/>
                      <a:pt x="923" y="6"/>
                      <a:pt x="923" y="6"/>
                    </a:cubicBezTo>
                    <a:cubicBezTo>
                      <a:pt x="924" y="6"/>
                      <a:pt x="924" y="6"/>
                      <a:pt x="924" y="6"/>
                    </a:cubicBezTo>
                    <a:cubicBezTo>
                      <a:pt x="926" y="6"/>
                      <a:pt x="926" y="6"/>
                      <a:pt x="926" y="6"/>
                    </a:cubicBezTo>
                    <a:cubicBezTo>
                      <a:pt x="928" y="7"/>
                      <a:pt x="928" y="7"/>
                      <a:pt x="928" y="7"/>
                    </a:cubicBezTo>
                    <a:cubicBezTo>
                      <a:pt x="929" y="8"/>
                      <a:pt x="929" y="8"/>
                      <a:pt x="929" y="8"/>
                    </a:cubicBezTo>
                    <a:cubicBezTo>
                      <a:pt x="928" y="8"/>
                      <a:pt x="928" y="8"/>
                      <a:pt x="928" y="8"/>
                    </a:cubicBezTo>
                    <a:cubicBezTo>
                      <a:pt x="928" y="9"/>
                      <a:pt x="928" y="9"/>
                      <a:pt x="928" y="9"/>
                    </a:cubicBezTo>
                    <a:cubicBezTo>
                      <a:pt x="927" y="10"/>
                      <a:pt x="927" y="10"/>
                      <a:pt x="927" y="10"/>
                    </a:cubicBezTo>
                    <a:cubicBezTo>
                      <a:pt x="928" y="11"/>
                      <a:pt x="928" y="11"/>
                      <a:pt x="928" y="11"/>
                    </a:cubicBezTo>
                    <a:cubicBezTo>
                      <a:pt x="929" y="10"/>
                      <a:pt x="929" y="10"/>
                      <a:pt x="929" y="10"/>
                    </a:cubicBezTo>
                    <a:cubicBezTo>
                      <a:pt x="930" y="10"/>
                      <a:pt x="930" y="10"/>
                      <a:pt x="930" y="10"/>
                    </a:cubicBezTo>
                    <a:cubicBezTo>
                      <a:pt x="930" y="11"/>
                      <a:pt x="930" y="11"/>
                      <a:pt x="930" y="11"/>
                    </a:cubicBezTo>
                    <a:cubicBezTo>
                      <a:pt x="931" y="12"/>
                      <a:pt x="931" y="12"/>
                      <a:pt x="931" y="12"/>
                    </a:cubicBezTo>
                    <a:cubicBezTo>
                      <a:pt x="931" y="11"/>
                      <a:pt x="931" y="11"/>
                      <a:pt x="931" y="11"/>
                    </a:cubicBezTo>
                    <a:cubicBezTo>
                      <a:pt x="933" y="10"/>
                      <a:pt x="933" y="10"/>
                      <a:pt x="933" y="10"/>
                    </a:cubicBezTo>
                    <a:cubicBezTo>
                      <a:pt x="933" y="11"/>
                      <a:pt x="933" y="11"/>
                      <a:pt x="933" y="11"/>
                    </a:cubicBezTo>
                    <a:cubicBezTo>
                      <a:pt x="933" y="12"/>
                      <a:pt x="933" y="12"/>
                      <a:pt x="933" y="12"/>
                    </a:cubicBezTo>
                    <a:cubicBezTo>
                      <a:pt x="933" y="13"/>
                      <a:pt x="933" y="13"/>
                      <a:pt x="933" y="13"/>
                    </a:cubicBezTo>
                    <a:cubicBezTo>
                      <a:pt x="934" y="13"/>
                      <a:pt x="934" y="13"/>
                      <a:pt x="934" y="13"/>
                    </a:cubicBezTo>
                    <a:cubicBezTo>
                      <a:pt x="935" y="12"/>
                      <a:pt x="935" y="12"/>
                      <a:pt x="935" y="12"/>
                    </a:cubicBezTo>
                    <a:cubicBezTo>
                      <a:pt x="936" y="12"/>
                      <a:pt x="936" y="12"/>
                      <a:pt x="936" y="12"/>
                    </a:cubicBezTo>
                    <a:cubicBezTo>
                      <a:pt x="936" y="13"/>
                      <a:pt x="936" y="13"/>
                      <a:pt x="936" y="13"/>
                    </a:cubicBezTo>
                    <a:cubicBezTo>
                      <a:pt x="939" y="14"/>
                      <a:pt x="939" y="14"/>
                      <a:pt x="939" y="14"/>
                    </a:cubicBezTo>
                    <a:cubicBezTo>
                      <a:pt x="940" y="14"/>
                      <a:pt x="940" y="14"/>
                      <a:pt x="940" y="14"/>
                    </a:cubicBezTo>
                    <a:cubicBezTo>
                      <a:pt x="940" y="15"/>
                      <a:pt x="940" y="15"/>
                      <a:pt x="940" y="15"/>
                    </a:cubicBezTo>
                    <a:cubicBezTo>
                      <a:pt x="937" y="16"/>
                      <a:pt x="937" y="16"/>
                      <a:pt x="937" y="16"/>
                    </a:cubicBezTo>
                    <a:cubicBezTo>
                      <a:pt x="936" y="18"/>
                      <a:pt x="936" y="18"/>
                      <a:pt x="936" y="18"/>
                    </a:cubicBezTo>
                    <a:cubicBezTo>
                      <a:pt x="935" y="18"/>
                      <a:pt x="935" y="18"/>
                      <a:pt x="935" y="18"/>
                    </a:cubicBezTo>
                    <a:cubicBezTo>
                      <a:pt x="933" y="19"/>
                      <a:pt x="933" y="19"/>
                      <a:pt x="933" y="19"/>
                    </a:cubicBezTo>
                    <a:cubicBezTo>
                      <a:pt x="932" y="19"/>
                      <a:pt x="932" y="19"/>
                      <a:pt x="932" y="19"/>
                    </a:cubicBezTo>
                    <a:cubicBezTo>
                      <a:pt x="931" y="19"/>
                      <a:pt x="931" y="19"/>
                      <a:pt x="931" y="19"/>
                    </a:cubicBezTo>
                    <a:cubicBezTo>
                      <a:pt x="930" y="19"/>
                      <a:pt x="930" y="19"/>
                      <a:pt x="930" y="19"/>
                    </a:cubicBezTo>
                    <a:cubicBezTo>
                      <a:pt x="929" y="20"/>
                      <a:pt x="929" y="20"/>
                      <a:pt x="929" y="20"/>
                    </a:cubicBezTo>
                    <a:cubicBezTo>
                      <a:pt x="931" y="20"/>
                      <a:pt x="931" y="20"/>
                      <a:pt x="931" y="20"/>
                    </a:cubicBezTo>
                    <a:cubicBezTo>
                      <a:pt x="934" y="20"/>
                      <a:pt x="934" y="20"/>
                      <a:pt x="934" y="20"/>
                    </a:cubicBezTo>
                    <a:cubicBezTo>
                      <a:pt x="935" y="21"/>
                      <a:pt x="935" y="21"/>
                      <a:pt x="935" y="21"/>
                    </a:cubicBezTo>
                    <a:cubicBezTo>
                      <a:pt x="936" y="20"/>
                      <a:pt x="936" y="20"/>
                      <a:pt x="936" y="20"/>
                    </a:cubicBezTo>
                    <a:cubicBezTo>
                      <a:pt x="937" y="19"/>
                      <a:pt x="937" y="19"/>
                      <a:pt x="937" y="19"/>
                    </a:cubicBezTo>
                    <a:cubicBezTo>
                      <a:pt x="938" y="19"/>
                      <a:pt x="938" y="19"/>
                      <a:pt x="938" y="19"/>
                    </a:cubicBezTo>
                    <a:cubicBezTo>
                      <a:pt x="939" y="18"/>
                      <a:pt x="939" y="18"/>
                      <a:pt x="939" y="18"/>
                    </a:cubicBezTo>
                    <a:cubicBezTo>
                      <a:pt x="940" y="17"/>
                      <a:pt x="940" y="17"/>
                      <a:pt x="940" y="17"/>
                    </a:cubicBezTo>
                    <a:cubicBezTo>
                      <a:pt x="942" y="17"/>
                      <a:pt x="942" y="17"/>
                      <a:pt x="942" y="17"/>
                    </a:cubicBezTo>
                    <a:cubicBezTo>
                      <a:pt x="942" y="18"/>
                      <a:pt x="942" y="18"/>
                      <a:pt x="942" y="18"/>
                    </a:cubicBezTo>
                    <a:cubicBezTo>
                      <a:pt x="942" y="19"/>
                      <a:pt x="942" y="19"/>
                      <a:pt x="942" y="19"/>
                    </a:cubicBezTo>
                    <a:cubicBezTo>
                      <a:pt x="942" y="20"/>
                      <a:pt x="942" y="20"/>
                      <a:pt x="942" y="20"/>
                    </a:cubicBezTo>
                    <a:cubicBezTo>
                      <a:pt x="943" y="20"/>
                      <a:pt x="943" y="20"/>
                      <a:pt x="943" y="20"/>
                    </a:cubicBezTo>
                    <a:cubicBezTo>
                      <a:pt x="943" y="18"/>
                      <a:pt x="943" y="18"/>
                      <a:pt x="943" y="18"/>
                    </a:cubicBezTo>
                    <a:cubicBezTo>
                      <a:pt x="945" y="17"/>
                      <a:pt x="945" y="17"/>
                      <a:pt x="945" y="17"/>
                    </a:cubicBezTo>
                    <a:cubicBezTo>
                      <a:pt x="945" y="18"/>
                      <a:pt x="945" y="18"/>
                      <a:pt x="945" y="18"/>
                    </a:cubicBezTo>
                    <a:cubicBezTo>
                      <a:pt x="944" y="19"/>
                      <a:pt x="944" y="19"/>
                      <a:pt x="944" y="19"/>
                    </a:cubicBezTo>
                    <a:cubicBezTo>
                      <a:pt x="944" y="20"/>
                      <a:pt x="944" y="20"/>
                      <a:pt x="944" y="20"/>
                    </a:cubicBezTo>
                    <a:cubicBezTo>
                      <a:pt x="944" y="21"/>
                      <a:pt x="944" y="21"/>
                      <a:pt x="944" y="21"/>
                    </a:cubicBezTo>
                    <a:cubicBezTo>
                      <a:pt x="945" y="21"/>
                      <a:pt x="945" y="21"/>
                      <a:pt x="945" y="21"/>
                    </a:cubicBezTo>
                    <a:cubicBezTo>
                      <a:pt x="946" y="20"/>
                      <a:pt x="946" y="20"/>
                      <a:pt x="946" y="20"/>
                    </a:cubicBezTo>
                    <a:cubicBezTo>
                      <a:pt x="946" y="19"/>
                      <a:pt x="946" y="19"/>
                      <a:pt x="946" y="19"/>
                    </a:cubicBezTo>
                    <a:cubicBezTo>
                      <a:pt x="947" y="19"/>
                      <a:pt x="947" y="19"/>
                      <a:pt x="947" y="19"/>
                    </a:cubicBezTo>
                    <a:cubicBezTo>
                      <a:pt x="949" y="19"/>
                      <a:pt x="949" y="19"/>
                      <a:pt x="949" y="19"/>
                    </a:cubicBezTo>
                    <a:cubicBezTo>
                      <a:pt x="948" y="22"/>
                      <a:pt x="948" y="22"/>
                      <a:pt x="948" y="22"/>
                    </a:cubicBezTo>
                    <a:cubicBezTo>
                      <a:pt x="948" y="24"/>
                      <a:pt x="948" y="24"/>
                      <a:pt x="948" y="24"/>
                    </a:cubicBezTo>
                    <a:cubicBezTo>
                      <a:pt x="948" y="25"/>
                      <a:pt x="948" y="25"/>
                      <a:pt x="948" y="25"/>
                    </a:cubicBezTo>
                    <a:cubicBezTo>
                      <a:pt x="947" y="26"/>
                      <a:pt x="947" y="26"/>
                      <a:pt x="947" y="26"/>
                    </a:cubicBezTo>
                    <a:cubicBezTo>
                      <a:pt x="946" y="27"/>
                      <a:pt x="946" y="27"/>
                      <a:pt x="946" y="27"/>
                    </a:cubicBezTo>
                    <a:cubicBezTo>
                      <a:pt x="945" y="29"/>
                      <a:pt x="945" y="29"/>
                      <a:pt x="945" y="29"/>
                    </a:cubicBezTo>
                    <a:cubicBezTo>
                      <a:pt x="945" y="30"/>
                      <a:pt x="945" y="30"/>
                      <a:pt x="945" y="30"/>
                    </a:cubicBezTo>
                    <a:cubicBezTo>
                      <a:pt x="946" y="29"/>
                      <a:pt x="946" y="29"/>
                      <a:pt x="946" y="29"/>
                    </a:cubicBezTo>
                    <a:cubicBezTo>
                      <a:pt x="947" y="28"/>
                      <a:pt x="947" y="28"/>
                      <a:pt x="947" y="28"/>
                    </a:cubicBezTo>
                    <a:cubicBezTo>
                      <a:pt x="948" y="28"/>
                      <a:pt x="948" y="28"/>
                      <a:pt x="948" y="28"/>
                    </a:cubicBezTo>
                    <a:cubicBezTo>
                      <a:pt x="949" y="28"/>
                      <a:pt x="949" y="28"/>
                      <a:pt x="949" y="28"/>
                    </a:cubicBezTo>
                    <a:cubicBezTo>
                      <a:pt x="951" y="29"/>
                      <a:pt x="951" y="29"/>
                      <a:pt x="951" y="29"/>
                    </a:cubicBezTo>
                    <a:cubicBezTo>
                      <a:pt x="951" y="30"/>
                      <a:pt x="951" y="30"/>
                      <a:pt x="951" y="30"/>
                    </a:cubicBezTo>
                    <a:cubicBezTo>
                      <a:pt x="952" y="32"/>
                      <a:pt x="952" y="32"/>
                      <a:pt x="952" y="32"/>
                    </a:cubicBezTo>
                    <a:cubicBezTo>
                      <a:pt x="951" y="35"/>
                      <a:pt x="951" y="35"/>
                      <a:pt x="951" y="35"/>
                    </a:cubicBezTo>
                    <a:cubicBezTo>
                      <a:pt x="950" y="38"/>
                      <a:pt x="950" y="38"/>
                      <a:pt x="950" y="38"/>
                    </a:cubicBezTo>
                    <a:cubicBezTo>
                      <a:pt x="947" y="39"/>
                      <a:pt x="947" y="39"/>
                      <a:pt x="947" y="39"/>
                    </a:cubicBezTo>
                    <a:cubicBezTo>
                      <a:pt x="947" y="40"/>
                      <a:pt x="947" y="40"/>
                      <a:pt x="947" y="40"/>
                    </a:cubicBezTo>
                    <a:cubicBezTo>
                      <a:pt x="946" y="39"/>
                      <a:pt x="946" y="39"/>
                      <a:pt x="946" y="39"/>
                    </a:cubicBezTo>
                    <a:cubicBezTo>
                      <a:pt x="944" y="40"/>
                      <a:pt x="944" y="40"/>
                      <a:pt x="944" y="40"/>
                    </a:cubicBezTo>
                    <a:cubicBezTo>
                      <a:pt x="944" y="41"/>
                      <a:pt x="944" y="41"/>
                      <a:pt x="944" y="41"/>
                    </a:cubicBezTo>
                    <a:cubicBezTo>
                      <a:pt x="940" y="43"/>
                      <a:pt x="940" y="43"/>
                      <a:pt x="940" y="43"/>
                    </a:cubicBezTo>
                    <a:cubicBezTo>
                      <a:pt x="938" y="44"/>
                      <a:pt x="938" y="44"/>
                      <a:pt x="938" y="44"/>
                    </a:cubicBezTo>
                    <a:cubicBezTo>
                      <a:pt x="937" y="44"/>
                      <a:pt x="937" y="44"/>
                      <a:pt x="937" y="44"/>
                    </a:cubicBezTo>
                    <a:cubicBezTo>
                      <a:pt x="936" y="45"/>
                      <a:pt x="936" y="45"/>
                      <a:pt x="936" y="45"/>
                    </a:cubicBezTo>
                    <a:cubicBezTo>
                      <a:pt x="934" y="45"/>
                      <a:pt x="934" y="45"/>
                      <a:pt x="934" y="45"/>
                    </a:cubicBezTo>
                    <a:cubicBezTo>
                      <a:pt x="933" y="44"/>
                      <a:pt x="933" y="44"/>
                      <a:pt x="933" y="44"/>
                    </a:cubicBezTo>
                    <a:cubicBezTo>
                      <a:pt x="932" y="45"/>
                      <a:pt x="932" y="45"/>
                      <a:pt x="932" y="45"/>
                    </a:cubicBezTo>
                    <a:cubicBezTo>
                      <a:pt x="932" y="46"/>
                      <a:pt x="932" y="46"/>
                      <a:pt x="932" y="46"/>
                    </a:cubicBezTo>
                    <a:cubicBezTo>
                      <a:pt x="930" y="45"/>
                      <a:pt x="930" y="45"/>
                      <a:pt x="930" y="45"/>
                    </a:cubicBezTo>
                    <a:cubicBezTo>
                      <a:pt x="929" y="44"/>
                      <a:pt x="929" y="44"/>
                      <a:pt x="929" y="44"/>
                    </a:cubicBezTo>
                    <a:cubicBezTo>
                      <a:pt x="927" y="44"/>
                      <a:pt x="927" y="44"/>
                      <a:pt x="927" y="44"/>
                    </a:cubicBezTo>
                    <a:cubicBezTo>
                      <a:pt x="928" y="45"/>
                      <a:pt x="928" y="45"/>
                      <a:pt x="928" y="45"/>
                    </a:cubicBezTo>
                    <a:cubicBezTo>
                      <a:pt x="929" y="45"/>
                      <a:pt x="929" y="45"/>
                      <a:pt x="929" y="45"/>
                    </a:cubicBezTo>
                    <a:cubicBezTo>
                      <a:pt x="928" y="46"/>
                      <a:pt x="928" y="46"/>
                      <a:pt x="928" y="46"/>
                    </a:cubicBezTo>
                    <a:cubicBezTo>
                      <a:pt x="926" y="45"/>
                      <a:pt x="926" y="45"/>
                      <a:pt x="926" y="45"/>
                    </a:cubicBezTo>
                    <a:cubicBezTo>
                      <a:pt x="925" y="45"/>
                      <a:pt x="925" y="45"/>
                      <a:pt x="925" y="45"/>
                    </a:cubicBezTo>
                    <a:cubicBezTo>
                      <a:pt x="923" y="45"/>
                      <a:pt x="923" y="45"/>
                      <a:pt x="923" y="45"/>
                    </a:cubicBezTo>
                    <a:cubicBezTo>
                      <a:pt x="922" y="44"/>
                      <a:pt x="922" y="44"/>
                      <a:pt x="922" y="44"/>
                    </a:cubicBezTo>
                    <a:cubicBezTo>
                      <a:pt x="921" y="44"/>
                      <a:pt x="921" y="44"/>
                      <a:pt x="921" y="44"/>
                    </a:cubicBezTo>
                    <a:cubicBezTo>
                      <a:pt x="920" y="44"/>
                      <a:pt x="920" y="44"/>
                      <a:pt x="920" y="44"/>
                    </a:cubicBezTo>
                    <a:cubicBezTo>
                      <a:pt x="919" y="42"/>
                      <a:pt x="919" y="42"/>
                      <a:pt x="919" y="42"/>
                    </a:cubicBezTo>
                    <a:cubicBezTo>
                      <a:pt x="917" y="41"/>
                      <a:pt x="917" y="41"/>
                      <a:pt x="917" y="41"/>
                    </a:cubicBezTo>
                    <a:cubicBezTo>
                      <a:pt x="918" y="42"/>
                      <a:pt x="918" y="42"/>
                      <a:pt x="918" y="42"/>
                    </a:cubicBezTo>
                    <a:cubicBezTo>
                      <a:pt x="919" y="44"/>
                      <a:pt x="919" y="44"/>
                      <a:pt x="919" y="44"/>
                    </a:cubicBezTo>
                    <a:cubicBezTo>
                      <a:pt x="918" y="44"/>
                      <a:pt x="918" y="44"/>
                      <a:pt x="918" y="44"/>
                    </a:cubicBezTo>
                    <a:cubicBezTo>
                      <a:pt x="916" y="44"/>
                      <a:pt x="916" y="44"/>
                      <a:pt x="916" y="44"/>
                    </a:cubicBezTo>
                    <a:cubicBezTo>
                      <a:pt x="917" y="45"/>
                      <a:pt x="917" y="45"/>
                      <a:pt x="917" y="45"/>
                    </a:cubicBezTo>
                    <a:cubicBezTo>
                      <a:pt x="921" y="45"/>
                      <a:pt x="921" y="45"/>
                      <a:pt x="921" y="45"/>
                    </a:cubicBezTo>
                    <a:cubicBezTo>
                      <a:pt x="923" y="46"/>
                      <a:pt x="923" y="46"/>
                      <a:pt x="923" y="46"/>
                    </a:cubicBezTo>
                    <a:cubicBezTo>
                      <a:pt x="924" y="47"/>
                      <a:pt x="924" y="47"/>
                      <a:pt x="924" y="47"/>
                    </a:cubicBezTo>
                    <a:cubicBezTo>
                      <a:pt x="923" y="47"/>
                      <a:pt x="923" y="47"/>
                      <a:pt x="923" y="47"/>
                    </a:cubicBezTo>
                    <a:cubicBezTo>
                      <a:pt x="918" y="50"/>
                      <a:pt x="918" y="50"/>
                      <a:pt x="918" y="50"/>
                    </a:cubicBezTo>
                    <a:cubicBezTo>
                      <a:pt x="914" y="50"/>
                      <a:pt x="914" y="50"/>
                      <a:pt x="914" y="50"/>
                    </a:cubicBezTo>
                    <a:cubicBezTo>
                      <a:pt x="913" y="50"/>
                      <a:pt x="913" y="50"/>
                      <a:pt x="913" y="50"/>
                    </a:cubicBezTo>
                    <a:cubicBezTo>
                      <a:pt x="911" y="51"/>
                      <a:pt x="911" y="51"/>
                      <a:pt x="911" y="51"/>
                    </a:cubicBezTo>
                    <a:cubicBezTo>
                      <a:pt x="909" y="50"/>
                      <a:pt x="909" y="50"/>
                      <a:pt x="909" y="50"/>
                    </a:cubicBezTo>
                    <a:cubicBezTo>
                      <a:pt x="908" y="50"/>
                      <a:pt x="908" y="50"/>
                      <a:pt x="908" y="50"/>
                    </a:cubicBezTo>
                    <a:cubicBezTo>
                      <a:pt x="907" y="50"/>
                      <a:pt x="907" y="50"/>
                      <a:pt x="907" y="50"/>
                    </a:cubicBezTo>
                    <a:cubicBezTo>
                      <a:pt x="906" y="50"/>
                      <a:pt x="906" y="50"/>
                      <a:pt x="906" y="50"/>
                    </a:cubicBezTo>
                    <a:cubicBezTo>
                      <a:pt x="905" y="51"/>
                      <a:pt x="905" y="51"/>
                      <a:pt x="905" y="51"/>
                    </a:cubicBezTo>
                    <a:cubicBezTo>
                      <a:pt x="906" y="51"/>
                      <a:pt x="906" y="51"/>
                      <a:pt x="906" y="51"/>
                    </a:cubicBezTo>
                    <a:cubicBezTo>
                      <a:pt x="907" y="52"/>
                      <a:pt x="907" y="52"/>
                      <a:pt x="907" y="52"/>
                    </a:cubicBezTo>
                    <a:cubicBezTo>
                      <a:pt x="908" y="51"/>
                      <a:pt x="908" y="51"/>
                      <a:pt x="908" y="51"/>
                    </a:cubicBezTo>
                    <a:cubicBezTo>
                      <a:pt x="909" y="51"/>
                      <a:pt x="910" y="51"/>
                      <a:pt x="911" y="51"/>
                    </a:cubicBezTo>
                    <a:cubicBezTo>
                      <a:pt x="912" y="51"/>
                      <a:pt x="912" y="51"/>
                      <a:pt x="912" y="51"/>
                    </a:cubicBezTo>
                    <a:cubicBezTo>
                      <a:pt x="913" y="51"/>
                      <a:pt x="913" y="51"/>
                      <a:pt x="913" y="51"/>
                    </a:cubicBezTo>
                    <a:cubicBezTo>
                      <a:pt x="918" y="51"/>
                      <a:pt x="918" y="51"/>
                      <a:pt x="918" y="51"/>
                    </a:cubicBezTo>
                    <a:cubicBezTo>
                      <a:pt x="921" y="51"/>
                      <a:pt x="921" y="51"/>
                      <a:pt x="921" y="51"/>
                    </a:cubicBezTo>
                    <a:cubicBezTo>
                      <a:pt x="923" y="49"/>
                      <a:pt x="923" y="49"/>
                      <a:pt x="923" y="49"/>
                    </a:cubicBezTo>
                    <a:cubicBezTo>
                      <a:pt x="925" y="49"/>
                      <a:pt x="925" y="49"/>
                      <a:pt x="925" y="49"/>
                    </a:cubicBezTo>
                    <a:cubicBezTo>
                      <a:pt x="926" y="49"/>
                      <a:pt x="926" y="49"/>
                      <a:pt x="926" y="49"/>
                    </a:cubicBezTo>
                    <a:cubicBezTo>
                      <a:pt x="927" y="49"/>
                      <a:pt x="927" y="49"/>
                      <a:pt x="927" y="49"/>
                    </a:cubicBezTo>
                    <a:cubicBezTo>
                      <a:pt x="929" y="49"/>
                      <a:pt x="929" y="49"/>
                      <a:pt x="929" y="49"/>
                    </a:cubicBezTo>
                    <a:cubicBezTo>
                      <a:pt x="928" y="50"/>
                      <a:pt x="928" y="50"/>
                      <a:pt x="928" y="50"/>
                    </a:cubicBezTo>
                    <a:cubicBezTo>
                      <a:pt x="927" y="52"/>
                      <a:pt x="927" y="52"/>
                      <a:pt x="927" y="52"/>
                    </a:cubicBezTo>
                    <a:cubicBezTo>
                      <a:pt x="925" y="53"/>
                      <a:pt x="925" y="53"/>
                      <a:pt x="925" y="53"/>
                    </a:cubicBezTo>
                    <a:cubicBezTo>
                      <a:pt x="925" y="54"/>
                      <a:pt x="925" y="54"/>
                      <a:pt x="925" y="54"/>
                    </a:cubicBezTo>
                    <a:cubicBezTo>
                      <a:pt x="922" y="54"/>
                      <a:pt x="922" y="54"/>
                      <a:pt x="922" y="54"/>
                    </a:cubicBezTo>
                    <a:cubicBezTo>
                      <a:pt x="921" y="56"/>
                      <a:pt x="921" y="56"/>
                      <a:pt x="921" y="56"/>
                    </a:cubicBezTo>
                    <a:cubicBezTo>
                      <a:pt x="920" y="56"/>
                      <a:pt x="920" y="56"/>
                      <a:pt x="920" y="56"/>
                    </a:cubicBezTo>
                    <a:cubicBezTo>
                      <a:pt x="919" y="57"/>
                      <a:pt x="919" y="57"/>
                      <a:pt x="919" y="57"/>
                    </a:cubicBezTo>
                    <a:cubicBezTo>
                      <a:pt x="917" y="58"/>
                      <a:pt x="917" y="58"/>
                      <a:pt x="917" y="58"/>
                    </a:cubicBezTo>
                    <a:cubicBezTo>
                      <a:pt x="916" y="58"/>
                      <a:pt x="916" y="58"/>
                      <a:pt x="916" y="58"/>
                    </a:cubicBezTo>
                    <a:cubicBezTo>
                      <a:pt x="915" y="58"/>
                      <a:pt x="915" y="58"/>
                      <a:pt x="915" y="58"/>
                    </a:cubicBezTo>
                    <a:cubicBezTo>
                      <a:pt x="913" y="58"/>
                      <a:pt x="913" y="58"/>
                      <a:pt x="913" y="58"/>
                    </a:cubicBezTo>
                    <a:cubicBezTo>
                      <a:pt x="912" y="59"/>
                      <a:pt x="912" y="59"/>
                      <a:pt x="912" y="59"/>
                    </a:cubicBezTo>
                    <a:cubicBezTo>
                      <a:pt x="910" y="60"/>
                      <a:pt x="910" y="60"/>
                      <a:pt x="910" y="60"/>
                    </a:cubicBezTo>
                    <a:cubicBezTo>
                      <a:pt x="909" y="61"/>
                      <a:pt x="909" y="61"/>
                      <a:pt x="909" y="61"/>
                    </a:cubicBezTo>
                    <a:cubicBezTo>
                      <a:pt x="907" y="62"/>
                      <a:pt x="907" y="62"/>
                      <a:pt x="907" y="62"/>
                    </a:cubicBezTo>
                    <a:cubicBezTo>
                      <a:pt x="906" y="62"/>
                      <a:pt x="906" y="62"/>
                      <a:pt x="906" y="62"/>
                    </a:cubicBezTo>
                    <a:cubicBezTo>
                      <a:pt x="905" y="62"/>
                      <a:pt x="905" y="62"/>
                      <a:pt x="905" y="62"/>
                    </a:cubicBezTo>
                    <a:cubicBezTo>
                      <a:pt x="904" y="63"/>
                      <a:pt x="904" y="63"/>
                      <a:pt x="904" y="63"/>
                    </a:cubicBezTo>
                    <a:cubicBezTo>
                      <a:pt x="902" y="63"/>
                      <a:pt x="902" y="63"/>
                      <a:pt x="902" y="63"/>
                    </a:cubicBezTo>
                    <a:cubicBezTo>
                      <a:pt x="902" y="65"/>
                      <a:pt x="902" y="65"/>
                      <a:pt x="902" y="65"/>
                    </a:cubicBezTo>
                    <a:cubicBezTo>
                      <a:pt x="901" y="66"/>
                      <a:pt x="901" y="66"/>
                      <a:pt x="901" y="66"/>
                    </a:cubicBezTo>
                    <a:cubicBezTo>
                      <a:pt x="900" y="67"/>
                      <a:pt x="900" y="67"/>
                      <a:pt x="900" y="67"/>
                    </a:cubicBezTo>
                    <a:cubicBezTo>
                      <a:pt x="897" y="67"/>
                      <a:pt x="897" y="67"/>
                      <a:pt x="897" y="67"/>
                    </a:cubicBezTo>
                    <a:cubicBezTo>
                      <a:pt x="896" y="67"/>
                      <a:pt x="896" y="67"/>
                      <a:pt x="896" y="67"/>
                    </a:cubicBezTo>
                    <a:cubicBezTo>
                      <a:pt x="895" y="67"/>
                      <a:pt x="895" y="67"/>
                      <a:pt x="895" y="67"/>
                    </a:cubicBezTo>
                    <a:cubicBezTo>
                      <a:pt x="895" y="66"/>
                      <a:pt x="895" y="66"/>
                      <a:pt x="895" y="66"/>
                    </a:cubicBezTo>
                    <a:cubicBezTo>
                      <a:pt x="896" y="66"/>
                      <a:pt x="896" y="66"/>
                      <a:pt x="896" y="66"/>
                    </a:cubicBezTo>
                    <a:cubicBezTo>
                      <a:pt x="896" y="65"/>
                      <a:pt x="896" y="65"/>
                      <a:pt x="896" y="65"/>
                    </a:cubicBezTo>
                    <a:cubicBezTo>
                      <a:pt x="895" y="64"/>
                      <a:pt x="895" y="64"/>
                      <a:pt x="895" y="64"/>
                    </a:cubicBezTo>
                    <a:cubicBezTo>
                      <a:pt x="895" y="66"/>
                      <a:pt x="895" y="66"/>
                      <a:pt x="895" y="66"/>
                    </a:cubicBezTo>
                    <a:cubicBezTo>
                      <a:pt x="894" y="66"/>
                      <a:pt x="894" y="66"/>
                      <a:pt x="894" y="66"/>
                    </a:cubicBezTo>
                    <a:cubicBezTo>
                      <a:pt x="894" y="67"/>
                      <a:pt x="894" y="67"/>
                      <a:pt x="894" y="67"/>
                    </a:cubicBezTo>
                    <a:cubicBezTo>
                      <a:pt x="895" y="68"/>
                      <a:pt x="895" y="68"/>
                      <a:pt x="895" y="68"/>
                    </a:cubicBezTo>
                    <a:cubicBezTo>
                      <a:pt x="896" y="69"/>
                      <a:pt x="896" y="69"/>
                      <a:pt x="896" y="69"/>
                    </a:cubicBezTo>
                    <a:cubicBezTo>
                      <a:pt x="895" y="70"/>
                      <a:pt x="895" y="70"/>
                      <a:pt x="895" y="70"/>
                    </a:cubicBezTo>
                    <a:cubicBezTo>
                      <a:pt x="894" y="70"/>
                      <a:pt x="894" y="70"/>
                      <a:pt x="894" y="70"/>
                    </a:cubicBezTo>
                    <a:cubicBezTo>
                      <a:pt x="893" y="69"/>
                      <a:pt x="893" y="69"/>
                      <a:pt x="893" y="69"/>
                    </a:cubicBezTo>
                    <a:cubicBezTo>
                      <a:pt x="892" y="70"/>
                      <a:pt x="892" y="70"/>
                      <a:pt x="892" y="70"/>
                    </a:cubicBezTo>
                    <a:cubicBezTo>
                      <a:pt x="890" y="69"/>
                      <a:pt x="890" y="69"/>
                      <a:pt x="890" y="69"/>
                    </a:cubicBezTo>
                    <a:cubicBezTo>
                      <a:pt x="889" y="70"/>
                      <a:pt x="889" y="70"/>
                      <a:pt x="889" y="70"/>
                    </a:cubicBezTo>
                    <a:cubicBezTo>
                      <a:pt x="888" y="70"/>
                      <a:pt x="888" y="70"/>
                      <a:pt x="888" y="70"/>
                    </a:cubicBezTo>
                    <a:cubicBezTo>
                      <a:pt x="888" y="69"/>
                      <a:pt x="888" y="69"/>
                      <a:pt x="888" y="69"/>
                    </a:cubicBezTo>
                    <a:cubicBezTo>
                      <a:pt x="888" y="68"/>
                      <a:pt x="888" y="68"/>
                      <a:pt x="888" y="68"/>
                    </a:cubicBezTo>
                    <a:cubicBezTo>
                      <a:pt x="887" y="69"/>
                      <a:pt x="887" y="69"/>
                      <a:pt x="887" y="69"/>
                    </a:cubicBezTo>
                    <a:cubicBezTo>
                      <a:pt x="886" y="70"/>
                      <a:pt x="886" y="70"/>
                      <a:pt x="886" y="70"/>
                    </a:cubicBezTo>
                    <a:cubicBezTo>
                      <a:pt x="888" y="71"/>
                      <a:pt x="888" y="71"/>
                      <a:pt x="888" y="71"/>
                    </a:cubicBezTo>
                    <a:cubicBezTo>
                      <a:pt x="891" y="71"/>
                      <a:pt x="891" y="71"/>
                      <a:pt x="891" y="71"/>
                    </a:cubicBezTo>
                    <a:cubicBezTo>
                      <a:pt x="892" y="72"/>
                      <a:pt x="892" y="72"/>
                      <a:pt x="892" y="72"/>
                    </a:cubicBezTo>
                    <a:cubicBezTo>
                      <a:pt x="892" y="73"/>
                      <a:pt x="892" y="73"/>
                      <a:pt x="892" y="73"/>
                    </a:cubicBezTo>
                    <a:cubicBezTo>
                      <a:pt x="891" y="74"/>
                      <a:pt x="891" y="74"/>
                      <a:pt x="891" y="74"/>
                    </a:cubicBezTo>
                    <a:cubicBezTo>
                      <a:pt x="889" y="73"/>
                      <a:pt x="889" y="73"/>
                      <a:pt x="889" y="73"/>
                    </a:cubicBezTo>
                    <a:cubicBezTo>
                      <a:pt x="887" y="74"/>
                      <a:pt x="887" y="74"/>
                      <a:pt x="887" y="74"/>
                    </a:cubicBezTo>
                    <a:cubicBezTo>
                      <a:pt x="888" y="75"/>
                      <a:pt x="888" y="75"/>
                      <a:pt x="888" y="75"/>
                    </a:cubicBezTo>
                    <a:cubicBezTo>
                      <a:pt x="888" y="74"/>
                      <a:pt x="888" y="74"/>
                      <a:pt x="888" y="74"/>
                    </a:cubicBezTo>
                    <a:cubicBezTo>
                      <a:pt x="889" y="75"/>
                      <a:pt x="889" y="75"/>
                      <a:pt x="889" y="75"/>
                    </a:cubicBezTo>
                    <a:cubicBezTo>
                      <a:pt x="889" y="76"/>
                      <a:pt x="889" y="76"/>
                      <a:pt x="889" y="76"/>
                    </a:cubicBezTo>
                    <a:cubicBezTo>
                      <a:pt x="887" y="78"/>
                      <a:pt x="887" y="78"/>
                      <a:pt x="887" y="78"/>
                    </a:cubicBezTo>
                    <a:cubicBezTo>
                      <a:pt x="885" y="78"/>
                      <a:pt x="885" y="78"/>
                      <a:pt x="885" y="78"/>
                    </a:cubicBezTo>
                    <a:cubicBezTo>
                      <a:pt x="882" y="78"/>
                      <a:pt x="882" y="78"/>
                      <a:pt x="882" y="78"/>
                    </a:cubicBezTo>
                    <a:cubicBezTo>
                      <a:pt x="882" y="77"/>
                      <a:pt x="882" y="77"/>
                      <a:pt x="882" y="77"/>
                    </a:cubicBezTo>
                    <a:cubicBezTo>
                      <a:pt x="880" y="77"/>
                      <a:pt x="880" y="77"/>
                      <a:pt x="880" y="77"/>
                    </a:cubicBezTo>
                    <a:cubicBezTo>
                      <a:pt x="880" y="76"/>
                      <a:pt x="880" y="76"/>
                      <a:pt x="880" y="76"/>
                    </a:cubicBezTo>
                    <a:cubicBezTo>
                      <a:pt x="880" y="74"/>
                      <a:pt x="880" y="74"/>
                      <a:pt x="880" y="74"/>
                    </a:cubicBezTo>
                    <a:cubicBezTo>
                      <a:pt x="878" y="74"/>
                      <a:pt x="878" y="74"/>
                      <a:pt x="878" y="74"/>
                    </a:cubicBezTo>
                    <a:cubicBezTo>
                      <a:pt x="877" y="73"/>
                      <a:pt x="877" y="73"/>
                      <a:pt x="877" y="73"/>
                    </a:cubicBezTo>
                    <a:cubicBezTo>
                      <a:pt x="877" y="72"/>
                      <a:pt x="877" y="72"/>
                      <a:pt x="877" y="72"/>
                    </a:cubicBezTo>
                    <a:cubicBezTo>
                      <a:pt x="877" y="71"/>
                      <a:pt x="877" y="71"/>
                      <a:pt x="877" y="71"/>
                    </a:cubicBezTo>
                    <a:cubicBezTo>
                      <a:pt x="876" y="72"/>
                      <a:pt x="876" y="72"/>
                      <a:pt x="876" y="72"/>
                    </a:cubicBezTo>
                    <a:cubicBezTo>
                      <a:pt x="875" y="71"/>
                      <a:pt x="875" y="71"/>
                      <a:pt x="875" y="71"/>
                    </a:cubicBezTo>
                    <a:cubicBezTo>
                      <a:pt x="873" y="72"/>
                      <a:pt x="873" y="72"/>
                      <a:pt x="873" y="72"/>
                    </a:cubicBezTo>
                    <a:cubicBezTo>
                      <a:pt x="874" y="73"/>
                      <a:pt x="874" y="73"/>
                      <a:pt x="874" y="73"/>
                    </a:cubicBezTo>
                    <a:cubicBezTo>
                      <a:pt x="874" y="72"/>
                      <a:pt x="874" y="72"/>
                      <a:pt x="874" y="72"/>
                    </a:cubicBezTo>
                    <a:cubicBezTo>
                      <a:pt x="875" y="72"/>
                      <a:pt x="875" y="72"/>
                      <a:pt x="875" y="72"/>
                    </a:cubicBezTo>
                    <a:cubicBezTo>
                      <a:pt x="878" y="75"/>
                      <a:pt x="878" y="75"/>
                      <a:pt x="878" y="75"/>
                    </a:cubicBezTo>
                    <a:cubicBezTo>
                      <a:pt x="878" y="79"/>
                      <a:pt x="878" y="79"/>
                      <a:pt x="878" y="79"/>
                    </a:cubicBezTo>
                    <a:cubicBezTo>
                      <a:pt x="877" y="79"/>
                      <a:pt x="877" y="79"/>
                      <a:pt x="877" y="79"/>
                    </a:cubicBezTo>
                    <a:cubicBezTo>
                      <a:pt x="876" y="79"/>
                      <a:pt x="876" y="79"/>
                      <a:pt x="876" y="79"/>
                    </a:cubicBezTo>
                    <a:cubicBezTo>
                      <a:pt x="875" y="78"/>
                      <a:pt x="875" y="78"/>
                      <a:pt x="875" y="78"/>
                    </a:cubicBezTo>
                    <a:cubicBezTo>
                      <a:pt x="874" y="78"/>
                      <a:pt x="874" y="78"/>
                      <a:pt x="874" y="78"/>
                    </a:cubicBezTo>
                    <a:cubicBezTo>
                      <a:pt x="874" y="79"/>
                      <a:pt x="874" y="79"/>
                      <a:pt x="874" y="79"/>
                    </a:cubicBezTo>
                    <a:cubicBezTo>
                      <a:pt x="874" y="80"/>
                      <a:pt x="874" y="80"/>
                      <a:pt x="874" y="80"/>
                    </a:cubicBezTo>
                    <a:cubicBezTo>
                      <a:pt x="873" y="78"/>
                      <a:pt x="873" y="78"/>
                      <a:pt x="873" y="78"/>
                    </a:cubicBezTo>
                    <a:cubicBezTo>
                      <a:pt x="872" y="78"/>
                      <a:pt x="872" y="78"/>
                      <a:pt x="872" y="78"/>
                    </a:cubicBezTo>
                    <a:cubicBezTo>
                      <a:pt x="871" y="79"/>
                      <a:pt x="871" y="79"/>
                      <a:pt x="871" y="79"/>
                    </a:cubicBezTo>
                    <a:cubicBezTo>
                      <a:pt x="870" y="79"/>
                      <a:pt x="870" y="79"/>
                      <a:pt x="870" y="79"/>
                    </a:cubicBezTo>
                    <a:cubicBezTo>
                      <a:pt x="868" y="78"/>
                      <a:pt x="868" y="78"/>
                      <a:pt x="868" y="78"/>
                    </a:cubicBezTo>
                    <a:cubicBezTo>
                      <a:pt x="867" y="77"/>
                      <a:pt x="867" y="77"/>
                      <a:pt x="867" y="77"/>
                    </a:cubicBezTo>
                    <a:cubicBezTo>
                      <a:pt x="866" y="76"/>
                      <a:pt x="866" y="76"/>
                      <a:pt x="866" y="76"/>
                    </a:cubicBezTo>
                    <a:cubicBezTo>
                      <a:pt x="864" y="75"/>
                      <a:pt x="864" y="75"/>
                      <a:pt x="864" y="75"/>
                    </a:cubicBezTo>
                    <a:cubicBezTo>
                      <a:pt x="863" y="74"/>
                      <a:pt x="863" y="74"/>
                      <a:pt x="863" y="74"/>
                    </a:cubicBezTo>
                    <a:cubicBezTo>
                      <a:pt x="863" y="75"/>
                      <a:pt x="863" y="75"/>
                      <a:pt x="863" y="75"/>
                    </a:cubicBezTo>
                    <a:cubicBezTo>
                      <a:pt x="863" y="76"/>
                      <a:pt x="863" y="76"/>
                      <a:pt x="863" y="76"/>
                    </a:cubicBezTo>
                    <a:cubicBezTo>
                      <a:pt x="864" y="76"/>
                      <a:pt x="864" y="76"/>
                      <a:pt x="864" y="76"/>
                    </a:cubicBezTo>
                    <a:cubicBezTo>
                      <a:pt x="866" y="77"/>
                      <a:pt x="866" y="77"/>
                      <a:pt x="866" y="77"/>
                    </a:cubicBezTo>
                    <a:cubicBezTo>
                      <a:pt x="867" y="79"/>
                      <a:pt x="867" y="79"/>
                      <a:pt x="867" y="79"/>
                    </a:cubicBezTo>
                    <a:cubicBezTo>
                      <a:pt x="866" y="80"/>
                      <a:pt x="866" y="80"/>
                      <a:pt x="866" y="80"/>
                    </a:cubicBezTo>
                    <a:cubicBezTo>
                      <a:pt x="863" y="79"/>
                      <a:pt x="863" y="79"/>
                      <a:pt x="863" y="79"/>
                    </a:cubicBezTo>
                    <a:cubicBezTo>
                      <a:pt x="862" y="78"/>
                      <a:pt x="862" y="78"/>
                      <a:pt x="862" y="78"/>
                    </a:cubicBezTo>
                    <a:cubicBezTo>
                      <a:pt x="862" y="77"/>
                      <a:pt x="862" y="77"/>
                      <a:pt x="862" y="77"/>
                    </a:cubicBezTo>
                    <a:cubicBezTo>
                      <a:pt x="861" y="76"/>
                      <a:pt x="861" y="76"/>
                      <a:pt x="861" y="76"/>
                    </a:cubicBezTo>
                    <a:cubicBezTo>
                      <a:pt x="861" y="77"/>
                      <a:pt x="861" y="77"/>
                      <a:pt x="861" y="77"/>
                    </a:cubicBezTo>
                    <a:cubicBezTo>
                      <a:pt x="861" y="78"/>
                      <a:pt x="861" y="78"/>
                      <a:pt x="861" y="78"/>
                    </a:cubicBezTo>
                    <a:cubicBezTo>
                      <a:pt x="860" y="78"/>
                      <a:pt x="860" y="78"/>
                      <a:pt x="860" y="78"/>
                    </a:cubicBezTo>
                    <a:cubicBezTo>
                      <a:pt x="859" y="77"/>
                      <a:pt x="859" y="77"/>
                      <a:pt x="859" y="77"/>
                    </a:cubicBezTo>
                    <a:cubicBezTo>
                      <a:pt x="858" y="77"/>
                      <a:pt x="858" y="77"/>
                      <a:pt x="858" y="77"/>
                    </a:cubicBezTo>
                    <a:cubicBezTo>
                      <a:pt x="858" y="78"/>
                      <a:pt x="858" y="78"/>
                      <a:pt x="858" y="78"/>
                    </a:cubicBezTo>
                    <a:cubicBezTo>
                      <a:pt x="860" y="79"/>
                      <a:pt x="860" y="79"/>
                      <a:pt x="860" y="79"/>
                    </a:cubicBezTo>
                    <a:cubicBezTo>
                      <a:pt x="860" y="80"/>
                      <a:pt x="860" y="80"/>
                      <a:pt x="860" y="80"/>
                    </a:cubicBezTo>
                    <a:cubicBezTo>
                      <a:pt x="861" y="80"/>
                      <a:pt x="861" y="80"/>
                      <a:pt x="861" y="80"/>
                    </a:cubicBezTo>
                    <a:cubicBezTo>
                      <a:pt x="862" y="80"/>
                      <a:pt x="862" y="80"/>
                      <a:pt x="862" y="80"/>
                    </a:cubicBezTo>
                    <a:cubicBezTo>
                      <a:pt x="863" y="80"/>
                      <a:pt x="863" y="80"/>
                      <a:pt x="863" y="80"/>
                    </a:cubicBezTo>
                    <a:cubicBezTo>
                      <a:pt x="864" y="81"/>
                      <a:pt x="864" y="81"/>
                      <a:pt x="864" y="81"/>
                    </a:cubicBezTo>
                    <a:cubicBezTo>
                      <a:pt x="865" y="82"/>
                      <a:pt x="865" y="82"/>
                      <a:pt x="865" y="82"/>
                    </a:cubicBezTo>
                    <a:cubicBezTo>
                      <a:pt x="866" y="82"/>
                      <a:pt x="866" y="82"/>
                      <a:pt x="866" y="82"/>
                    </a:cubicBezTo>
                    <a:cubicBezTo>
                      <a:pt x="867" y="82"/>
                      <a:pt x="867" y="82"/>
                      <a:pt x="867" y="82"/>
                    </a:cubicBezTo>
                    <a:cubicBezTo>
                      <a:pt x="870" y="82"/>
                      <a:pt x="870" y="82"/>
                      <a:pt x="870" y="82"/>
                    </a:cubicBezTo>
                    <a:cubicBezTo>
                      <a:pt x="871" y="83"/>
                      <a:pt x="871" y="83"/>
                      <a:pt x="871" y="83"/>
                    </a:cubicBezTo>
                    <a:cubicBezTo>
                      <a:pt x="870" y="84"/>
                      <a:pt x="870" y="84"/>
                      <a:pt x="870" y="84"/>
                    </a:cubicBezTo>
                    <a:cubicBezTo>
                      <a:pt x="870" y="85"/>
                      <a:pt x="870" y="85"/>
                      <a:pt x="870" y="85"/>
                    </a:cubicBezTo>
                    <a:cubicBezTo>
                      <a:pt x="870" y="86"/>
                      <a:pt x="870" y="86"/>
                      <a:pt x="870" y="86"/>
                    </a:cubicBezTo>
                    <a:cubicBezTo>
                      <a:pt x="870" y="87"/>
                      <a:pt x="870" y="87"/>
                      <a:pt x="870" y="87"/>
                    </a:cubicBezTo>
                    <a:cubicBezTo>
                      <a:pt x="870" y="88"/>
                      <a:pt x="870" y="88"/>
                      <a:pt x="870" y="88"/>
                    </a:cubicBezTo>
                    <a:cubicBezTo>
                      <a:pt x="869" y="88"/>
                      <a:pt x="869" y="88"/>
                      <a:pt x="869" y="88"/>
                    </a:cubicBezTo>
                    <a:cubicBezTo>
                      <a:pt x="868" y="87"/>
                      <a:pt x="868" y="87"/>
                      <a:pt x="868" y="87"/>
                    </a:cubicBezTo>
                    <a:cubicBezTo>
                      <a:pt x="867" y="86"/>
                      <a:pt x="867" y="86"/>
                      <a:pt x="867" y="86"/>
                    </a:cubicBezTo>
                    <a:cubicBezTo>
                      <a:pt x="865" y="85"/>
                      <a:pt x="865" y="85"/>
                      <a:pt x="865" y="85"/>
                    </a:cubicBezTo>
                    <a:cubicBezTo>
                      <a:pt x="864" y="84"/>
                      <a:pt x="864" y="84"/>
                      <a:pt x="864" y="84"/>
                    </a:cubicBezTo>
                    <a:cubicBezTo>
                      <a:pt x="865" y="83"/>
                      <a:pt x="865" y="83"/>
                      <a:pt x="865" y="83"/>
                    </a:cubicBezTo>
                    <a:cubicBezTo>
                      <a:pt x="864" y="82"/>
                      <a:pt x="864" y="82"/>
                      <a:pt x="864" y="82"/>
                    </a:cubicBezTo>
                    <a:cubicBezTo>
                      <a:pt x="862" y="82"/>
                      <a:pt x="862" y="82"/>
                      <a:pt x="862" y="82"/>
                    </a:cubicBezTo>
                    <a:cubicBezTo>
                      <a:pt x="859" y="81"/>
                      <a:pt x="859" y="81"/>
                      <a:pt x="859" y="81"/>
                    </a:cubicBezTo>
                    <a:cubicBezTo>
                      <a:pt x="858" y="80"/>
                      <a:pt x="858" y="80"/>
                      <a:pt x="858" y="80"/>
                    </a:cubicBezTo>
                    <a:cubicBezTo>
                      <a:pt x="857" y="81"/>
                      <a:pt x="857" y="81"/>
                      <a:pt x="857" y="81"/>
                    </a:cubicBezTo>
                    <a:cubicBezTo>
                      <a:pt x="859" y="82"/>
                      <a:pt x="859" y="82"/>
                      <a:pt x="859" y="82"/>
                    </a:cubicBezTo>
                    <a:cubicBezTo>
                      <a:pt x="861" y="82"/>
                      <a:pt x="861" y="82"/>
                      <a:pt x="861" y="82"/>
                    </a:cubicBezTo>
                    <a:cubicBezTo>
                      <a:pt x="864" y="83"/>
                      <a:pt x="864" y="83"/>
                      <a:pt x="864" y="83"/>
                    </a:cubicBezTo>
                    <a:cubicBezTo>
                      <a:pt x="864" y="84"/>
                      <a:pt x="864" y="84"/>
                      <a:pt x="864" y="84"/>
                    </a:cubicBezTo>
                    <a:cubicBezTo>
                      <a:pt x="863" y="84"/>
                      <a:pt x="863" y="84"/>
                      <a:pt x="863" y="84"/>
                    </a:cubicBezTo>
                    <a:cubicBezTo>
                      <a:pt x="862" y="84"/>
                      <a:pt x="862" y="84"/>
                      <a:pt x="862" y="84"/>
                    </a:cubicBezTo>
                    <a:cubicBezTo>
                      <a:pt x="859" y="83"/>
                      <a:pt x="859" y="83"/>
                      <a:pt x="859" y="83"/>
                    </a:cubicBezTo>
                    <a:cubicBezTo>
                      <a:pt x="858" y="84"/>
                      <a:pt x="858" y="84"/>
                      <a:pt x="858" y="84"/>
                    </a:cubicBezTo>
                    <a:cubicBezTo>
                      <a:pt x="858" y="83"/>
                      <a:pt x="858" y="83"/>
                      <a:pt x="858" y="83"/>
                    </a:cubicBezTo>
                    <a:cubicBezTo>
                      <a:pt x="857" y="83"/>
                      <a:pt x="857" y="83"/>
                      <a:pt x="857" y="83"/>
                    </a:cubicBezTo>
                    <a:cubicBezTo>
                      <a:pt x="855" y="82"/>
                      <a:pt x="855" y="82"/>
                      <a:pt x="855" y="82"/>
                    </a:cubicBezTo>
                    <a:cubicBezTo>
                      <a:pt x="854" y="82"/>
                      <a:pt x="854" y="82"/>
                      <a:pt x="854" y="82"/>
                    </a:cubicBezTo>
                    <a:cubicBezTo>
                      <a:pt x="856" y="83"/>
                      <a:pt x="856" y="83"/>
                      <a:pt x="856" y="83"/>
                    </a:cubicBezTo>
                    <a:cubicBezTo>
                      <a:pt x="856" y="84"/>
                      <a:pt x="856" y="84"/>
                      <a:pt x="856" y="84"/>
                    </a:cubicBezTo>
                    <a:cubicBezTo>
                      <a:pt x="856" y="85"/>
                      <a:pt x="856" y="85"/>
                      <a:pt x="856" y="85"/>
                    </a:cubicBezTo>
                    <a:cubicBezTo>
                      <a:pt x="857" y="85"/>
                      <a:pt x="857" y="85"/>
                      <a:pt x="857" y="85"/>
                    </a:cubicBezTo>
                    <a:cubicBezTo>
                      <a:pt x="858" y="85"/>
                      <a:pt x="858" y="85"/>
                      <a:pt x="858" y="85"/>
                    </a:cubicBezTo>
                    <a:cubicBezTo>
                      <a:pt x="859" y="85"/>
                      <a:pt x="859" y="85"/>
                      <a:pt x="859" y="85"/>
                    </a:cubicBezTo>
                    <a:cubicBezTo>
                      <a:pt x="859" y="84"/>
                      <a:pt x="859" y="84"/>
                      <a:pt x="859" y="84"/>
                    </a:cubicBezTo>
                    <a:cubicBezTo>
                      <a:pt x="860" y="85"/>
                      <a:pt x="860" y="85"/>
                      <a:pt x="860" y="85"/>
                    </a:cubicBezTo>
                    <a:cubicBezTo>
                      <a:pt x="861" y="85"/>
                      <a:pt x="861" y="85"/>
                      <a:pt x="861" y="85"/>
                    </a:cubicBezTo>
                    <a:cubicBezTo>
                      <a:pt x="862" y="85"/>
                      <a:pt x="862" y="85"/>
                      <a:pt x="862" y="85"/>
                    </a:cubicBezTo>
                    <a:cubicBezTo>
                      <a:pt x="864" y="87"/>
                      <a:pt x="864" y="87"/>
                      <a:pt x="864" y="87"/>
                    </a:cubicBezTo>
                    <a:cubicBezTo>
                      <a:pt x="862" y="87"/>
                      <a:pt x="862" y="87"/>
                      <a:pt x="862" y="87"/>
                    </a:cubicBezTo>
                    <a:cubicBezTo>
                      <a:pt x="861" y="88"/>
                      <a:pt x="861" y="88"/>
                      <a:pt x="861" y="88"/>
                    </a:cubicBezTo>
                    <a:cubicBezTo>
                      <a:pt x="862" y="88"/>
                      <a:pt x="862" y="88"/>
                      <a:pt x="862" y="88"/>
                    </a:cubicBezTo>
                    <a:cubicBezTo>
                      <a:pt x="863" y="88"/>
                      <a:pt x="863" y="88"/>
                      <a:pt x="863" y="88"/>
                    </a:cubicBezTo>
                    <a:cubicBezTo>
                      <a:pt x="864" y="88"/>
                      <a:pt x="864" y="88"/>
                      <a:pt x="864" y="88"/>
                    </a:cubicBezTo>
                    <a:cubicBezTo>
                      <a:pt x="865" y="89"/>
                      <a:pt x="865" y="89"/>
                      <a:pt x="865" y="89"/>
                    </a:cubicBezTo>
                    <a:cubicBezTo>
                      <a:pt x="866" y="90"/>
                      <a:pt x="866" y="90"/>
                      <a:pt x="866" y="90"/>
                    </a:cubicBezTo>
                    <a:cubicBezTo>
                      <a:pt x="866" y="91"/>
                      <a:pt x="866" y="91"/>
                      <a:pt x="866" y="91"/>
                    </a:cubicBezTo>
                    <a:cubicBezTo>
                      <a:pt x="865" y="93"/>
                      <a:pt x="865" y="93"/>
                      <a:pt x="865" y="93"/>
                    </a:cubicBezTo>
                    <a:cubicBezTo>
                      <a:pt x="864" y="95"/>
                      <a:pt x="864" y="95"/>
                      <a:pt x="864" y="95"/>
                    </a:cubicBezTo>
                    <a:cubicBezTo>
                      <a:pt x="862" y="97"/>
                      <a:pt x="862" y="97"/>
                      <a:pt x="862" y="97"/>
                    </a:cubicBezTo>
                    <a:cubicBezTo>
                      <a:pt x="861" y="96"/>
                      <a:pt x="861" y="96"/>
                      <a:pt x="861" y="96"/>
                    </a:cubicBezTo>
                    <a:cubicBezTo>
                      <a:pt x="860" y="96"/>
                      <a:pt x="860" y="96"/>
                      <a:pt x="860" y="96"/>
                    </a:cubicBezTo>
                    <a:cubicBezTo>
                      <a:pt x="859" y="96"/>
                      <a:pt x="859" y="96"/>
                      <a:pt x="859" y="96"/>
                    </a:cubicBezTo>
                    <a:cubicBezTo>
                      <a:pt x="859" y="95"/>
                      <a:pt x="859" y="95"/>
                      <a:pt x="859" y="95"/>
                    </a:cubicBezTo>
                    <a:cubicBezTo>
                      <a:pt x="858" y="94"/>
                      <a:pt x="858" y="94"/>
                      <a:pt x="858" y="94"/>
                    </a:cubicBezTo>
                    <a:cubicBezTo>
                      <a:pt x="856" y="94"/>
                      <a:pt x="856" y="94"/>
                      <a:pt x="856" y="94"/>
                    </a:cubicBezTo>
                    <a:cubicBezTo>
                      <a:pt x="857" y="95"/>
                      <a:pt x="857" y="95"/>
                      <a:pt x="857" y="95"/>
                    </a:cubicBezTo>
                    <a:cubicBezTo>
                      <a:pt x="858" y="96"/>
                      <a:pt x="858" y="96"/>
                      <a:pt x="858" y="96"/>
                    </a:cubicBezTo>
                    <a:cubicBezTo>
                      <a:pt x="859" y="96"/>
                      <a:pt x="859" y="96"/>
                      <a:pt x="859" y="96"/>
                    </a:cubicBezTo>
                    <a:cubicBezTo>
                      <a:pt x="861" y="97"/>
                      <a:pt x="861" y="97"/>
                      <a:pt x="861" y="97"/>
                    </a:cubicBezTo>
                    <a:cubicBezTo>
                      <a:pt x="861" y="99"/>
                      <a:pt x="861" y="99"/>
                      <a:pt x="861" y="99"/>
                    </a:cubicBezTo>
                    <a:cubicBezTo>
                      <a:pt x="860" y="100"/>
                      <a:pt x="860" y="100"/>
                      <a:pt x="860" y="100"/>
                    </a:cubicBezTo>
                    <a:cubicBezTo>
                      <a:pt x="859" y="100"/>
                      <a:pt x="859" y="100"/>
                      <a:pt x="859" y="100"/>
                    </a:cubicBezTo>
                    <a:cubicBezTo>
                      <a:pt x="858" y="101"/>
                      <a:pt x="858" y="101"/>
                      <a:pt x="858" y="101"/>
                    </a:cubicBezTo>
                    <a:cubicBezTo>
                      <a:pt x="857" y="101"/>
                      <a:pt x="857" y="101"/>
                      <a:pt x="857" y="101"/>
                    </a:cubicBezTo>
                    <a:cubicBezTo>
                      <a:pt x="855" y="100"/>
                      <a:pt x="855" y="100"/>
                      <a:pt x="855" y="100"/>
                    </a:cubicBezTo>
                    <a:cubicBezTo>
                      <a:pt x="854" y="100"/>
                      <a:pt x="854" y="100"/>
                      <a:pt x="854" y="100"/>
                    </a:cubicBezTo>
                    <a:cubicBezTo>
                      <a:pt x="854" y="99"/>
                      <a:pt x="854" y="99"/>
                      <a:pt x="854" y="99"/>
                    </a:cubicBezTo>
                    <a:cubicBezTo>
                      <a:pt x="852" y="99"/>
                      <a:pt x="852" y="99"/>
                      <a:pt x="852" y="99"/>
                    </a:cubicBezTo>
                    <a:cubicBezTo>
                      <a:pt x="852" y="100"/>
                      <a:pt x="852" y="100"/>
                      <a:pt x="852" y="100"/>
                    </a:cubicBezTo>
                    <a:cubicBezTo>
                      <a:pt x="852" y="101"/>
                      <a:pt x="852" y="101"/>
                      <a:pt x="852" y="101"/>
                    </a:cubicBezTo>
                    <a:cubicBezTo>
                      <a:pt x="856" y="103"/>
                      <a:pt x="856" y="103"/>
                      <a:pt x="856" y="103"/>
                    </a:cubicBezTo>
                    <a:cubicBezTo>
                      <a:pt x="857" y="103"/>
                      <a:pt x="857" y="103"/>
                      <a:pt x="857" y="103"/>
                    </a:cubicBezTo>
                    <a:cubicBezTo>
                      <a:pt x="856" y="104"/>
                      <a:pt x="856" y="104"/>
                      <a:pt x="856" y="104"/>
                    </a:cubicBezTo>
                    <a:cubicBezTo>
                      <a:pt x="855" y="105"/>
                      <a:pt x="855" y="105"/>
                      <a:pt x="855" y="105"/>
                    </a:cubicBezTo>
                    <a:cubicBezTo>
                      <a:pt x="854" y="105"/>
                      <a:pt x="854" y="105"/>
                      <a:pt x="854" y="105"/>
                    </a:cubicBezTo>
                    <a:cubicBezTo>
                      <a:pt x="853" y="104"/>
                      <a:pt x="853" y="104"/>
                      <a:pt x="853" y="104"/>
                    </a:cubicBezTo>
                    <a:cubicBezTo>
                      <a:pt x="852" y="104"/>
                      <a:pt x="852" y="104"/>
                      <a:pt x="852" y="104"/>
                    </a:cubicBezTo>
                    <a:cubicBezTo>
                      <a:pt x="851" y="105"/>
                      <a:pt x="851" y="105"/>
                      <a:pt x="851" y="105"/>
                    </a:cubicBezTo>
                    <a:cubicBezTo>
                      <a:pt x="849" y="105"/>
                      <a:pt x="849" y="105"/>
                      <a:pt x="849" y="105"/>
                    </a:cubicBezTo>
                    <a:cubicBezTo>
                      <a:pt x="848" y="104"/>
                      <a:pt x="848" y="104"/>
                      <a:pt x="848" y="104"/>
                    </a:cubicBezTo>
                    <a:cubicBezTo>
                      <a:pt x="845" y="104"/>
                      <a:pt x="845" y="104"/>
                      <a:pt x="845" y="104"/>
                    </a:cubicBezTo>
                    <a:cubicBezTo>
                      <a:pt x="844" y="104"/>
                      <a:pt x="844" y="104"/>
                      <a:pt x="844" y="104"/>
                    </a:cubicBezTo>
                    <a:cubicBezTo>
                      <a:pt x="844" y="105"/>
                      <a:pt x="844" y="105"/>
                      <a:pt x="844" y="105"/>
                    </a:cubicBezTo>
                    <a:cubicBezTo>
                      <a:pt x="844" y="106"/>
                      <a:pt x="844" y="106"/>
                      <a:pt x="844" y="106"/>
                    </a:cubicBezTo>
                    <a:cubicBezTo>
                      <a:pt x="842" y="107"/>
                      <a:pt x="842" y="107"/>
                      <a:pt x="842" y="107"/>
                    </a:cubicBezTo>
                    <a:cubicBezTo>
                      <a:pt x="843" y="107"/>
                      <a:pt x="843" y="107"/>
                      <a:pt x="843" y="107"/>
                    </a:cubicBezTo>
                    <a:cubicBezTo>
                      <a:pt x="844" y="108"/>
                      <a:pt x="844" y="108"/>
                      <a:pt x="844" y="108"/>
                    </a:cubicBezTo>
                    <a:cubicBezTo>
                      <a:pt x="844" y="109"/>
                      <a:pt x="844" y="109"/>
                      <a:pt x="844" y="109"/>
                    </a:cubicBezTo>
                    <a:cubicBezTo>
                      <a:pt x="842" y="110"/>
                      <a:pt x="842" y="110"/>
                      <a:pt x="842" y="110"/>
                    </a:cubicBezTo>
                    <a:cubicBezTo>
                      <a:pt x="842" y="111"/>
                      <a:pt x="842" y="111"/>
                      <a:pt x="842" y="111"/>
                    </a:cubicBezTo>
                    <a:cubicBezTo>
                      <a:pt x="841" y="112"/>
                      <a:pt x="841" y="112"/>
                      <a:pt x="841" y="112"/>
                    </a:cubicBezTo>
                    <a:cubicBezTo>
                      <a:pt x="840" y="112"/>
                      <a:pt x="840" y="112"/>
                      <a:pt x="840" y="112"/>
                    </a:cubicBezTo>
                    <a:cubicBezTo>
                      <a:pt x="840" y="113"/>
                      <a:pt x="840" y="113"/>
                      <a:pt x="840" y="113"/>
                    </a:cubicBezTo>
                    <a:cubicBezTo>
                      <a:pt x="838" y="113"/>
                      <a:pt x="838" y="113"/>
                      <a:pt x="838" y="113"/>
                    </a:cubicBezTo>
                    <a:cubicBezTo>
                      <a:pt x="837" y="113"/>
                      <a:pt x="837" y="113"/>
                      <a:pt x="837" y="113"/>
                    </a:cubicBezTo>
                    <a:cubicBezTo>
                      <a:pt x="838" y="112"/>
                      <a:pt x="838" y="112"/>
                      <a:pt x="838" y="112"/>
                    </a:cubicBezTo>
                    <a:cubicBezTo>
                      <a:pt x="837" y="112"/>
                      <a:pt x="837" y="112"/>
                      <a:pt x="837" y="112"/>
                    </a:cubicBezTo>
                    <a:cubicBezTo>
                      <a:pt x="837" y="113"/>
                      <a:pt x="837" y="113"/>
                      <a:pt x="837" y="113"/>
                    </a:cubicBezTo>
                    <a:cubicBezTo>
                      <a:pt x="836" y="115"/>
                      <a:pt x="836" y="115"/>
                      <a:pt x="836" y="115"/>
                    </a:cubicBezTo>
                    <a:cubicBezTo>
                      <a:pt x="835" y="115"/>
                      <a:pt x="835" y="115"/>
                      <a:pt x="835" y="115"/>
                    </a:cubicBezTo>
                    <a:cubicBezTo>
                      <a:pt x="832" y="114"/>
                      <a:pt x="832" y="114"/>
                      <a:pt x="832" y="114"/>
                    </a:cubicBezTo>
                    <a:cubicBezTo>
                      <a:pt x="831" y="114"/>
                      <a:pt x="831" y="114"/>
                      <a:pt x="831" y="114"/>
                    </a:cubicBezTo>
                    <a:cubicBezTo>
                      <a:pt x="830" y="114"/>
                      <a:pt x="830" y="114"/>
                      <a:pt x="830" y="114"/>
                    </a:cubicBezTo>
                    <a:cubicBezTo>
                      <a:pt x="829" y="114"/>
                      <a:pt x="829" y="114"/>
                      <a:pt x="829" y="114"/>
                    </a:cubicBezTo>
                    <a:cubicBezTo>
                      <a:pt x="826" y="111"/>
                      <a:pt x="826" y="111"/>
                      <a:pt x="826" y="111"/>
                    </a:cubicBezTo>
                    <a:cubicBezTo>
                      <a:pt x="826" y="108"/>
                      <a:pt x="826" y="108"/>
                      <a:pt x="826" y="108"/>
                    </a:cubicBezTo>
                    <a:cubicBezTo>
                      <a:pt x="826" y="107"/>
                      <a:pt x="826" y="107"/>
                      <a:pt x="826" y="107"/>
                    </a:cubicBezTo>
                    <a:cubicBezTo>
                      <a:pt x="826" y="106"/>
                      <a:pt x="826" y="106"/>
                      <a:pt x="826" y="106"/>
                    </a:cubicBezTo>
                    <a:cubicBezTo>
                      <a:pt x="826" y="105"/>
                      <a:pt x="826" y="105"/>
                      <a:pt x="826" y="105"/>
                    </a:cubicBezTo>
                    <a:cubicBezTo>
                      <a:pt x="825" y="106"/>
                      <a:pt x="825" y="106"/>
                      <a:pt x="825" y="106"/>
                    </a:cubicBezTo>
                    <a:cubicBezTo>
                      <a:pt x="825" y="107"/>
                      <a:pt x="825" y="107"/>
                      <a:pt x="825" y="107"/>
                    </a:cubicBezTo>
                    <a:cubicBezTo>
                      <a:pt x="825" y="109"/>
                      <a:pt x="825" y="109"/>
                      <a:pt x="825" y="109"/>
                    </a:cubicBezTo>
                    <a:cubicBezTo>
                      <a:pt x="824" y="110"/>
                      <a:pt x="824" y="110"/>
                      <a:pt x="824" y="110"/>
                    </a:cubicBezTo>
                    <a:cubicBezTo>
                      <a:pt x="825" y="111"/>
                      <a:pt x="825" y="111"/>
                      <a:pt x="825" y="111"/>
                    </a:cubicBezTo>
                    <a:cubicBezTo>
                      <a:pt x="825" y="112"/>
                      <a:pt x="825" y="112"/>
                      <a:pt x="825" y="112"/>
                    </a:cubicBezTo>
                    <a:cubicBezTo>
                      <a:pt x="824" y="112"/>
                      <a:pt x="824" y="112"/>
                      <a:pt x="824" y="112"/>
                    </a:cubicBezTo>
                    <a:cubicBezTo>
                      <a:pt x="822" y="112"/>
                      <a:pt x="822" y="112"/>
                      <a:pt x="822" y="112"/>
                    </a:cubicBezTo>
                    <a:cubicBezTo>
                      <a:pt x="821" y="112"/>
                      <a:pt x="821" y="112"/>
                      <a:pt x="821" y="112"/>
                    </a:cubicBezTo>
                    <a:cubicBezTo>
                      <a:pt x="822" y="113"/>
                      <a:pt x="822" y="113"/>
                      <a:pt x="822" y="113"/>
                    </a:cubicBezTo>
                    <a:cubicBezTo>
                      <a:pt x="821" y="115"/>
                      <a:pt x="821" y="115"/>
                      <a:pt x="821" y="115"/>
                    </a:cubicBezTo>
                    <a:cubicBezTo>
                      <a:pt x="822" y="115"/>
                      <a:pt x="822" y="115"/>
                      <a:pt x="822" y="115"/>
                    </a:cubicBezTo>
                    <a:cubicBezTo>
                      <a:pt x="824" y="113"/>
                      <a:pt x="824" y="113"/>
                      <a:pt x="824" y="113"/>
                    </a:cubicBezTo>
                    <a:cubicBezTo>
                      <a:pt x="825" y="113"/>
                      <a:pt x="825" y="113"/>
                      <a:pt x="825" y="113"/>
                    </a:cubicBezTo>
                    <a:cubicBezTo>
                      <a:pt x="826" y="112"/>
                      <a:pt x="826" y="112"/>
                      <a:pt x="826" y="112"/>
                    </a:cubicBezTo>
                    <a:cubicBezTo>
                      <a:pt x="827" y="113"/>
                      <a:pt x="827" y="113"/>
                      <a:pt x="827" y="113"/>
                    </a:cubicBezTo>
                    <a:cubicBezTo>
                      <a:pt x="828" y="115"/>
                      <a:pt x="828" y="115"/>
                      <a:pt x="828" y="115"/>
                    </a:cubicBezTo>
                    <a:cubicBezTo>
                      <a:pt x="828" y="116"/>
                      <a:pt x="828" y="116"/>
                      <a:pt x="828" y="116"/>
                    </a:cubicBezTo>
                    <a:cubicBezTo>
                      <a:pt x="829" y="115"/>
                      <a:pt x="829" y="115"/>
                      <a:pt x="829" y="115"/>
                    </a:cubicBezTo>
                    <a:cubicBezTo>
                      <a:pt x="831" y="114"/>
                      <a:pt x="831" y="114"/>
                      <a:pt x="831" y="114"/>
                    </a:cubicBezTo>
                    <a:cubicBezTo>
                      <a:pt x="833" y="115"/>
                      <a:pt x="833" y="115"/>
                      <a:pt x="833" y="115"/>
                    </a:cubicBezTo>
                    <a:cubicBezTo>
                      <a:pt x="833" y="116"/>
                      <a:pt x="833" y="116"/>
                      <a:pt x="833" y="116"/>
                    </a:cubicBezTo>
                    <a:cubicBezTo>
                      <a:pt x="832" y="117"/>
                      <a:pt x="832" y="117"/>
                      <a:pt x="832" y="117"/>
                    </a:cubicBezTo>
                    <a:cubicBezTo>
                      <a:pt x="832" y="119"/>
                      <a:pt x="832" y="119"/>
                      <a:pt x="832" y="119"/>
                    </a:cubicBezTo>
                    <a:cubicBezTo>
                      <a:pt x="831" y="119"/>
                      <a:pt x="831" y="119"/>
                      <a:pt x="831" y="119"/>
                    </a:cubicBezTo>
                    <a:cubicBezTo>
                      <a:pt x="831" y="120"/>
                      <a:pt x="831" y="120"/>
                      <a:pt x="831" y="120"/>
                    </a:cubicBezTo>
                    <a:cubicBezTo>
                      <a:pt x="832" y="120"/>
                      <a:pt x="832" y="120"/>
                      <a:pt x="832" y="120"/>
                    </a:cubicBezTo>
                    <a:cubicBezTo>
                      <a:pt x="832" y="121"/>
                      <a:pt x="832" y="121"/>
                      <a:pt x="832" y="121"/>
                    </a:cubicBezTo>
                    <a:cubicBezTo>
                      <a:pt x="831" y="122"/>
                      <a:pt x="831" y="122"/>
                      <a:pt x="831" y="122"/>
                    </a:cubicBezTo>
                    <a:cubicBezTo>
                      <a:pt x="832" y="122"/>
                      <a:pt x="832" y="122"/>
                      <a:pt x="832" y="122"/>
                    </a:cubicBezTo>
                    <a:cubicBezTo>
                      <a:pt x="833" y="121"/>
                      <a:pt x="833" y="121"/>
                      <a:pt x="833" y="121"/>
                    </a:cubicBezTo>
                    <a:cubicBezTo>
                      <a:pt x="834" y="121"/>
                      <a:pt x="834" y="121"/>
                      <a:pt x="834" y="121"/>
                    </a:cubicBezTo>
                    <a:cubicBezTo>
                      <a:pt x="835" y="120"/>
                      <a:pt x="835" y="120"/>
                      <a:pt x="835" y="120"/>
                    </a:cubicBezTo>
                    <a:cubicBezTo>
                      <a:pt x="836" y="120"/>
                      <a:pt x="836" y="120"/>
                      <a:pt x="836" y="120"/>
                    </a:cubicBezTo>
                    <a:cubicBezTo>
                      <a:pt x="836" y="121"/>
                      <a:pt x="836" y="121"/>
                      <a:pt x="836" y="121"/>
                    </a:cubicBezTo>
                    <a:cubicBezTo>
                      <a:pt x="836" y="122"/>
                      <a:pt x="836" y="122"/>
                      <a:pt x="836" y="122"/>
                    </a:cubicBezTo>
                    <a:cubicBezTo>
                      <a:pt x="836" y="123"/>
                      <a:pt x="836" y="123"/>
                      <a:pt x="836" y="123"/>
                    </a:cubicBezTo>
                    <a:cubicBezTo>
                      <a:pt x="836" y="125"/>
                      <a:pt x="836" y="125"/>
                      <a:pt x="836" y="125"/>
                    </a:cubicBezTo>
                    <a:cubicBezTo>
                      <a:pt x="835" y="127"/>
                      <a:pt x="835" y="127"/>
                      <a:pt x="835" y="127"/>
                    </a:cubicBezTo>
                    <a:cubicBezTo>
                      <a:pt x="833" y="127"/>
                      <a:pt x="833" y="127"/>
                      <a:pt x="833" y="127"/>
                    </a:cubicBezTo>
                    <a:cubicBezTo>
                      <a:pt x="832" y="128"/>
                      <a:pt x="832" y="128"/>
                      <a:pt x="832" y="128"/>
                    </a:cubicBezTo>
                    <a:cubicBezTo>
                      <a:pt x="831" y="129"/>
                      <a:pt x="831" y="129"/>
                      <a:pt x="831" y="129"/>
                    </a:cubicBezTo>
                    <a:cubicBezTo>
                      <a:pt x="830" y="130"/>
                      <a:pt x="830" y="130"/>
                      <a:pt x="830" y="130"/>
                    </a:cubicBezTo>
                    <a:cubicBezTo>
                      <a:pt x="830" y="128"/>
                      <a:pt x="830" y="128"/>
                      <a:pt x="830" y="128"/>
                    </a:cubicBezTo>
                    <a:cubicBezTo>
                      <a:pt x="830" y="127"/>
                      <a:pt x="830" y="127"/>
                      <a:pt x="830" y="127"/>
                    </a:cubicBezTo>
                    <a:cubicBezTo>
                      <a:pt x="829" y="127"/>
                      <a:pt x="829" y="127"/>
                      <a:pt x="829" y="127"/>
                    </a:cubicBezTo>
                    <a:cubicBezTo>
                      <a:pt x="828" y="129"/>
                      <a:pt x="828" y="129"/>
                      <a:pt x="828" y="129"/>
                    </a:cubicBezTo>
                    <a:cubicBezTo>
                      <a:pt x="827" y="129"/>
                      <a:pt x="827" y="129"/>
                      <a:pt x="827" y="129"/>
                    </a:cubicBezTo>
                    <a:cubicBezTo>
                      <a:pt x="825" y="131"/>
                      <a:pt x="825" y="131"/>
                      <a:pt x="825" y="131"/>
                    </a:cubicBezTo>
                    <a:cubicBezTo>
                      <a:pt x="825" y="130"/>
                      <a:pt x="825" y="130"/>
                      <a:pt x="825" y="130"/>
                    </a:cubicBezTo>
                    <a:cubicBezTo>
                      <a:pt x="824" y="130"/>
                      <a:pt x="824" y="130"/>
                      <a:pt x="824" y="130"/>
                    </a:cubicBezTo>
                    <a:cubicBezTo>
                      <a:pt x="822" y="132"/>
                      <a:pt x="822" y="132"/>
                      <a:pt x="822" y="132"/>
                    </a:cubicBezTo>
                    <a:cubicBezTo>
                      <a:pt x="821" y="132"/>
                      <a:pt x="821" y="132"/>
                      <a:pt x="821" y="132"/>
                    </a:cubicBezTo>
                    <a:cubicBezTo>
                      <a:pt x="820" y="132"/>
                      <a:pt x="820" y="132"/>
                      <a:pt x="820" y="132"/>
                    </a:cubicBezTo>
                    <a:cubicBezTo>
                      <a:pt x="819" y="132"/>
                      <a:pt x="819" y="132"/>
                      <a:pt x="819" y="132"/>
                    </a:cubicBezTo>
                    <a:cubicBezTo>
                      <a:pt x="819" y="131"/>
                      <a:pt x="819" y="131"/>
                      <a:pt x="819" y="131"/>
                    </a:cubicBezTo>
                    <a:cubicBezTo>
                      <a:pt x="818" y="131"/>
                      <a:pt x="818" y="131"/>
                      <a:pt x="818" y="131"/>
                    </a:cubicBezTo>
                    <a:cubicBezTo>
                      <a:pt x="819" y="130"/>
                      <a:pt x="819" y="130"/>
                      <a:pt x="819" y="130"/>
                    </a:cubicBezTo>
                    <a:cubicBezTo>
                      <a:pt x="820" y="129"/>
                      <a:pt x="820" y="129"/>
                      <a:pt x="820" y="129"/>
                    </a:cubicBezTo>
                    <a:cubicBezTo>
                      <a:pt x="820" y="128"/>
                      <a:pt x="820" y="128"/>
                      <a:pt x="820" y="128"/>
                    </a:cubicBezTo>
                    <a:cubicBezTo>
                      <a:pt x="819" y="126"/>
                      <a:pt x="819" y="126"/>
                      <a:pt x="819" y="126"/>
                    </a:cubicBezTo>
                    <a:cubicBezTo>
                      <a:pt x="818" y="127"/>
                      <a:pt x="818" y="127"/>
                      <a:pt x="818" y="127"/>
                    </a:cubicBezTo>
                    <a:cubicBezTo>
                      <a:pt x="816" y="126"/>
                      <a:pt x="816" y="126"/>
                      <a:pt x="816" y="126"/>
                    </a:cubicBezTo>
                    <a:cubicBezTo>
                      <a:pt x="816" y="125"/>
                      <a:pt x="816" y="125"/>
                      <a:pt x="816" y="125"/>
                    </a:cubicBezTo>
                    <a:cubicBezTo>
                      <a:pt x="816" y="124"/>
                      <a:pt x="816" y="124"/>
                      <a:pt x="816" y="124"/>
                    </a:cubicBezTo>
                    <a:cubicBezTo>
                      <a:pt x="817" y="123"/>
                      <a:pt x="817" y="123"/>
                      <a:pt x="817" y="123"/>
                    </a:cubicBezTo>
                    <a:cubicBezTo>
                      <a:pt x="816" y="123"/>
                      <a:pt x="816" y="123"/>
                      <a:pt x="816" y="123"/>
                    </a:cubicBezTo>
                    <a:cubicBezTo>
                      <a:pt x="815" y="121"/>
                      <a:pt x="815" y="121"/>
                      <a:pt x="815" y="121"/>
                    </a:cubicBezTo>
                    <a:cubicBezTo>
                      <a:pt x="815" y="120"/>
                      <a:pt x="815" y="120"/>
                      <a:pt x="815" y="120"/>
                    </a:cubicBezTo>
                    <a:cubicBezTo>
                      <a:pt x="815" y="119"/>
                      <a:pt x="815" y="119"/>
                      <a:pt x="815" y="119"/>
                    </a:cubicBezTo>
                    <a:cubicBezTo>
                      <a:pt x="814" y="121"/>
                      <a:pt x="814" y="121"/>
                      <a:pt x="814" y="121"/>
                    </a:cubicBezTo>
                    <a:cubicBezTo>
                      <a:pt x="815" y="123"/>
                      <a:pt x="815" y="123"/>
                      <a:pt x="815" y="123"/>
                    </a:cubicBezTo>
                    <a:cubicBezTo>
                      <a:pt x="815" y="124"/>
                      <a:pt x="815" y="124"/>
                      <a:pt x="815" y="124"/>
                    </a:cubicBezTo>
                    <a:cubicBezTo>
                      <a:pt x="815" y="125"/>
                      <a:pt x="815" y="125"/>
                      <a:pt x="815" y="125"/>
                    </a:cubicBezTo>
                    <a:cubicBezTo>
                      <a:pt x="815" y="126"/>
                      <a:pt x="815" y="126"/>
                      <a:pt x="815" y="126"/>
                    </a:cubicBezTo>
                    <a:cubicBezTo>
                      <a:pt x="814" y="127"/>
                      <a:pt x="814" y="127"/>
                      <a:pt x="814" y="127"/>
                    </a:cubicBezTo>
                    <a:cubicBezTo>
                      <a:pt x="813" y="126"/>
                      <a:pt x="813" y="126"/>
                      <a:pt x="813" y="126"/>
                    </a:cubicBezTo>
                    <a:cubicBezTo>
                      <a:pt x="812" y="127"/>
                      <a:pt x="812" y="127"/>
                      <a:pt x="812" y="127"/>
                    </a:cubicBezTo>
                    <a:cubicBezTo>
                      <a:pt x="811" y="126"/>
                      <a:pt x="811" y="126"/>
                      <a:pt x="811" y="126"/>
                    </a:cubicBezTo>
                    <a:cubicBezTo>
                      <a:pt x="811" y="125"/>
                      <a:pt x="811" y="125"/>
                      <a:pt x="811" y="125"/>
                    </a:cubicBezTo>
                    <a:cubicBezTo>
                      <a:pt x="811" y="123"/>
                      <a:pt x="811" y="123"/>
                      <a:pt x="811" y="123"/>
                    </a:cubicBezTo>
                    <a:cubicBezTo>
                      <a:pt x="811" y="121"/>
                      <a:pt x="811" y="121"/>
                      <a:pt x="811" y="121"/>
                    </a:cubicBezTo>
                    <a:cubicBezTo>
                      <a:pt x="811" y="120"/>
                      <a:pt x="811" y="120"/>
                      <a:pt x="811" y="120"/>
                    </a:cubicBezTo>
                    <a:cubicBezTo>
                      <a:pt x="812" y="119"/>
                      <a:pt x="812" y="119"/>
                      <a:pt x="812" y="119"/>
                    </a:cubicBezTo>
                    <a:cubicBezTo>
                      <a:pt x="811" y="119"/>
                      <a:pt x="811" y="119"/>
                      <a:pt x="811" y="119"/>
                    </a:cubicBezTo>
                    <a:cubicBezTo>
                      <a:pt x="810" y="120"/>
                      <a:pt x="810" y="120"/>
                      <a:pt x="810" y="120"/>
                    </a:cubicBezTo>
                    <a:cubicBezTo>
                      <a:pt x="810" y="122"/>
                      <a:pt x="810" y="122"/>
                      <a:pt x="810" y="122"/>
                    </a:cubicBezTo>
                    <a:cubicBezTo>
                      <a:pt x="810" y="123"/>
                      <a:pt x="810" y="123"/>
                      <a:pt x="810" y="123"/>
                    </a:cubicBezTo>
                    <a:cubicBezTo>
                      <a:pt x="809" y="125"/>
                      <a:pt x="809" y="125"/>
                      <a:pt x="809" y="125"/>
                    </a:cubicBezTo>
                    <a:cubicBezTo>
                      <a:pt x="808" y="125"/>
                      <a:pt x="808" y="125"/>
                      <a:pt x="808" y="125"/>
                    </a:cubicBezTo>
                    <a:cubicBezTo>
                      <a:pt x="807" y="125"/>
                      <a:pt x="807" y="125"/>
                      <a:pt x="807" y="125"/>
                    </a:cubicBezTo>
                    <a:cubicBezTo>
                      <a:pt x="807" y="124"/>
                      <a:pt x="807" y="124"/>
                      <a:pt x="807" y="124"/>
                    </a:cubicBezTo>
                    <a:cubicBezTo>
                      <a:pt x="807" y="123"/>
                      <a:pt x="807" y="123"/>
                      <a:pt x="807" y="123"/>
                    </a:cubicBezTo>
                    <a:cubicBezTo>
                      <a:pt x="807" y="122"/>
                      <a:pt x="807" y="122"/>
                      <a:pt x="807" y="122"/>
                    </a:cubicBezTo>
                    <a:cubicBezTo>
                      <a:pt x="808" y="121"/>
                      <a:pt x="808" y="121"/>
                      <a:pt x="808" y="121"/>
                    </a:cubicBezTo>
                    <a:cubicBezTo>
                      <a:pt x="807" y="119"/>
                      <a:pt x="807" y="119"/>
                      <a:pt x="807" y="119"/>
                    </a:cubicBezTo>
                    <a:cubicBezTo>
                      <a:pt x="807" y="120"/>
                      <a:pt x="807" y="120"/>
                      <a:pt x="807" y="120"/>
                    </a:cubicBezTo>
                    <a:cubicBezTo>
                      <a:pt x="807" y="121"/>
                      <a:pt x="807" y="121"/>
                      <a:pt x="807" y="121"/>
                    </a:cubicBezTo>
                    <a:cubicBezTo>
                      <a:pt x="806" y="122"/>
                      <a:pt x="806" y="122"/>
                      <a:pt x="806" y="122"/>
                    </a:cubicBezTo>
                    <a:cubicBezTo>
                      <a:pt x="806" y="123"/>
                      <a:pt x="806" y="123"/>
                      <a:pt x="806" y="123"/>
                    </a:cubicBezTo>
                    <a:cubicBezTo>
                      <a:pt x="805" y="123"/>
                      <a:pt x="805" y="123"/>
                      <a:pt x="805" y="123"/>
                    </a:cubicBezTo>
                    <a:cubicBezTo>
                      <a:pt x="804" y="123"/>
                      <a:pt x="804" y="123"/>
                      <a:pt x="804" y="123"/>
                    </a:cubicBezTo>
                    <a:cubicBezTo>
                      <a:pt x="804" y="124"/>
                      <a:pt x="804" y="124"/>
                      <a:pt x="804" y="124"/>
                    </a:cubicBezTo>
                    <a:cubicBezTo>
                      <a:pt x="803" y="124"/>
                      <a:pt x="803" y="124"/>
                      <a:pt x="803" y="124"/>
                    </a:cubicBezTo>
                    <a:cubicBezTo>
                      <a:pt x="803" y="123"/>
                      <a:pt x="803" y="123"/>
                      <a:pt x="803" y="123"/>
                    </a:cubicBezTo>
                    <a:cubicBezTo>
                      <a:pt x="803" y="122"/>
                      <a:pt x="803" y="122"/>
                      <a:pt x="803" y="122"/>
                    </a:cubicBezTo>
                    <a:cubicBezTo>
                      <a:pt x="803" y="120"/>
                      <a:pt x="803" y="120"/>
                      <a:pt x="803" y="120"/>
                    </a:cubicBezTo>
                    <a:cubicBezTo>
                      <a:pt x="802" y="120"/>
                      <a:pt x="802" y="120"/>
                      <a:pt x="802" y="120"/>
                    </a:cubicBezTo>
                    <a:cubicBezTo>
                      <a:pt x="801" y="122"/>
                      <a:pt x="801" y="122"/>
                      <a:pt x="801" y="122"/>
                    </a:cubicBezTo>
                    <a:cubicBezTo>
                      <a:pt x="802" y="124"/>
                      <a:pt x="802" y="124"/>
                      <a:pt x="802" y="124"/>
                    </a:cubicBezTo>
                    <a:cubicBezTo>
                      <a:pt x="803" y="125"/>
                      <a:pt x="803" y="125"/>
                      <a:pt x="803" y="125"/>
                    </a:cubicBezTo>
                    <a:cubicBezTo>
                      <a:pt x="802" y="126"/>
                      <a:pt x="802" y="126"/>
                      <a:pt x="802" y="126"/>
                    </a:cubicBezTo>
                    <a:cubicBezTo>
                      <a:pt x="801" y="126"/>
                      <a:pt x="801" y="126"/>
                      <a:pt x="801" y="126"/>
                    </a:cubicBezTo>
                    <a:cubicBezTo>
                      <a:pt x="799" y="126"/>
                      <a:pt x="799" y="126"/>
                      <a:pt x="799" y="126"/>
                    </a:cubicBezTo>
                    <a:cubicBezTo>
                      <a:pt x="798" y="125"/>
                      <a:pt x="798" y="125"/>
                      <a:pt x="798" y="125"/>
                    </a:cubicBezTo>
                    <a:cubicBezTo>
                      <a:pt x="796" y="124"/>
                      <a:pt x="796" y="124"/>
                      <a:pt x="796" y="124"/>
                    </a:cubicBezTo>
                    <a:cubicBezTo>
                      <a:pt x="795" y="124"/>
                      <a:pt x="795" y="124"/>
                      <a:pt x="795" y="124"/>
                    </a:cubicBezTo>
                    <a:cubicBezTo>
                      <a:pt x="795" y="123"/>
                      <a:pt x="795" y="123"/>
                      <a:pt x="795" y="123"/>
                    </a:cubicBezTo>
                    <a:cubicBezTo>
                      <a:pt x="794" y="123"/>
                      <a:pt x="794" y="123"/>
                      <a:pt x="794" y="123"/>
                    </a:cubicBezTo>
                    <a:cubicBezTo>
                      <a:pt x="794" y="122"/>
                      <a:pt x="794" y="122"/>
                      <a:pt x="794" y="122"/>
                    </a:cubicBezTo>
                    <a:cubicBezTo>
                      <a:pt x="794" y="121"/>
                      <a:pt x="794" y="121"/>
                      <a:pt x="794" y="121"/>
                    </a:cubicBezTo>
                    <a:cubicBezTo>
                      <a:pt x="795" y="121"/>
                      <a:pt x="795" y="121"/>
                      <a:pt x="795" y="121"/>
                    </a:cubicBezTo>
                    <a:cubicBezTo>
                      <a:pt x="795" y="120"/>
                      <a:pt x="795" y="120"/>
                      <a:pt x="795" y="120"/>
                    </a:cubicBezTo>
                    <a:cubicBezTo>
                      <a:pt x="794" y="120"/>
                      <a:pt x="794" y="120"/>
                      <a:pt x="794" y="120"/>
                    </a:cubicBezTo>
                    <a:cubicBezTo>
                      <a:pt x="793" y="120"/>
                      <a:pt x="793" y="120"/>
                      <a:pt x="793" y="120"/>
                    </a:cubicBezTo>
                    <a:cubicBezTo>
                      <a:pt x="793" y="121"/>
                      <a:pt x="793" y="121"/>
                      <a:pt x="793" y="121"/>
                    </a:cubicBezTo>
                    <a:cubicBezTo>
                      <a:pt x="793" y="122"/>
                      <a:pt x="793" y="122"/>
                      <a:pt x="793" y="122"/>
                    </a:cubicBezTo>
                    <a:cubicBezTo>
                      <a:pt x="792" y="122"/>
                      <a:pt x="792" y="122"/>
                      <a:pt x="792" y="122"/>
                    </a:cubicBezTo>
                    <a:cubicBezTo>
                      <a:pt x="791" y="121"/>
                      <a:pt x="791" y="121"/>
                      <a:pt x="791" y="121"/>
                    </a:cubicBezTo>
                    <a:cubicBezTo>
                      <a:pt x="791" y="120"/>
                      <a:pt x="791" y="120"/>
                      <a:pt x="791" y="120"/>
                    </a:cubicBezTo>
                    <a:cubicBezTo>
                      <a:pt x="791" y="119"/>
                      <a:pt x="791" y="119"/>
                      <a:pt x="791" y="119"/>
                    </a:cubicBezTo>
                    <a:cubicBezTo>
                      <a:pt x="792" y="118"/>
                      <a:pt x="792" y="118"/>
                      <a:pt x="792" y="118"/>
                    </a:cubicBezTo>
                    <a:cubicBezTo>
                      <a:pt x="791" y="117"/>
                      <a:pt x="791" y="117"/>
                      <a:pt x="791" y="117"/>
                    </a:cubicBezTo>
                    <a:cubicBezTo>
                      <a:pt x="791" y="118"/>
                      <a:pt x="791" y="118"/>
                      <a:pt x="791" y="118"/>
                    </a:cubicBezTo>
                    <a:cubicBezTo>
                      <a:pt x="790" y="119"/>
                      <a:pt x="790" y="119"/>
                      <a:pt x="790" y="119"/>
                    </a:cubicBezTo>
                    <a:cubicBezTo>
                      <a:pt x="790" y="120"/>
                      <a:pt x="790" y="120"/>
                      <a:pt x="790" y="120"/>
                    </a:cubicBezTo>
                    <a:cubicBezTo>
                      <a:pt x="790" y="121"/>
                      <a:pt x="790" y="121"/>
                      <a:pt x="790" y="121"/>
                    </a:cubicBezTo>
                    <a:cubicBezTo>
                      <a:pt x="789" y="121"/>
                      <a:pt x="789" y="121"/>
                      <a:pt x="789" y="121"/>
                    </a:cubicBezTo>
                    <a:cubicBezTo>
                      <a:pt x="788" y="120"/>
                      <a:pt x="788" y="120"/>
                      <a:pt x="788" y="120"/>
                    </a:cubicBezTo>
                    <a:cubicBezTo>
                      <a:pt x="787" y="120"/>
                      <a:pt x="787" y="120"/>
                      <a:pt x="787" y="120"/>
                    </a:cubicBezTo>
                    <a:cubicBezTo>
                      <a:pt x="787" y="119"/>
                      <a:pt x="787" y="119"/>
                      <a:pt x="787" y="119"/>
                    </a:cubicBezTo>
                    <a:cubicBezTo>
                      <a:pt x="787" y="118"/>
                      <a:pt x="787" y="118"/>
                      <a:pt x="787" y="118"/>
                    </a:cubicBezTo>
                    <a:cubicBezTo>
                      <a:pt x="788" y="117"/>
                      <a:pt x="788" y="117"/>
                      <a:pt x="788" y="117"/>
                    </a:cubicBezTo>
                    <a:cubicBezTo>
                      <a:pt x="788" y="116"/>
                      <a:pt x="788" y="116"/>
                      <a:pt x="788" y="116"/>
                    </a:cubicBezTo>
                    <a:cubicBezTo>
                      <a:pt x="788" y="115"/>
                      <a:pt x="788" y="115"/>
                      <a:pt x="788" y="115"/>
                    </a:cubicBezTo>
                    <a:cubicBezTo>
                      <a:pt x="789" y="113"/>
                      <a:pt x="789" y="113"/>
                      <a:pt x="789" y="113"/>
                    </a:cubicBezTo>
                    <a:cubicBezTo>
                      <a:pt x="788" y="113"/>
                      <a:pt x="788" y="113"/>
                      <a:pt x="788" y="113"/>
                    </a:cubicBezTo>
                    <a:cubicBezTo>
                      <a:pt x="788" y="114"/>
                      <a:pt x="788" y="114"/>
                      <a:pt x="788" y="114"/>
                    </a:cubicBezTo>
                    <a:cubicBezTo>
                      <a:pt x="787" y="116"/>
                      <a:pt x="787" y="116"/>
                      <a:pt x="787" y="116"/>
                    </a:cubicBezTo>
                    <a:cubicBezTo>
                      <a:pt x="787" y="118"/>
                      <a:pt x="787" y="118"/>
                      <a:pt x="787" y="118"/>
                    </a:cubicBezTo>
                    <a:cubicBezTo>
                      <a:pt x="786" y="119"/>
                      <a:pt x="786" y="119"/>
                      <a:pt x="786" y="119"/>
                    </a:cubicBezTo>
                    <a:cubicBezTo>
                      <a:pt x="786" y="117"/>
                      <a:pt x="786" y="117"/>
                      <a:pt x="786" y="117"/>
                    </a:cubicBezTo>
                    <a:cubicBezTo>
                      <a:pt x="785" y="119"/>
                      <a:pt x="785" y="119"/>
                      <a:pt x="785" y="119"/>
                    </a:cubicBezTo>
                    <a:cubicBezTo>
                      <a:pt x="784" y="119"/>
                      <a:pt x="784" y="119"/>
                      <a:pt x="784" y="119"/>
                    </a:cubicBezTo>
                    <a:cubicBezTo>
                      <a:pt x="784" y="118"/>
                      <a:pt x="784" y="118"/>
                      <a:pt x="784" y="118"/>
                    </a:cubicBezTo>
                    <a:cubicBezTo>
                      <a:pt x="784" y="116"/>
                      <a:pt x="784" y="116"/>
                      <a:pt x="784" y="116"/>
                    </a:cubicBezTo>
                    <a:cubicBezTo>
                      <a:pt x="783" y="116"/>
                      <a:pt x="783" y="116"/>
                      <a:pt x="783" y="116"/>
                    </a:cubicBezTo>
                    <a:cubicBezTo>
                      <a:pt x="783" y="115"/>
                      <a:pt x="783" y="115"/>
                      <a:pt x="783" y="115"/>
                    </a:cubicBezTo>
                    <a:cubicBezTo>
                      <a:pt x="785" y="114"/>
                      <a:pt x="785" y="114"/>
                      <a:pt x="785" y="114"/>
                    </a:cubicBezTo>
                    <a:cubicBezTo>
                      <a:pt x="785" y="113"/>
                      <a:pt x="785" y="113"/>
                      <a:pt x="785" y="113"/>
                    </a:cubicBezTo>
                    <a:cubicBezTo>
                      <a:pt x="785" y="112"/>
                      <a:pt x="785" y="112"/>
                      <a:pt x="785" y="112"/>
                    </a:cubicBezTo>
                    <a:cubicBezTo>
                      <a:pt x="785" y="111"/>
                      <a:pt x="785" y="111"/>
                      <a:pt x="785" y="111"/>
                    </a:cubicBezTo>
                    <a:cubicBezTo>
                      <a:pt x="786" y="111"/>
                      <a:pt x="786" y="111"/>
                      <a:pt x="786" y="111"/>
                    </a:cubicBezTo>
                    <a:cubicBezTo>
                      <a:pt x="787" y="110"/>
                      <a:pt x="787" y="110"/>
                      <a:pt x="787" y="110"/>
                    </a:cubicBezTo>
                    <a:cubicBezTo>
                      <a:pt x="788" y="110"/>
                      <a:pt x="788" y="110"/>
                      <a:pt x="788" y="110"/>
                    </a:cubicBezTo>
                    <a:cubicBezTo>
                      <a:pt x="790" y="110"/>
                      <a:pt x="790" y="110"/>
                      <a:pt x="790" y="110"/>
                    </a:cubicBezTo>
                    <a:cubicBezTo>
                      <a:pt x="790" y="109"/>
                      <a:pt x="790" y="109"/>
                      <a:pt x="790" y="109"/>
                    </a:cubicBezTo>
                    <a:cubicBezTo>
                      <a:pt x="791" y="108"/>
                      <a:pt x="791" y="108"/>
                      <a:pt x="791" y="108"/>
                    </a:cubicBezTo>
                    <a:cubicBezTo>
                      <a:pt x="792" y="108"/>
                      <a:pt x="792" y="108"/>
                      <a:pt x="792" y="108"/>
                    </a:cubicBezTo>
                    <a:cubicBezTo>
                      <a:pt x="792" y="107"/>
                      <a:pt x="792" y="107"/>
                      <a:pt x="792" y="107"/>
                    </a:cubicBezTo>
                    <a:cubicBezTo>
                      <a:pt x="793" y="107"/>
                      <a:pt x="793" y="107"/>
                      <a:pt x="793" y="107"/>
                    </a:cubicBezTo>
                    <a:cubicBezTo>
                      <a:pt x="794" y="107"/>
                      <a:pt x="794" y="107"/>
                      <a:pt x="794" y="107"/>
                    </a:cubicBezTo>
                    <a:cubicBezTo>
                      <a:pt x="795" y="108"/>
                      <a:pt x="795" y="108"/>
                      <a:pt x="795" y="108"/>
                    </a:cubicBezTo>
                    <a:cubicBezTo>
                      <a:pt x="797" y="108"/>
                      <a:pt x="797" y="108"/>
                      <a:pt x="797" y="108"/>
                    </a:cubicBezTo>
                    <a:cubicBezTo>
                      <a:pt x="798" y="107"/>
                      <a:pt x="798" y="107"/>
                      <a:pt x="798" y="107"/>
                    </a:cubicBezTo>
                    <a:cubicBezTo>
                      <a:pt x="799" y="107"/>
                      <a:pt x="799" y="107"/>
                      <a:pt x="799" y="107"/>
                    </a:cubicBezTo>
                    <a:cubicBezTo>
                      <a:pt x="800" y="109"/>
                      <a:pt x="800" y="109"/>
                      <a:pt x="800" y="109"/>
                    </a:cubicBezTo>
                    <a:cubicBezTo>
                      <a:pt x="801" y="109"/>
                      <a:pt x="801" y="109"/>
                      <a:pt x="801" y="109"/>
                    </a:cubicBezTo>
                    <a:cubicBezTo>
                      <a:pt x="801" y="108"/>
                      <a:pt x="801" y="108"/>
                      <a:pt x="801" y="108"/>
                    </a:cubicBezTo>
                    <a:cubicBezTo>
                      <a:pt x="803" y="109"/>
                      <a:pt x="803" y="109"/>
                      <a:pt x="803" y="109"/>
                    </a:cubicBezTo>
                    <a:cubicBezTo>
                      <a:pt x="803" y="108"/>
                      <a:pt x="803" y="108"/>
                      <a:pt x="803" y="108"/>
                    </a:cubicBezTo>
                    <a:cubicBezTo>
                      <a:pt x="804" y="109"/>
                      <a:pt x="804" y="109"/>
                      <a:pt x="804" y="109"/>
                    </a:cubicBezTo>
                    <a:cubicBezTo>
                      <a:pt x="805" y="108"/>
                      <a:pt x="805" y="108"/>
                      <a:pt x="805" y="108"/>
                    </a:cubicBezTo>
                    <a:cubicBezTo>
                      <a:pt x="804" y="108"/>
                      <a:pt x="804" y="108"/>
                      <a:pt x="804" y="108"/>
                    </a:cubicBezTo>
                    <a:cubicBezTo>
                      <a:pt x="803" y="108"/>
                      <a:pt x="803" y="108"/>
                      <a:pt x="803" y="108"/>
                    </a:cubicBezTo>
                    <a:cubicBezTo>
                      <a:pt x="803" y="107"/>
                      <a:pt x="803" y="107"/>
                      <a:pt x="803" y="107"/>
                    </a:cubicBezTo>
                    <a:cubicBezTo>
                      <a:pt x="802" y="107"/>
                      <a:pt x="802" y="107"/>
                      <a:pt x="802" y="107"/>
                    </a:cubicBezTo>
                    <a:cubicBezTo>
                      <a:pt x="803" y="106"/>
                      <a:pt x="803" y="106"/>
                      <a:pt x="803" y="106"/>
                    </a:cubicBezTo>
                    <a:cubicBezTo>
                      <a:pt x="803" y="105"/>
                      <a:pt x="803" y="105"/>
                      <a:pt x="803" y="105"/>
                    </a:cubicBezTo>
                    <a:cubicBezTo>
                      <a:pt x="804" y="104"/>
                      <a:pt x="804" y="104"/>
                      <a:pt x="804" y="104"/>
                    </a:cubicBezTo>
                    <a:cubicBezTo>
                      <a:pt x="802" y="104"/>
                      <a:pt x="802" y="104"/>
                      <a:pt x="802" y="104"/>
                    </a:cubicBezTo>
                    <a:cubicBezTo>
                      <a:pt x="801" y="104"/>
                      <a:pt x="801" y="104"/>
                      <a:pt x="801" y="104"/>
                    </a:cubicBezTo>
                    <a:cubicBezTo>
                      <a:pt x="801" y="103"/>
                      <a:pt x="801" y="103"/>
                      <a:pt x="801" y="103"/>
                    </a:cubicBezTo>
                    <a:cubicBezTo>
                      <a:pt x="802" y="102"/>
                      <a:pt x="802" y="102"/>
                      <a:pt x="802" y="102"/>
                    </a:cubicBezTo>
                    <a:cubicBezTo>
                      <a:pt x="802" y="101"/>
                      <a:pt x="802" y="101"/>
                      <a:pt x="802" y="101"/>
                    </a:cubicBezTo>
                    <a:cubicBezTo>
                      <a:pt x="801" y="101"/>
                      <a:pt x="801" y="101"/>
                      <a:pt x="801" y="101"/>
                    </a:cubicBezTo>
                    <a:cubicBezTo>
                      <a:pt x="801" y="100"/>
                      <a:pt x="801" y="100"/>
                      <a:pt x="801" y="100"/>
                    </a:cubicBezTo>
                    <a:cubicBezTo>
                      <a:pt x="801" y="98"/>
                      <a:pt x="801" y="98"/>
                      <a:pt x="801" y="98"/>
                    </a:cubicBezTo>
                    <a:cubicBezTo>
                      <a:pt x="801" y="97"/>
                      <a:pt x="801" y="97"/>
                      <a:pt x="801" y="97"/>
                    </a:cubicBezTo>
                    <a:cubicBezTo>
                      <a:pt x="801" y="96"/>
                      <a:pt x="801" y="96"/>
                      <a:pt x="801" y="96"/>
                    </a:cubicBezTo>
                    <a:cubicBezTo>
                      <a:pt x="801" y="95"/>
                      <a:pt x="801" y="95"/>
                      <a:pt x="801" y="95"/>
                    </a:cubicBezTo>
                    <a:cubicBezTo>
                      <a:pt x="802" y="95"/>
                      <a:pt x="802" y="95"/>
                      <a:pt x="802" y="95"/>
                    </a:cubicBezTo>
                    <a:cubicBezTo>
                      <a:pt x="803" y="95"/>
                      <a:pt x="803" y="95"/>
                      <a:pt x="803" y="95"/>
                    </a:cubicBezTo>
                    <a:cubicBezTo>
                      <a:pt x="805" y="95"/>
                      <a:pt x="805" y="95"/>
                      <a:pt x="805" y="95"/>
                    </a:cubicBezTo>
                    <a:cubicBezTo>
                      <a:pt x="807" y="95"/>
                      <a:pt x="807" y="95"/>
                      <a:pt x="807" y="95"/>
                    </a:cubicBezTo>
                    <a:cubicBezTo>
                      <a:pt x="808" y="95"/>
                      <a:pt x="808" y="95"/>
                      <a:pt x="808" y="95"/>
                    </a:cubicBezTo>
                    <a:cubicBezTo>
                      <a:pt x="809" y="97"/>
                      <a:pt x="809" y="97"/>
                      <a:pt x="809" y="97"/>
                    </a:cubicBezTo>
                    <a:cubicBezTo>
                      <a:pt x="810" y="99"/>
                      <a:pt x="810" y="99"/>
                      <a:pt x="810" y="99"/>
                    </a:cubicBezTo>
                    <a:cubicBezTo>
                      <a:pt x="810" y="103"/>
                      <a:pt x="810" y="103"/>
                      <a:pt x="810" y="103"/>
                    </a:cubicBezTo>
                    <a:cubicBezTo>
                      <a:pt x="809" y="104"/>
                      <a:pt x="809" y="104"/>
                      <a:pt x="809" y="104"/>
                    </a:cubicBezTo>
                    <a:cubicBezTo>
                      <a:pt x="810" y="105"/>
                      <a:pt x="810" y="105"/>
                      <a:pt x="810" y="105"/>
                    </a:cubicBezTo>
                    <a:cubicBezTo>
                      <a:pt x="813" y="106"/>
                      <a:pt x="813" y="106"/>
                      <a:pt x="813" y="106"/>
                    </a:cubicBezTo>
                    <a:cubicBezTo>
                      <a:pt x="813" y="107"/>
                      <a:pt x="813" y="107"/>
                      <a:pt x="813" y="107"/>
                    </a:cubicBezTo>
                    <a:cubicBezTo>
                      <a:pt x="814" y="107"/>
                      <a:pt x="814" y="107"/>
                      <a:pt x="814" y="107"/>
                    </a:cubicBezTo>
                    <a:cubicBezTo>
                      <a:pt x="817" y="107"/>
                      <a:pt x="817" y="107"/>
                      <a:pt x="817" y="107"/>
                    </a:cubicBezTo>
                    <a:cubicBezTo>
                      <a:pt x="818" y="108"/>
                      <a:pt x="818" y="108"/>
                      <a:pt x="818" y="108"/>
                    </a:cubicBezTo>
                    <a:cubicBezTo>
                      <a:pt x="819" y="108"/>
                      <a:pt x="819" y="108"/>
                      <a:pt x="819" y="108"/>
                    </a:cubicBezTo>
                    <a:cubicBezTo>
                      <a:pt x="818" y="107"/>
                      <a:pt x="818" y="107"/>
                      <a:pt x="818" y="107"/>
                    </a:cubicBezTo>
                    <a:cubicBezTo>
                      <a:pt x="819" y="106"/>
                      <a:pt x="819" y="106"/>
                      <a:pt x="819" y="106"/>
                    </a:cubicBezTo>
                    <a:cubicBezTo>
                      <a:pt x="821" y="105"/>
                      <a:pt x="821" y="105"/>
                      <a:pt x="821" y="105"/>
                    </a:cubicBezTo>
                    <a:cubicBezTo>
                      <a:pt x="821" y="105"/>
                      <a:pt x="821" y="105"/>
                      <a:pt x="823" y="103"/>
                    </a:cubicBezTo>
                    <a:cubicBezTo>
                      <a:pt x="823" y="103"/>
                      <a:pt x="823" y="103"/>
                      <a:pt x="824" y="102"/>
                    </a:cubicBezTo>
                    <a:cubicBezTo>
                      <a:pt x="825" y="102"/>
                      <a:pt x="825" y="102"/>
                      <a:pt x="825" y="102"/>
                    </a:cubicBezTo>
                    <a:cubicBezTo>
                      <a:pt x="827" y="100"/>
                      <a:pt x="827" y="100"/>
                      <a:pt x="827" y="100"/>
                    </a:cubicBezTo>
                    <a:cubicBezTo>
                      <a:pt x="827" y="99"/>
                      <a:pt x="827" y="99"/>
                      <a:pt x="827" y="99"/>
                    </a:cubicBezTo>
                    <a:cubicBezTo>
                      <a:pt x="828" y="98"/>
                      <a:pt x="828" y="98"/>
                      <a:pt x="828" y="98"/>
                    </a:cubicBezTo>
                    <a:cubicBezTo>
                      <a:pt x="827" y="98"/>
                      <a:pt x="827" y="98"/>
                      <a:pt x="827" y="98"/>
                    </a:cubicBezTo>
                    <a:cubicBezTo>
                      <a:pt x="826" y="99"/>
                      <a:pt x="826" y="99"/>
                      <a:pt x="826" y="99"/>
                    </a:cubicBezTo>
                    <a:cubicBezTo>
                      <a:pt x="826" y="100"/>
                      <a:pt x="826" y="100"/>
                      <a:pt x="826" y="100"/>
                    </a:cubicBezTo>
                    <a:cubicBezTo>
                      <a:pt x="824" y="102"/>
                      <a:pt x="824" y="102"/>
                      <a:pt x="824" y="102"/>
                    </a:cubicBezTo>
                    <a:cubicBezTo>
                      <a:pt x="824" y="102"/>
                      <a:pt x="824" y="102"/>
                      <a:pt x="824" y="102"/>
                    </a:cubicBezTo>
                    <a:cubicBezTo>
                      <a:pt x="823" y="103"/>
                      <a:pt x="823" y="103"/>
                      <a:pt x="822" y="103"/>
                    </a:cubicBezTo>
                    <a:cubicBezTo>
                      <a:pt x="822" y="103"/>
                      <a:pt x="822" y="103"/>
                      <a:pt x="821" y="105"/>
                    </a:cubicBezTo>
                    <a:cubicBezTo>
                      <a:pt x="819" y="105"/>
                      <a:pt x="819" y="105"/>
                      <a:pt x="819" y="105"/>
                    </a:cubicBezTo>
                    <a:cubicBezTo>
                      <a:pt x="818" y="105"/>
                      <a:pt x="818" y="105"/>
                      <a:pt x="818" y="105"/>
                    </a:cubicBezTo>
                    <a:cubicBezTo>
                      <a:pt x="817" y="105"/>
                      <a:pt x="817" y="105"/>
                      <a:pt x="817" y="105"/>
                    </a:cubicBezTo>
                    <a:cubicBezTo>
                      <a:pt x="816" y="105"/>
                      <a:pt x="816" y="105"/>
                      <a:pt x="816" y="105"/>
                    </a:cubicBezTo>
                    <a:cubicBezTo>
                      <a:pt x="814" y="104"/>
                      <a:pt x="814" y="104"/>
                      <a:pt x="814" y="104"/>
                    </a:cubicBezTo>
                    <a:cubicBezTo>
                      <a:pt x="814" y="103"/>
                      <a:pt x="814" y="103"/>
                      <a:pt x="814" y="103"/>
                    </a:cubicBezTo>
                    <a:cubicBezTo>
                      <a:pt x="815" y="103"/>
                      <a:pt x="815" y="103"/>
                      <a:pt x="815" y="103"/>
                    </a:cubicBezTo>
                    <a:cubicBezTo>
                      <a:pt x="816" y="102"/>
                      <a:pt x="816" y="102"/>
                      <a:pt x="816" y="102"/>
                    </a:cubicBezTo>
                    <a:cubicBezTo>
                      <a:pt x="816" y="101"/>
                      <a:pt x="816" y="101"/>
                      <a:pt x="816" y="101"/>
                    </a:cubicBezTo>
                    <a:cubicBezTo>
                      <a:pt x="815" y="102"/>
                      <a:pt x="815" y="102"/>
                      <a:pt x="815" y="102"/>
                    </a:cubicBezTo>
                    <a:cubicBezTo>
                      <a:pt x="814" y="103"/>
                      <a:pt x="814" y="103"/>
                      <a:pt x="814" y="103"/>
                    </a:cubicBezTo>
                    <a:cubicBezTo>
                      <a:pt x="813" y="102"/>
                      <a:pt x="813" y="102"/>
                      <a:pt x="813" y="102"/>
                    </a:cubicBezTo>
                    <a:cubicBezTo>
                      <a:pt x="813" y="101"/>
                      <a:pt x="813" y="101"/>
                      <a:pt x="813" y="101"/>
                    </a:cubicBezTo>
                    <a:cubicBezTo>
                      <a:pt x="813" y="100"/>
                      <a:pt x="813" y="100"/>
                      <a:pt x="813" y="100"/>
                    </a:cubicBezTo>
                    <a:cubicBezTo>
                      <a:pt x="815" y="100"/>
                      <a:pt x="815" y="100"/>
                      <a:pt x="815" y="100"/>
                    </a:cubicBezTo>
                    <a:cubicBezTo>
                      <a:pt x="815" y="99"/>
                      <a:pt x="815" y="99"/>
                      <a:pt x="815" y="99"/>
                    </a:cubicBezTo>
                    <a:cubicBezTo>
                      <a:pt x="816" y="99"/>
                      <a:pt x="816" y="99"/>
                      <a:pt x="816" y="99"/>
                    </a:cubicBezTo>
                    <a:cubicBezTo>
                      <a:pt x="816" y="98"/>
                      <a:pt x="816" y="98"/>
                      <a:pt x="816" y="98"/>
                    </a:cubicBezTo>
                    <a:cubicBezTo>
                      <a:pt x="815" y="98"/>
                      <a:pt x="815" y="98"/>
                      <a:pt x="815" y="98"/>
                    </a:cubicBezTo>
                    <a:cubicBezTo>
                      <a:pt x="814" y="97"/>
                      <a:pt x="814" y="97"/>
                      <a:pt x="814" y="97"/>
                    </a:cubicBezTo>
                    <a:cubicBezTo>
                      <a:pt x="814" y="98"/>
                      <a:pt x="814" y="98"/>
                      <a:pt x="814" y="98"/>
                    </a:cubicBezTo>
                    <a:cubicBezTo>
                      <a:pt x="813" y="98"/>
                      <a:pt x="813" y="98"/>
                      <a:pt x="813" y="98"/>
                    </a:cubicBezTo>
                    <a:cubicBezTo>
                      <a:pt x="812" y="97"/>
                      <a:pt x="812" y="97"/>
                      <a:pt x="812" y="97"/>
                    </a:cubicBezTo>
                    <a:cubicBezTo>
                      <a:pt x="813" y="96"/>
                      <a:pt x="813" y="96"/>
                      <a:pt x="813" y="96"/>
                    </a:cubicBezTo>
                    <a:cubicBezTo>
                      <a:pt x="814" y="96"/>
                      <a:pt x="814" y="96"/>
                      <a:pt x="814" y="96"/>
                    </a:cubicBezTo>
                    <a:cubicBezTo>
                      <a:pt x="815" y="95"/>
                      <a:pt x="815" y="95"/>
                      <a:pt x="815" y="95"/>
                    </a:cubicBezTo>
                    <a:cubicBezTo>
                      <a:pt x="816" y="96"/>
                      <a:pt x="816" y="96"/>
                      <a:pt x="816" y="96"/>
                    </a:cubicBezTo>
                    <a:cubicBezTo>
                      <a:pt x="817" y="96"/>
                      <a:pt x="817" y="96"/>
                      <a:pt x="817" y="96"/>
                    </a:cubicBezTo>
                    <a:cubicBezTo>
                      <a:pt x="818" y="95"/>
                      <a:pt x="818" y="95"/>
                      <a:pt x="818" y="95"/>
                    </a:cubicBezTo>
                    <a:cubicBezTo>
                      <a:pt x="817" y="95"/>
                      <a:pt x="817" y="95"/>
                      <a:pt x="817" y="95"/>
                    </a:cubicBezTo>
                    <a:cubicBezTo>
                      <a:pt x="818" y="94"/>
                      <a:pt x="818" y="94"/>
                      <a:pt x="818" y="94"/>
                    </a:cubicBezTo>
                    <a:cubicBezTo>
                      <a:pt x="819" y="94"/>
                      <a:pt x="819" y="94"/>
                      <a:pt x="819" y="94"/>
                    </a:cubicBezTo>
                    <a:cubicBezTo>
                      <a:pt x="819" y="93"/>
                      <a:pt x="819" y="93"/>
                      <a:pt x="819" y="93"/>
                    </a:cubicBezTo>
                    <a:cubicBezTo>
                      <a:pt x="818" y="93"/>
                      <a:pt x="818" y="93"/>
                      <a:pt x="818" y="93"/>
                    </a:cubicBezTo>
                    <a:cubicBezTo>
                      <a:pt x="818" y="92"/>
                      <a:pt x="818" y="92"/>
                      <a:pt x="818" y="92"/>
                    </a:cubicBezTo>
                    <a:cubicBezTo>
                      <a:pt x="819" y="91"/>
                      <a:pt x="819" y="91"/>
                      <a:pt x="819" y="91"/>
                    </a:cubicBezTo>
                    <a:cubicBezTo>
                      <a:pt x="820" y="91"/>
                      <a:pt x="820" y="91"/>
                      <a:pt x="820" y="91"/>
                    </a:cubicBezTo>
                    <a:cubicBezTo>
                      <a:pt x="819" y="90"/>
                      <a:pt x="819" y="90"/>
                      <a:pt x="819" y="90"/>
                    </a:cubicBezTo>
                    <a:cubicBezTo>
                      <a:pt x="821" y="88"/>
                      <a:pt x="821" y="88"/>
                      <a:pt x="821" y="88"/>
                    </a:cubicBezTo>
                    <a:cubicBezTo>
                      <a:pt x="822" y="87"/>
                      <a:pt x="822" y="87"/>
                      <a:pt x="822" y="87"/>
                    </a:cubicBezTo>
                    <a:cubicBezTo>
                      <a:pt x="822" y="86"/>
                      <a:pt x="822" y="86"/>
                      <a:pt x="822" y="86"/>
                    </a:cubicBezTo>
                    <a:cubicBezTo>
                      <a:pt x="821" y="87"/>
                      <a:pt x="821" y="87"/>
                      <a:pt x="821" y="87"/>
                    </a:cubicBezTo>
                    <a:cubicBezTo>
                      <a:pt x="819" y="89"/>
                      <a:pt x="819" y="89"/>
                      <a:pt x="819" y="89"/>
                    </a:cubicBezTo>
                    <a:cubicBezTo>
                      <a:pt x="818" y="91"/>
                      <a:pt x="818" y="91"/>
                      <a:pt x="818" y="91"/>
                    </a:cubicBezTo>
                    <a:cubicBezTo>
                      <a:pt x="816" y="93"/>
                      <a:pt x="816" y="93"/>
                      <a:pt x="816" y="93"/>
                    </a:cubicBezTo>
                    <a:cubicBezTo>
                      <a:pt x="815" y="94"/>
                      <a:pt x="815" y="94"/>
                      <a:pt x="815" y="94"/>
                    </a:cubicBezTo>
                    <a:cubicBezTo>
                      <a:pt x="814" y="94"/>
                      <a:pt x="814" y="94"/>
                      <a:pt x="814" y="94"/>
                    </a:cubicBezTo>
                    <a:cubicBezTo>
                      <a:pt x="812" y="94"/>
                      <a:pt x="812" y="94"/>
                      <a:pt x="812" y="94"/>
                    </a:cubicBezTo>
                    <a:cubicBezTo>
                      <a:pt x="812" y="93"/>
                      <a:pt x="812" y="93"/>
                      <a:pt x="812" y="93"/>
                    </a:cubicBezTo>
                    <a:cubicBezTo>
                      <a:pt x="813" y="92"/>
                      <a:pt x="813" y="92"/>
                      <a:pt x="813" y="92"/>
                    </a:cubicBezTo>
                    <a:cubicBezTo>
                      <a:pt x="814" y="91"/>
                      <a:pt x="814" y="91"/>
                      <a:pt x="814" y="91"/>
                    </a:cubicBezTo>
                    <a:cubicBezTo>
                      <a:pt x="814" y="90"/>
                      <a:pt x="814" y="90"/>
                      <a:pt x="814" y="90"/>
                    </a:cubicBezTo>
                    <a:cubicBezTo>
                      <a:pt x="812" y="91"/>
                      <a:pt x="812" y="91"/>
                      <a:pt x="812" y="91"/>
                    </a:cubicBezTo>
                    <a:cubicBezTo>
                      <a:pt x="811" y="91"/>
                      <a:pt x="811" y="91"/>
                      <a:pt x="811" y="91"/>
                    </a:cubicBezTo>
                    <a:cubicBezTo>
                      <a:pt x="811" y="92"/>
                      <a:pt x="811" y="92"/>
                      <a:pt x="811" y="92"/>
                    </a:cubicBezTo>
                    <a:cubicBezTo>
                      <a:pt x="810" y="93"/>
                      <a:pt x="810" y="93"/>
                      <a:pt x="810" y="93"/>
                    </a:cubicBezTo>
                    <a:cubicBezTo>
                      <a:pt x="808" y="93"/>
                      <a:pt x="808" y="93"/>
                      <a:pt x="808" y="93"/>
                    </a:cubicBezTo>
                    <a:cubicBezTo>
                      <a:pt x="806" y="91"/>
                      <a:pt x="806" y="91"/>
                      <a:pt x="806" y="91"/>
                    </a:cubicBezTo>
                    <a:cubicBezTo>
                      <a:pt x="807" y="91"/>
                      <a:pt x="807" y="91"/>
                      <a:pt x="807" y="91"/>
                    </a:cubicBezTo>
                    <a:cubicBezTo>
                      <a:pt x="808" y="90"/>
                      <a:pt x="808" y="90"/>
                      <a:pt x="808" y="90"/>
                    </a:cubicBezTo>
                    <a:cubicBezTo>
                      <a:pt x="807" y="90"/>
                      <a:pt x="807" y="90"/>
                      <a:pt x="807" y="90"/>
                    </a:cubicBezTo>
                    <a:cubicBezTo>
                      <a:pt x="807" y="88"/>
                      <a:pt x="807" y="88"/>
                      <a:pt x="807" y="88"/>
                    </a:cubicBezTo>
                    <a:cubicBezTo>
                      <a:pt x="809" y="87"/>
                      <a:pt x="809" y="87"/>
                      <a:pt x="809" y="87"/>
                    </a:cubicBezTo>
                    <a:cubicBezTo>
                      <a:pt x="809" y="86"/>
                      <a:pt x="809" y="86"/>
                      <a:pt x="809" y="86"/>
                    </a:cubicBezTo>
                    <a:cubicBezTo>
                      <a:pt x="810" y="86"/>
                      <a:pt x="810" y="86"/>
                      <a:pt x="810" y="86"/>
                    </a:cubicBezTo>
                    <a:cubicBezTo>
                      <a:pt x="812" y="85"/>
                      <a:pt x="812" y="85"/>
                      <a:pt x="812" y="85"/>
                    </a:cubicBezTo>
                    <a:cubicBezTo>
                      <a:pt x="813" y="85"/>
                      <a:pt x="813" y="85"/>
                      <a:pt x="813" y="85"/>
                    </a:cubicBezTo>
                    <a:cubicBezTo>
                      <a:pt x="813" y="83"/>
                      <a:pt x="813" y="83"/>
                      <a:pt x="813" y="83"/>
                    </a:cubicBezTo>
                    <a:cubicBezTo>
                      <a:pt x="814" y="82"/>
                      <a:pt x="814" y="82"/>
                      <a:pt x="814" y="82"/>
                    </a:cubicBezTo>
                    <a:cubicBezTo>
                      <a:pt x="815" y="80"/>
                      <a:pt x="815" y="80"/>
                      <a:pt x="815" y="80"/>
                    </a:cubicBezTo>
                    <a:cubicBezTo>
                      <a:pt x="816" y="80"/>
                      <a:pt x="816" y="80"/>
                      <a:pt x="816" y="80"/>
                    </a:cubicBezTo>
                    <a:cubicBezTo>
                      <a:pt x="819" y="79"/>
                      <a:pt x="819" y="79"/>
                      <a:pt x="819" y="79"/>
                    </a:cubicBezTo>
                    <a:cubicBezTo>
                      <a:pt x="821" y="80"/>
                      <a:pt x="821" y="80"/>
                      <a:pt x="821" y="80"/>
                    </a:cubicBezTo>
                    <a:cubicBezTo>
                      <a:pt x="822" y="79"/>
                      <a:pt x="822" y="79"/>
                      <a:pt x="822" y="79"/>
                    </a:cubicBezTo>
                    <a:cubicBezTo>
                      <a:pt x="823" y="79"/>
                      <a:pt x="823" y="79"/>
                      <a:pt x="823" y="79"/>
                    </a:cubicBezTo>
                    <a:cubicBezTo>
                      <a:pt x="824" y="78"/>
                      <a:pt x="824" y="78"/>
                      <a:pt x="824" y="78"/>
                    </a:cubicBezTo>
                    <a:cubicBezTo>
                      <a:pt x="825" y="78"/>
                      <a:pt x="825" y="78"/>
                      <a:pt x="825" y="78"/>
                    </a:cubicBezTo>
                    <a:cubicBezTo>
                      <a:pt x="825" y="79"/>
                      <a:pt x="825" y="79"/>
                      <a:pt x="825" y="79"/>
                    </a:cubicBezTo>
                    <a:cubicBezTo>
                      <a:pt x="827" y="80"/>
                      <a:pt x="827" y="80"/>
                      <a:pt x="827" y="80"/>
                    </a:cubicBezTo>
                    <a:cubicBezTo>
                      <a:pt x="830" y="82"/>
                      <a:pt x="830" y="82"/>
                      <a:pt x="830" y="82"/>
                    </a:cubicBezTo>
                    <a:cubicBezTo>
                      <a:pt x="831" y="83"/>
                      <a:pt x="831" y="83"/>
                      <a:pt x="831" y="83"/>
                    </a:cubicBezTo>
                    <a:cubicBezTo>
                      <a:pt x="831" y="84"/>
                      <a:pt x="831" y="84"/>
                      <a:pt x="831" y="84"/>
                    </a:cubicBezTo>
                    <a:cubicBezTo>
                      <a:pt x="832" y="84"/>
                      <a:pt x="832" y="84"/>
                      <a:pt x="832" y="84"/>
                    </a:cubicBezTo>
                    <a:cubicBezTo>
                      <a:pt x="834" y="87"/>
                      <a:pt x="834" y="87"/>
                      <a:pt x="834" y="87"/>
                    </a:cubicBezTo>
                    <a:cubicBezTo>
                      <a:pt x="834" y="85"/>
                      <a:pt x="834" y="85"/>
                      <a:pt x="834" y="85"/>
                    </a:cubicBezTo>
                    <a:cubicBezTo>
                      <a:pt x="835" y="85"/>
                      <a:pt x="835" y="85"/>
                      <a:pt x="835" y="85"/>
                    </a:cubicBezTo>
                    <a:cubicBezTo>
                      <a:pt x="835" y="84"/>
                      <a:pt x="835" y="84"/>
                      <a:pt x="835" y="84"/>
                    </a:cubicBezTo>
                    <a:cubicBezTo>
                      <a:pt x="833" y="84"/>
                      <a:pt x="833" y="84"/>
                      <a:pt x="833" y="84"/>
                    </a:cubicBezTo>
                    <a:cubicBezTo>
                      <a:pt x="833" y="83"/>
                      <a:pt x="833" y="83"/>
                      <a:pt x="833" y="83"/>
                    </a:cubicBezTo>
                    <a:cubicBezTo>
                      <a:pt x="834" y="82"/>
                      <a:pt x="834" y="82"/>
                      <a:pt x="834" y="82"/>
                    </a:cubicBezTo>
                    <a:cubicBezTo>
                      <a:pt x="836" y="82"/>
                      <a:pt x="836" y="82"/>
                      <a:pt x="836" y="82"/>
                    </a:cubicBezTo>
                    <a:cubicBezTo>
                      <a:pt x="838" y="83"/>
                      <a:pt x="838" y="83"/>
                      <a:pt x="838" y="83"/>
                    </a:cubicBezTo>
                    <a:cubicBezTo>
                      <a:pt x="838" y="82"/>
                      <a:pt x="838" y="82"/>
                      <a:pt x="838" y="82"/>
                    </a:cubicBezTo>
                    <a:cubicBezTo>
                      <a:pt x="838" y="81"/>
                      <a:pt x="838" y="81"/>
                      <a:pt x="838" y="81"/>
                    </a:cubicBezTo>
                    <a:cubicBezTo>
                      <a:pt x="839" y="80"/>
                      <a:pt x="839" y="80"/>
                      <a:pt x="839" y="80"/>
                    </a:cubicBezTo>
                    <a:cubicBezTo>
                      <a:pt x="839" y="79"/>
                      <a:pt x="839" y="79"/>
                      <a:pt x="839" y="79"/>
                    </a:cubicBezTo>
                    <a:cubicBezTo>
                      <a:pt x="838" y="79"/>
                      <a:pt x="838" y="79"/>
                      <a:pt x="838" y="79"/>
                    </a:cubicBezTo>
                    <a:cubicBezTo>
                      <a:pt x="838" y="80"/>
                      <a:pt x="838" y="80"/>
                      <a:pt x="838" y="80"/>
                    </a:cubicBezTo>
                    <a:cubicBezTo>
                      <a:pt x="836" y="81"/>
                      <a:pt x="836" y="81"/>
                      <a:pt x="836" y="81"/>
                    </a:cubicBezTo>
                    <a:cubicBezTo>
                      <a:pt x="836" y="82"/>
                      <a:pt x="836" y="82"/>
                      <a:pt x="836" y="82"/>
                    </a:cubicBezTo>
                    <a:cubicBezTo>
                      <a:pt x="833" y="81"/>
                      <a:pt x="833" y="81"/>
                      <a:pt x="833" y="81"/>
                    </a:cubicBezTo>
                    <a:cubicBezTo>
                      <a:pt x="831" y="81"/>
                      <a:pt x="831" y="81"/>
                      <a:pt x="831" y="81"/>
                    </a:cubicBezTo>
                    <a:cubicBezTo>
                      <a:pt x="831" y="80"/>
                      <a:pt x="831" y="80"/>
                      <a:pt x="831" y="80"/>
                    </a:cubicBezTo>
                    <a:cubicBezTo>
                      <a:pt x="830" y="80"/>
                      <a:pt x="830" y="80"/>
                      <a:pt x="830" y="80"/>
                    </a:cubicBezTo>
                    <a:cubicBezTo>
                      <a:pt x="828" y="80"/>
                      <a:pt x="828" y="80"/>
                      <a:pt x="828" y="80"/>
                    </a:cubicBezTo>
                    <a:cubicBezTo>
                      <a:pt x="826" y="77"/>
                      <a:pt x="826" y="77"/>
                      <a:pt x="826" y="77"/>
                    </a:cubicBezTo>
                    <a:cubicBezTo>
                      <a:pt x="826" y="75"/>
                      <a:pt x="826" y="75"/>
                      <a:pt x="826" y="75"/>
                    </a:cubicBezTo>
                    <a:cubicBezTo>
                      <a:pt x="827" y="74"/>
                      <a:pt x="827" y="74"/>
                      <a:pt x="827" y="74"/>
                    </a:cubicBezTo>
                    <a:cubicBezTo>
                      <a:pt x="828" y="75"/>
                      <a:pt x="828" y="75"/>
                      <a:pt x="828" y="75"/>
                    </a:cubicBezTo>
                    <a:cubicBezTo>
                      <a:pt x="828" y="76"/>
                      <a:pt x="828" y="76"/>
                      <a:pt x="828" y="76"/>
                    </a:cubicBezTo>
                    <a:cubicBezTo>
                      <a:pt x="829" y="77"/>
                      <a:pt x="829" y="77"/>
                      <a:pt x="829" y="77"/>
                    </a:cubicBezTo>
                    <a:cubicBezTo>
                      <a:pt x="830" y="75"/>
                      <a:pt x="830" y="75"/>
                      <a:pt x="830" y="75"/>
                    </a:cubicBezTo>
                    <a:cubicBezTo>
                      <a:pt x="830" y="74"/>
                      <a:pt x="830" y="74"/>
                      <a:pt x="830" y="74"/>
                    </a:cubicBezTo>
                    <a:cubicBezTo>
                      <a:pt x="829" y="74"/>
                      <a:pt x="829" y="74"/>
                      <a:pt x="829" y="74"/>
                    </a:cubicBezTo>
                    <a:cubicBezTo>
                      <a:pt x="829" y="72"/>
                      <a:pt x="829" y="72"/>
                      <a:pt x="829" y="72"/>
                    </a:cubicBezTo>
                    <a:cubicBezTo>
                      <a:pt x="830" y="70"/>
                      <a:pt x="830" y="70"/>
                      <a:pt x="830" y="70"/>
                    </a:cubicBezTo>
                    <a:cubicBezTo>
                      <a:pt x="830" y="69"/>
                      <a:pt x="830" y="69"/>
                      <a:pt x="830" y="69"/>
                    </a:cubicBezTo>
                    <a:cubicBezTo>
                      <a:pt x="831" y="67"/>
                      <a:pt x="831" y="67"/>
                      <a:pt x="831" y="67"/>
                    </a:cubicBezTo>
                    <a:cubicBezTo>
                      <a:pt x="830" y="63"/>
                      <a:pt x="830" y="63"/>
                      <a:pt x="830" y="63"/>
                    </a:cubicBezTo>
                    <a:cubicBezTo>
                      <a:pt x="830" y="62"/>
                      <a:pt x="830" y="62"/>
                      <a:pt x="830" y="62"/>
                    </a:cubicBezTo>
                    <a:cubicBezTo>
                      <a:pt x="829" y="61"/>
                      <a:pt x="829" y="61"/>
                      <a:pt x="829" y="61"/>
                    </a:cubicBezTo>
                    <a:cubicBezTo>
                      <a:pt x="829" y="60"/>
                      <a:pt x="829" y="60"/>
                      <a:pt x="829" y="60"/>
                    </a:cubicBezTo>
                    <a:cubicBezTo>
                      <a:pt x="829" y="59"/>
                      <a:pt x="829" y="59"/>
                      <a:pt x="829" y="59"/>
                    </a:cubicBezTo>
                    <a:cubicBezTo>
                      <a:pt x="830" y="59"/>
                      <a:pt x="830" y="59"/>
                      <a:pt x="830" y="59"/>
                    </a:cubicBezTo>
                    <a:cubicBezTo>
                      <a:pt x="830" y="58"/>
                      <a:pt x="830" y="58"/>
                      <a:pt x="830" y="58"/>
                    </a:cubicBezTo>
                    <a:cubicBezTo>
                      <a:pt x="831" y="59"/>
                      <a:pt x="831" y="59"/>
                      <a:pt x="831" y="59"/>
                    </a:cubicBezTo>
                    <a:cubicBezTo>
                      <a:pt x="832" y="59"/>
                      <a:pt x="832" y="59"/>
                      <a:pt x="832" y="59"/>
                    </a:cubicBezTo>
                    <a:cubicBezTo>
                      <a:pt x="833" y="61"/>
                      <a:pt x="833" y="61"/>
                      <a:pt x="833" y="61"/>
                    </a:cubicBezTo>
                    <a:cubicBezTo>
                      <a:pt x="833" y="60"/>
                      <a:pt x="833" y="60"/>
                      <a:pt x="833" y="60"/>
                    </a:cubicBezTo>
                    <a:cubicBezTo>
                      <a:pt x="833" y="59"/>
                      <a:pt x="833" y="59"/>
                      <a:pt x="833" y="59"/>
                    </a:cubicBezTo>
                    <a:cubicBezTo>
                      <a:pt x="832" y="58"/>
                      <a:pt x="832" y="58"/>
                      <a:pt x="832" y="58"/>
                    </a:cubicBezTo>
                    <a:cubicBezTo>
                      <a:pt x="831" y="58"/>
                      <a:pt x="831" y="58"/>
                      <a:pt x="831" y="58"/>
                    </a:cubicBezTo>
                    <a:cubicBezTo>
                      <a:pt x="830" y="57"/>
                      <a:pt x="830" y="57"/>
                      <a:pt x="830" y="57"/>
                    </a:cubicBezTo>
                    <a:cubicBezTo>
                      <a:pt x="830" y="56"/>
                      <a:pt x="830" y="56"/>
                      <a:pt x="830" y="56"/>
                    </a:cubicBezTo>
                    <a:cubicBezTo>
                      <a:pt x="831" y="54"/>
                      <a:pt x="831" y="54"/>
                      <a:pt x="831" y="54"/>
                    </a:cubicBezTo>
                    <a:cubicBezTo>
                      <a:pt x="835" y="50"/>
                      <a:pt x="835" y="50"/>
                      <a:pt x="835" y="50"/>
                    </a:cubicBezTo>
                    <a:cubicBezTo>
                      <a:pt x="836" y="50"/>
                      <a:pt x="836" y="50"/>
                      <a:pt x="836" y="50"/>
                    </a:cubicBezTo>
                    <a:cubicBezTo>
                      <a:pt x="837" y="50"/>
                      <a:pt x="837" y="50"/>
                      <a:pt x="837" y="50"/>
                    </a:cubicBezTo>
                    <a:cubicBezTo>
                      <a:pt x="838" y="51"/>
                      <a:pt x="838" y="51"/>
                      <a:pt x="838" y="51"/>
                    </a:cubicBezTo>
                    <a:cubicBezTo>
                      <a:pt x="839" y="53"/>
                      <a:pt x="839" y="53"/>
                      <a:pt x="839" y="53"/>
                    </a:cubicBezTo>
                    <a:cubicBezTo>
                      <a:pt x="840" y="53"/>
                      <a:pt x="840" y="53"/>
                      <a:pt x="840" y="53"/>
                    </a:cubicBezTo>
                    <a:cubicBezTo>
                      <a:pt x="843" y="54"/>
                      <a:pt x="843" y="54"/>
                      <a:pt x="843" y="54"/>
                    </a:cubicBezTo>
                    <a:cubicBezTo>
                      <a:pt x="843" y="56"/>
                      <a:pt x="843" y="56"/>
                      <a:pt x="843" y="56"/>
                    </a:cubicBezTo>
                    <a:cubicBezTo>
                      <a:pt x="845" y="57"/>
                      <a:pt x="845" y="57"/>
                      <a:pt x="845" y="57"/>
                    </a:cubicBezTo>
                    <a:cubicBezTo>
                      <a:pt x="845" y="60"/>
                      <a:pt x="845" y="60"/>
                      <a:pt x="845" y="60"/>
                    </a:cubicBezTo>
                    <a:cubicBezTo>
                      <a:pt x="845" y="63"/>
                      <a:pt x="845" y="63"/>
                      <a:pt x="845" y="63"/>
                    </a:cubicBezTo>
                    <a:cubicBezTo>
                      <a:pt x="845" y="65"/>
                      <a:pt x="845" y="65"/>
                      <a:pt x="845" y="65"/>
                    </a:cubicBezTo>
                    <a:cubicBezTo>
                      <a:pt x="846" y="66"/>
                      <a:pt x="846" y="66"/>
                      <a:pt x="846" y="66"/>
                    </a:cubicBezTo>
                    <a:cubicBezTo>
                      <a:pt x="847" y="65"/>
                      <a:pt x="847" y="65"/>
                      <a:pt x="847" y="65"/>
                    </a:cubicBezTo>
                    <a:cubicBezTo>
                      <a:pt x="848" y="66"/>
                      <a:pt x="848" y="66"/>
                      <a:pt x="848" y="66"/>
                    </a:cubicBezTo>
                    <a:cubicBezTo>
                      <a:pt x="849" y="67"/>
                      <a:pt x="849" y="67"/>
                      <a:pt x="849" y="67"/>
                    </a:cubicBezTo>
                    <a:cubicBezTo>
                      <a:pt x="850" y="66"/>
                      <a:pt x="850" y="66"/>
                      <a:pt x="850" y="66"/>
                    </a:cubicBezTo>
                    <a:cubicBezTo>
                      <a:pt x="849" y="65"/>
                      <a:pt x="849" y="65"/>
                      <a:pt x="849" y="65"/>
                    </a:cubicBezTo>
                    <a:cubicBezTo>
                      <a:pt x="848" y="64"/>
                      <a:pt x="848" y="64"/>
                      <a:pt x="848" y="64"/>
                    </a:cubicBezTo>
                    <a:cubicBezTo>
                      <a:pt x="847" y="64"/>
                      <a:pt x="847" y="64"/>
                      <a:pt x="847" y="64"/>
                    </a:cubicBezTo>
                    <a:cubicBezTo>
                      <a:pt x="847" y="63"/>
                      <a:pt x="847" y="63"/>
                      <a:pt x="847" y="63"/>
                    </a:cubicBezTo>
                    <a:cubicBezTo>
                      <a:pt x="848" y="62"/>
                      <a:pt x="848" y="62"/>
                      <a:pt x="848" y="62"/>
                    </a:cubicBezTo>
                    <a:cubicBezTo>
                      <a:pt x="848" y="61"/>
                      <a:pt x="848" y="61"/>
                      <a:pt x="848" y="61"/>
                    </a:cubicBezTo>
                    <a:cubicBezTo>
                      <a:pt x="848" y="56"/>
                      <a:pt x="848" y="56"/>
                      <a:pt x="848" y="56"/>
                    </a:cubicBezTo>
                    <a:cubicBezTo>
                      <a:pt x="847" y="55"/>
                      <a:pt x="847" y="55"/>
                      <a:pt x="847" y="55"/>
                    </a:cubicBezTo>
                    <a:cubicBezTo>
                      <a:pt x="848" y="54"/>
                      <a:pt x="848" y="54"/>
                      <a:pt x="848" y="54"/>
                    </a:cubicBezTo>
                    <a:cubicBezTo>
                      <a:pt x="850" y="54"/>
                      <a:pt x="850" y="54"/>
                      <a:pt x="850" y="54"/>
                    </a:cubicBezTo>
                    <a:cubicBezTo>
                      <a:pt x="851" y="54"/>
                      <a:pt x="851" y="54"/>
                      <a:pt x="851" y="54"/>
                    </a:cubicBezTo>
                    <a:cubicBezTo>
                      <a:pt x="853" y="55"/>
                      <a:pt x="853" y="55"/>
                      <a:pt x="853" y="55"/>
                    </a:cubicBezTo>
                    <a:cubicBezTo>
                      <a:pt x="854" y="55"/>
                      <a:pt x="854" y="55"/>
                      <a:pt x="854" y="55"/>
                    </a:cubicBezTo>
                    <a:cubicBezTo>
                      <a:pt x="856" y="55"/>
                      <a:pt x="856" y="55"/>
                      <a:pt x="856" y="55"/>
                    </a:cubicBezTo>
                    <a:cubicBezTo>
                      <a:pt x="859" y="55"/>
                      <a:pt x="859" y="55"/>
                      <a:pt x="859" y="55"/>
                    </a:cubicBezTo>
                    <a:cubicBezTo>
                      <a:pt x="861" y="54"/>
                      <a:pt x="861" y="54"/>
                      <a:pt x="861" y="54"/>
                    </a:cubicBezTo>
                    <a:cubicBezTo>
                      <a:pt x="862" y="55"/>
                      <a:pt x="862" y="55"/>
                      <a:pt x="862" y="55"/>
                    </a:cubicBezTo>
                    <a:cubicBezTo>
                      <a:pt x="863" y="56"/>
                      <a:pt x="863" y="56"/>
                      <a:pt x="863" y="56"/>
                    </a:cubicBezTo>
                    <a:cubicBezTo>
                      <a:pt x="866" y="56"/>
                      <a:pt x="866" y="56"/>
                      <a:pt x="866" y="56"/>
                    </a:cubicBezTo>
                    <a:cubicBezTo>
                      <a:pt x="867" y="57"/>
                      <a:pt x="867" y="57"/>
                      <a:pt x="867" y="57"/>
                    </a:cubicBezTo>
                    <a:cubicBezTo>
                      <a:pt x="868" y="56"/>
                      <a:pt x="868" y="56"/>
                      <a:pt x="868" y="56"/>
                    </a:cubicBezTo>
                    <a:cubicBezTo>
                      <a:pt x="867" y="55"/>
                      <a:pt x="867" y="55"/>
                      <a:pt x="867" y="55"/>
                    </a:cubicBezTo>
                    <a:cubicBezTo>
                      <a:pt x="865" y="55"/>
                      <a:pt x="865" y="55"/>
                      <a:pt x="865" y="55"/>
                    </a:cubicBezTo>
                    <a:cubicBezTo>
                      <a:pt x="863" y="54"/>
                      <a:pt x="863" y="54"/>
                      <a:pt x="863" y="54"/>
                    </a:cubicBezTo>
                    <a:cubicBezTo>
                      <a:pt x="863" y="53"/>
                      <a:pt x="863" y="53"/>
                      <a:pt x="863" y="53"/>
                    </a:cubicBezTo>
                    <a:cubicBezTo>
                      <a:pt x="864" y="53"/>
                      <a:pt x="864" y="53"/>
                      <a:pt x="864" y="53"/>
                    </a:cubicBezTo>
                    <a:cubicBezTo>
                      <a:pt x="866" y="53"/>
                      <a:pt x="866" y="53"/>
                      <a:pt x="866" y="53"/>
                    </a:cubicBezTo>
                    <a:cubicBezTo>
                      <a:pt x="870" y="52"/>
                      <a:pt x="870" y="52"/>
                      <a:pt x="870" y="52"/>
                    </a:cubicBezTo>
                    <a:cubicBezTo>
                      <a:pt x="873" y="52"/>
                      <a:pt x="873" y="52"/>
                      <a:pt x="873" y="52"/>
                    </a:cubicBezTo>
                    <a:cubicBezTo>
                      <a:pt x="875" y="53"/>
                      <a:pt x="875" y="53"/>
                      <a:pt x="875" y="53"/>
                    </a:cubicBezTo>
                    <a:cubicBezTo>
                      <a:pt x="877" y="54"/>
                      <a:pt x="877" y="54"/>
                      <a:pt x="877" y="54"/>
                    </a:cubicBezTo>
                    <a:cubicBezTo>
                      <a:pt x="878" y="53"/>
                      <a:pt x="878" y="53"/>
                      <a:pt x="878" y="53"/>
                    </a:cubicBezTo>
                    <a:cubicBezTo>
                      <a:pt x="879" y="53"/>
                      <a:pt x="879" y="53"/>
                      <a:pt x="879" y="53"/>
                    </a:cubicBezTo>
                    <a:cubicBezTo>
                      <a:pt x="878" y="52"/>
                      <a:pt x="878" y="52"/>
                      <a:pt x="878" y="52"/>
                    </a:cubicBezTo>
                    <a:cubicBezTo>
                      <a:pt x="877" y="52"/>
                      <a:pt x="877" y="52"/>
                      <a:pt x="877" y="52"/>
                    </a:cubicBezTo>
                    <a:cubicBezTo>
                      <a:pt x="877" y="51"/>
                      <a:pt x="877" y="51"/>
                      <a:pt x="877" y="51"/>
                    </a:cubicBezTo>
                    <a:cubicBezTo>
                      <a:pt x="876" y="50"/>
                      <a:pt x="876" y="50"/>
                      <a:pt x="876" y="50"/>
                    </a:cubicBezTo>
                    <a:cubicBezTo>
                      <a:pt x="874" y="50"/>
                      <a:pt x="874" y="50"/>
                      <a:pt x="874" y="50"/>
                    </a:cubicBezTo>
                    <a:cubicBezTo>
                      <a:pt x="873" y="50"/>
                      <a:pt x="873" y="50"/>
                      <a:pt x="873" y="50"/>
                    </a:cubicBezTo>
                    <a:cubicBezTo>
                      <a:pt x="870" y="50"/>
                      <a:pt x="870" y="50"/>
                      <a:pt x="870" y="50"/>
                    </a:cubicBezTo>
                    <a:cubicBezTo>
                      <a:pt x="871" y="49"/>
                      <a:pt x="871" y="49"/>
                      <a:pt x="871" y="49"/>
                    </a:cubicBezTo>
                    <a:cubicBezTo>
                      <a:pt x="871" y="47"/>
                      <a:pt x="871" y="47"/>
                      <a:pt x="871" y="47"/>
                    </a:cubicBezTo>
                    <a:cubicBezTo>
                      <a:pt x="873" y="47"/>
                      <a:pt x="873" y="47"/>
                      <a:pt x="873" y="47"/>
                    </a:cubicBezTo>
                    <a:cubicBezTo>
                      <a:pt x="874" y="46"/>
                      <a:pt x="874" y="46"/>
                      <a:pt x="874" y="46"/>
                    </a:cubicBezTo>
                    <a:cubicBezTo>
                      <a:pt x="875" y="44"/>
                      <a:pt x="875" y="44"/>
                      <a:pt x="875" y="44"/>
                    </a:cubicBezTo>
                    <a:cubicBezTo>
                      <a:pt x="878" y="42"/>
                      <a:pt x="878" y="42"/>
                      <a:pt x="878" y="42"/>
                    </a:cubicBezTo>
                    <a:cubicBezTo>
                      <a:pt x="877" y="42"/>
                      <a:pt x="877" y="42"/>
                      <a:pt x="877" y="42"/>
                    </a:cubicBezTo>
                    <a:cubicBezTo>
                      <a:pt x="874" y="44"/>
                      <a:pt x="874" y="44"/>
                      <a:pt x="874" y="44"/>
                    </a:cubicBezTo>
                    <a:cubicBezTo>
                      <a:pt x="873" y="46"/>
                      <a:pt x="873" y="46"/>
                      <a:pt x="873" y="46"/>
                    </a:cubicBezTo>
                    <a:cubicBezTo>
                      <a:pt x="872" y="44"/>
                      <a:pt x="872" y="44"/>
                      <a:pt x="872" y="44"/>
                    </a:cubicBezTo>
                    <a:cubicBezTo>
                      <a:pt x="871" y="45"/>
                      <a:pt x="871" y="45"/>
                      <a:pt x="871" y="45"/>
                    </a:cubicBezTo>
                    <a:cubicBezTo>
                      <a:pt x="870" y="46"/>
                      <a:pt x="870" y="46"/>
                      <a:pt x="870" y="46"/>
                    </a:cubicBezTo>
                    <a:cubicBezTo>
                      <a:pt x="868" y="48"/>
                      <a:pt x="868" y="48"/>
                      <a:pt x="868" y="48"/>
                    </a:cubicBezTo>
                    <a:cubicBezTo>
                      <a:pt x="869" y="48"/>
                      <a:pt x="869" y="48"/>
                      <a:pt x="869" y="48"/>
                    </a:cubicBezTo>
                    <a:cubicBezTo>
                      <a:pt x="867" y="50"/>
                      <a:pt x="867" y="50"/>
                      <a:pt x="867" y="50"/>
                    </a:cubicBezTo>
                    <a:cubicBezTo>
                      <a:pt x="866" y="50"/>
                      <a:pt x="866" y="50"/>
                      <a:pt x="866" y="50"/>
                    </a:cubicBezTo>
                    <a:cubicBezTo>
                      <a:pt x="861" y="52"/>
                      <a:pt x="861" y="52"/>
                      <a:pt x="861" y="52"/>
                    </a:cubicBezTo>
                    <a:cubicBezTo>
                      <a:pt x="860" y="52"/>
                      <a:pt x="860" y="52"/>
                      <a:pt x="860" y="52"/>
                    </a:cubicBezTo>
                    <a:cubicBezTo>
                      <a:pt x="859" y="52"/>
                      <a:pt x="859" y="52"/>
                      <a:pt x="859" y="52"/>
                    </a:cubicBezTo>
                    <a:cubicBezTo>
                      <a:pt x="855" y="52"/>
                      <a:pt x="855" y="52"/>
                      <a:pt x="855" y="52"/>
                    </a:cubicBezTo>
                    <a:cubicBezTo>
                      <a:pt x="853" y="50"/>
                      <a:pt x="853" y="50"/>
                      <a:pt x="853" y="50"/>
                    </a:cubicBezTo>
                    <a:cubicBezTo>
                      <a:pt x="852" y="51"/>
                      <a:pt x="852" y="51"/>
                      <a:pt x="852" y="51"/>
                    </a:cubicBezTo>
                    <a:cubicBezTo>
                      <a:pt x="851" y="51"/>
                      <a:pt x="851" y="51"/>
                      <a:pt x="851" y="51"/>
                    </a:cubicBezTo>
                    <a:cubicBezTo>
                      <a:pt x="850" y="49"/>
                      <a:pt x="850" y="49"/>
                      <a:pt x="850" y="49"/>
                    </a:cubicBezTo>
                    <a:cubicBezTo>
                      <a:pt x="852" y="48"/>
                      <a:pt x="852" y="48"/>
                      <a:pt x="852" y="48"/>
                    </a:cubicBezTo>
                    <a:cubicBezTo>
                      <a:pt x="854" y="48"/>
                      <a:pt x="854" y="48"/>
                      <a:pt x="854" y="48"/>
                    </a:cubicBezTo>
                    <a:cubicBezTo>
                      <a:pt x="855" y="47"/>
                      <a:pt x="855" y="47"/>
                      <a:pt x="855" y="47"/>
                    </a:cubicBezTo>
                    <a:cubicBezTo>
                      <a:pt x="856" y="47"/>
                      <a:pt x="856" y="47"/>
                      <a:pt x="856" y="47"/>
                    </a:cubicBezTo>
                    <a:cubicBezTo>
                      <a:pt x="857" y="47"/>
                      <a:pt x="857" y="47"/>
                      <a:pt x="857" y="47"/>
                    </a:cubicBezTo>
                    <a:cubicBezTo>
                      <a:pt x="858" y="46"/>
                      <a:pt x="858" y="46"/>
                      <a:pt x="858" y="46"/>
                    </a:cubicBezTo>
                    <a:cubicBezTo>
                      <a:pt x="857" y="46"/>
                      <a:pt x="857" y="46"/>
                      <a:pt x="857" y="46"/>
                    </a:cubicBezTo>
                    <a:cubicBezTo>
                      <a:pt x="856" y="47"/>
                      <a:pt x="856" y="47"/>
                      <a:pt x="856" y="47"/>
                    </a:cubicBezTo>
                    <a:cubicBezTo>
                      <a:pt x="854" y="46"/>
                      <a:pt x="854" y="46"/>
                      <a:pt x="854" y="46"/>
                    </a:cubicBezTo>
                    <a:cubicBezTo>
                      <a:pt x="853" y="47"/>
                      <a:pt x="853" y="47"/>
                      <a:pt x="853" y="47"/>
                    </a:cubicBezTo>
                    <a:cubicBezTo>
                      <a:pt x="852" y="47"/>
                      <a:pt x="852" y="47"/>
                      <a:pt x="852" y="47"/>
                    </a:cubicBezTo>
                    <a:cubicBezTo>
                      <a:pt x="852" y="46"/>
                      <a:pt x="852" y="46"/>
                      <a:pt x="852" y="46"/>
                    </a:cubicBezTo>
                    <a:cubicBezTo>
                      <a:pt x="853" y="45"/>
                      <a:pt x="853" y="45"/>
                      <a:pt x="853" y="45"/>
                    </a:cubicBezTo>
                    <a:cubicBezTo>
                      <a:pt x="852" y="45"/>
                      <a:pt x="852" y="45"/>
                      <a:pt x="852" y="45"/>
                    </a:cubicBezTo>
                    <a:cubicBezTo>
                      <a:pt x="850" y="45"/>
                      <a:pt x="850" y="45"/>
                      <a:pt x="850" y="45"/>
                    </a:cubicBezTo>
                    <a:cubicBezTo>
                      <a:pt x="850" y="47"/>
                      <a:pt x="850" y="47"/>
                      <a:pt x="850" y="47"/>
                    </a:cubicBezTo>
                    <a:cubicBezTo>
                      <a:pt x="848" y="49"/>
                      <a:pt x="848" y="49"/>
                      <a:pt x="848" y="49"/>
                    </a:cubicBezTo>
                    <a:cubicBezTo>
                      <a:pt x="846" y="49"/>
                      <a:pt x="846" y="49"/>
                      <a:pt x="846" y="49"/>
                    </a:cubicBezTo>
                    <a:cubicBezTo>
                      <a:pt x="843" y="48"/>
                      <a:pt x="843" y="48"/>
                      <a:pt x="843" y="48"/>
                    </a:cubicBezTo>
                    <a:cubicBezTo>
                      <a:pt x="841" y="48"/>
                      <a:pt x="841" y="48"/>
                      <a:pt x="841" y="48"/>
                    </a:cubicBezTo>
                    <a:cubicBezTo>
                      <a:pt x="840" y="47"/>
                      <a:pt x="840" y="47"/>
                      <a:pt x="840" y="47"/>
                    </a:cubicBezTo>
                    <a:cubicBezTo>
                      <a:pt x="840" y="46"/>
                      <a:pt x="840" y="46"/>
                      <a:pt x="840" y="46"/>
                    </a:cubicBezTo>
                    <a:cubicBezTo>
                      <a:pt x="838" y="46"/>
                      <a:pt x="838" y="46"/>
                      <a:pt x="838" y="46"/>
                    </a:cubicBezTo>
                    <a:cubicBezTo>
                      <a:pt x="837" y="45"/>
                      <a:pt x="837" y="45"/>
                      <a:pt x="837" y="45"/>
                    </a:cubicBezTo>
                    <a:cubicBezTo>
                      <a:pt x="837" y="44"/>
                      <a:pt x="837" y="44"/>
                      <a:pt x="837" y="44"/>
                    </a:cubicBezTo>
                    <a:cubicBezTo>
                      <a:pt x="838" y="43"/>
                      <a:pt x="838" y="43"/>
                      <a:pt x="838" y="43"/>
                    </a:cubicBezTo>
                    <a:cubicBezTo>
                      <a:pt x="839" y="42"/>
                      <a:pt x="839" y="42"/>
                      <a:pt x="839" y="42"/>
                    </a:cubicBezTo>
                    <a:cubicBezTo>
                      <a:pt x="841" y="41"/>
                      <a:pt x="841" y="41"/>
                      <a:pt x="841" y="41"/>
                    </a:cubicBezTo>
                    <a:cubicBezTo>
                      <a:pt x="842" y="39"/>
                      <a:pt x="842" y="39"/>
                      <a:pt x="842" y="39"/>
                    </a:cubicBezTo>
                    <a:cubicBezTo>
                      <a:pt x="844" y="38"/>
                      <a:pt x="844" y="38"/>
                      <a:pt x="844" y="38"/>
                    </a:cubicBezTo>
                    <a:cubicBezTo>
                      <a:pt x="846" y="38"/>
                      <a:pt x="846" y="38"/>
                      <a:pt x="846" y="38"/>
                    </a:cubicBezTo>
                    <a:cubicBezTo>
                      <a:pt x="848" y="38"/>
                      <a:pt x="848" y="38"/>
                      <a:pt x="848" y="38"/>
                    </a:cubicBezTo>
                    <a:cubicBezTo>
                      <a:pt x="849" y="38"/>
                      <a:pt x="849" y="38"/>
                      <a:pt x="849" y="38"/>
                    </a:cubicBezTo>
                    <a:cubicBezTo>
                      <a:pt x="850" y="38"/>
                      <a:pt x="850" y="38"/>
                      <a:pt x="850" y="38"/>
                    </a:cubicBezTo>
                    <a:cubicBezTo>
                      <a:pt x="853" y="39"/>
                      <a:pt x="853" y="39"/>
                      <a:pt x="853" y="39"/>
                    </a:cubicBezTo>
                    <a:cubicBezTo>
                      <a:pt x="855" y="39"/>
                      <a:pt x="855" y="39"/>
                      <a:pt x="855" y="39"/>
                    </a:cubicBezTo>
                    <a:cubicBezTo>
                      <a:pt x="856" y="40"/>
                      <a:pt x="856" y="40"/>
                      <a:pt x="856" y="40"/>
                    </a:cubicBezTo>
                    <a:cubicBezTo>
                      <a:pt x="858" y="39"/>
                      <a:pt x="858" y="39"/>
                      <a:pt x="858" y="39"/>
                    </a:cubicBezTo>
                    <a:cubicBezTo>
                      <a:pt x="857" y="38"/>
                      <a:pt x="857" y="38"/>
                      <a:pt x="857" y="38"/>
                    </a:cubicBezTo>
                    <a:cubicBezTo>
                      <a:pt x="855" y="39"/>
                      <a:pt x="855" y="39"/>
                      <a:pt x="855" y="39"/>
                    </a:cubicBezTo>
                    <a:cubicBezTo>
                      <a:pt x="852" y="38"/>
                      <a:pt x="852" y="38"/>
                      <a:pt x="852" y="38"/>
                    </a:cubicBezTo>
                    <a:cubicBezTo>
                      <a:pt x="851" y="37"/>
                      <a:pt x="851" y="37"/>
                      <a:pt x="851" y="37"/>
                    </a:cubicBezTo>
                    <a:cubicBezTo>
                      <a:pt x="849" y="37"/>
                      <a:pt x="849" y="37"/>
                      <a:pt x="849" y="37"/>
                    </a:cubicBezTo>
                    <a:cubicBezTo>
                      <a:pt x="847" y="37"/>
                      <a:pt x="847" y="37"/>
                      <a:pt x="847" y="37"/>
                    </a:cubicBezTo>
                    <a:cubicBezTo>
                      <a:pt x="844" y="37"/>
                      <a:pt x="844" y="37"/>
                      <a:pt x="844" y="37"/>
                    </a:cubicBezTo>
                    <a:cubicBezTo>
                      <a:pt x="843" y="37"/>
                      <a:pt x="843" y="37"/>
                      <a:pt x="843" y="37"/>
                    </a:cubicBezTo>
                    <a:cubicBezTo>
                      <a:pt x="841" y="39"/>
                      <a:pt x="841" y="39"/>
                      <a:pt x="841" y="39"/>
                    </a:cubicBezTo>
                    <a:cubicBezTo>
                      <a:pt x="839" y="40"/>
                      <a:pt x="839" y="40"/>
                      <a:pt x="839" y="40"/>
                    </a:cubicBezTo>
                    <a:cubicBezTo>
                      <a:pt x="837" y="41"/>
                      <a:pt x="837" y="41"/>
                      <a:pt x="837" y="41"/>
                    </a:cubicBezTo>
                    <a:cubicBezTo>
                      <a:pt x="835" y="43"/>
                      <a:pt x="835" y="43"/>
                      <a:pt x="835" y="43"/>
                    </a:cubicBezTo>
                    <a:cubicBezTo>
                      <a:pt x="834" y="43"/>
                      <a:pt x="834" y="43"/>
                      <a:pt x="834" y="43"/>
                    </a:cubicBezTo>
                    <a:cubicBezTo>
                      <a:pt x="832" y="41"/>
                      <a:pt x="832" y="41"/>
                      <a:pt x="832" y="41"/>
                    </a:cubicBezTo>
                    <a:cubicBezTo>
                      <a:pt x="831" y="41"/>
                      <a:pt x="831" y="41"/>
                      <a:pt x="831" y="41"/>
                    </a:cubicBezTo>
                    <a:cubicBezTo>
                      <a:pt x="831" y="40"/>
                      <a:pt x="831" y="40"/>
                      <a:pt x="831" y="40"/>
                    </a:cubicBezTo>
                    <a:cubicBezTo>
                      <a:pt x="830" y="38"/>
                      <a:pt x="830" y="38"/>
                      <a:pt x="830" y="38"/>
                    </a:cubicBezTo>
                    <a:close/>
                    <a:moveTo>
                      <a:pt x="795" y="119"/>
                    </a:moveTo>
                    <a:cubicBezTo>
                      <a:pt x="795" y="117"/>
                      <a:pt x="795" y="117"/>
                      <a:pt x="795" y="117"/>
                    </a:cubicBezTo>
                    <a:cubicBezTo>
                      <a:pt x="794" y="117"/>
                      <a:pt x="794" y="117"/>
                      <a:pt x="794" y="117"/>
                    </a:cubicBezTo>
                    <a:cubicBezTo>
                      <a:pt x="794" y="118"/>
                      <a:pt x="794" y="118"/>
                      <a:pt x="794" y="118"/>
                    </a:cubicBezTo>
                    <a:cubicBezTo>
                      <a:pt x="795" y="119"/>
                      <a:pt x="795" y="119"/>
                      <a:pt x="795" y="119"/>
                    </a:cubicBezTo>
                    <a:close/>
                    <a:moveTo>
                      <a:pt x="883" y="40"/>
                    </a:moveTo>
                    <a:cubicBezTo>
                      <a:pt x="879" y="42"/>
                      <a:pt x="879" y="42"/>
                      <a:pt x="879" y="42"/>
                    </a:cubicBezTo>
                    <a:cubicBezTo>
                      <a:pt x="880" y="42"/>
                      <a:pt x="880" y="42"/>
                      <a:pt x="880" y="42"/>
                    </a:cubicBezTo>
                    <a:cubicBezTo>
                      <a:pt x="883" y="41"/>
                      <a:pt x="883" y="41"/>
                      <a:pt x="883" y="41"/>
                    </a:cubicBezTo>
                    <a:cubicBezTo>
                      <a:pt x="883" y="40"/>
                      <a:pt x="883" y="40"/>
                      <a:pt x="883" y="40"/>
                    </a:cubicBezTo>
                    <a:close/>
                    <a:moveTo>
                      <a:pt x="840" y="35"/>
                    </a:moveTo>
                    <a:cubicBezTo>
                      <a:pt x="840" y="36"/>
                      <a:pt x="840" y="36"/>
                      <a:pt x="840" y="36"/>
                    </a:cubicBezTo>
                    <a:cubicBezTo>
                      <a:pt x="842" y="36"/>
                      <a:pt x="842" y="36"/>
                      <a:pt x="842" y="36"/>
                    </a:cubicBezTo>
                    <a:cubicBezTo>
                      <a:pt x="843" y="35"/>
                      <a:pt x="843" y="35"/>
                      <a:pt x="843" y="35"/>
                    </a:cubicBezTo>
                    <a:cubicBezTo>
                      <a:pt x="845" y="36"/>
                      <a:pt x="845" y="36"/>
                      <a:pt x="845" y="36"/>
                    </a:cubicBezTo>
                    <a:cubicBezTo>
                      <a:pt x="845" y="35"/>
                      <a:pt x="845" y="35"/>
                      <a:pt x="845" y="35"/>
                    </a:cubicBezTo>
                    <a:cubicBezTo>
                      <a:pt x="846" y="35"/>
                      <a:pt x="846" y="35"/>
                      <a:pt x="846" y="35"/>
                    </a:cubicBezTo>
                    <a:cubicBezTo>
                      <a:pt x="847" y="34"/>
                      <a:pt x="847" y="34"/>
                      <a:pt x="847" y="34"/>
                    </a:cubicBezTo>
                    <a:cubicBezTo>
                      <a:pt x="849" y="34"/>
                      <a:pt x="849" y="34"/>
                      <a:pt x="849" y="34"/>
                    </a:cubicBezTo>
                    <a:cubicBezTo>
                      <a:pt x="852" y="34"/>
                      <a:pt x="852" y="34"/>
                      <a:pt x="852" y="34"/>
                    </a:cubicBezTo>
                    <a:cubicBezTo>
                      <a:pt x="852" y="33"/>
                      <a:pt x="852" y="33"/>
                      <a:pt x="852" y="33"/>
                    </a:cubicBezTo>
                    <a:cubicBezTo>
                      <a:pt x="852" y="32"/>
                      <a:pt x="852" y="32"/>
                      <a:pt x="852" y="32"/>
                    </a:cubicBezTo>
                    <a:cubicBezTo>
                      <a:pt x="851" y="32"/>
                      <a:pt x="851" y="32"/>
                      <a:pt x="851" y="32"/>
                    </a:cubicBezTo>
                    <a:cubicBezTo>
                      <a:pt x="851" y="33"/>
                      <a:pt x="851" y="33"/>
                      <a:pt x="851" y="33"/>
                    </a:cubicBezTo>
                    <a:cubicBezTo>
                      <a:pt x="850" y="33"/>
                      <a:pt x="850" y="33"/>
                      <a:pt x="850" y="33"/>
                    </a:cubicBezTo>
                    <a:cubicBezTo>
                      <a:pt x="848" y="33"/>
                      <a:pt x="848" y="33"/>
                      <a:pt x="848" y="33"/>
                    </a:cubicBezTo>
                    <a:cubicBezTo>
                      <a:pt x="846" y="33"/>
                      <a:pt x="846" y="33"/>
                      <a:pt x="846" y="33"/>
                    </a:cubicBezTo>
                    <a:cubicBezTo>
                      <a:pt x="844" y="34"/>
                      <a:pt x="844" y="34"/>
                      <a:pt x="844" y="34"/>
                    </a:cubicBezTo>
                    <a:cubicBezTo>
                      <a:pt x="843" y="35"/>
                      <a:pt x="843" y="35"/>
                      <a:pt x="843" y="35"/>
                    </a:cubicBezTo>
                    <a:cubicBezTo>
                      <a:pt x="841" y="34"/>
                      <a:pt x="841" y="34"/>
                      <a:pt x="841" y="34"/>
                    </a:cubicBezTo>
                    <a:cubicBezTo>
                      <a:pt x="840" y="35"/>
                      <a:pt x="840" y="35"/>
                      <a:pt x="840" y="35"/>
                    </a:cubicBezTo>
                    <a:close/>
                    <a:moveTo>
                      <a:pt x="814" y="99"/>
                    </a:moveTo>
                    <a:cubicBezTo>
                      <a:pt x="814" y="99"/>
                      <a:pt x="814" y="99"/>
                      <a:pt x="815" y="99"/>
                    </a:cubicBezTo>
                    <a:cubicBezTo>
                      <a:pt x="815" y="99"/>
                      <a:pt x="815" y="99"/>
                      <a:pt x="814" y="98"/>
                    </a:cubicBezTo>
                    <a:cubicBezTo>
                      <a:pt x="814" y="98"/>
                      <a:pt x="814" y="98"/>
                      <a:pt x="814" y="99"/>
                    </a:cubicBezTo>
                    <a:close/>
                    <a:moveTo>
                      <a:pt x="834" y="458"/>
                    </a:moveTo>
                    <a:cubicBezTo>
                      <a:pt x="835" y="458"/>
                      <a:pt x="835" y="458"/>
                      <a:pt x="835" y="458"/>
                    </a:cubicBezTo>
                    <a:cubicBezTo>
                      <a:pt x="836" y="458"/>
                      <a:pt x="836" y="458"/>
                      <a:pt x="836" y="458"/>
                    </a:cubicBezTo>
                    <a:cubicBezTo>
                      <a:pt x="837" y="457"/>
                      <a:pt x="837" y="457"/>
                      <a:pt x="837" y="457"/>
                    </a:cubicBezTo>
                    <a:cubicBezTo>
                      <a:pt x="836" y="456"/>
                      <a:pt x="836" y="456"/>
                      <a:pt x="836" y="456"/>
                    </a:cubicBezTo>
                    <a:cubicBezTo>
                      <a:pt x="835" y="456"/>
                      <a:pt x="835" y="456"/>
                      <a:pt x="835" y="456"/>
                    </a:cubicBezTo>
                    <a:cubicBezTo>
                      <a:pt x="834" y="458"/>
                      <a:pt x="834" y="458"/>
                      <a:pt x="834" y="458"/>
                    </a:cubicBezTo>
                    <a:close/>
                    <a:moveTo>
                      <a:pt x="813" y="104"/>
                    </a:moveTo>
                    <a:cubicBezTo>
                      <a:pt x="813" y="104"/>
                      <a:pt x="813" y="104"/>
                      <a:pt x="813" y="103"/>
                    </a:cubicBezTo>
                    <a:cubicBezTo>
                      <a:pt x="813" y="103"/>
                      <a:pt x="813" y="103"/>
                      <a:pt x="812" y="102"/>
                    </a:cubicBezTo>
                    <a:cubicBezTo>
                      <a:pt x="812" y="102"/>
                      <a:pt x="812" y="102"/>
                      <a:pt x="812" y="103"/>
                    </a:cubicBezTo>
                    <a:cubicBezTo>
                      <a:pt x="812" y="103"/>
                      <a:pt x="812" y="103"/>
                      <a:pt x="812" y="105"/>
                    </a:cubicBezTo>
                    <a:cubicBezTo>
                      <a:pt x="812" y="105"/>
                      <a:pt x="812" y="105"/>
                      <a:pt x="813" y="105"/>
                    </a:cubicBezTo>
                    <a:cubicBezTo>
                      <a:pt x="813" y="105"/>
                      <a:pt x="813" y="105"/>
                      <a:pt x="813" y="104"/>
                    </a:cubicBezTo>
                    <a:close/>
                    <a:moveTo>
                      <a:pt x="866" y="449"/>
                    </a:moveTo>
                    <a:cubicBezTo>
                      <a:pt x="866" y="449"/>
                      <a:pt x="866" y="449"/>
                      <a:pt x="865" y="449"/>
                    </a:cubicBezTo>
                    <a:cubicBezTo>
                      <a:pt x="865" y="449"/>
                      <a:pt x="865" y="449"/>
                      <a:pt x="865" y="450"/>
                    </a:cubicBezTo>
                    <a:cubicBezTo>
                      <a:pt x="865" y="450"/>
                      <a:pt x="865" y="450"/>
                      <a:pt x="866" y="450"/>
                    </a:cubicBezTo>
                    <a:cubicBezTo>
                      <a:pt x="866" y="450"/>
                      <a:pt x="866" y="450"/>
                      <a:pt x="866" y="449"/>
                    </a:cubicBezTo>
                    <a:close/>
                    <a:moveTo>
                      <a:pt x="868" y="93"/>
                    </a:moveTo>
                    <a:cubicBezTo>
                      <a:pt x="868" y="92"/>
                      <a:pt x="868" y="92"/>
                      <a:pt x="868" y="92"/>
                    </a:cubicBezTo>
                    <a:cubicBezTo>
                      <a:pt x="867" y="91"/>
                      <a:pt x="867" y="91"/>
                      <a:pt x="867" y="91"/>
                    </a:cubicBezTo>
                    <a:cubicBezTo>
                      <a:pt x="866" y="92"/>
                      <a:pt x="866" y="92"/>
                      <a:pt x="866" y="92"/>
                    </a:cubicBezTo>
                    <a:cubicBezTo>
                      <a:pt x="867" y="93"/>
                      <a:pt x="867" y="93"/>
                      <a:pt x="867" y="93"/>
                    </a:cubicBezTo>
                    <a:cubicBezTo>
                      <a:pt x="868" y="93"/>
                      <a:pt x="868" y="93"/>
                      <a:pt x="868" y="93"/>
                    </a:cubicBezTo>
                    <a:close/>
                    <a:moveTo>
                      <a:pt x="763" y="309"/>
                    </a:moveTo>
                    <a:cubicBezTo>
                      <a:pt x="764" y="308"/>
                      <a:pt x="764" y="308"/>
                      <a:pt x="764" y="308"/>
                    </a:cubicBezTo>
                    <a:cubicBezTo>
                      <a:pt x="765" y="308"/>
                      <a:pt x="765" y="308"/>
                      <a:pt x="765" y="308"/>
                    </a:cubicBezTo>
                    <a:cubicBezTo>
                      <a:pt x="766" y="308"/>
                      <a:pt x="766" y="308"/>
                      <a:pt x="766" y="308"/>
                    </a:cubicBezTo>
                    <a:cubicBezTo>
                      <a:pt x="766" y="307"/>
                      <a:pt x="766" y="307"/>
                      <a:pt x="766" y="307"/>
                    </a:cubicBezTo>
                    <a:cubicBezTo>
                      <a:pt x="766" y="306"/>
                      <a:pt x="766" y="306"/>
                      <a:pt x="766" y="306"/>
                    </a:cubicBezTo>
                    <a:cubicBezTo>
                      <a:pt x="766" y="305"/>
                      <a:pt x="766" y="305"/>
                      <a:pt x="766" y="305"/>
                    </a:cubicBezTo>
                    <a:cubicBezTo>
                      <a:pt x="766" y="304"/>
                      <a:pt x="766" y="304"/>
                      <a:pt x="766" y="304"/>
                    </a:cubicBezTo>
                    <a:cubicBezTo>
                      <a:pt x="764" y="304"/>
                      <a:pt x="764" y="304"/>
                      <a:pt x="764" y="304"/>
                    </a:cubicBezTo>
                    <a:cubicBezTo>
                      <a:pt x="763" y="303"/>
                      <a:pt x="763" y="303"/>
                      <a:pt x="763" y="303"/>
                    </a:cubicBezTo>
                    <a:cubicBezTo>
                      <a:pt x="761" y="303"/>
                      <a:pt x="761" y="303"/>
                      <a:pt x="761" y="303"/>
                    </a:cubicBezTo>
                    <a:cubicBezTo>
                      <a:pt x="761" y="304"/>
                      <a:pt x="761" y="304"/>
                      <a:pt x="761" y="304"/>
                    </a:cubicBezTo>
                    <a:cubicBezTo>
                      <a:pt x="761" y="305"/>
                      <a:pt x="761" y="305"/>
                      <a:pt x="761" y="305"/>
                    </a:cubicBezTo>
                    <a:cubicBezTo>
                      <a:pt x="762" y="306"/>
                      <a:pt x="762" y="306"/>
                      <a:pt x="762" y="306"/>
                    </a:cubicBezTo>
                    <a:cubicBezTo>
                      <a:pt x="762" y="307"/>
                      <a:pt x="762" y="307"/>
                      <a:pt x="762" y="307"/>
                    </a:cubicBezTo>
                    <a:cubicBezTo>
                      <a:pt x="763" y="307"/>
                      <a:pt x="763" y="307"/>
                      <a:pt x="763" y="307"/>
                    </a:cubicBezTo>
                    <a:cubicBezTo>
                      <a:pt x="763" y="308"/>
                      <a:pt x="763" y="308"/>
                      <a:pt x="763" y="308"/>
                    </a:cubicBezTo>
                    <a:cubicBezTo>
                      <a:pt x="763" y="309"/>
                      <a:pt x="763" y="309"/>
                      <a:pt x="763" y="309"/>
                    </a:cubicBezTo>
                    <a:close/>
                    <a:moveTo>
                      <a:pt x="846" y="106"/>
                    </a:moveTo>
                    <a:cubicBezTo>
                      <a:pt x="845" y="105"/>
                      <a:pt x="845" y="105"/>
                      <a:pt x="845" y="105"/>
                    </a:cubicBezTo>
                    <a:cubicBezTo>
                      <a:pt x="844" y="105"/>
                      <a:pt x="844" y="105"/>
                      <a:pt x="844" y="105"/>
                    </a:cubicBezTo>
                    <a:cubicBezTo>
                      <a:pt x="845" y="106"/>
                      <a:pt x="845" y="106"/>
                      <a:pt x="845" y="106"/>
                    </a:cubicBezTo>
                    <a:cubicBezTo>
                      <a:pt x="846" y="106"/>
                      <a:pt x="846" y="106"/>
                      <a:pt x="846" y="106"/>
                    </a:cubicBezTo>
                    <a:close/>
                    <a:moveTo>
                      <a:pt x="733" y="381"/>
                    </a:moveTo>
                    <a:cubicBezTo>
                      <a:pt x="733" y="380"/>
                      <a:pt x="733" y="380"/>
                      <a:pt x="733" y="380"/>
                    </a:cubicBezTo>
                    <a:cubicBezTo>
                      <a:pt x="734" y="379"/>
                      <a:pt x="734" y="379"/>
                      <a:pt x="734" y="379"/>
                    </a:cubicBezTo>
                    <a:cubicBezTo>
                      <a:pt x="734" y="378"/>
                      <a:pt x="734" y="378"/>
                      <a:pt x="734" y="378"/>
                    </a:cubicBezTo>
                    <a:cubicBezTo>
                      <a:pt x="733" y="378"/>
                      <a:pt x="733" y="378"/>
                      <a:pt x="733" y="378"/>
                    </a:cubicBezTo>
                    <a:cubicBezTo>
                      <a:pt x="732" y="380"/>
                      <a:pt x="732" y="380"/>
                      <a:pt x="732" y="380"/>
                    </a:cubicBezTo>
                    <a:cubicBezTo>
                      <a:pt x="731" y="381"/>
                      <a:pt x="731" y="381"/>
                      <a:pt x="731" y="381"/>
                    </a:cubicBezTo>
                    <a:cubicBezTo>
                      <a:pt x="731" y="382"/>
                      <a:pt x="731" y="382"/>
                      <a:pt x="731" y="382"/>
                    </a:cubicBezTo>
                    <a:cubicBezTo>
                      <a:pt x="730" y="383"/>
                      <a:pt x="730" y="383"/>
                      <a:pt x="730" y="383"/>
                    </a:cubicBezTo>
                    <a:cubicBezTo>
                      <a:pt x="730" y="384"/>
                      <a:pt x="730" y="384"/>
                      <a:pt x="730" y="384"/>
                    </a:cubicBezTo>
                    <a:cubicBezTo>
                      <a:pt x="731" y="383"/>
                      <a:pt x="731" y="383"/>
                      <a:pt x="731" y="383"/>
                    </a:cubicBezTo>
                    <a:cubicBezTo>
                      <a:pt x="732" y="382"/>
                      <a:pt x="732" y="382"/>
                      <a:pt x="732" y="382"/>
                    </a:cubicBezTo>
                    <a:cubicBezTo>
                      <a:pt x="731" y="384"/>
                      <a:pt x="731" y="384"/>
                      <a:pt x="731" y="384"/>
                    </a:cubicBezTo>
                    <a:cubicBezTo>
                      <a:pt x="732" y="384"/>
                      <a:pt x="732" y="384"/>
                      <a:pt x="732" y="384"/>
                    </a:cubicBezTo>
                    <a:cubicBezTo>
                      <a:pt x="733" y="383"/>
                      <a:pt x="733" y="383"/>
                      <a:pt x="733" y="383"/>
                    </a:cubicBezTo>
                    <a:cubicBezTo>
                      <a:pt x="734" y="382"/>
                      <a:pt x="734" y="382"/>
                      <a:pt x="734" y="382"/>
                    </a:cubicBezTo>
                    <a:cubicBezTo>
                      <a:pt x="733" y="382"/>
                      <a:pt x="733" y="382"/>
                      <a:pt x="733" y="382"/>
                    </a:cubicBezTo>
                    <a:cubicBezTo>
                      <a:pt x="733" y="381"/>
                      <a:pt x="733" y="381"/>
                      <a:pt x="733" y="381"/>
                    </a:cubicBezTo>
                    <a:close/>
                    <a:moveTo>
                      <a:pt x="738" y="381"/>
                    </a:moveTo>
                    <a:cubicBezTo>
                      <a:pt x="738" y="381"/>
                      <a:pt x="738" y="381"/>
                      <a:pt x="738" y="379"/>
                    </a:cubicBezTo>
                    <a:cubicBezTo>
                      <a:pt x="738" y="379"/>
                      <a:pt x="738" y="379"/>
                      <a:pt x="737" y="380"/>
                    </a:cubicBezTo>
                    <a:cubicBezTo>
                      <a:pt x="737" y="379"/>
                      <a:pt x="737" y="379"/>
                      <a:pt x="737" y="379"/>
                    </a:cubicBezTo>
                    <a:cubicBezTo>
                      <a:pt x="737" y="378"/>
                      <a:pt x="737" y="378"/>
                      <a:pt x="737" y="378"/>
                    </a:cubicBezTo>
                    <a:cubicBezTo>
                      <a:pt x="736" y="378"/>
                      <a:pt x="736" y="378"/>
                      <a:pt x="736" y="378"/>
                    </a:cubicBezTo>
                    <a:cubicBezTo>
                      <a:pt x="736" y="377"/>
                      <a:pt x="736" y="377"/>
                      <a:pt x="736" y="377"/>
                    </a:cubicBezTo>
                    <a:cubicBezTo>
                      <a:pt x="735" y="377"/>
                      <a:pt x="735" y="377"/>
                      <a:pt x="735" y="377"/>
                    </a:cubicBezTo>
                    <a:cubicBezTo>
                      <a:pt x="735" y="379"/>
                      <a:pt x="735" y="379"/>
                      <a:pt x="735" y="379"/>
                    </a:cubicBezTo>
                    <a:cubicBezTo>
                      <a:pt x="734" y="380"/>
                      <a:pt x="734" y="380"/>
                      <a:pt x="734" y="380"/>
                    </a:cubicBezTo>
                    <a:cubicBezTo>
                      <a:pt x="733" y="381"/>
                      <a:pt x="733" y="381"/>
                      <a:pt x="733" y="381"/>
                    </a:cubicBezTo>
                    <a:cubicBezTo>
                      <a:pt x="735" y="380"/>
                      <a:pt x="735" y="380"/>
                      <a:pt x="735" y="380"/>
                    </a:cubicBezTo>
                    <a:cubicBezTo>
                      <a:pt x="734" y="381"/>
                      <a:pt x="734" y="381"/>
                      <a:pt x="734" y="381"/>
                    </a:cubicBezTo>
                    <a:cubicBezTo>
                      <a:pt x="734" y="382"/>
                      <a:pt x="734" y="382"/>
                      <a:pt x="734" y="382"/>
                    </a:cubicBezTo>
                    <a:cubicBezTo>
                      <a:pt x="736" y="380"/>
                      <a:pt x="736" y="380"/>
                      <a:pt x="736" y="380"/>
                    </a:cubicBezTo>
                    <a:cubicBezTo>
                      <a:pt x="735" y="382"/>
                      <a:pt x="735" y="382"/>
                      <a:pt x="735" y="382"/>
                    </a:cubicBezTo>
                    <a:cubicBezTo>
                      <a:pt x="737" y="381"/>
                      <a:pt x="737" y="381"/>
                      <a:pt x="737" y="381"/>
                    </a:cubicBezTo>
                    <a:cubicBezTo>
                      <a:pt x="737" y="382"/>
                      <a:pt x="737" y="382"/>
                      <a:pt x="737" y="382"/>
                    </a:cubicBezTo>
                    <a:cubicBezTo>
                      <a:pt x="737" y="382"/>
                      <a:pt x="737" y="382"/>
                      <a:pt x="738" y="381"/>
                    </a:cubicBezTo>
                    <a:close/>
                    <a:moveTo>
                      <a:pt x="714" y="408"/>
                    </a:moveTo>
                    <a:cubicBezTo>
                      <a:pt x="714" y="408"/>
                      <a:pt x="714" y="408"/>
                      <a:pt x="713" y="409"/>
                    </a:cubicBezTo>
                    <a:cubicBezTo>
                      <a:pt x="713" y="409"/>
                      <a:pt x="713" y="409"/>
                      <a:pt x="713" y="410"/>
                    </a:cubicBezTo>
                    <a:cubicBezTo>
                      <a:pt x="713" y="410"/>
                      <a:pt x="713" y="410"/>
                      <a:pt x="712" y="410"/>
                    </a:cubicBezTo>
                    <a:cubicBezTo>
                      <a:pt x="712" y="410"/>
                      <a:pt x="712" y="410"/>
                      <a:pt x="711" y="411"/>
                    </a:cubicBezTo>
                    <a:cubicBezTo>
                      <a:pt x="711" y="411"/>
                      <a:pt x="711" y="411"/>
                      <a:pt x="711" y="412"/>
                    </a:cubicBezTo>
                    <a:cubicBezTo>
                      <a:pt x="711" y="412"/>
                      <a:pt x="711" y="412"/>
                      <a:pt x="712" y="411"/>
                    </a:cubicBezTo>
                    <a:cubicBezTo>
                      <a:pt x="712" y="411"/>
                      <a:pt x="712" y="411"/>
                      <a:pt x="713" y="412"/>
                    </a:cubicBezTo>
                    <a:cubicBezTo>
                      <a:pt x="713" y="412"/>
                      <a:pt x="713" y="412"/>
                      <a:pt x="713" y="411"/>
                    </a:cubicBezTo>
                    <a:cubicBezTo>
                      <a:pt x="713" y="411"/>
                      <a:pt x="713" y="411"/>
                      <a:pt x="714" y="412"/>
                    </a:cubicBezTo>
                    <a:cubicBezTo>
                      <a:pt x="714" y="412"/>
                      <a:pt x="714" y="412"/>
                      <a:pt x="715" y="412"/>
                    </a:cubicBezTo>
                    <a:cubicBezTo>
                      <a:pt x="715" y="412"/>
                      <a:pt x="715" y="412"/>
                      <a:pt x="718" y="413"/>
                    </a:cubicBezTo>
                    <a:cubicBezTo>
                      <a:pt x="718" y="413"/>
                      <a:pt x="718" y="413"/>
                      <a:pt x="719" y="412"/>
                    </a:cubicBezTo>
                    <a:cubicBezTo>
                      <a:pt x="719" y="412"/>
                      <a:pt x="719" y="412"/>
                      <a:pt x="718" y="411"/>
                    </a:cubicBezTo>
                    <a:cubicBezTo>
                      <a:pt x="718" y="411"/>
                      <a:pt x="718" y="411"/>
                      <a:pt x="718" y="410"/>
                    </a:cubicBezTo>
                    <a:cubicBezTo>
                      <a:pt x="718" y="410"/>
                      <a:pt x="718" y="410"/>
                      <a:pt x="717" y="409"/>
                    </a:cubicBezTo>
                    <a:cubicBezTo>
                      <a:pt x="717" y="409"/>
                      <a:pt x="717" y="409"/>
                      <a:pt x="715" y="409"/>
                    </a:cubicBezTo>
                    <a:cubicBezTo>
                      <a:pt x="715" y="409"/>
                      <a:pt x="715" y="409"/>
                      <a:pt x="715" y="408"/>
                    </a:cubicBezTo>
                    <a:cubicBezTo>
                      <a:pt x="715" y="408"/>
                      <a:pt x="715" y="408"/>
                      <a:pt x="714" y="408"/>
                    </a:cubicBezTo>
                    <a:close/>
                    <a:moveTo>
                      <a:pt x="731" y="380"/>
                    </a:moveTo>
                    <a:cubicBezTo>
                      <a:pt x="731" y="380"/>
                      <a:pt x="731" y="380"/>
                      <a:pt x="732" y="379"/>
                    </a:cubicBezTo>
                    <a:cubicBezTo>
                      <a:pt x="732" y="379"/>
                      <a:pt x="732" y="379"/>
                      <a:pt x="733" y="377"/>
                    </a:cubicBezTo>
                    <a:cubicBezTo>
                      <a:pt x="733" y="377"/>
                      <a:pt x="733" y="377"/>
                      <a:pt x="732" y="378"/>
                    </a:cubicBezTo>
                    <a:cubicBezTo>
                      <a:pt x="732" y="378"/>
                      <a:pt x="732" y="378"/>
                      <a:pt x="731" y="378"/>
                    </a:cubicBezTo>
                    <a:cubicBezTo>
                      <a:pt x="731" y="378"/>
                      <a:pt x="731" y="378"/>
                      <a:pt x="731" y="379"/>
                    </a:cubicBezTo>
                    <a:cubicBezTo>
                      <a:pt x="731" y="379"/>
                      <a:pt x="731" y="379"/>
                      <a:pt x="730" y="379"/>
                    </a:cubicBezTo>
                    <a:cubicBezTo>
                      <a:pt x="730" y="379"/>
                      <a:pt x="730" y="379"/>
                      <a:pt x="729" y="380"/>
                    </a:cubicBezTo>
                    <a:cubicBezTo>
                      <a:pt x="729" y="380"/>
                      <a:pt x="729" y="380"/>
                      <a:pt x="730" y="380"/>
                    </a:cubicBezTo>
                    <a:cubicBezTo>
                      <a:pt x="730" y="380"/>
                      <a:pt x="730" y="380"/>
                      <a:pt x="731" y="380"/>
                    </a:cubicBezTo>
                    <a:close/>
                    <a:moveTo>
                      <a:pt x="748" y="324"/>
                    </a:moveTo>
                    <a:cubicBezTo>
                      <a:pt x="749" y="324"/>
                      <a:pt x="749" y="324"/>
                      <a:pt x="749" y="324"/>
                    </a:cubicBezTo>
                    <a:cubicBezTo>
                      <a:pt x="749" y="323"/>
                      <a:pt x="749" y="323"/>
                      <a:pt x="749" y="323"/>
                    </a:cubicBezTo>
                    <a:cubicBezTo>
                      <a:pt x="750" y="322"/>
                      <a:pt x="750" y="322"/>
                      <a:pt x="750" y="322"/>
                    </a:cubicBezTo>
                    <a:cubicBezTo>
                      <a:pt x="750" y="321"/>
                      <a:pt x="750" y="321"/>
                      <a:pt x="750" y="321"/>
                    </a:cubicBezTo>
                    <a:cubicBezTo>
                      <a:pt x="751" y="320"/>
                      <a:pt x="751" y="320"/>
                      <a:pt x="751" y="320"/>
                    </a:cubicBezTo>
                    <a:cubicBezTo>
                      <a:pt x="752" y="319"/>
                      <a:pt x="752" y="319"/>
                      <a:pt x="752" y="319"/>
                    </a:cubicBezTo>
                    <a:cubicBezTo>
                      <a:pt x="752" y="318"/>
                      <a:pt x="752" y="318"/>
                      <a:pt x="752" y="318"/>
                    </a:cubicBezTo>
                    <a:cubicBezTo>
                      <a:pt x="752" y="317"/>
                      <a:pt x="752" y="317"/>
                      <a:pt x="752" y="317"/>
                    </a:cubicBezTo>
                    <a:cubicBezTo>
                      <a:pt x="753" y="317"/>
                      <a:pt x="753" y="317"/>
                      <a:pt x="753" y="317"/>
                    </a:cubicBezTo>
                    <a:cubicBezTo>
                      <a:pt x="753" y="316"/>
                      <a:pt x="753" y="316"/>
                      <a:pt x="753" y="316"/>
                    </a:cubicBezTo>
                    <a:cubicBezTo>
                      <a:pt x="753" y="315"/>
                      <a:pt x="753" y="315"/>
                      <a:pt x="753" y="315"/>
                    </a:cubicBezTo>
                    <a:cubicBezTo>
                      <a:pt x="753" y="314"/>
                      <a:pt x="753" y="314"/>
                      <a:pt x="753" y="314"/>
                    </a:cubicBezTo>
                    <a:cubicBezTo>
                      <a:pt x="752" y="314"/>
                      <a:pt x="752" y="314"/>
                      <a:pt x="752" y="314"/>
                    </a:cubicBezTo>
                    <a:cubicBezTo>
                      <a:pt x="751" y="314"/>
                      <a:pt x="751" y="314"/>
                      <a:pt x="751" y="314"/>
                    </a:cubicBezTo>
                    <a:cubicBezTo>
                      <a:pt x="751" y="313"/>
                      <a:pt x="751" y="313"/>
                      <a:pt x="751" y="313"/>
                    </a:cubicBezTo>
                    <a:cubicBezTo>
                      <a:pt x="750" y="314"/>
                      <a:pt x="750" y="314"/>
                      <a:pt x="750" y="314"/>
                    </a:cubicBezTo>
                    <a:cubicBezTo>
                      <a:pt x="749" y="315"/>
                      <a:pt x="749" y="315"/>
                      <a:pt x="749" y="315"/>
                    </a:cubicBezTo>
                    <a:cubicBezTo>
                      <a:pt x="748" y="315"/>
                      <a:pt x="748" y="315"/>
                      <a:pt x="748" y="315"/>
                    </a:cubicBezTo>
                    <a:cubicBezTo>
                      <a:pt x="748" y="316"/>
                      <a:pt x="748" y="316"/>
                      <a:pt x="748" y="316"/>
                    </a:cubicBezTo>
                    <a:cubicBezTo>
                      <a:pt x="747" y="317"/>
                      <a:pt x="747" y="317"/>
                      <a:pt x="747" y="317"/>
                    </a:cubicBezTo>
                    <a:cubicBezTo>
                      <a:pt x="748" y="318"/>
                      <a:pt x="748" y="318"/>
                      <a:pt x="748" y="318"/>
                    </a:cubicBezTo>
                    <a:cubicBezTo>
                      <a:pt x="747" y="318"/>
                      <a:pt x="747" y="318"/>
                      <a:pt x="747" y="318"/>
                    </a:cubicBezTo>
                    <a:cubicBezTo>
                      <a:pt x="747" y="319"/>
                      <a:pt x="747" y="319"/>
                      <a:pt x="747" y="319"/>
                    </a:cubicBezTo>
                    <a:cubicBezTo>
                      <a:pt x="747" y="320"/>
                      <a:pt x="747" y="320"/>
                      <a:pt x="747" y="320"/>
                    </a:cubicBezTo>
                    <a:cubicBezTo>
                      <a:pt x="746" y="321"/>
                      <a:pt x="746" y="321"/>
                      <a:pt x="746" y="321"/>
                    </a:cubicBezTo>
                    <a:cubicBezTo>
                      <a:pt x="747" y="321"/>
                      <a:pt x="747" y="321"/>
                      <a:pt x="747" y="321"/>
                    </a:cubicBezTo>
                    <a:cubicBezTo>
                      <a:pt x="747" y="322"/>
                      <a:pt x="747" y="322"/>
                      <a:pt x="747" y="322"/>
                    </a:cubicBezTo>
                    <a:cubicBezTo>
                      <a:pt x="748" y="322"/>
                      <a:pt x="748" y="322"/>
                      <a:pt x="748" y="322"/>
                    </a:cubicBezTo>
                    <a:cubicBezTo>
                      <a:pt x="748" y="323"/>
                      <a:pt x="748" y="323"/>
                      <a:pt x="748" y="323"/>
                    </a:cubicBezTo>
                    <a:cubicBezTo>
                      <a:pt x="748" y="324"/>
                      <a:pt x="748" y="324"/>
                      <a:pt x="748" y="324"/>
                    </a:cubicBezTo>
                    <a:close/>
                    <a:moveTo>
                      <a:pt x="761" y="314"/>
                    </a:moveTo>
                    <a:cubicBezTo>
                      <a:pt x="762" y="314"/>
                      <a:pt x="762" y="314"/>
                      <a:pt x="762" y="314"/>
                    </a:cubicBezTo>
                    <a:cubicBezTo>
                      <a:pt x="763" y="314"/>
                      <a:pt x="763" y="314"/>
                      <a:pt x="763" y="314"/>
                    </a:cubicBezTo>
                    <a:cubicBezTo>
                      <a:pt x="761" y="313"/>
                      <a:pt x="761" y="313"/>
                      <a:pt x="761" y="313"/>
                    </a:cubicBezTo>
                    <a:cubicBezTo>
                      <a:pt x="761" y="314"/>
                      <a:pt x="761" y="314"/>
                      <a:pt x="761" y="314"/>
                    </a:cubicBezTo>
                    <a:close/>
                    <a:moveTo>
                      <a:pt x="763" y="246"/>
                    </a:moveTo>
                    <a:cubicBezTo>
                      <a:pt x="764" y="246"/>
                      <a:pt x="764" y="246"/>
                      <a:pt x="764" y="246"/>
                    </a:cubicBezTo>
                    <a:cubicBezTo>
                      <a:pt x="764" y="246"/>
                      <a:pt x="764" y="246"/>
                      <a:pt x="764" y="245"/>
                    </a:cubicBezTo>
                    <a:cubicBezTo>
                      <a:pt x="764" y="245"/>
                      <a:pt x="764" y="245"/>
                      <a:pt x="763" y="245"/>
                    </a:cubicBezTo>
                    <a:cubicBezTo>
                      <a:pt x="763" y="245"/>
                      <a:pt x="763" y="245"/>
                      <a:pt x="763" y="246"/>
                    </a:cubicBezTo>
                    <a:close/>
                    <a:moveTo>
                      <a:pt x="754" y="298"/>
                    </a:moveTo>
                    <a:cubicBezTo>
                      <a:pt x="753" y="298"/>
                      <a:pt x="753" y="298"/>
                      <a:pt x="753" y="298"/>
                    </a:cubicBezTo>
                    <a:cubicBezTo>
                      <a:pt x="752" y="297"/>
                      <a:pt x="752" y="297"/>
                      <a:pt x="752" y="297"/>
                    </a:cubicBezTo>
                    <a:cubicBezTo>
                      <a:pt x="753" y="297"/>
                      <a:pt x="753" y="297"/>
                      <a:pt x="753" y="297"/>
                    </a:cubicBezTo>
                    <a:cubicBezTo>
                      <a:pt x="753" y="296"/>
                      <a:pt x="753" y="296"/>
                      <a:pt x="753" y="296"/>
                    </a:cubicBezTo>
                    <a:cubicBezTo>
                      <a:pt x="752" y="295"/>
                      <a:pt x="752" y="295"/>
                      <a:pt x="752" y="295"/>
                    </a:cubicBezTo>
                    <a:cubicBezTo>
                      <a:pt x="752" y="296"/>
                      <a:pt x="752" y="296"/>
                      <a:pt x="752" y="296"/>
                    </a:cubicBezTo>
                    <a:cubicBezTo>
                      <a:pt x="751" y="296"/>
                      <a:pt x="751" y="296"/>
                      <a:pt x="751" y="296"/>
                    </a:cubicBezTo>
                    <a:cubicBezTo>
                      <a:pt x="750" y="295"/>
                      <a:pt x="750" y="295"/>
                      <a:pt x="750" y="295"/>
                    </a:cubicBezTo>
                    <a:cubicBezTo>
                      <a:pt x="749" y="295"/>
                      <a:pt x="749" y="295"/>
                      <a:pt x="749" y="295"/>
                    </a:cubicBezTo>
                    <a:cubicBezTo>
                      <a:pt x="748" y="296"/>
                      <a:pt x="748" y="296"/>
                      <a:pt x="748" y="296"/>
                    </a:cubicBezTo>
                    <a:cubicBezTo>
                      <a:pt x="746" y="296"/>
                      <a:pt x="746" y="296"/>
                      <a:pt x="746" y="296"/>
                    </a:cubicBezTo>
                    <a:cubicBezTo>
                      <a:pt x="746" y="295"/>
                      <a:pt x="746" y="295"/>
                      <a:pt x="746" y="295"/>
                    </a:cubicBezTo>
                    <a:cubicBezTo>
                      <a:pt x="747" y="294"/>
                      <a:pt x="747" y="294"/>
                      <a:pt x="747" y="294"/>
                    </a:cubicBezTo>
                    <a:cubicBezTo>
                      <a:pt x="748" y="294"/>
                      <a:pt x="748" y="294"/>
                      <a:pt x="748" y="294"/>
                    </a:cubicBezTo>
                    <a:cubicBezTo>
                      <a:pt x="748" y="293"/>
                      <a:pt x="748" y="293"/>
                      <a:pt x="748" y="293"/>
                    </a:cubicBezTo>
                    <a:cubicBezTo>
                      <a:pt x="748" y="292"/>
                      <a:pt x="748" y="292"/>
                      <a:pt x="748" y="292"/>
                    </a:cubicBezTo>
                    <a:cubicBezTo>
                      <a:pt x="748" y="291"/>
                      <a:pt x="748" y="291"/>
                      <a:pt x="748" y="291"/>
                    </a:cubicBezTo>
                    <a:cubicBezTo>
                      <a:pt x="748" y="290"/>
                      <a:pt x="748" y="290"/>
                      <a:pt x="748" y="290"/>
                    </a:cubicBezTo>
                    <a:cubicBezTo>
                      <a:pt x="748" y="289"/>
                      <a:pt x="748" y="289"/>
                      <a:pt x="748" y="289"/>
                    </a:cubicBezTo>
                    <a:cubicBezTo>
                      <a:pt x="748" y="288"/>
                      <a:pt x="748" y="288"/>
                      <a:pt x="748" y="288"/>
                    </a:cubicBezTo>
                    <a:cubicBezTo>
                      <a:pt x="746" y="286"/>
                      <a:pt x="746" y="286"/>
                      <a:pt x="746" y="286"/>
                    </a:cubicBezTo>
                    <a:cubicBezTo>
                      <a:pt x="744" y="286"/>
                      <a:pt x="744" y="286"/>
                      <a:pt x="744" y="286"/>
                    </a:cubicBezTo>
                    <a:cubicBezTo>
                      <a:pt x="744" y="285"/>
                      <a:pt x="744" y="285"/>
                      <a:pt x="744" y="285"/>
                    </a:cubicBezTo>
                    <a:cubicBezTo>
                      <a:pt x="744" y="284"/>
                      <a:pt x="744" y="284"/>
                      <a:pt x="744" y="284"/>
                    </a:cubicBezTo>
                    <a:cubicBezTo>
                      <a:pt x="743" y="284"/>
                      <a:pt x="743" y="284"/>
                      <a:pt x="743" y="284"/>
                    </a:cubicBezTo>
                    <a:cubicBezTo>
                      <a:pt x="743" y="283"/>
                      <a:pt x="743" y="283"/>
                      <a:pt x="743" y="283"/>
                    </a:cubicBezTo>
                    <a:cubicBezTo>
                      <a:pt x="743" y="282"/>
                      <a:pt x="743" y="282"/>
                      <a:pt x="743" y="282"/>
                    </a:cubicBezTo>
                    <a:cubicBezTo>
                      <a:pt x="743" y="281"/>
                      <a:pt x="743" y="281"/>
                      <a:pt x="743" y="281"/>
                    </a:cubicBezTo>
                    <a:cubicBezTo>
                      <a:pt x="741" y="281"/>
                      <a:pt x="741" y="281"/>
                      <a:pt x="741" y="281"/>
                    </a:cubicBezTo>
                    <a:cubicBezTo>
                      <a:pt x="739" y="280"/>
                      <a:pt x="739" y="280"/>
                      <a:pt x="739" y="280"/>
                    </a:cubicBezTo>
                    <a:cubicBezTo>
                      <a:pt x="738" y="279"/>
                      <a:pt x="738" y="279"/>
                      <a:pt x="738" y="279"/>
                    </a:cubicBezTo>
                    <a:cubicBezTo>
                      <a:pt x="739" y="278"/>
                      <a:pt x="739" y="278"/>
                      <a:pt x="739" y="278"/>
                    </a:cubicBezTo>
                    <a:cubicBezTo>
                      <a:pt x="739" y="277"/>
                      <a:pt x="739" y="277"/>
                      <a:pt x="739" y="277"/>
                    </a:cubicBezTo>
                    <a:cubicBezTo>
                      <a:pt x="738" y="277"/>
                      <a:pt x="738" y="277"/>
                      <a:pt x="738" y="277"/>
                    </a:cubicBezTo>
                    <a:cubicBezTo>
                      <a:pt x="738" y="276"/>
                      <a:pt x="738" y="276"/>
                      <a:pt x="738" y="276"/>
                    </a:cubicBezTo>
                    <a:cubicBezTo>
                      <a:pt x="737" y="276"/>
                      <a:pt x="737" y="276"/>
                      <a:pt x="737" y="276"/>
                    </a:cubicBezTo>
                    <a:cubicBezTo>
                      <a:pt x="736" y="277"/>
                      <a:pt x="736" y="277"/>
                      <a:pt x="736" y="277"/>
                    </a:cubicBezTo>
                    <a:cubicBezTo>
                      <a:pt x="736" y="278"/>
                      <a:pt x="736" y="278"/>
                      <a:pt x="736" y="278"/>
                    </a:cubicBezTo>
                    <a:cubicBezTo>
                      <a:pt x="735" y="279"/>
                      <a:pt x="735" y="279"/>
                      <a:pt x="735" y="279"/>
                    </a:cubicBezTo>
                    <a:cubicBezTo>
                      <a:pt x="735" y="278"/>
                      <a:pt x="735" y="278"/>
                      <a:pt x="735" y="278"/>
                    </a:cubicBezTo>
                    <a:cubicBezTo>
                      <a:pt x="735" y="277"/>
                      <a:pt x="735" y="277"/>
                      <a:pt x="735" y="277"/>
                    </a:cubicBezTo>
                    <a:cubicBezTo>
                      <a:pt x="734" y="276"/>
                      <a:pt x="734" y="276"/>
                      <a:pt x="734" y="276"/>
                    </a:cubicBezTo>
                    <a:cubicBezTo>
                      <a:pt x="734" y="275"/>
                      <a:pt x="734" y="275"/>
                      <a:pt x="734" y="275"/>
                    </a:cubicBezTo>
                    <a:cubicBezTo>
                      <a:pt x="735" y="275"/>
                      <a:pt x="735" y="275"/>
                      <a:pt x="735" y="275"/>
                    </a:cubicBezTo>
                    <a:cubicBezTo>
                      <a:pt x="736" y="275"/>
                      <a:pt x="736" y="275"/>
                      <a:pt x="736" y="275"/>
                    </a:cubicBezTo>
                    <a:cubicBezTo>
                      <a:pt x="736" y="274"/>
                      <a:pt x="736" y="274"/>
                      <a:pt x="736" y="274"/>
                    </a:cubicBezTo>
                    <a:cubicBezTo>
                      <a:pt x="736" y="273"/>
                      <a:pt x="736" y="273"/>
                      <a:pt x="736" y="273"/>
                    </a:cubicBezTo>
                    <a:cubicBezTo>
                      <a:pt x="736" y="272"/>
                      <a:pt x="736" y="272"/>
                      <a:pt x="736" y="272"/>
                    </a:cubicBezTo>
                    <a:cubicBezTo>
                      <a:pt x="734" y="272"/>
                      <a:pt x="734" y="272"/>
                      <a:pt x="734" y="272"/>
                    </a:cubicBezTo>
                    <a:cubicBezTo>
                      <a:pt x="734" y="271"/>
                      <a:pt x="734" y="271"/>
                      <a:pt x="734" y="271"/>
                    </a:cubicBezTo>
                    <a:cubicBezTo>
                      <a:pt x="735" y="270"/>
                      <a:pt x="735" y="270"/>
                      <a:pt x="735" y="270"/>
                    </a:cubicBezTo>
                    <a:cubicBezTo>
                      <a:pt x="732" y="271"/>
                      <a:pt x="732" y="271"/>
                      <a:pt x="732" y="271"/>
                    </a:cubicBezTo>
                    <a:cubicBezTo>
                      <a:pt x="731" y="272"/>
                      <a:pt x="731" y="272"/>
                      <a:pt x="731" y="272"/>
                    </a:cubicBezTo>
                    <a:cubicBezTo>
                      <a:pt x="730" y="274"/>
                      <a:pt x="730" y="274"/>
                      <a:pt x="730" y="274"/>
                    </a:cubicBezTo>
                    <a:cubicBezTo>
                      <a:pt x="729" y="276"/>
                      <a:pt x="729" y="276"/>
                      <a:pt x="729" y="276"/>
                    </a:cubicBezTo>
                    <a:cubicBezTo>
                      <a:pt x="729" y="277"/>
                      <a:pt x="729" y="277"/>
                      <a:pt x="729" y="277"/>
                    </a:cubicBezTo>
                    <a:cubicBezTo>
                      <a:pt x="728" y="278"/>
                      <a:pt x="728" y="278"/>
                      <a:pt x="728" y="278"/>
                    </a:cubicBezTo>
                    <a:cubicBezTo>
                      <a:pt x="728" y="279"/>
                      <a:pt x="728" y="279"/>
                      <a:pt x="728" y="279"/>
                    </a:cubicBezTo>
                    <a:cubicBezTo>
                      <a:pt x="727" y="281"/>
                      <a:pt x="727" y="281"/>
                      <a:pt x="727" y="281"/>
                    </a:cubicBezTo>
                    <a:cubicBezTo>
                      <a:pt x="727" y="282"/>
                      <a:pt x="727" y="282"/>
                      <a:pt x="727" y="282"/>
                    </a:cubicBezTo>
                    <a:cubicBezTo>
                      <a:pt x="726" y="283"/>
                      <a:pt x="726" y="283"/>
                      <a:pt x="726" y="283"/>
                    </a:cubicBezTo>
                    <a:cubicBezTo>
                      <a:pt x="726" y="284"/>
                      <a:pt x="726" y="284"/>
                      <a:pt x="726" y="284"/>
                    </a:cubicBezTo>
                    <a:cubicBezTo>
                      <a:pt x="725" y="286"/>
                      <a:pt x="725" y="286"/>
                      <a:pt x="725" y="286"/>
                    </a:cubicBezTo>
                    <a:cubicBezTo>
                      <a:pt x="724" y="287"/>
                      <a:pt x="724" y="287"/>
                      <a:pt x="724" y="287"/>
                    </a:cubicBezTo>
                    <a:cubicBezTo>
                      <a:pt x="724" y="288"/>
                      <a:pt x="724" y="288"/>
                      <a:pt x="724" y="288"/>
                    </a:cubicBezTo>
                    <a:cubicBezTo>
                      <a:pt x="724" y="289"/>
                      <a:pt x="724" y="289"/>
                      <a:pt x="724" y="289"/>
                    </a:cubicBezTo>
                    <a:cubicBezTo>
                      <a:pt x="724" y="291"/>
                      <a:pt x="724" y="291"/>
                      <a:pt x="724" y="291"/>
                    </a:cubicBezTo>
                    <a:cubicBezTo>
                      <a:pt x="723" y="292"/>
                      <a:pt x="723" y="292"/>
                      <a:pt x="723" y="292"/>
                    </a:cubicBezTo>
                    <a:cubicBezTo>
                      <a:pt x="722" y="292"/>
                      <a:pt x="722" y="292"/>
                      <a:pt x="722" y="292"/>
                    </a:cubicBezTo>
                    <a:cubicBezTo>
                      <a:pt x="720" y="293"/>
                      <a:pt x="720" y="293"/>
                      <a:pt x="720" y="293"/>
                    </a:cubicBezTo>
                    <a:cubicBezTo>
                      <a:pt x="720" y="294"/>
                      <a:pt x="720" y="294"/>
                      <a:pt x="720" y="294"/>
                    </a:cubicBezTo>
                    <a:cubicBezTo>
                      <a:pt x="719" y="296"/>
                      <a:pt x="719" y="296"/>
                      <a:pt x="719" y="296"/>
                    </a:cubicBezTo>
                    <a:cubicBezTo>
                      <a:pt x="719" y="297"/>
                      <a:pt x="719" y="297"/>
                      <a:pt x="719" y="297"/>
                    </a:cubicBezTo>
                    <a:cubicBezTo>
                      <a:pt x="720" y="297"/>
                      <a:pt x="720" y="297"/>
                      <a:pt x="720" y="297"/>
                    </a:cubicBezTo>
                    <a:cubicBezTo>
                      <a:pt x="720" y="296"/>
                      <a:pt x="720" y="296"/>
                      <a:pt x="720" y="296"/>
                    </a:cubicBezTo>
                    <a:cubicBezTo>
                      <a:pt x="721" y="296"/>
                      <a:pt x="721" y="296"/>
                      <a:pt x="721" y="296"/>
                    </a:cubicBezTo>
                    <a:cubicBezTo>
                      <a:pt x="722" y="297"/>
                      <a:pt x="722" y="297"/>
                      <a:pt x="722" y="297"/>
                    </a:cubicBezTo>
                    <a:cubicBezTo>
                      <a:pt x="723" y="297"/>
                      <a:pt x="723" y="297"/>
                      <a:pt x="723" y="297"/>
                    </a:cubicBezTo>
                    <a:cubicBezTo>
                      <a:pt x="723" y="296"/>
                      <a:pt x="723" y="296"/>
                      <a:pt x="723" y="296"/>
                    </a:cubicBezTo>
                    <a:cubicBezTo>
                      <a:pt x="724" y="296"/>
                      <a:pt x="724" y="296"/>
                      <a:pt x="724" y="296"/>
                    </a:cubicBezTo>
                    <a:cubicBezTo>
                      <a:pt x="725" y="297"/>
                      <a:pt x="725" y="297"/>
                      <a:pt x="725" y="297"/>
                    </a:cubicBezTo>
                    <a:cubicBezTo>
                      <a:pt x="725" y="298"/>
                      <a:pt x="725" y="298"/>
                      <a:pt x="725" y="298"/>
                    </a:cubicBezTo>
                    <a:cubicBezTo>
                      <a:pt x="724" y="299"/>
                      <a:pt x="724" y="299"/>
                      <a:pt x="724" y="299"/>
                    </a:cubicBezTo>
                    <a:cubicBezTo>
                      <a:pt x="724" y="300"/>
                      <a:pt x="724" y="300"/>
                      <a:pt x="724" y="300"/>
                    </a:cubicBezTo>
                    <a:cubicBezTo>
                      <a:pt x="723" y="301"/>
                      <a:pt x="723" y="301"/>
                      <a:pt x="723" y="301"/>
                    </a:cubicBezTo>
                    <a:cubicBezTo>
                      <a:pt x="723" y="302"/>
                      <a:pt x="723" y="302"/>
                      <a:pt x="723" y="302"/>
                    </a:cubicBezTo>
                    <a:cubicBezTo>
                      <a:pt x="724" y="303"/>
                      <a:pt x="724" y="303"/>
                      <a:pt x="724" y="303"/>
                    </a:cubicBezTo>
                    <a:cubicBezTo>
                      <a:pt x="725" y="303"/>
                      <a:pt x="725" y="303"/>
                      <a:pt x="725" y="303"/>
                    </a:cubicBezTo>
                    <a:cubicBezTo>
                      <a:pt x="726" y="303"/>
                      <a:pt x="726" y="303"/>
                      <a:pt x="726" y="303"/>
                    </a:cubicBezTo>
                    <a:cubicBezTo>
                      <a:pt x="726" y="302"/>
                      <a:pt x="726" y="302"/>
                      <a:pt x="726" y="302"/>
                    </a:cubicBezTo>
                    <a:cubicBezTo>
                      <a:pt x="727" y="303"/>
                      <a:pt x="727" y="303"/>
                      <a:pt x="727" y="303"/>
                    </a:cubicBezTo>
                    <a:cubicBezTo>
                      <a:pt x="728" y="302"/>
                      <a:pt x="728" y="302"/>
                      <a:pt x="728" y="302"/>
                    </a:cubicBezTo>
                    <a:cubicBezTo>
                      <a:pt x="729" y="301"/>
                      <a:pt x="729" y="301"/>
                      <a:pt x="729" y="301"/>
                    </a:cubicBezTo>
                    <a:cubicBezTo>
                      <a:pt x="729" y="302"/>
                      <a:pt x="729" y="302"/>
                      <a:pt x="729" y="302"/>
                    </a:cubicBezTo>
                    <a:cubicBezTo>
                      <a:pt x="730" y="301"/>
                      <a:pt x="730" y="301"/>
                      <a:pt x="730" y="301"/>
                    </a:cubicBezTo>
                    <a:cubicBezTo>
                      <a:pt x="731" y="299"/>
                      <a:pt x="731" y="299"/>
                      <a:pt x="731" y="299"/>
                    </a:cubicBezTo>
                    <a:cubicBezTo>
                      <a:pt x="732" y="298"/>
                      <a:pt x="732" y="298"/>
                      <a:pt x="732" y="298"/>
                    </a:cubicBezTo>
                    <a:cubicBezTo>
                      <a:pt x="733" y="298"/>
                      <a:pt x="733" y="298"/>
                      <a:pt x="733" y="298"/>
                    </a:cubicBezTo>
                    <a:cubicBezTo>
                      <a:pt x="734" y="297"/>
                      <a:pt x="734" y="297"/>
                      <a:pt x="734" y="297"/>
                    </a:cubicBezTo>
                    <a:cubicBezTo>
                      <a:pt x="735" y="297"/>
                      <a:pt x="735" y="297"/>
                      <a:pt x="735" y="297"/>
                    </a:cubicBezTo>
                    <a:cubicBezTo>
                      <a:pt x="736" y="297"/>
                      <a:pt x="736" y="297"/>
                      <a:pt x="736" y="297"/>
                    </a:cubicBezTo>
                    <a:cubicBezTo>
                      <a:pt x="736" y="296"/>
                      <a:pt x="736" y="296"/>
                      <a:pt x="736" y="296"/>
                    </a:cubicBezTo>
                    <a:cubicBezTo>
                      <a:pt x="736" y="294"/>
                      <a:pt x="736" y="294"/>
                      <a:pt x="736" y="294"/>
                    </a:cubicBezTo>
                    <a:cubicBezTo>
                      <a:pt x="737" y="293"/>
                      <a:pt x="737" y="293"/>
                      <a:pt x="737" y="293"/>
                    </a:cubicBezTo>
                    <a:cubicBezTo>
                      <a:pt x="737" y="292"/>
                      <a:pt x="737" y="292"/>
                      <a:pt x="737" y="292"/>
                    </a:cubicBezTo>
                    <a:cubicBezTo>
                      <a:pt x="738" y="292"/>
                      <a:pt x="738" y="292"/>
                      <a:pt x="738" y="292"/>
                    </a:cubicBezTo>
                    <a:cubicBezTo>
                      <a:pt x="739" y="293"/>
                      <a:pt x="739" y="293"/>
                      <a:pt x="739" y="293"/>
                    </a:cubicBezTo>
                    <a:cubicBezTo>
                      <a:pt x="739" y="292"/>
                      <a:pt x="739" y="292"/>
                      <a:pt x="739" y="292"/>
                    </a:cubicBezTo>
                    <a:cubicBezTo>
                      <a:pt x="740" y="292"/>
                      <a:pt x="740" y="292"/>
                      <a:pt x="740" y="292"/>
                    </a:cubicBezTo>
                    <a:cubicBezTo>
                      <a:pt x="741" y="292"/>
                      <a:pt x="741" y="292"/>
                      <a:pt x="741" y="292"/>
                    </a:cubicBezTo>
                    <a:cubicBezTo>
                      <a:pt x="741" y="293"/>
                      <a:pt x="741" y="293"/>
                      <a:pt x="741" y="293"/>
                    </a:cubicBezTo>
                    <a:cubicBezTo>
                      <a:pt x="740" y="294"/>
                      <a:pt x="740" y="294"/>
                      <a:pt x="740" y="294"/>
                    </a:cubicBezTo>
                    <a:cubicBezTo>
                      <a:pt x="739" y="295"/>
                      <a:pt x="739" y="295"/>
                      <a:pt x="739" y="295"/>
                    </a:cubicBezTo>
                    <a:cubicBezTo>
                      <a:pt x="740" y="295"/>
                      <a:pt x="740" y="295"/>
                      <a:pt x="740" y="295"/>
                    </a:cubicBezTo>
                    <a:cubicBezTo>
                      <a:pt x="742" y="295"/>
                      <a:pt x="742" y="295"/>
                      <a:pt x="742" y="295"/>
                    </a:cubicBezTo>
                    <a:cubicBezTo>
                      <a:pt x="743" y="296"/>
                      <a:pt x="743" y="296"/>
                      <a:pt x="743" y="296"/>
                    </a:cubicBezTo>
                    <a:cubicBezTo>
                      <a:pt x="743" y="297"/>
                      <a:pt x="743" y="297"/>
                      <a:pt x="743" y="297"/>
                    </a:cubicBezTo>
                    <a:cubicBezTo>
                      <a:pt x="743" y="298"/>
                      <a:pt x="743" y="298"/>
                      <a:pt x="743" y="298"/>
                    </a:cubicBezTo>
                    <a:cubicBezTo>
                      <a:pt x="742" y="298"/>
                      <a:pt x="742" y="298"/>
                      <a:pt x="742" y="298"/>
                    </a:cubicBezTo>
                    <a:cubicBezTo>
                      <a:pt x="742" y="299"/>
                      <a:pt x="742" y="299"/>
                      <a:pt x="742" y="299"/>
                    </a:cubicBezTo>
                    <a:cubicBezTo>
                      <a:pt x="742" y="300"/>
                      <a:pt x="742" y="300"/>
                      <a:pt x="742" y="300"/>
                    </a:cubicBezTo>
                    <a:cubicBezTo>
                      <a:pt x="743" y="299"/>
                      <a:pt x="743" y="299"/>
                      <a:pt x="743" y="299"/>
                    </a:cubicBezTo>
                    <a:cubicBezTo>
                      <a:pt x="744" y="299"/>
                      <a:pt x="744" y="299"/>
                      <a:pt x="744" y="299"/>
                    </a:cubicBezTo>
                    <a:cubicBezTo>
                      <a:pt x="744" y="300"/>
                      <a:pt x="744" y="300"/>
                      <a:pt x="744" y="300"/>
                    </a:cubicBezTo>
                    <a:cubicBezTo>
                      <a:pt x="745" y="300"/>
                      <a:pt x="745" y="300"/>
                      <a:pt x="745" y="300"/>
                    </a:cubicBezTo>
                    <a:cubicBezTo>
                      <a:pt x="746" y="300"/>
                      <a:pt x="746" y="300"/>
                      <a:pt x="746" y="300"/>
                    </a:cubicBezTo>
                    <a:cubicBezTo>
                      <a:pt x="747" y="301"/>
                      <a:pt x="747" y="301"/>
                      <a:pt x="747" y="301"/>
                    </a:cubicBezTo>
                    <a:cubicBezTo>
                      <a:pt x="748" y="301"/>
                      <a:pt x="748" y="301"/>
                      <a:pt x="748" y="301"/>
                    </a:cubicBezTo>
                    <a:cubicBezTo>
                      <a:pt x="749" y="302"/>
                      <a:pt x="749" y="302"/>
                      <a:pt x="749" y="302"/>
                    </a:cubicBezTo>
                    <a:cubicBezTo>
                      <a:pt x="750" y="302"/>
                      <a:pt x="750" y="302"/>
                      <a:pt x="750" y="302"/>
                    </a:cubicBezTo>
                    <a:cubicBezTo>
                      <a:pt x="751" y="300"/>
                      <a:pt x="751" y="300"/>
                      <a:pt x="751" y="300"/>
                    </a:cubicBezTo>
                    <a:cubicBezTo>
                      <a:pt x="752" y="299"/>
                      <a:pt x="752" y="299"/>
                      <a:pt x="752" y="299"/>
                    </a:cubicBezTo>
                    <a:cubicBezTo>
                      <a:pt x="753" y="299"/>
                      <a:pt x="753" y="299"/>
                      <a:pt x="753" y="299"/>
                    </a:cubicBezTo>
                    <a:cubicBezTo>
                      <a:pt x="754" y="298"/>
                      <a:pt x="754" y="298"/>
                      <a:pt x="754" y="298"/>
                    </a:cubicBezTo>
                    <a:close/>
                    <a:moveTo>
                      <a:pt x="742" y="269"/>
                    </a:moveTo>
                    <a:cubicBezTo>
                      <a:pt x="742" y="270"/>
                      <a:pt x="742" y="270"/>
                      <a:pt x="742" y="270"/>
                    </a:cubicBezTo>
                    <a:cubicBezTo>
                      <a:pt x="742" y="270"/>
                      <a:pt x="742" y="270"/>
                      <a:pt x="743" y="271"/>
                    </a:cubicBezTo>
                    <a:cubicBezTo>
                      <a:pt x="743" y="271"/>
                      <a:pt x="743" y="271"/>
                      <a:pt x="743" y="272"/>
                    </a:cubicBezTo>
                    <a:cubicBezTo>
                      <a:pt x="743" y="272"/>
                      <a:pt x="743" y="272"/>
                      <a:pt x="744" y="273"/>
                    </a:cubicBezTo>
                    <a:cubicBezTo>
                      <a:pt x="744" y="273"/>
                      <a:pt x="744" y="273"/>
                      <a:pt x="744" y="274"/>
                    </a:cubicBezTo>
                    <a:cubicBezTo>
                      <a:pt x="744" y="274"/>
                      <a:pt x="744" y="274"/>
                      <a:pt x="745" y="274"/>
                    </a:cubicBezTo>
                    <a:cubicBezTo>
                      <a:pt x="745" y="274"/>
                      <a:pt x="745" y="274"/>
                      <a:pt x="747" y="274"/>
                    </a:cubicBezTo>
                    <a:cubicBezTo>
                      <a:pt x="747" y="274"/>
                      <a:pt x="747" y="274"/>
                      <a:pt x="747" y="273"/>
                    </a:cubicBezTo>
                    <a:cubicBezTo>
                      <a:pt x="747" y="273"/>
                      <a:pt x="747" y="273"/>
                      <a:pt x="746" y="273"/>
                    </a:cubicBezTo>
                    <a:cubicBezTo>
                      <a:pt x="746" y="273"/>
                      <a:pt x="746" y="273"/>
                      <a:pt x="745" y="273"/>
                    </a:cubicBezTo>
                    <a:cubicBezTo>
                      <a:pt x="745" y="273"/>
                      <a:pt x="745" y="273"/>
                      <a:pt x="745" y="271"/>
                    </a:cubicBezTo>
                    <a:cubicBezTo>
                      <a:pt x="745" y="271"/>
                      <a:pt x="745" y="271"/>
                      <a:pt x="744" y="270"/>
                    </a:cubicBezTo>
                    <a:cubicBezTo>
                      <a:pt x="744" y="270"/>
                      <a:pt x="744" y="270"/>
                      <a:pt x="744" y="269"/>
                    </a:cubicBezTo>
                    <a:cubicBezTo>
                      <a:pt x="744" y="269"/>
                      <a:pt x="744" y="269"/>
                      <a:pt x="742" y="269"/>
                    </a:cubicBezTo>
                    <a:close/>
                    <a:moveTo>
                      <a:pt x="749" y="267"/>
                    </a:moveTo>
                    <a:cubicBezTo>
                      <a:pt x="749" y="268"/>
                      <a:pt x="749" y="268"/>
                      <a:pt x="749" y="268"/>
                    </a:cubicBezTo>
                    <a:cubicBezTo>
                      <a:pt x="750" y="268"/>
                      <a:pt x="750" y="268"/>
                      <a:pt x="750" y="268"/>
                    </a:cubicBezTo>
                    <a:cubicBezTo>
                      <a:pt x="749" y="267"/>
                      <a:pt x="749" y="267"/>
                      <a:pt x="749" y="267"/>
                    </a:cubicBezTo>
                    <a:close/>
                    <a:moveTo>
                      <a:pt x="739" y="270"/>
                    </a:moveTo>
                    <a:cubicBezTo>
                      <a:pt x="739" y="270"/>
                      <a:pt x="739" y="270"/>
                      <a:pt x="738" y="269"/>
                    </a:cubicBezTo>
                    <a:cubicBezTo>
                      <a:pt x="738" y="269"/>
                      <a:pt x="738" y="269"/>
                      <a:pt x="737" y="270"/>
                    </a:cubicBezTo>
                    <a:cubicBezTo>
                      <a:pt x="737" y="270"/>
                      <a:pt x="737" y="270"/>
                      <a:pt x="737" y="271"/>
                    </a:cubicBezTo>
                    <a:cubicBezTo>
                      <a:pt x="737" y="271"/>
                      <a:pt x="737" y="271"/>
                      <a:pt x="737" y="272"/>
                    </a:cubicBezTo>
                    <a:cubicBezTo>
                      <a:pt x="737" y="272"/>
                      <a:pt x="737" y="272"/>
                      <a:pt x="737" y="273"/>
                    </a:cubicBezTo>
                    <a:cubicBezTo>
                      <a:pt x="737" y="273"/>
                      <a:pt x="737" y="273"/>
                      <a:pt x="737" y="274"/>
                    </a:cubicBezTo>
                    <a:cubicBezTo>
                      <a:pt x="737" y="274"/>
                      <a:pt x="737" y="274"/>
                      <a:pt x="738" y="274"/>
                    </a:cubicBezTo>
                    <a:cubicBezTo>
                      <a:pt x="738" y="274"/>
                      <a:pt x="738" y="274"/>
                      <a:pt x="739" y="272"/>
                    </a:cubicBezTo>
                    <a:cubicBezTo>
                      <a:pt x="739" y="272"/>
                      <a:pt x="739" y="272"/>
                      <a:pt x="738" y="271"/>
                    </a:cubicBezTo>
                    <a:cubicBezTo>
                      <a:pt x="738" y="271"/>
                      <a:pt x="738" y="271"/>
                      <a:pt x="738" y="270"/>
                    </a:cubicBezTo>
                    <a:cubicBezTo>
                      <a:pt x="738" y="270"/>
                      <a:pt x="738" y="270"/>
                      <a:pt x="739" y="270"/>
                    </a:cubicBezTo>
                    <a:close/>
                    <a:moveTo>
                      <a:pt x="739" y="311"/>
                    </a:moveTo>
                    <a:cubicBezTo>
                      <a:pt x="741" y="310"/>
                      <a:pt x="741" y="310"/>
                      <a:pt x="741" y="310"/>
                    </a:cubicBezTo>
                    <a:cubicBezTo>
                      <a:pt x="741" y="309"/>
                      <a:pt x="741" y="309"/>
                      <a:pt x="741" y="309"/>
                    </a:cubicBezTo>
                    <a:cubicBezTo>
                      <a:pt x="742" y="308"/>
                      <a:pt x="742" y="308"/>
                      <a:pt x="742" y="308"/>
                    </a:cubicBezTo>
                    <a:cubicBezTo>
                      <a:pt x="740" y="308"/>
                      <a:pt x="740" y="308"/>
                      <a:pt x="740" y="308"/>
                    </a:cubicBezTo>
                    <a:cubicBezTo>
                      <a:pt x="740" y="307"/>
                      <a:pt x="740" y="307"/>
                      <a:pt x="740" y="307"/>
                    </a:cubicBezTo>
                    <a:cubicBezTo>
                      <a:pt x="739" y="307"/>
                      <a:pt x="739" y="307"/>
                      <a:pt x="739" y="307"/>
                    </a:cubicBezTo>
                    <a:cubicBezTo>
                      <a:pt x="738" y="308"/>
                      <a:pt x="738" y="308"/>
                      <a:pt x="738" y="308"/>
                    </a:cubicBezTo>
                    <a:cubicBezTo>
                      <a:pt x="738" y="307"/>
                      <a:pt x="738" y="307"/>
                      <a:pt x="738" y="307"/>
                    </a:cubicBezTo>
                    <a:cubicBezTo>
                      <a:pt x="737" y="308"/>
                      <a:pt x="737" y="308"/>
                      <a:pt x="737" y="308"/>
                    </a:cubicBezTo>
                    <a:cubicBezTo>
                      <a:pt x="736" y="308"/>
                      <a:pt x="736" y="308"/>
                      <a:pt x="736" y="308"/>
                    </a:cubicBezTo>
                    <a:cubicBezTo>
                      <a:pt x="735" y="308"/>
                      <a:pt x="735" y="308"/>
                      <a:pt x="735" y="308"/>
                    </a:cubicBezTo>
                    <a:cubicBezTo>
                      <a:pt x="735" y="307"/>
                      <a:pt x="735" y="307"/>
                      <a:pt x="735" y="307"/>
                    </a:cubicBezTo>
                    <a:cubicBezTo>
                      <a:pt x="734" y="307"/>
                      <a:pt x="734" y="307"/>
                      <a:pt x="734" y="307"/>
                    </a:cubicBezTo>
                    <a:cubicBezTo>
                      <a:pt x="733" y="307"/>
                      <a:pt x="733" y="307"/>
                      <a:pt x="733" y="307"/>
                    </a:cubicBezTo>
                    <a:cubicBezTo>
                      <a:pt x="732" y="309"/>
                      <a:pt x="732" y="309"/>
                      <a:pt x="732" y="309"/>
                    </a:cubicBezTo>
                    <a:cubicBezTo>
                      <a:pt x="732" y="310"/>
                      <a:pt x="732" y="310"/>
                      <a:pt x="732" y="310"/>
                    </a:cubicBezTo>
                    <a:cubicBezTo>
                      <a:pt x="731" y="310"/>
                      <a:pt x="731" y="310"/>
                      <a:pt x="731" y="310"/>
                    </a:cubicBezTo>
                    <a:cubicBezTo>
                      <a:pt x="729" y="311"/>
                      <a:pt x="729" y="311"/>
                      <a:pt x="729" y="311"/>
                    </a:cubicBezTo>
                    <a:cubicBezTo>
                      <a:pt x="729" y="312"/>
                      <a:pt x="729" y="312"/>
                      <a:pt x="729" y="312"/>
                    </a:cubicBezTo>
                    <a:cubicBezTo>
                      <a:pt x="730" y="313"/>
                      <a:pt x="730" y="313"/>
                      <a:pt x="730" y="313"/>
                    </a:cubicBezTo>
                    <a:cubicBezTo>
                      <a:pt x="729" y="314"/>
                      <a:pt x="729" y="314"/>
                      <a:pt x="729" y="314"/>
                    </a:cubicBezTo>
                    <a:cubicBezTo>
                      <a:pt x="729" y="315"/>
                      <a:pt x="729" y="315"/>
                      <a:pt x="729" y="315"/>
                    </a:cubicBezTo>
                    <a:cubicBezTo>
                      <a:pt x="730" y="316"/>
                      <a:pt x="730" y="316"/>
                      <a:pt x="730" y="316"/>
                    </a:cubicBezTo>
                    <a:cubicBezTo>
                      <a:pt x="731" y="314"/>
                      <a:pt x="731" y="314"/>
                      <a:pt x="731" y="314"/>
                    </a:cubicBezTo>
                    <a:cubicBezTo>
                      <a:pt x="732" y="314"/>
                      <a:pt x="732" y="314"/>
                      <a:pt x="732" y="314"/>
                    </a:cubicBezTo>
                    <a:cubicBezTo>
                      <a:pt x="733" y="314"/>
                      <a:pt x="733" y="314"/>
                      <a:pt x="733" y="314"/>
                    </a:cubicBezTo>
                    <a:cubicBezTo>
                      <a:pt x="733" y="315"/>
                      <a:pt x="733" y="315"/>
                      <a:pt x="733" y="315"/>
                    </a:cubicBezTo>
                    <a:cubicBezTo>
                      <a:pt x="734" y="315"/>
                      <a:pt x="734" y="315"/>
                      <a:pt x="734" y="315"/>
                    </a:cubicBezTo>
                    <a:cubicBezTo>
                      <a:pt x="735" y="313"/>
                      <a:pt x="735" y="313"/>
                      <a:pt x="735" y="313"/>
                    </a:cubicBezTo>
                    <a:cubicBezTo>
                      <a:pt x="736" y="313"/>
                      <a:pt x="736" y="313"/>
                      <a:pt x="736" y="313"/>
                    </a:cubicBezTo>
                    <a:cubicBezTo>
                      <a:pt x="737" y="312"/>
                      <a:pt x="737" y="312"/>
                      <a:pt x="737" y="312"/>
                    </a:cubicBezTo>
                    <a:cubicBezTo>
                      <a:pt x="738" y="311"/>
                      <a:pt x="738" y="311"/>
                      <a:pt x="738" y="311"/>
                    </a:cubicBezTo>
                    <a:cubicBezTo>
                      <a:pt x="739" y="311"/>
                      <a:pt x="739" y="311"/>
                      <a:pt x="739" y="311"/>
                    </a:cubicBezTo>
                    <a:close/>
                    <a:moveTo>
                      <a:pt x="724" y="407"/>
                    </a:moveTo>
                    <a:cubicBezTo>
                      <a:pt x="723" y="407"/>
                      <a:pt x="723" y="407"/>
                      <a:pt x="723" y="407"/>
                    </a:cubicBezTo>
                    <a:cubicBezTo>
                      <a:pt x="723" y="408"/>
                      <a:pt x="723" y="408"/>
                      <a:pt x="723" y="408"/>
                    </a:cubicBezTo>
                    <a:cubicBezTo>
                      <a:pt x="723" y="409"/>
                      <a:pt x="723" y="409"/>
                      <a:pt x="723" y="409"/>
                    </a:cubicBezTo>
                    <a:cubicBezTo>
                      <a:pt x="724" y="408"/>
                      <a:pt x="724" y="408"/>
                      <a:pt x="724" y="408"/>
                    </a:cubicBezTo>
                    <a:cubicBezTo>
                      <a:pt x="724" y="407"/>
                      <a:pt x="724" y="407"/>
                      <a:pt x="724" y="407"/>
                    </a:cubicBezTo>
                    <a:close/>
                    <a:moveTo>
                      <a:pt x="820" y="482"/>
                    </a:moveTo>
                    <a:cubicBezTo>
                      <a:pt x="820" y="482"/>
                      <a:pt x="820" y="482"/>
                      <a:pt x="821" y="481"/>
                    </a:cubicBezTo>
                    <a:cubicBezTo>
                      <a:pt x="821" y="481"/>
                      <a:pt x="821" y="481"/>
                      <a:pt x="822" y="482"/>
                    </a:cubicBezTo>
                    <a:cubicBezTo>
                      <a:pt x="822" y="482"/>
                      <a:pt x="822" y="482"/>
                      <a:pt x="823" y="482"/>
                    </a:cubicBezTo>
                    <a:cubicBezTo>
                      <a:pt x="823" y="482"/>
                      <a:pt x="823" y="482"/>
                      <a:pt x="825" y="480"/>
                    </a:cubicBezTo>
                    <a:cubicBezTo>
                      <a:pt x="825" y="480"/>
                      <a:pt x="825" y="480"/>
                      <a:pt x="826" y="480"/>
                    </a:cubicBezTo>
                    <a:cubicBezTo>
                      <a:pt x="826" y="480"/>
                      <a:pt x="826" y="480"/>
                      <a:pt x="827" y="480"/>
                    </a:cubicBezTo>
                    <a:cubicBezTo>
                      <a:pt x="827" y="480"/>
                      <a:pt x="827" y="480"/>
                      <a:pt x="828" y="479"/>
                    </a:cubicBezTo>
                    <a:cubicBezTo>
                      <a:pt x="828" y="479"/>
                      <a:pt x="828" y="479"/>
                      <a:pt x="828" y="477"/>
                    </a:cubicBezTo>
                    <a:cubicBezTo>
                      <a:pt x="828" y="477"/>
                      <a:pt x="828" y="477"/>
                      <a:pt x="826" y="477"/>
                    </a:cubicBezTo>
                    <a:cubicBezTo>
                      <a:pt x="826" y="477"/>
                      <a:pt x="826" y="477"/>
                      <a:pt x="826" y="478"/>
                    </a:cubicBezTo>
                    <a:cubicBezTo>
                      <a:pt x="826" y="478"/>
                      <a:pt x="826" y="478"/>
                      <a:pt x="825" y="478"/>
                    </a:cubicBezTo>
                    <a:cubicBezTo>
                      <a:pt x="825" y="478"/>
                      <a:pt x="825" y="478"/>
                      <a:pt x="825" y="477"/>
                    </a:cubicBezTo>
                    <a:cubicBezTo>
                      <a:pt x="825" y="477"/>
                      <a:pt x="825" y="477"/>
                      <a:pt x="825" y="476"/>
                    </a:cubicBezTo>
                    <a:cubicBezTo>
                      <a:pt x="825" y="476"/>
                      <a:pt x="825" y="476"/>
                      <a:pt x="823" y="476"/>
                    </a:cubicBezTo>
                    <a:cubicBezTo>
                      <a:pt x="823" y="476"/>
                      <a:pt x="823" y="476"/>
                      <a:pt x="824" y="475"/>
                    </a:cubicBezTo>
                    <a:cubicBezTo>
                      <a:pt x="824" y="475"/>
                      <a:pt x="824" y="475"/>
                      <a:pt x="825" y="473"/>
                    </a:cubicBezTo>
                    <a:cubicBezTo>
                      <a:pt x="825" y="473"/>
                      <a:pt x="825" y="473"/>
                      <a:pt x="825" y="472"/>
                    </a:cubicBezTo>
                    <a:cubicBezTo>
                      <a:pt x="825" y="472"/>
                      <a:pt x="825" y="472"/>
                      <a:pt x="824" y="472"/>
                    </a:cubicBezTo>
                    <a:cubicBezTo>
                      <a:pt x="824" y="472"/>
                      <a:pt x="824" y="472"/>
                      <a:pt x="825" y="471"/>
                    </a:cubicBezTo>
                    <a:cubicBezTo>
                      <a:pt x="825" y="471"/>
                      <a:pt x="825" y="471"/>
                      <a:pt x="825" y="470"/>
                    </a:cubicBezTo>
                    <a:cubicBezTo>
                      <a:pt x="825" y="470"/>
                      <a:pt x="825" y="470"/>
                      <a:pt x="824" y="470"/>
                    </a:cubicBezTo>
                    <a:cubicBezTo>
                      <a:pt x="824" y="470"/>
                      <a:pt x="824" y="470"/>
                      <a:pt x="823" y="471"/>
                    </a:cubicBezTo>
                    <a:cubicBezTo>
                      <a:pt x="823" y="471"/>
                      <a:pt x="823" y="471"/>
                      <a:pt x="822" y="473"/>
                    </a:cubicBezTo>
                    <a:cubicBezTo>
                      <a:pt x="822" y="473"/>
                      <a:pt x="822" y="473"/>
                      <a:pt x="821" y="474"/>
                    </a:cubicBezTo>
                    <a:cubicBezTo>
                      <a:pt x="821" y="474"/>
                      <a:pt x="821" y="474"/>
                      <a:pt x="821" y="475"/>
                    </a:cubicBezTo>
                    <a:cubicBezTo>
                      <a:pt x="821" y="475"/>
                      <a:pt x="821" y="475"/>
                      <a:pt x="819" y="477"/>
                    </a:cubicBezTo>
                    <a:cubicBezTo>
                      <a:pt x="819" y="477"/>
                      <a:pt x="819" y="477"/>
                      <a:pt x="818" y="478"/>
                    </a:cubicBezTo>
                    <a:cubicBezTo>
                      <a:pt x="818" y="478"/>
                      <a:pt x="818" y="478"/>
                      <a:pt x="817" y="478"/>
                    </a:cubicBezTo>
                    <a:cubicBezTo>
                      <a:pt x="817" y="478"/>
                      <a:pt x="817" y="478"/>
                      <a:pt x="818" y="479"/>
                    </a:cubicBezTo>
                    <a:cubicBezTo>
                      <a:pt x="818" y="479"/>
                      <a:pt x="818" y="479"/>
                      <a:pt x="818" y="481"/>
                    </a:cubicBezTo>
                    <a:cubicBezTo>
                      <a:pt x="818" y="481"/>
                      <a:pt x="818" y="481"/>
                      <a:pt x="820" y="482"/>
                    </a:cubicBezTo>
                    <a:close/>
                    <a:moveTo>
                      <a:pt x="799" y="355"/>
                    </a:moveTo>
                    <a:cubicBezTo>
                      <a:pt x="798" y="354"/>
                      <a:pt x="798" y="354"/>
                      <a:pt x="798" y="354"/>
                    </a:cubicBezTo>
                    <a:cubicBezTo>
                      <a:pt x="798" y="355"/>
                      <a:pt x="798" y="355"/>
                      <a:pt x="798" y="355"/>
                    </a:cubicBezTo>
                    <a:cubicBezTo>
                      <a:pt x="798" y="356"/>
                      <a:pt x="798" y="356"/>
                      <a:pt x="798" y="356"/>
                    </a:cubicBezTo>
                    <a:cubicBezTo>
                      <a:pt x="798" y="357"/>
                      <a:pt x="798" y="357"/>
                      <a:pt x="798" y="357"/>
                    </a:cubicBezTo>
                    <a:cubicBezTo>
                      <a:pt x="799" y="356"/>
                      <a:pt x="799" y="356"/>
                      <a:pt x="799" y="356"/>
                    </a:cubicBezTo>
                    <a:cubicBezTo>
                      <a:pt x="799" y="355"/>
                      <a:pt x="799" y="355"/>
                      <a:pt x="799" y="355"/>
                    </a:cubicBezTo>
                    <a:close/>
                    <a:moveTo>
                      <a:pt x="760" y="154"/>
                    </a:moveTo>
                    <a:cubicBezTo>
                      <a:pt x="760" y="154"/>
                      <a:pt x="760" y="154"/>
                      <a:pt x="760" y="155"/>
                    </a:cubicBezTo>
                    <a:cubicBezTo>
                      <a:pt x="760" y="155"/>
                      <a:pt x="760" y="155"/>
                      <a:pt x="761" y="155"/>
                    </a:cubicBezTo>
                    <a:cubicBezTo>
                      <a:pt x="761" y="155"/>
                      <a:pt x="761" y="155"/>
                      <a:pt x="762" y="154"/>
                    </a:cubicBezTo>
                    <a:cubicBezTo>
                      <a:pt x="762" y="154"/>
                      <a:pt x="762" y="154"/>
                      <a:pt x="760" y="153"/>
                    </a:cubicBezTo>
                    <a:cubicBezTo>
                      <a:pt x="760" y="153"/>
                      <a:pt x="760" y="153"/>
                      <a:pt x="760" y="154"/>
                    </a:cubicBezTo>
                    <a:close/>
                    <a:moveTo>
                      <a:pt x="740" y="140"/>
                    </a:moveTo>
                    <a:cubicBezTo>
                      <a:pt x="740" y="140"/>
                      <a:pt x="740" y="140"/>
                      <a:pt x="741" y="140"/>
                    </a:cubicBezTo>
                    <a:cubicBezTo>
                      <a:pt x="741" y="140"/>
                      <a:pt x="741" y="140"/>
                      <a:pt x="741" y="139"/>
                    </a:cubicBezTo>
                    <a:cubicBezTo>
                      <a:pt x="741" y="139"/>
                      <a:pt x="741" y="139"/>
                      <a:pt x="741" y="138"/>
                    </a:cubicBezTo>
                    <a:cubicBezTo>
                      <a:pt x="741" y="138"/>
                      <a:pt x="741" y="138"/>
                      <a:pt x="740" y="138"/>
                    </a:cubicBezTo>
                    <a:cubicBezTo>
                      <a:pt x="740" y="138"/>
                      <a:pt x="740" y="138"/>
                      <a:pt x="739" y="138"/>
                    </a:cubicBezTo>
                    <a:cubicBezTo>
                      <a:pt x="739" y="138"/>
                      <a:pt x="739" y="138"/>
                      <a:pt x="740" y="140"/>
                    </a:cubicBezTo>
                    <a:close/>
                    <a:moveTo>
                      <a:pt x="817" y="187"/>
                    </a:moveTo>
                    <a:cubicBezTo>
                      <a:pt x="817" y="187"/>
                      <a:pt x="817" y="187"/>
                      <a:pt x="817" y="186"/>
                    </a:cubicBezTo>
                    <a:cubicBezTo>
                      <a:pt x="817" y="186"/>
                      <a:pt x="817" y="186"/>
                      <a:pt x="818" y="186"/>
                    </a:cubicBezTo>
                    <a:cubicBezTo>
                      <a:pt x="818" y="186"/>
                      <a:pt x="818" y="186"/>
                      <a:pt x="818" y="185"/>
                    </a:cubicBezTo>
                    <a:cubicBezTo>
                      <a:pt x="818" y="185"/>
                      <a:pt x="818" y="185"/>
                      <a:pt x="816" y="185"/>
                    </a:cubicBezTo>
                    <a:cubicBezTo>
                      <a:pt x="816" y="185"/>
                      <a:pt x="816" y="185"/>
                      <a:pt x="817" y="184"/>
                    </a:cubicBezTo>
                    <a:cubicBezTo>
                      <a:pt x="817" y="184"/>
                      <a:pt x="817" y="184"/>
                      <a:pt x="817" y="183"/>
                    </a:cubicBezTo>
                    <a:cubicBezTo>
                      <a:pt x="817" y="183"/>
                      <a:pt x="817" y="183"/>
                      <a:pt x="817" y="182"/>
                    </a:cubicBezTo>
                    <a:cubicBezTo>
                      <a:pt x="817" y="182"/>
                      <a:pt x="817" y="182"/>
                      <a:pt x="817" y="181"/>
                    </a:cubicBezTo>
                    <a:cubicBezTo>
                      <a:pt x="817" y="181"/>
                      <a:pt x="817" y="181"/>
                      <a:pt x="816" y="180"/>
                    </a:cubicBezTo>
                    <a:cubicBezTo>
                      <a:pt x="816" y="180"/>
                      <a:pt x="816" y="180"/>
                      <a:pt x="817" y="179"/>
                    </a:cubicBezTo>
                    <a:cubicBezTo>
                      <a:pt x="817" y="179"/>
                      <a:pt x="817" y="179"/>
                      <a:pt x="816" y="178"/>
                    </a:cubicBezTo>
                    <a:cubicBezTo>
                      <a:pt x="816" y="178"/>
                      <a:pt x="816" y="178"/>
                      <a:pt x="816" y="177"/>
                    </a:cubicBezTo>
                    <a:cubicBezTo>
                      <a:pt x="816" y="177"/>
                      <a:pt x="816" y="177"/>
                      <a:pt x="816" y="176"/>
                    </a:cubicBezTo>
                    <a:cubicBezTo>
                      <a:pt x="816" y="176"/>
                      <a:pt x="816" y="176"/>
                      <a:pt x="816" y="175"/>
                    </a:cubicBezTo>
                    <a:cubicBezTo>
                      <a:pt x="816" y="175"/>
                      <a:pt x="816" y="175"/>
                      <a:pt x="814" y="174"/>
                    </a:cubicBezTo>
                    <a:cubicBezTo>
                      <a:pt x="814" y="174"/>
                      <a:pt x="814" y="174"/>
                      <a:pt x="813" y="173"/>
                    </a:cubicBezTo>
                    <a:cubicBezTo>
                      <a:pt x="813" y="173"/>
                      <a:pt x="813" y="173"/>
                      <a:pt x="813" y="172"/>
                    </a:cubicBezTo>
                    <a:cubicBezTo>
                      <a:pt x="813" y="172"/>
                      <a:pt x="813" y="172"/>
                      <a:pt x="811" y="172"/>
                    </a:cubicBezTo>
                    <a:cubicBezTo>
                      <a:pt x="811" y="172"/>
                      <a:pt x="811" y="172"/>
                      <a:pt x="809" y="171"/>
                    </a:cubicBezTo>
                    <a:cubicBezTo>
                      <a:pt x="809" y="171"/>
                      <a:pt x="809" y="171"/>
                      <a:pt x="808" y="172"/>
                    </a:cubicBezTo>
                    <a:cubicBezTo>
                      <a:pt x="808" y="172"/>
                      <a:pt x="808" y="172"/>
                      <a:pt x="807" y="171"/>
                    </a:cubicBezTo>
                    <a:cubicBezTo>
                      <a:pt x="807" y="171"/>
                      <a:pt x="807" y="171"/>
                      <a:pt x="806" y="170"/>
                    </a:cubicBezTo>
                    <a:cubicBezTo>
                      <a:pt x="806" y="170"/>
                      <a:pt x="806" y="170"/>
                      <a:pt x="803" y="170"/>
                    </a:cubicBezTo>
                    <a:cubicBezTo>
                      <a:pt x="803" y="170"/>
                      <a:pt x="803" y="170"/>
                      <a:pt x="803" y="169"/>
                    </a:cubicBezTo>
                    <a:cubicBezTo>
                      <a:pt x="803" y="169"/>
                      <a:pt x="803" y="169"/>
                      <a:pt x="802" y="168"/>
                    </a:cubicBezTo>
                    <a:cubicBezTo>
                      <a:pt x="802" y="168"/>
                      <a:pt x="802" y="168"/>
                      <a:pt x="801" y="168"/>
                    </a:cubicBezTo>
                    <a:cubicBezTo>
                      <a:pt x="801" y="168"/>
                      <a:pt x="801" y="168"/>
                      <a:pt x="801" y="170"/>
                    </a:cubicBezTo>
                    <a:cubicBezTo>
                      <a:pt x="801" y="170"/>
                      <a:pt x="801" y="170"/>
                      <a:pt x="800" y="171"/>
                    </a:cubicBezTo>
                    <a:cubicBezTo>
                      <a:pt x="800" y="171"/>
                      <a:pt x="800" y="171"/>
                      <a:pt x="800" y="172"/>
                    </a:cubicBezTo>
                    <a:cubicBezTo>
                      <a:pt x="800" y="172"/>
                      <a:pt x="800" y="172"/>
                      <a:pt x="800" y="173"/>
                    </a:cubicBezTo>
                    <a:cubicBezTo>
                      <a:pt x="800" y="173"/>
                      <a:pt x="800" y="173"/>
                      <a:pt x="799" y="173"/>
                    </a:cubicBezTo>
                    <a:cubicBezTo>
                      <a:pt x="799" y="173"/>
                      <a:pt x="799" y="173"/>
                      <a:pt x="798" y="175"/>
                    </a:cubicBezTo>
                    <a:cubicBezTo>
                      <a:pt x="798" y="175"/>
                      <a:pt x="798" y="175"/>
                      <a:pt x="799" y="176"/>
                    </a:cubicBezTo>
                    <a:cubicBezTo>
                      <a:pt x="799" y="176"/>
                      <a:pt x="799" y="176"/>
                      <a:pt x="800" y="176"/>
                    </a:cubicBezTo>
                    <a:cubicBezTo>
                      <a:pt x="800" y="176"/>
                      <a:pt x="800" y="176"/>
                      <a:pt x="800" y="177"/>
                    </a:cubicBezTo>
                    <a:cubicBezTo>
                      <a:pt x="800" y="177"/>
                      <a:pt x="800" y="177"/>
                      <a:pt x="800" y="178"/>
                    </a:cubicBezTo>
                    <a:cubicBezTo>
                      <a:pt x="800" y="178"/>
                      <a:pt x="800" y="178"/>
                      <a:pt x="800" y="179"/>
                    </a:cubicBezTo>
                    <a:cubicBezTo>
                      <a:pt x="800" y="179"/>
                      <a:pt x="800" y="179"/>
                      <a:pt x="799" y="180"/>
                    </a:cubicBezTo>
                    <a:cubicBezTo>
                      <a:pt x="799" y="180"/>
                      <a:pt x="799" y="180"/>
                      <a:pt x="798" y="182"/>
                    </a:cubicBezTo>
                    <a:cubicBezTo>
                      <a:pt x="798" y="182"/>
                      <a:pt x="798" y="182"/>
                      <a:pt x="799" y="183"/>
                    </a:cubicBezTo>
                    <a:cubicBezTo>
                      <a:pt x="799" y="183"/>
                      <a:pt x="799" y="183"/>
                      <a:pt x="800" y="183"/>
                    </a:cubicBezTo>
                    <a:cubicBezTo>
                      <a:pt x="800" y="183"/>
                      <a:pt x="800" y="183"/>
                      <a:pt x="800" y="185"/>
                    </a:cubicBezTo>
                    <a:cubicBezTo>
                      <a:pt x="800" y="185"/>
                      <a:pt x="800" y="185"/>
                      <a:pt x="801" y="185"/>
                    </a:cubicBezTo>
                    <a:cubicBezTo>
                      <a:pt x="801" y="185"/>
                      <a:pt x="801" y="185"/>
                      <a:pt x="803" y="186"/>
                    </a:cubicBezTo>
                    <a:cubicBezTo>
                      <a:pt x="803" y="186"/>
                      <a:pt x="803" y="186"/>
                      <a:pt x="804" y="186"/>
                    </a:cubicBezTo>
                    <a:cubicBezTo>
                      <a:pt x="804" y="186"/>
                      <a:pt x="804" y="186"/>
                      <a:pt x="805" y="185"/>
                    </a:cubicBezTo>
                    <a:cubicBezTo>
                      <a:pt x="805" y="185"/>
                      <a:pt x="805" y="185"/>
                      <a:pt x="806" y="185"/>
                    </a:cubicBezTo>
                    <a:cubicBezTo>
                      <a:pt x="806" y="185"/>
                      <a:pt x="806" y="185"/>
                      <a:pt x="808" y="184"/>
                    </a:cubicBezTo>
                    <a:cubicBezTo>
                      <a:pt x="808" y="184"/>
                      <a:pt x="808" y="184"/>
                      <a:pt x="809" y="185"/>
                    </a:cubicBezTo>
                    <a:cubicBezTo>
                      <a:pt x="809" y="185"/>
                      <a:pt x="809" y="185"/>
                      <a:pt x="811" y="185"/>
                    </a:cubicBezTo>
                    <a:cubicBezTo>
                      <a:pt x="811" y="185"/>
                      <a:pt x="811" y="185"/>
                      <a:pt x="812" y="186"/>
                    </a:cubicBezTo>
                    <a:cubicBezTo>
                      <a:pt x="812" y="186"/>
                      <a:pt x="812" y="186"/>
                      <a:pt x="814" y="186"/>
                    </a:cubicBezTo>
                    <a:cubicBezTo>
                      <a:pt x="814" y="186"/>
                      <a:pt x="814" y="186"/>
                      <a:pt x="814" y="187"/>
                    </a:cubicBezTo>
                    <a:cubicBezTo>
                      <a:pt x="814" y="187"/>
                      <a:pt x="814" y="187"/>
                      <a:pt x="817" y="187"/>
                    </a:cubicBezTo>
                    <a:close/>
                    <a:moveTo>
                      <a:pt x="753" y="116"/>
                    </a:moveTo>
                    <a:cubicBezTo>
                      <a:pt x="753" y="116"/>
                      <a:pt x="753" y="116"/>
                      <a:pt x="754" y="116"/>
                    </a:cubicBezTo>
                    <a:cubicBezTo>
                      <a:pt x="754" y="115"/>
                      <a:pt x="754" y="115"/>
                      <a:pt x="754" y="115"/>
                    </a:cubicBezTo>
                    <a:cubicBezTo>
                      <a:pt x="754" y="115"/>
                      <a:pt x="754" y="115"/>
                      <a:pt x="753" y="115"/>
                    </a:cubicBezTo>
                    <a:cubicBezTo>
                      <a:pt x="753" y="115"/>
                      <a:pt x="753" y="115"/>
                      <a:pt x="753" y="116"/>
                    </a:cubicBezTo>
                    <a:close/>
                    <a:moveTo>
                      <a:pt x="753" y="97"/>
                    </a:moveTo>
                    <a:cubicBezTo>
                      <a:pt x="754" y="98"/>
                      <a:pt x="754" y="98"/>
                      <a:pt x="754" y="98"/>
                    </a:cubicBezTo>
                    <a:cubicBezTo>
                      <a:pt x="755" y="98"/>
                      <a:pt x="755" y="98"/>
                      <a:pt x="755" y="98"/>
                    </a:cubicBezTo>
                    <a:cubicBezTo>
                      <a:pt x="755" y="97"/>
                      <a:pt x="755" y="97"/>
                      <a:pt x="755" y="97"/>
                    </a:cubicBezTo>
                    <a:cubicBezTo>
                      <a:pt x="754" y="97"/>
                      <a:pt x="754" y="97"/>
                      <a:pt x="754" y="97"/>
                    </a:cubicBezTo>
                    <a:cubicBezTo>
                      <a:pt x="753" y="97"/>
                      <a:pt x="753" y="97"/>
                      <a:pt x="753" y="97"/>
                    </a:cubicBezTo>
                    <a:close/>
                    <a:moveTo>
                      <a:pt x="753" y="105"/>
                    </a:moveTo>
                    <a:cubicBezTo>
                      <a:pt x="753" y="105"/>
                      <a:pt x="753" y="105"/>
                      <a:pt x="753" y="104"/>
                    </a:cubicBezTo>
                    <a:cubicBezTo>
                      <a:pt x="753" y="104"/>
                      <a:pt x="753" y="104"/>
                      <a:pt x="752" y="105"/>
                    </a:cubicBezTo>
                    <a:cubicBezTo>
                      <a:pt x="752" y="105"/>
                      <a:pt x="752" y="105"/>
                      <a:pt x="753" y="105"/>
                    </a:cubicBezTo>
                    <a:close/>
                    <a:moveTo>
                      <a:pt x="752" y="120"/>
                    </a:moveTo>
                    <a:cubicBezTo>
                      <a:pt x="752" y="120"/>
                      <a:pt x="752" y="120"/>
                      <a:pt x="752" y="121"/>
                    </a:cubicBezTo>
                    <a:cubicBezTo>
                      <a:pt x="752" y="121"/>
                      <a:pt x="752" y="121"/>
                      <a:pt x="752" y="122"/>
                    </a:cubicBezTo>
                    <a:cubicBezTo>
                      <a:pt x="752" y="122"/>
                      <a:pt x="752" y="122"/>
                      <a:pt x="752" y="123"/>
                    </a:cubicBezTo>
                    <a:cubicBezTo>
                      <a:pt x="753" y="122"/>
                      <a:pt x="753" y="122"/>
                      <a:pt x="753" y="122"/>
                    </a:cubicBezTo>
                    <a:cubicBezTo>
                      <a:pt x="753" y="122"/>
                      <a:pt x="753" y="122"/>
                      <a:pt x="753" y="121"/>
                    </a:cubicBezTo>
                    <a:cubicBezTo>
                      <a:pt x="753" y="121"/>
                      <a:pt x="753" y="121"/>
                      <a:pt x="754" y="119"/>
                    </a:cubicBezTo>
                    <a:cubicBezTo>
                      <a:pt x="754" y="119"/>
                      <a:pt x="754" y="119"/>
                      <a:pt x="753" y="119"/>
                    </a:cubicBezTo>
                    <a:cubicBezTo>
                      <a:pt x="753" y="119"/>
                      <a:pt x="753" y="119"/>
                      <a:pt x="752" y="119"/>
                    </a:cubicBezTo>
                    <a:cubicBezTo>
                      <a:pt x="752" y="119"/>
                      <a:pt x="752" y="119"/>
                      <a:pt x="752" y="120"/>
                    </a:cubicBezTo>
                    <a:close/>
                    <a:moveTo>
                      <a:pt x="800" y="189"/>
                    </a:moveTo>
                    <a:cubicBezTo>
                      <a:pt x="800" y="189"/>
                      <a:pt x="800" y="189"/>
                      <a:pt x="801" y="189"/>
                    </a:cubicBezTo>
                    <a:cubicBezTo>
                      <a:pt x="801" y="189"/>
                      <a:pt x="801" y="189"/>
                      <a:pt x="801" y="188"/>
                    </a:cubicBezTo>
                    <a:cubicBezTo>
                      <a:pt x="801" y="188"/>
                      <a:pt x="801" y="188"/>
                      <a:pt x="800" y="188"/>
                    </a:cubicBezTo>
                    <a:cubicBezTo>
                      <a:pt x="800" y="188"/>
                      <a:pt x="800" y="188"/>
                      <a:pt x="800" y="189"/>
                    </a:cubicBezTo>
                    <a:close/>
                    <a:moveTo>
                      <a:pt x="766" y="78"/>
                    </a:moveTo>
                    <a:cubicBezTo>
                      <a:pt x="766" y="78"/>
                      <a:pt x="766" y="78"/>
                      <a:pt x="765" y="78"/>
                    </a:cubicBezTo>
                    <a:cubicBezTo>
                      <a:pt x="765" y="78"/>
                      <a:pt x="765" y="78"/>
                      <a:pt x="765" y="79"/>
                    </a:cubicBezTo>
                    <a:cubicBezTo>
                      <a:pt x="765" y="79"/>
                      <a:pt x="765" y="79"/>
                      <a:pt x="764" y="80"/>
                    </a:cubicBezTo>
                    <a:cubicBezTo>
                      <a:pt x="764" y="80"/>
                      <a:pt x="764" y="80"/>
                      <a:pt x="765" y="80"/>
                    </a:cubicBezTo>
                    <a:cubicBezTo>
                      <a:pt x="765" y="80"/>
                      <a:pt x="765" y="80"/>
                      <a:pt x="765" y="82"/>
                    </a:cubicBezTo>
                    <a:cubicBezTo>
                      <a:pt x="765" y="82"/>
                      <a:pt x="765" y="82"/>
                      <a:pt x="766" y="82"/>
                    </a:cubicBezTo>
                    <a:cubicBezTo>
                      <a:pt x="766" y="82"/>
                      <a:pt x="766" y="82"/>
                      <a:pt x="765" y="83"/>
                    </a:cubicBezTo>
                    <a:cubicBezTo>
                      <a:pt x="765" y="83"/>
                      <a:pt x="765" y="83"/>
                      <a:pt x="765" y="85"/>
                    </a:cubicBezTo>
                    <a:cubicBezTo>
                      <a:pt x="765" y="85"/>
                      <a:pt x="765" y="85"/>
                      <a:pt x="767" y="84"/>
                    </a:cubicBezTo>
                    <a:cubicBezTo>
                      <a:pt x="767" y="84"/>
                      <a:pt x="767" y="84"/>
                      <a:pt x="767" y="83"/>
                    </a:cubicBezTo>
                    <a:cubicBezTo>
                      <a:pt x="767" y="83"/>
                      <a:pt x="767" y="83"/>
                      <a:pt x="768" y="84"/>
                    </a:cubicBezTo>
                    <a:cubicBezTo>
                      <a:pt x="768" y="84"/>
                      <a:pt x="768" y="84"/>
                      <a:pt x="768" y="85"/>
                    </a:cubicBezTo>
                    <a:cubicBezTo>
                      <a:pt x="768" y="85"/>
                      <a:pt x="768" y="85"/>
                      <a:pt x="769" y="85"/>
                    </a:cubicBezTo>
                    <a:cubicBezTo>
                      <a:pt x="769" y="85"/>
                      <a:pt x="769" y="85"/>
                      <a:pt x="771" y="84"/>
                    </a:cubicBezTo>
                    <a:cubicBezTo>
                      <a:pt x="771" y="84"/>
                      <a:pt x="771" y="84"/>
                      <a:pt x="772" y="85"/>
                    </a:cubicBezTo>
                    <a:cubicBezTo>
                      <a:pt x="772" y="85"/>
                      <a:pt x="772" y="85"/>
                      <a:pt x="773" y="84"/>
                    </a:cubicBezTo>
                    <a:cubicBezTo>
                      <a:pt x="773" y="84"/>
                      <a:pt x="773" y="84"/>
                      <a:pt x="774" y="84"/>
                    </a:cubicBezTo>
                    <a:cubicBezTo>
                      <a:pt x="774" y="84"/>
                      <a:pt x="774" y="84"/>
                      <a:pt x="774" y="85"/>
                    </a:cubicBezTo>
                    <a:cubicBezTo>
                      <a:pt x="774" y="85"/>
                      <a:pt x="774" y="85"/>
                      <a:pt x="775" y="85"/>
                    </a:cubicBezTo>
                    <a:cubicBezTo>
                      <a:pt x="775" y="85"/>
                      <a:pt x="775" y="85"/>
                      <a:pt x="777" y="83"/>
                    </a:cubicBezTo>
                    <a:cubicBezTo>
                      <a:pt x="777" y="83"/>
                      <a:pt x="777" y="83"/>
                      <a:pt x="778" y="82"/>
                    </a:cubicBezTo>
                    <a:cubicBezTo>
                      <a:pt x="778" y="82"/>
                      <a:pt x="778" y="82"/>
                      <a:pt x="777" y="80"/>
                    </a:cubicBezTo>
                    <a:cubicBezTo>
                      <a:pt x="777" y="80"/>
                      <a:pt x="777" y="80"/>
                      <a:pt x="776" y="80"/>
                    </a:cubicBezTo>
                    <a:cubicBezTo>
                      <a:pt x="776" y="80"/>
                      <a:pt x="776" y="80"/>
                      <a:pt x="777" y="79"/>
                    </a:cubicBezTo>
                    <a:cubicBezTo>
                      <a:pt x="777" y="79"/>
                      <a:pt x="777" y="79"/>
                      <a:pt x="778" y="79"/>
                    </a:cubicBezTo>
                    <a:cubicBezTo>
                      <a:pt x="778" y="79"/>
                      <a:pt x="778" y="79"/>
                      <a:pt x="779" y="79"/>
                    </a:cubicBezTo>
                    <a:cubicBezTo>
                      <a:pt x="779" y="79"/>
                      <a:pt x="779" y="79"/>
                      <a:pt x="780" y="78"/>
                    </a:cubicBezTo>
                    <a:cubicBezTo>
                      <a:pt x="780" y="78"/>
                      <a:pt x="780" y="78"/>
                      <a:pt x="779" y="75"/>
                    </a:cubicBezTo>
                    <a:cubicBezTo>
                      <a:pt x="779" y="75"/>
                      <a:pt x="779" y="75"/>
                      <a:pt x="779" y="74"/>
                    </a:cubicBezTo>
                    <a:cubicBezTo>
                      <a:pt x="779" y="74"/>
                      <a:pt x="779" y="74"/>
                      <a:pt x="778" y="73"/>
                    </a:cubicBezTo>
                    <a:cubicBezTo>
                      <a:pt x="778" y="73"/>
                      <a:pt x="778" y="73"/>
                      <a:pt x="777" y="72"/>
                    </a:cubicBezTo>
                    <a:cubicBezTo>
                      <a:pt x="777" y="72"/>
                      <a:pt x="777" y="72"/>
                      <a:pt x="777" y="71"/>
                    </a:cubicBezTo>
                    <a:cubicBezTo>
                      <a:pt x="777" y="71"/>
                      <a:pt x="777" y="71"/>
                      <a:pt x="776" y="71"/>
                    </a:cubicBezTo>
                    <a:cubicBezTo>
                      <a:pt x="776" y="71"/>
                      <a:pt x="776" y="71"/>
                      <a:pt x="776" y="70"/>
                    </a:cubicBezTo>
                    <a:cubicBezTo>
                      <a:pt x="776" y="70"/>
                      <a:pt x="776" y="70"/>
                      <a:pt x="775" y="69"/>
                    </a:cubicBezTo>
                    <a:cubicBezTo>
                      <a:pt x="775" y="69"/>
                      <a:pt x="775" y="69"/>
                      <a:pt x="775" y="68"/>
                    </a:cubicBezTo>
                    <a:cubicBezTo>
                      <a:pt x="775" y="68"/>
                      <a:pt x="775" y="68"/>
                      <a:pt x="775" y="66"/>
                    </a:cubicBezTo>
                    <a:cubicBezTo>
                      <a:pt x="775" y="66"/>
                      <a:pt x="775" y="66"/>
                      <a:pt x="773" y="64"/>
                    </a:cubicBezTo>
                    <a:cubicBezTo>
                      <a:pt x="773" y="64"/>
                      <a:pt x="773" y="64"/>
                      <a:pt x="772" y="64"/>
                    </a:cubicBezTo>
                    <a:cubicBezTo>
                      <a:pt x="772" y="64"/>
                      <a:pt x="772" y="64"/>
                      <a:pt x="770" y="66"/>
                    </a:cubicBezTo>
                    <a:cubicBezTo>
                      <a:pt x="770" y="66"/>
                      <a:pt x="770" y="66"/>
                      <a:pt x="769" y="66"/>
                    </a:cubicBezTo>
                    <a:cubicBezTo>
                      <a:pt x="769" y="66"/>
                      <a:pt x="769" y="66"/>
                      <a:pt x="769" y="68"/>
                    </a:cubicBezTo>
                    <a:cubicBezTo>
                      <a:pt x="769" y="68"/>
                      <a:pt x="769" y="68"/>
                      <a:pt x="768" y="69"/>
                    </a:cubicBezTo>
                    <a:cubicBezTo>
                      <a:pt x="768" y="69"/>
                      <a:pt x="768" y="69"/>
                      <a:pt x="767" y="70"/>
                    </a:cubicBezTo>
                    <a:cubicBezTo>
                      <a:pt x="767" y="70"/>
                      <a:pt x="767" y="70"/>
                      <a:pt x="767" y="72"/>
                    </a:cubicBezTo>
                    <a:cubicBezTo>
                      <a:pt x="767" y="72"/>
                      <a:pt x="767" y="72"/>
                      <a:pt x="766" y="74"/>
                    </a:cubicBezTo>
                    <a:cubicBezTo>
                      <a:pt x="766" y="74"/>
                      <a:pt x="766" y="74"/>
                      <a:pt x="767" y="75"/>
                    </a:cubicBezTo>
                    <a:cubicBezTo>
                      <a:pt x="767" y="75"/>
                      <a:pt x="767" y="75"/>
                      <a:pt x="766" y="75"/>
                    </a:cubicBezTo>
                    <a:cubicBezTo>
                      <a:pt x="766" y="75"/>
                      <a:pt x="766" y="75"/>
                      <a:pt x="766" y="76"/>
                    </a:cubicBezTo>
                    <a:cubicBezTo>
                      <a:pt x="766" y="76"/>
                      <a:pt x="766" y="76"/>
                      <a:pt x="767" y="76"/>
                    </a:cubicBezTo>
                    <a:cubicBezTo>
                      <a:pt x="767" y="76"/>
                      <a:pt x="767" y="76"/>
                      <a:pt x="768" y="78"/>
                    </a:cubicBezTo>
                    <a:cubicBezTo>
                      <a:pt x="768" y="78"/>
                      <a:pt x="768" y="78"/>
                      <a:pt x="768" y="79"/>
                    </a:cubicBezTo>
                    <a:cubicBezTo>
                      <a:pt x="768" y="79"/>
                      <a:pt x="768" y="79"/>
                      <a:pt x="766" y="78"/>
                    </a:cubicBezTo>
                    <a:close/>
                    <a:moveTo>
                      <a:pt x="740" y="66"/>
                    </a:moveTo>
                    <a:cubicBezTo>
                      <a:pt x="740" y="67"/>
                      <a:pt x="740" y="67"/>
                      <a:pt x="740" y="67"/>
                    </a:cubicBezTo>
                    <a:cubicBezTo>
                      <a:pt x="741" y="66"/>
                      <a:pt x="741" y="66"/>
                      <a:pt x="741" y="66"/>
                    </a:cubicBezTo>
                    <a:cubicBezTo>
                      <a:pt x="742" y="66"/>
                      <a:pt x="742" y="66"/>
                      <a:pt x="742" y="66"/>
                    </a:cubicBezTo>
                    <a:cubicBezTo>
                      <a:pt x="744" y="66"/>
                      <a:pt x="744" y="66"/>
                      <a:pt x="744" y="66"/>
                    </a:cubicBezTo>
                    <a:cubicBezTo>
                      <a:pt x="746" y="66"/>
                      <a:pt x="746" y="66"/>
                      <a:pt x="746" y="66"/>
                    </a:cubicBezTo>
                    <a:cubicBezTo>
                      <a:pt x="747" y="67"/>
                      <a:pt x="747" y="67"/>
                      <a:pt x="747" y="67"/>
                    </a:cubicBezTo>
                    <a:cubicBezTo>
                      <a:pt x="749" y="66"/>
                      <a:pt x="749" y="66"/>
                      <a:pt x="749" y="66"/>
                    </a:cubicBezTo>
                    <a:cubicBezTo>
                      <a:pt x="749" y="67"/>
                      <a:pt x="749" y="67"/>
                      <a:pt x="749" y="67"/>
                    </a:cubicBezTo>
                    <a:cubicBezTo>
                      <a:pt x="747" y="68"/>
                      <a:pt x="747" y="68"/>
                      <a:pt x="747" y="68"/>
                    </a:cubicBezTo>
                    <a:cubicBezTo>
                      <a:pt x="747" y="70"/>
                      <a:pt x="747" y="70"/>
                      <a:pt x="747" y="70"/>
                    </a:cubicBezTo>
                    <a:cubicBezTo>
                      <a:pt x="749" y="69"/>
                      <a:pt x="749" y="69"/>
                      <a:pt x="749" y="69"/>
                    </a:cubicBezTo>
                    <a:cubicBezTo>
                      <a:pt x="750" y="70"/>
                      <a:pt x="750" y="70"/>
                      <a:pt x="750" y="70"/>
                    </a:cubicBezTo>
                    <a:cubicBezTo>
                      <a:pt x="751" y="72"/>
                      <a:pt x="751" y="72"/>
                      <a:pt x="751" y="72"/>
                    </a:cubicBezTo>
                    <a:cubicBezTo>
                      <a:pt x="752" y="72"/>
                      <a:pt x="752" y="72"/>
                      <a:pt x="752" y="72"/>
                    </a:cubicBezTo>
                    <a:cubicBezTo>
                      <a:pt x="753" y="73"/>
                      <a:pt x="753" y="73"/>
                      <a:pt x="753" y="73"/>
                    </a:cubicBezTo>
                    <a:cubicBezTo>
                      <a:pt x="752" y="74"/>
                      <a:pt x="752" y="74"/>
                      <a:pt x="752" y="74"/>
                    </a:cubicBezTo>
                    <a:cubicBezTo>
                      <a:pt x="752" y="75"/>
                      <a:pt x="752" y="75"/>
                      <a:pt x="752" y="75"/>
                    </a:cubicBezTo>
                    <a:cubicBezTo>
                      <a:pt x="750" y="79"/>
                      <a:pt x="750" y="79"/>
                      <a:pt x="750" y="79"/>
                    </a:cubicBezTo>
                    <a:cubicBezTo>
                      <a:pt x="751" y="81"/>
                      <a:pt x="751" y="81"/>
                      <a:pt x="751" y="81"/>
                    </a:cubicBezTo>
                    <a:cubicBezTo>
                      <a:pt x="751" y="82"/>
                      <a:pt x="751" y="82"/>
                      <a:pt x="751" y="82"/>
                    </a:cubicBezTo>
                    <a:cubicBezTo>
                      <a:pt x="752" y="82"/>
                      <a:pt x="752" y="82"/>
                      <a:pt x="752" y="82"/>
                    </a:cubicBezTo>
                    <a:cubicBezTo>
                      <a:pt x="753" y="82"/>
                      <a:pt x="753" y="82"/>
                      <a:pt x="753" y="82"/>
                    </a:cubicBezTo>
                    <a:cubicBezTo>
                      <a:pt x="754" y="82"/>
                      <a:pt x="754" y="82"/>
                      <a:pt x="754" y="82"/>
                    </a:cubicBezTo>
                    <a:cubicBezTo>
                      <a:pt x="755" y="82"/>
                      <a:pt x="755" y="82"/>
                      <a:pt x="755" y="82"/>
                    </a:cubicBezTo>
                    <a:cubicBezTo>
                      <a:pt x="756" y="81"/>
                      <a:pt x="756" y="81"/>
                      <a:pt x="756" y="81"/>
                    </a:cubicBezTo>
                    <a:cubicBezTo>
                      <a:pt x="756" y="80"/>
                      <a:pt x="756" y="80"/>
                      <a:pt x="756" y="80"/>
                    </a:cubicBezTo>
                    <a:cubicBezTo>
                      <a:pt x="757" y="80"/>
                      <a:pt x="757" y="80"/>
                      <a:pt x="757" y="80"/>
                    </a:cubicBezTo>
                    <a:cubicBezTo>
                      <a:pt x="758" y="78"/>
                      <a:pt x="758" y="78"/>
                      <a:pt x="758" y="78"/>
                    </a:cubicBezTo>
                    <a:cubicBezTo>
                      <a:pt x="758" y="77"/>
                      <a:pt x="758" y="77"/>
                      <a:pt x="758" y="77"/>
                    </a:cubicBezTo>
                    <a:cubicBezTo>
                      <a:pt x="759" y="75"/>
                      <a:pt x="759" y="75"/>
                      <a:pt x="759" y="75"/>
                    </a:cubicBezTo>
                    <a:cubicBezTo>
                      <a:pt x="760" y="73"/>
                      <a:pt x="760" y="73"/>
                      <a:pt x="760" y="73"/>
                    </a:cubicBezTo>
                    <a:cubicBezTo>
                      <a:pt x="759" y="73"/>
                      <a:pt x="759" y="73"/>
                      <a:pt x="759" y="73"/>
                    </a:cubicBezTo>
                    <a:cubicBezTo>
                      <a:pt x="759" y="72"/>
                      <a:pt x="759" y="72"/>
                      <a:pt x="759" y="72"/>
                    </a:cubicBezTo>
                    <a:cubicBezTo>
                      <a:pt x="760" y="72"/>
                      <a:pt x="760" y="72"/>
                      <a:pt x="760" y="72"/>
                    </a:cubicBezTo>
                    <a:cubicBezTo>
                      <a:pt x="761" y="70"/>
                      <a:pt x="761" y="70"/>
                      <a:pt x="761" y="70"/>
                    </a:cubicBezTo>
                    <a:cubicBezTo>
                      <a:pt x="762" y="70"/>
                      <a:pt x="762" y="70"/>
                      <a:pt x="762" y="70"/>
                    </a:cubicBezTo>
                    <a:cubicBezTo>
                      <a:pt x="763" y="69"/>
                      <a:pt x="763" y="69"/>
                      <a:pt x="763" y="69"/>
                    </a:cubicBezTo>
                    <a:cubicBezTo>
                      <a:pt x="764" y="68"/>
                      <a:pt x="764" y="68"/>
                      <a:pt x="764" y="68"/>
                    </a:cubicBezTo>
                    <a:cubicBezTo>
                      <a:pt x="764" y="66"/>
                      <a:pt x="764" y="66"/>
                      <a:pt x="764" y="66"/>
                    </a:cubicBezTo>
                    <a:cubicBezTo>
                      <a:pt x="764" y="65"/>
                      <a:pt x="764" y="65"/>
                      <a:pt x="764" y="65"/>
                    </a:cubicBezTo>
                    <a:cubicBezTo>
                      <a:pt x="765" y="64"/>
                      <a:pt x="765" y="64"/>
                      <a:pt x="765" y="64"/>
                    </a:cubicBezTo>
                    <a:cubicBezTo>
                      <a:pt x="765" y="63"/>
                      <a:pt x="765" y="63"/>
                      <a:pt x="765" y="63"/>
                    </a:cubicBezTo>
                    <a:cubicBezTo>
                      <a:pt x="765" y="62"/>
                      <a:pt x="765" y="62"/>
                      <a:pt x="765" y="62"/>
                    </a:cubicBezTo>
                    <a:cubicBezTo>
                      <a:pt x="765" y="61"/>
                      <a:pt x="765" y="61"/>
                      <a:pt x="765" y="61"/>
                    </a:cubicBezTo>
                    <a:cubicBezTo>
                      <a:pt x="764" y="61"/>
                      <a:pt x="764" y="61"/>
                      <a:pt x="764" y="61"/>
                    </a:cubicBezTo>
                    <a:cubicBezTo>
                      <a:pt x="763" y="60"/>
                      <a:pt x="763" y="60"/>
                      <a:pt x="763" y="60"/>
                    </a:cubicBezTo>
                    <a:cubicBezTo>
                      <a:pt x="761" y="60"/>
                      <a:pt x="761" y="60"/>
                      <a:pt x="761" y="60"/>
                    </a:cubicBezTo>
                    <a:cubicBezTo>
                      <a:pt x="762" y="59"/>
                      <a:pt x="762" y="59"/>
                      <a:pt x="762" y="59"/>
                    </a:cubicBezTo>
                    <a:cubicBezTo>
                      <a:pt x="763" y="58"/>
                      <a:pt x="763" y="58"/>
                      <a:pt x="763" y="58"/>
                    </a:cubicBezTo>
                    <a:cubicBezTo>
                      <a:pt x="763" y="57"/>
                      <a:pt x="763" y="57"/>
                      <a:pt x="763" y="57"/>
                    </a:cubicBezTo>
                    <a:cubicBezTo>
                      <a:pt x="763" y="56"/>
                      <a:pt x="763" y="56"/>
                      <a:pt x="763" y="56"/>
                    </a:cubicBezTo>
                    <a:cubicBezTo>
                      <a:pt x="763" y="55"/>
                      <a:pt x="763" y="55"/>
                      <a:pt x="763" y="55"/>
                    </a:cubicBezTo>
                    <a:cubicBezTo>
                      <a:pt x="763" y="54"/>
                      <a:pt x="763" y="54"/>
                      <a:pt x="763" y="54"/>
                    </a:cubicBezTo>
                    <a:cubicBezTo>
                      <a:pt x="762" y="52"/>
                      <a:pt x="762" y="52"/>
                      <a:pt x="762" y="52"/>
                    </a:cubicBezTo>
                    <a:cubicBezTo>
                      <a:pt x="761" y="52"/>
                      <a:pt x="761" y="52"/>
                      <a:pt x="761" y="52"/>
                    </a:cubicBezTo>
                    <a:cubicBezTo>
                      <a:pt x="760" y="53"/>
                      <a:pt x="760" y="53"/>
                      <a:pt x="760" y="53"/>
                    </a:cubicBezTo>
                    <a:cubicBezTo>
                      <a:pt x="758" y="54"/>
                      <a:pt x="758" y="54"/>
                      <a:pt x="758" y="54"/>
                    </a:cubicBezTo>
                    <a:cubicBezTo>
                      <a:pt x="758" y="55"/>
                      <a:pt x="758" y="55"/>
                      <a:pt x="758" y="55"/>
                    </a:cubicBezTo>
                    <a:cubicBezTo>
                      <a:pt x="757" y="56"/>
                      <a:pt x="757" y="56"/>
                      <a:pt x="757" y="56"/>
                    </a:cubicBezTo>
                    <a:cubicBezTo>
                      <a:pt x="756" y="56"/>
                      <a:pt x="756" y="56"/>
                      <a:pt x="756" y="56"/>
                    </a:cubicBezTo>
                    <a:cubicBezTo>
                      <a:pt x="756" y="54"/>
                      <a:pt x="756" y="54"/>
                      <a:pt x="756" y="54"/>
                    </a:cubicBezTo>
                    <a:cubicBezTo>
                      <a:pt x="757" y="54"/>
                      <a:pt x="757" y="54"/>
                      <a:pt x="757" y="54"/>
                    </a:cubicBezTo>
                    <a:cubicBezTo>
                      <a:pt x="757" y="53"/>
                      <a:pt x="757" y="53"/>
                      <a:pt x="757" y="53"/>
                    </a:cubicBezTo>
                    <a:cubicBezTo>
                      <a:pt x="757" y="51"/>
                      <a:pt x="757" y="51"/>
                      <a:pt x="757" y="51"/>
                    </a:cubicBezTo>
                    <a:cubicBezTo>
                      <a:pt x="758" y="49"/>
                      <a:pt x="758" y="49"/>
                      <a:pt x="758" y="49"/>
                    </a:cubicBezTo>
                    <a:cubicBezTo>
                      <a:pt x="758" y="48"/>
                      <a:pt x="758" y="48"/>
                      <a:pt x="758" y="48"/>
                    </a:cubicBezTo>
                    <a:cubicBezTo>
                      <a:pt x="757" y="47"/>
                      <a:pt x="757" y="47"/>
                      <a:pt x="757" y="47"/>
                    </a:cubicBezTo>
                    <a:cubicBezTo>
                      <a:pt x="756" y="46"/>
                      <a:pt x="756" y="46"/>
                      <a:pt x="756" y="46"/>
                    </a:cubicBezTo>
                    <a:cubicBezTo>
                      <a:pt x="755" y="45"/>
                      <a:pt x="755" y="45"/>
                      <a:pt x="755" y="45"/>
                    </a:cubicBezTo>
                    <a:cubicBezTo>
                      <a:pt x="754" y="45"/>
                      <a:pt x="754" y="45"/>
                      <a:pt x="754" y="45"/>
                    </a:cubicBezTo>
                    <a:cubicBezTo>
                      <a:pt x="752" y="45"/>
                      <a:pt x="752" y="45"/>
                      <a:pt x="752" y="45"/>
                    </a:cubicBezTo>
                    <a:cubicBezTo>
                      <a:pt x="751" y="46"/>
                      <a:pt x="751" y="46"/>
                      <a:pt x="751" y="46"/>
                    </a:cubicBezTo>
                    <a:cubicBezTo>
                      <a:pt x="750" y="46"/>
                      <a:pt x="750" y="46"/>
                      <a:pt x="750" y="46"/>
                    </a:cubicBezTo>
                    <a:cubicBezTo>
                      <a:pt x="750" y="44"/>
                      <a:pt x="750" y="44"/>
                      <a:pt x="750" y="44"/>
                    </a:cubicBezTo>
                    <a:cubicBezTo>
                      <a:pt x="749" y="44"/>
                      <a:pt x="749" y="44"/>
                      <a:pt x="749" y="44"/>
                    </a:cubicBezTo>
                    <a:cubicBezTo>
                      <a:pt x="748" y="45"/>
                      <a:pt x="748" y="45"/>
                      <a:pt x="748" y="45"/>
                    </a:cubicBezTo>
                    <a:cubicBezTo>
                      <a:pt x="748" y="46"/>
                      <a:pt x="748" y="46"/>
                      <a:pt x="748" y="46"/>
                    </a:cubicBezTo>
                    <a:cubicBezTo>
                      <a:pt x="747" y="46"/>
                      <a:pt x="747" y="46"/>
                      <a:pt x="747" y="46"/>
                    </a:cubicBezTo>
                    <a:cubicBezTo>
                      <a:pt x="746" y="48"/>
                      <a:pt x="746" y="48"/>
                      <a:pt x="746" y="48"/>
                    </a:cubicBezTo>
                    <a:cubicBezTo>
                      <a:pt x="745" y="49"/>
                      <a:pt x="745" y="49"/>
                      <a:pt x="745" y="49"/>
                    </a:cubicBezTo>
                    <a:cubicBezTo>
                      <a:pt x="745" y="50"/>
                      <a:pt x="745" y="50"/>
                      <a:pt x="745" y="50"/>
                    </a:cubicBezTo>
                    <a:cubicBezTo>
                      <a:pt x="746" y="51"/>
                      <a:pt x="746" y="51"/>
                      <a:pt x="746" y="51"/>
                    </a:cubicBezTo>
                    <a:cubicBezTo>
                      <a:pt x="747" y="51"/>
                      <a:pt x="747" y="51"/>
                      <a:pt x="747" y="51"/>
                    </a:cubicBezTo>
                    <a:cubicBezTo>
                      <a:pt x="748" y="50"/>
                      <a:pt x="748" y="50"/>
                      <a:pt x="748" y="50"/>
                    </a:cubicBezTo>
                    <a:cubicBezTo>
                      <a:pt x="748" y="51"/>
                      <a:pt x="748" y="51"/>
                      <a:pt x="748" y="51"/>
                    </a:cubicBezTo>
                    <a:cubicBezTo>
                      <a:pt x="747" y="52"/>
                      <a:pt x="747" y="52"/>
                      <a:pt x="747" y="52"/>
                    </a:cubicBezTo>
                    <a:cubicBezTo>
                      <a:pt x="745" y="53"/>
                      <a:pt x="745" y="53"/>
                      <a:pt x="745" y="53"/>
                    </a:cubicBezTo>
                    <a:cubicBezTo>
                      <a:pt x="744" y="55"/>
                      <a:pt x="744" y="55"/>
                      <a:pt x="744" y="55"/>
                    </a:cubicBezTo>
                    <a:cubicBezTo>
                      <a:pt x="746" y="54"/>
                      <a:pt x="746" y="54"/>
                      <a:pt x="746" y="54"/>
                    </a:cubicBezTo>
                    <a:cubicBezTo>
                      <a:pt x="748" y="53"/>
                      <a:pt x="748" y="53"/>
                      <a:pt x="748" y="53"/>
                    </a:cubicBezTo>
                    <a:cubicBezTo>
                      <a:pt x="749" y="52"/>
                      <a:pt x="749" y="52"/>
                      <a:pt x="749" y="52"/>
                    </a:cubicBezTo>
                    <a:cubicBezTo>
                      <a:pt x="750" y="53"/>
                      <a:pt x="750" y="53"/>
                      <a:pt x="750" y="53"/>
                    </a:cubicBezTo>
                    <a:cubicBezTo>
                      <a:pt x="750" y="55"/>
                      <a:pt x="750" y="55"/>
                      <a:pt x="750" y="55"/>
                    </a:cubicBezTo>
                    <a:cubicBezTo>
                      <a:pt x="749" y="55"/>
                      <a:pt x="749" y="55"/>
                      <a:pt x="749" y="55"/>
                    </a:cubicBezTo>
                    <a:cubicBezTo>
                      <a:pt x="747" y="56"/>
                      <a:pt x="747" y="56"/>
                      <a:pt x="747" y="56"/>
                    </a:cubicBezTo>
                    <a:cubicBezTo>
                      <a:pt x="747" y="57"/>
                      <a:pt x="747" y="57"/>
                      <a:pt x="747" y="57"/>
                    </a:cubicBezTo>
                    <a:cubicBezTo>
                      <a:pt x="748" y="58"/>
                      <a:pt x="748" y="58"/>
                      <a:pt x="748" y="58"/>
                    </a:cubicBezTo>
                    <a:cubicBezTo>
                      <a:pt x="749" y="58"/>
                      <a:pt x="749" y="58"/>
                      <a:pt x="749" y="58"/>
                    </a:cubicBezTo>
                    <a:cubicBezTo>
                      <a:pt x="750" y="58"/>
                      <a:pt x="750" y="58"/>
                      <a:pt x="750" y="58"/>
                    </a:cubicBezTo>
                    <a:cubicBezTo>
                      <a:pt x="749" y="59"/>
                      <a:pt x="749" y="59"/>
                      <a:pt x="749" y="59"/>
                    </a:cubicBezTo>
                    <a:cubicBezTo>
                      <a:pt x="747" y="60"/>
                      <a:pt x="747" y="60"/>
                      <a:pt x="747" y="60"/>
                    </a:cubicBezTo>
                    <a:cubicBezTo>
                      <a:pt x="746" y="59"/>
                      <a:pt x="746" y="59"/>
                      <a:pt x="746" y="59"/>
                    </a:cubicBezTo>
                    <a:cubicBezTo>
                      <a:pt x="746" y="60"/>
                      <a:pt x="746" y="60"/>
                      <a:pt x="746" y="60"/>
                    </a:cubicBezTo>
                    <a:cubicBezTo>
                      <a:pt x="747" y="61"/>
                      <a:pt x="747" y="61"/>
                      <a:pt x="747" y="61"/>
                    </a:cubicBezTo>
                    <a:cubicBezTo>
                      <a:pt x="745" y="63"/>
                      <a:pt x="745" y="63"/>
                      <a:pt x="745" y="63"/>
                    </a:cubicBezTo>
                    <a:cubicBezTo>
                      <a:pt x="744" y="61"/>
                      <a:pt x="744" y="61"/>
                      <a:pt x="744" y="61"/>
                    </a:cubicBezTo>
                    <a:cubicBezTo>
                      <a:pt x="743" y="61"/>
                      <a:pt x="743" y="61"/>
                      <a:pt x="743" y="61"/>
                    </a:cubicBezTo>
                    <a:cubicBezTo>
                      <a:pt x="742" y="59"/>
                      <a:pt x="742" y="59"/>
                      <a:pt x="742" y="59"/>
                    </a:cubicBezTo>
                    <a:cubicBezTo>
                      <a:pt x="740" y="61"/>
                      <a:pt x="740" y="61"/>
                      <a:pt x="740" y="61"/>
                    </a:cubicBezTo>
                    <a:cubicBezTo>
                      <a:pt x="738" y="63"/>
                      <a:pt x="738" y="63"/>
                      <a:pt x="738" y="63"/>
                    </a:cubicBezTo>
                    <a:cubicBezTo>
                      <a:pt x="740" y="65"/>
                      <a:pt x="740" y="65"/>
                      <a:pt x="740" y="65"/>
                    </a:cubicBezTo>
                    <a:cubicBezTo>
                      <a:pt x="740" y="66"/>
                      <a:pt x="740" y="66"/>
                      <a:pt x="740" y="66"/>
                    </a:cubicBezTo>
                    <a:close/>
                    <a:moveTo>
                      <a:pt x="779" y="80"/>
                    </a:moveTo>
                    <a:cubicBezTo>
                      <a:pt x="779" y="82"/>
                      <a:pt x="779" y="82"/>
                      <a:pt x="779" y="82"/>
                    </a:cubicBezTo>
                    <a:cubicBezTo>
                      <a:pt x="780" y="83"/>
                      <a:pt x="780" y="83"/>
                      <a:pt x="780" y="83"/>
                    </a:cubicBezTo>
                    <a:cubicBezTo>
                      <a:pt x="781" y="82"/>
                      <a:pt x="781" y="82"/>
                      <a:pt x="781" y="82"/>
                    </a:cubicBezTo>
                    <a:cubicBezTo>
                      <a:pt x="780" y="80"/>
                      <a:pt x="780" y="80"/>
                      <a:pt x="780" y="80"/>
                    </a:cubicBezTo>
                    <a:cubicBezTo>
                      <a:pt x="779" y="80"/>
                      <a:pt x="779" y="80"/>
                      <a:pt x="779" y="80"/>
                    </a:cubicBezTo>
                    <a:close/>
                    <a:moveTo>
                      <a:pt x="798" y="188"/>
                    </a:moveTo>
                    <a:cubicBezTo>
                      <a:pt x="798" y="188"/>
                      <a:pt x="798" y="188"/>
                      <a:pt x="797" y="188"/>
                    </a:cubicBezTo>
                    <a:cubicBezTo>
                      <a:pt x="797" y="188"/>
                      <a:pt x="797" y="188"/>
                      <a:pt x="798" y="189"/>
                    </a:cubicBezTo>
                    <a:cubicBezTo>
                      <a:pt x="798" y="189"/>
                      <a:pt x="798" y="189"/>
                      <a:pt x="798" y="188"/>
                    </a:cubicBezTo>
                    <a:close/>
                    <a:moveTo>
                      <a:pt x="796" y="186"/>
                    </a:moveTo>
                    <a:cubicBezTo>
                      <a:pt x="796" y="186"/>
                      <a:pt x="796" y="186"/>
                      <a:pt x="796" y="187"/>
                    </a:cubicBezTo>
                    <a:cubicBezTo>
                      <a:pt x="796" y="187"/>
                      <a:pt x="796" y="187"/>
                      <a:pt x="796" y="188"/>
                    </a:cubicBezTo>
                    <a:cubicBezTo>
                      <a:pt x="796" y="188"/>
                      <a:pt x="796" y="188"/>
                      <a:pt x="797" y="187"/>
                    </a:cubicBezTo>
                    <a:cubicBezTo>
                      <a:pt x="797" y="187"/>
                      <a:pt x="797" y="187"/>
                      <a:pt x="797" y="186"/>
                    </a:cubicBezTo>
                    <a:cubicBezTo>
                      <a:pt x="797" y="186"/>
                      <a:pt x="797" y="186"/>
                      <a:pt x="796" y="186"/>
                    </a:cubicBezTo>
                    <a:close/>
                    <a:moveTo>
                      <a:pt x="780" y="111"/>
                    </a:moveTo>
                    <a:cubicBezTo>
                      <a:pt x="780" y="111"/>
                      <a:pt x="780" y="111"/>
                      <a:pt x="780" y="112"/>
                    </a:cubicBezTo>
                    <a:cubicBezTo>
                      <a:pt x="780" y="112"/>
                      <a:pt x="780" y="112"/>
                      <a:pt x="780" y="113"/>
                    </a:cubicBezTo>
                    <a:cubicBezTo>
                      <a:pt x="780" y="113"/>
                      <a:pt x="780" y="113"/>
                      <a:pt x="780" y="115"/>
                    </a:cubicBezTo>
                    <a:cubicBezTo>
                      <a:pt x="780" y="115"/>
                      <a:pt x="780" y="115"/>
                      <a:pt x="780" y="116"/>
                    </a:cubicBezTo>
                    <a:cubicBezTo>
                      <a:pt x="780" y="116"/>
                      <a:pt x="780" y="116"/>
                      <a:pt x="782" y="117"/>
                    </a:cubicBezTo>
                    <a:cubicBezTo>
                      <a:pt x="782" y="117"/>
                      <a:pt x="782" y="117"/>
                      <a:pt x="782" y="116"/>
                    </a:cubicBezTo>
                    <a:cubicBezTo>
                      <a:pt x="782" y="116"/>
                      <a:pt x="782" y="116"/>
                      <a:pt x="782" y="115"/>
                    </a:cubicBezTo>
                    <a:cubicBezTo>
                      <a:pt x="782" y="115"/>
                      <a:pt x="782" y="115"/>
                      <a:pt x="782" y="114"/>
                    </a:cubicBezTo>
                    <a:cubicBezTo>
                      <a:pt x="782" y="114"/>
                      <a:pt x="782" y="114"/>
                      <a:pt x="783" y="112"/>
                    </a:cubicBezTo>
                    <a:cubicBezTo>
                      <a:pt x="783" y="112"/>
                      <a:pt x="783" y="112"/>
                      <a:pt x="783" y="110"/>
                    </a:cubicBezTo>
                    <a:cubicBezTo>
                      <a:pt x="783" y="110"/>
                      <a:pt x="783" y="110"/>
                      <a:pt x="781" y="110"/>
                    </a:cubicBezTo>
                    <a:cubicBezTo>
                      <a:pt x="781" y="110"/>
                      <a:pt x="781" y="110"/>
                      <a:pt x="780" y="110"/>
                    </a:cubicBezTo>
                    <a:cubicBezTo>
                      <a:pt x="780" y="110"/>
                      <a:pt x="780" y="110"/>
                      <a:pt x="780" y="111"/>
                    </a:cubicBezTo>
                    <a:close/>
                    <a:moveTo>
                      <a:pt x="775" y="91"/>
                    </a:moveTo>
                    <a:cubicBezTo>
                      <a:pt x="775" y="91"/>
                      <a:pt x="775" y="91"/>
                      <a:pt x="774" y="89"/>
                    </a:cubicBezTo>
                    <a:cubicBezTo>
                      <a:pt x="774" y="89"/>
                      <a:pt x="774" y="89"/>
                      <a:pt x="773" y="89"/>
                    </a:cubicBezTo>
                    <a:cubicBezTo>
                      <a:pt x="773" y="89"/>
                      <a:pt x="773" y="89"/>
                      <a:pt x="772" y="88"/>
                    </a:cubicBezTo>
                    <a:cubicBezTo>
                      <a:pt x="772" y="88"/>
                      <a:pt x="772" y="88"/>
                      <a:pt x="772" y="89"/>
                    </a:cubicBezTo>
                    <a:cubicBezTo>
                      <a:pt x="772" y="89"/>
                      <a:pt x="772" y="89"/>
                      <a:pt x="771" y="89"/>
                    </a:cubicBezTo>
                    <a:cubicBezTo>
                      <a:pt x="771" y="89"/>
                      <a:pt x="771" y="89"/>
                      <a:pt x="770" y="88"/>
                    </a:cubicBezTo>
                    <a:cubicBezTo>
                      <a:pt x="770" y="88"/>
                      <a:pt x="770" y="88"/>
                      <a:pt x="769" y="88"/>
                    </a:cubicBezTo>
                    <a:cubicBezTo>
                      <a:pt x="769" y="88"/>
                      <a:pt x="769" y="88"/>
                      <a:pt x="768" y="88"/>
                    </a:cubicBezTo>
                    <a:cubicBezTo>
                      <a:pt x="768" y="88"/>
                      <a:pt x="768" y="88"/>
                      <a:pt x="767" y="88"/>
                    </a:cubicBezTo>
                    <a:cubicBezTo>
                      <a:pt x="767" y="88"/>
                      <a:pt x="767" y="88"/>
                      <a:pt x="766" y="88"/>
                    </a:cubicBezTo>
                    <a:cubicBezTo>
                      <a:pt x="766" y="88"/>
                      <a:pt x="766" y="88"/>
                      <a:pt x="765" y="89"/>
                    </a:cubicBezTo>
                    <a:cubicBezTo>
                      <a:pt x="765" y="89"/>
                      <a:pt x="765" y="89"/>
                      <a:pt x="764" y="91"/>
                    </a:cubicBezTo>
                    <a:cubicBezTo>
                      <a:pt x="764" y="91"/>
                      <a:pt x="764" y="91"/>
                      <a:pt x="764" y="93"/>
                    </a:cubicBezTo>
                    <a:cubicBezTo>
                      <a:pt x="764" y="93"/>
                      <a:pt x="764" y="93"/>
                      <a:pt x="765" y="93"/>
                    </a:cubicBezTo>
                    <a:cubicBezTo>
                      <a:pt x="765" y="93"/>
                      <a:pt x="765" y="93"/>
                      <a:pt x="766" y="93"/>
                    </a:cubicBezTo>
                    <a:cubicBezTo>
                      <a:pt x="766" y="93"/>
                      <a:pt x="766" y="93"/>
                      <a:pt x="767" y="94"/>
                    </a:cubicBezTo>
                    <a:cubicBezTo>
                      <a:pt x="767" y="94"/>
                      <a:pt x="767" y="94"/>
                      <a:pt x="768" y="94"/>
                    </a:cubicBezTo>
                    <a:cubicBezTo>
                      <a:pt x="768" y="94"/>
                      <a:pt x="768" y="94"/>
                      <a:pt x="770" y="94"/>
                    </a:cubicBezTo>
                    <a:cubicBezTo>
                      <a:pt x="770" y="94"/>
                      <a:pt x="770" y="94"/>
                      <a:pt x="771" y="96"/>
                    </a:cubicBezTo>
                    <a:cubicBezTo>
                      <a:pt x="771" y="96"/>
                      <a:pt x="771" y="96"/>
                      <a:pt x="773" y="96"/>
                    </a:cubicBezTo>
                    <a:cubicBezTo>
                      <a:pt x="773" y="96"/>
                      <a:pt x="773" y="96"/>
                      <a:pt x="775" y="97"/>
                    </a:cubicBezTo>
                    <a:cubicBezTo>
                      <a:pt x="775" y="97"/>
                      <a:pt x="775" y="97"/>
                      <a:pt x="776" y="96"/>
                    </a:cubicBezTo>
                    <a:cubicBezTo>
                      <a:pt x="776" y="96"/>
                      <a:pt x="776" y="96"/>
                      <a:pt x="778" y="95"/>
                    </a:cubicBezTo>
                    <a:cubicBezTo>
                      <a:pt x="778" y="95"/>
                      <a:pt x="778" y="95"/>
                      <a:pt x="779" y="95"/>
                    </a:cubicBezTo>
                    <a:cubicBezTo>
                      <a:pt x="779" y="95"/>
                      <a:pt x="779" y="95"/>
                      <a:pt x="779" y="94"/>
                    </a:cubicBezTo>
                    <a:cubicBezTo>
                      <a:pt x="779" y="94"/>
                      <a:pt x="779" y="94"/>
                      <a:pt x="779" y="93"/>
                    </a:cubicBezTo>
                    <a:cubicBezTo>
                      <a:pt x="779" y="93"/>
                      <a:pt x="779" y="93"/>
                      <a:pt x="778" y="92"/>
                    </a:cubicBezTo>
                    <a:cubicBezTo>
                      <a:pt x="778" y="92"/>
                      <a:pt x="778" y="92"/>
                      <a:pt x="777" y="92"/>
                    </a:cubicBezTo>
                    <a:cubicBezTo>
                      <a:pt x="777" y="92"/>
                      <a:pt x="777" y="92"/>
                      <a:pt x="776" y="92"/>
                    </a:cubicBezTo>
                    <a:cubicBezTo>
                      <a:pt x="776" y="92"/>
                      <a:pt x="776" y="92"/>
                      <a:pt x="776" y="91"/>
                    </a:cubicBezTo>
                    <a:cubicBezTo>
                      <a:pt x="776" y="91"/>
                      <a:pt x="776" y="91"/>
                      <a:pt x="775" y="91"/>
                    </a:cubicBezTo>
                    <a:close/>
                    <a:moveTo>
                      <a:pt x="719" y="106"/>
                    </a:moveTo>
                    <a:cubicBezTo>
                      <a:pt x="720" y="106"/>
                      <a:pt x="720" y="106"/>
                      <a:pt x="720" y="106"/>
                    </a:cubicBezTo>
                    <a:cubicBezTo>
                      <a:pt x="723" y="106"/>
                      <a:pt x="723" y="106"/>
                      <a:pt x="723" y="106"/>
                    </a:cubicBezTo>
                    <a:cubicBezTo>
                      <a:pt x="723" y="105"/>
                      <a:pt x="723" y="105"/>
                      <a:pt x="723" y="105"/>
                    </a:cubicBezTo>
                    <a:cubicBezTo>
                      <a:pt x="724" y="103"/>
                      <a:pt x="724" y="103"/>
                      <a:pt x="724" y="103"/>
                    </a:cubicBezTo>
                    <a:cubicBezTo>
                      <a:pt x="723" y="102"/>
                      <a:pt x="723" y="102"/>
                      <a:pt x="723" y="102"/>
                    </a:cubicBezTo>
                    <a:cubicBezTo>
                      <a:pt x="722" y="103"/>
                      <a:pt x="722" y="103"/>
                      <a:pt x="722" y="103"/>
                    </a:cubicBezTo>
                    <a:cubicBezTo>
                      <a:pt x="721" y="102"/>
                      <a:pt x="721" y="102"/>
                      <a:pt x="721" y="102"/>
                    </a:cubicBezTo>
                    <a:cubicBezTo>
                      <a:pt x="719" y="102"/>
                      <a:pt x="719" y="102"/>
                      <a:pt x="719" y="102"/>
                    </a:cubicBezTo>
                    <a:cubicBezTo>
                      <a:pt x="718" y="102"/>
                      <a:pt x="718" y="102"/>
                      <a:pt x="718" y="102"/>
                    </a:cubicBezTo>
                    <a:cubicBezTo>
                      <a:pt x="717" y="102"/>
                      <a:pt x="717" y="102"/>
                      <a:pt x="717" y="102"/>
                    </a:cubicBezTo>
                    <a:cubicBezTo>
                      <a:pt x="716" y="103"/>
                      <a:pt x="716" y="103"/>
                      <a:pt x="716" y="103"/>
                    </a:cubicBezTo>
                    <a:cubicBezTo>
                      <a:pt x="716" y="104"/>
                      <a:pt x="716" y="104"/>
                      <a:pt x="716" y="104"/>
                    </a:cubicBezTo>
                    <a:cubicBezTo>
                      <a:pt x="717" y="105"/>
                      <a:pt x="717" y="105"/>
                      <a:pt x="717" y="105"/>
                    </a:cubicBezTo>
                    <a:cubicBezTo>
                      <a:pt x="718" y="105"/>
                      <a:pt x="718" y="105"/>
                      <a:pt x="718" y="105"/>
                    </a:cubicBezTo>
                    <a:cubicBezTo>
                      <a:pt x="719" y="106"/>
                      <a:pt x="719" y="106"/>
                      <a:pt x="719" y="106"/>
                    </a:cubicBezTo>
                    <a:close/>
                    <a:moveTo>
                      <a:pt x="721" y="116"/>
                    </a:moveTo>
                    <a:cubicBezTo>
                      <a:pt x="721" y="117"/>
                      <a:pt x="721" y="117"/>
                      <a:pt x="721" y="117"/>
                    </a:cubicBezTo>
                    <a:cubicBezTo>
                      <a:pt x="721" y="118"/>
                      <a:pt x="721" y="118"/>
                      <a:pt x="721" y="118"/>
                    </a:cubicBezTo>
                    <a:cubicBezTo>
                      <a:pt x="722" y="117"/>
                      <a:pt x="722" y="117"/>
                      <a:pt x="722" y="117"/>
                    </a:cubicBezTo>
                    <a:cubicBezTo>
                      <a:pt x="721" y="116"/>
                      <a:pt x="721" y="116"/>
                      <a:pt x="721" y="116"/>
                    </a:cubicBezTo>
                    <a:close/>
                    <a:moveTo>
                      <a:pt x="719" y="144"/>
                    </a:moveTo>
                    <a:cubicBezTo>
                      <a:pt x="718" y="145"/>
                      <a:pt x="718" y="145"/>
                      <a:pt x="718" y="145"/>
                    </a:cubicBezTo>
                    <a:cubicBezTo>
                      <a:pt x="716" y="145"/>
                      <a:pt x="716" y="145"/>
                      <a:pt x="716" y="145"/>
                    </a:cubicBezTo>
                    <a:cubicBezTo>
                      <a:pt x="716" y="146"/>
                      <a:pt x="716" y="146"/>
                      <a:pt x="716" y="146"/>
                    </a:cubicBezTo>
                    <a:cubicBezTo>
                      <a:pt x="718" y="146"/>
                      <a:pt x="718" y="146"/>
                      <a:pt x="718" y="146"/>
                    </a:cubicBezTo>
                    <a:cubicBezTo>
                      <a:pt x="719" y="147"/>
                      <a:pt x="719" y="147"/>
                      <a:pt x="719" y="147"/>
                    </a:cubicBezTo>
                    <a:cubicBezTo>
                      <a:pt x="720" y="147"/>
                      <a:pt x="720" y="147"/>
                      <a:pt x="720" y="147"/>
                    </a:cubicBezTo>
                    <a:cubicBezTo>
                      <a:pt x="721" y="147"/>
                      <a:pt x="721" y="147"/>
                      <a:pt x="721" y="147"/>
                    </a:cubicBezTo>
                    <a:cubicBezTo>
                      <a:pt x="723" y="146"/>
                      <a:pt x="723" y="146"/>
                      <a:pt x="723" y="146"/>
                    </a:cubicBezTo>
                    <a:cubicBezTo>
                      <a:pt x="724" y="147"/>
                      <a:pt x="724" y="147"/>
                      <a:pt x="724" y="147"/>
                    </a:cubicBezTo>
                    <a:cubicBezTo>
                      <a:pt x="724" y="146"/>
                      <a:pt x="724" y="146"/>
                      <a:pt x="724" y="146"/>
                    </a:cubicBezTo>
                    <a:cubicBezTo>
                      <a:pt x="725" y="146"/>
                      <a:pt x="725" y="146"/>
                      <a:pt x="725" y="146"/>
                    </a:cubicBezTo>
                    <a:cubicBezTo>
                      <a:pt x="727" y="146"/>
                      <a:pt x="727" y="146"/>
                      <a:pt x="727" y="146"/>
                    </a:cubicBezTo>
                    <a:cubicBezTo>
                      <a:pt x="727" y="145"/>
                      <a:pt x="727" y="145"/>
                      <a:pt x="727" y="145"/>
                    </a:cubicBezTo>
                    <a:cubicBezTo>
                      <a:pt x="725" y="144"/>
                      <a:pt x="725" y="144"/>
                      <a:pt x="725" y="144"/>
                    </a:cubicBezTo>
                    <a:cubicBezTo>
                      <a:pt x="724" y="144"/>
                      <a:pt x="724" y="144"/>
                      <a:pt x="724" y="144"/>
                    </a:cubicBezTo>
                    <a:cubicBezTo>
                      <a:pt x="722" y="144"/>
                      <a:pt x="722" y="144"/>
                      <a:pt x="722" y="144"/>
                    </a:cubicBezTo>
                    <a:cubicBezTo>
                      <a:pt x="721" y="145"/>
                      <a:pt x="721" y="145"/>
                      <a:pt x="721" y="145"/>
                    </a:cubicBezTo>
                    <a:cubicBezTo>
                      <a:pt x="719" y="144"/>
                      <a:pt x="719" y="144"/>
                      <a:pt x="719" y="144"/>
                    </a:cubicBezTo>
                    <a:close/>
                    <a:moveTo>
                      <a:pt x="721" y="161"/>
                    </a:moveTo>
                    <a:cubicBezTo>
                      <a:pt x="721" y="163"/>
                      <a:pt x="721" y="163"/>
                      <a:pt x="721" y="163"/>
                    </a:cubicBezTo>
                    <a:cubicBezTo>
                      <a:pt x="722" y="163"/>
                      <a:pt x="722" y="163"/>
                      <a:pt x="722" y="163"/>
                    </a:cubicBezTo>
                    <a:cubicBezTo>
                      <a:pt x="723" y="162"/>
                      <a:pt x="723" y="162"/>
                      <a:pt x="723" y="162"/>
                    </a:cubicBezTo>
                    <a:cubicBezTo>
                      <a:pt x="723" y="161"/>
                      <a:pt x="723" y="161"/>
                      <a:pt x="723" y="161"/>
                    </a:cubicBezTo>
                    <a:cubicBezTo>
                      <a:pt x="723" y="160"/>
                      <a:pt x="723" y="160"/>
                      <a:pt x="723" y="160"/>
                    </a:cubicBezTo>
                    <a:cubicBezTo>
                      <a:pt x="722" y="159"/>
                      <a:pt x="722" y="159"/>
                      <a:pt x="722" y="159"/>
                    </a:cubicBezTo>
                    <a:cubicBezTo>
                      <a:pt x="722" y="160"/>
                      <a:pt x="722" y="160"/>
                      <a:pt x="722" y="160"/>
                    </a:cubicBezTo>
                    <a:cubicBezTo>
                      <a:pt x="721" y="161"/>
                      <a:pt x="721" y="161"/>
                      <a:pt x="721" y="161"/>
                    </a:cubicBezTo>
                    <a:close/>
                    <a:moveTo>
                      <a:pt x="715" y="112"/>
                    </a:moveTo>
                    <a:cubicBezTo>
                      <a:pt x="715" y="112"/>
                      <a:pt x="715" y="112"/>
                      <a:pt x="716" y="111"/>
                    </a:cubicBezTo>
                    <a:cubicBezTo>
                      <a:pt x="716" y="111"/>
                      <a:pt x="716" y="111"/>
                      <a:pt x="717" y="111"/>
                    </a:cubicBezTo>
                    <a:cubicBezTo>
                      <a:pt x="717" y="111"/>
                      <a:pt x="717" y="111"/>
                      <a:pt x="718" y="112"/>
                    </a:cubicBezTo>
                    <a:cubicBezTo>
                      <a:pt x="718" y="112"/>
                      <a:pt x="718" y="112"/>
                      <a:pt x="720" y="111"/>
                    </a:cubicBezTo>
                    <a:cubicBezTo>
                      <a:pt x="720" y="111"/>
                      <a:pt x="720" y="111"/>
                      <a:pt x="720" y="110"/>
                    </a:cubicBezTo>
                    <a:cubicBezTo>
                      <a:pt x="720" y="110"/>
                      <a:pt x="720" y="110"/>
                      <a:pt x="721" y="110"/>
                    </a:cubicBezTo>
                    <a:cubicBezTo>
                      <a:pt x="721" y="110"/>
                      <a:pt x="721" y="110"/>
                      <a:pt x="722" y="110"/>
                    </a:cubicBezTo>
                    <a:cubicBezTo>
                      <a:pt x="722" y="110"/>
                      <a:pt x="722" y="110"/>
                      <a:pt x="723" y="109"/>
                    </a:cubicBezTo>
                    <a:cubicBezTo>
                      <a:pt x="723" y="109"/>
                      <a:pt x="723" y="109"/>
                      <a:pt x="722" y="109"/>
                    </a:cubicBezTo>
                    <a:cubicBezTo>
                      <a:pt x="722" y="109"/>
                      <a:pt x="722" y="109"/>
                      <a:pt x="721" y="109"/>
                    </a:cubicBezTo>
                    <a:cubicBezTo>
                      <a:pt x="721" y="109"/>
                      <a:pt x="721" y="109"/>
                      <a:pt x="718" y="109"/>
                    </a:cubicBezTo>
                    <a:cubicBezTo>
                      <a:pt x="718" y="109"/>
                      <a:pt x="718" y="109"/>
                      <a:pt x="717" y="110"/>
                    </a:cubicBezTo>
                    <a:cubicBezTo>
                      <a:pt x="717" y="110"/>
                      <a:pt x="717" y="110"/>
                      <a:pt x="716" y="110"/>
                    </a:cubicBezTo>
                    <a:cubicBezTo>
                      <a:pt x="716" y="110"/>
                      <a:pt x="716" y="110"/>
                      <a:pt x="715" y="111"/>
                    </a:cubicBezTo>
                    <a:cubicBezTo>
                      <a:pt x="715" y="111"/>
                      <a:pt x="715" y="111"/>
                      <a:pt x="715" y="112"/>
                    </a:cubicBezTo>
                    <a:close/>
                    <a:moveTo>
                      <a:pt x="723" y="158"/>
                    </a:moveTo>
                    <a:cubicBezTo>
                      <a:pt x="722" y="158"/>
                      <a:pt x="722" y="158"/>
                      <a:pt x="722" y="158"/>
                    </a:cubicBezTo>
                    <a:cubicBezTo>
                      <a:pt x="722" y="159"/>
                      <a:pt x="722" y="159"/>
                      <a:pt x="722" y="159"/>
                    </a:cubicBezTo>
                    <a:cubicBezTo>
                      <a:pt x="723" y="159"/>
                      <a:pt x="723" y="159"/>
                      <a:pt x="723" y="159"/>
                    </a:cubicBezTo>
                    <a:cubicBezTo>
                      <a:pt x="723" y="158"/>
                      <a:pt x="723" y="158"/>
                      <a:pt x="723" y="158"/>
                    </a:cubicBezTo>
                    <a:close/>
                    <a:moveTo>
                      <a:pt x="715" y="107"/>
                    </a:moveTo>
                    <a:cubicBezTo>
                      <a:pt x="716" y="108"/>
                      <a:pt x="716" y="108"/>
                      <a:pt x="716" y="108"/>
                    </a:cubicBezTo>
                    <a:cubicBezTo>
                      <a:pt x="718" y="108"/>
                      <a:pt x="718" y="108"/>
                      <a:pt x="718" y="108"/>
                    </a:cubicBezTo>
                    <a:cubicBezTo>
                      <a:pt x="720" y="108"/>
                      <a:pt x="720" y="108"/>
                      <a:pt x="720" y="108"/>
                    </a:cubicBezTo>
                    <a:cubicBezTo>
                      <a:pt x="721" y="108"/>
                      <a:pt x="721" y="108"/>
                      <a:pt x="721" y="108"/>
                    </a:cubicBezTo>
                    <a:cubicBezTo>
                      <a:pt x="722" y="108"/>
                      <a:pt x="722" y="108"/>
                      <a:pt x="722" y="108"/>
                    </a:cubicBezTo>
                    <a:cubicBezTo>
                      <a:pt x="723" y="108"/>
                      <a:pt x="723" y="108"/>
                      <a:pt x="723" y="108"/>
                    </a:cubicBezTo>
                    <a:cubicBezTo>
                      <a:pt x="723" y="107"/>
                      <a:pt x="723" y="107"/>
                      <a:pt x="723" y="107"/>
                    </a:cubicBezTo>
                    <a:cubicBezTo>
                      <a:pt x="722" y="107"/>
                      <a:pt x="722" y="107"/>
                      <a:pt x="722" y="107"/>
                    </a:cubicBezTo>
                    <a:cubicBezTo>
                      <a:pt x="719" y="107"/>
                      <a:pt x="719" y="107"/>
                      <a:pt x="719" y="107"/>
                    </a:cubicBezTo>
                    <a:cubicBezTo>
                      <a:pt x="718" y="107"/>
                      <a:pt x="718" y="107"/>
                      <a:pt x="718" y="107"/>
                    </a:cubicBezTo>
                    <a:cubicBezTo>
                      <a:pt x="716" y="107"/>
                      <a:pt x="716" y="107"/>
                      <a:pt x="716" y="107"/>
                    </a:cubicBezTo>
                    <a:cubicBezTo>
                      <a:pt x="715" y="107"/>
                      <a:pt x="715" y="107"/>
                      <a:pt x="715" y="107"/>
                    </a:cubicBezTo>
                    <a:close/>
                    <a:moveTo>
                      <a:pt x="743" y="81"/>
                    </a:moveTo>
                    <a:cubicBezTo>
                      <a:pt x="743" y="81"/>
                      <a:pt x="743" y="81"/>
                      <a:pt x="744" y="81"/>
                    </a:cubicBezTo>
                    <a:cubicBezTo>
                      <a:pt x="744" y="81"/>
                      <a:pt x="744" y="81"/>
                      <a:pt x="745" y="81"/>
                    </a:cubicBezTo>
                    <a:cubicBezTo>
                      <a:pt x="745" y="81"/>
                      <a:pt x="745" y="81"/>
                      <a:pt x="746" y="81"/>
                    </a:cubicBezTo>
                    <a:cubicBezTo>
                      <a:pt x="746" y="81"/>
                      <a:pt x="746" y="81"/>
                      <a:pt x="747" y="81"/>
                    </a:cubicBezTo>
                    <a:cubicBezTo>
                      <a:pt x="747" y="81"/>
                      <a:pt x="747" y="81"/>
                      <a:pt x="747" y="79"/>
                    </a:cubicBezTo>
                    <a:cubicBezTo>
                      <a:pt x="747" y="79"/>
                      <a:pt x="747" y="79"/>
                      <a:pt x="747" y="78"/>
                    </a:cubicBezTo>
                    <a:cubicBezTo>
                      <a:pt x="747" y="78"/>
                      <a:pt x="747" y="78"/>
                      <a:pt x="745" y="76"/>
                    </a:cubicBezTo>
                    <a:cubicBezTo>
                      <a:pt x="745" y="76"/>
                      <a:pt x="745" y="76"/>
                      <a:pt x="743" y="75"/>
                    </a:cubicBezTo>
                    <a:cubicBezTo>
                      <a:pt x="743" y="75"/>
                      <a:pt x="743" y="75"/>
                      <a:pt x="741" y="75"/>
                    </a:cubicBezTo>
                    <a:cubicBezTo>
                      <a:pt x="741" y="75"/>
                      <a:pt x="741" y="75"/>
                      <a:pt x="741" y="77"/>
                    </a:cubicBezTo>
                    <a:cubicBezTo>
                      <a:pt x="741" y="77"/>
                      <a:pt x="741" y="77"/>
                      <a:pt x="741" y="78"/>
                    </a:cubicBezTo>
                    <a:cubicBezTo>
                      <a:pt x="741" y="78"/>
                      <a:pt x="741" y="78"/>
                      <a:pt x="742" y="80"/>
                    </a:cubicBezTo>
                    <a:cubicBezTo>
                      <a:pt x="742" y="80"/>
                      <a:pt x="742" y="80"/>
                      <a:pt x="743" y="81"/>
                    </a:cubicBezTo>
                    <a:close/>
                    <a:moveTo>
                      <a:pt x="737" y="125"/>
                    </a:moveTo>
                    <a:cubicBezTo>
                      <a:pt x="737" y="125"/>
                      <a:pt x="737" y="125"/>
                      <a:pt x="737" y="126"/>
                    </a:cubicBezTo>
                    <a:cubicBezTo>
                      <a:pt x="737" y="126"/>
                      <a:pt x="737" y="126"/>
                      <a:pt x="738" y="126"/>
                    </a:cubicBezTo>
                    <a:cubicBezTo>
                      <a:pt x="738" y="126"/>
                      <a:pt x="738" y="126"/>
                      <a:pt x="738" y="125"/>
                    </a:cubicBezTo>
                    <a:cubicBezTo>
                      <a:pt x="738" y="125"/>
                      <a:pt x="738" y="125"/>
                      <a:pt x="737" y="125"/>
                    </a:cubicBezTo>
                    <a:close/>
                    <a:moveTo>
                      <a:pt x="742" y="121"/>
                    </a:moveTo>
                    <a:cubicBezTo>
                      <a:pt x="742" y="121"/>
                      <a:pt x="742" y="121"/>
                      <a:pt x="741" y="121"/>
                    </a:cubicBezTo>
                    <a:cubicBezTo>
                      <a:pt x="741" y="121"/>
                      <a:pt x="741" y="121"/>
                      <a:pt x="742" y="122"/>
                    </a:cubicBezTo>
                    <a:cubicBezTo>
                      <a:pt x="742" y="122"/>
                      <a:pt x="742" y="122"/>
                      <a:pt x="742" y="121"/>
                    </a:cubicBezTo>
                    <a:close/>
                    <a:moveTo>
                      <a:pt x="730" y="137"/>
                    </a:moveTo>
                    <a:cubicBezTo>
                      <a:pt x="730" y="137"/>
                      <a:pt x="730" y="137"/>
                      <a:pt x="731" y="137"/>
                    </a:cubicBezTo>
                    <a:cubicBezTo>
                      <a:pt x="731" y="137"/>
                      <a:pt x="731" y="137"/>
                      <a:pt x="730" y="136"/>
                    </a:cubicBezTo>
                    <a:cubicBezTo>
                      <a:pt x="730" y="136"/>
                      <a:pt x="730" y="136"/>
                      <a:pt x="728" y="137"/>
                    </a:cubicBezTo>
                    <a:cubicBezTo>
                      <a:pt x="728" y="137"/>
                      <a:pt x="728" y="137"/>
                      <a:pt x="728" y="138"/>
                    </a:cubicBezTo>
                    <a:cubicBezTo>
                      <a:pt x="728" y="138"/>
                      <a:pt x="728" y="138"/>
                      <a:pt x="729" y="138"/>
                    </a:cubicBezTo>
                    <a:cubicBezTo>
                      <a:pt x="729" y="138"/>
                      <a:pt x="729" y="138"/>
                      <a:pt x="730" y="137"/>
                    </a:cubicBezTo>
                    <a:close/>
                    <a:moveTo>
                      <a:pt x="745" y="119"/>
                    </a:moveTo>
                    <a:cubicBezTo>
                      <a:pt x="745" y="119"/>
                      <a:pt x="745" y="119"/>
                      <a:pt x="744" y="119"/>
                    </a:cubicBezTo>
                    <a:cubicBezTo>
                      <a:pt x="744" y="119"/>
                      <a:pt x="744" y="119"/>
                      <a:pt x="743" y="120"/>
                    </a:cubicBezTo>
                    <a:cubicBezTo>
                      <a:pt x="743" y="120"/>
                      <a:pt x="743" y="120"/>
                      <a:pt x="744" y="120"/>
                    </a:cubicBezTo>
                    <a:cubicBezTo>
                      <a:pt x="744" y="120"/>
                      <a:pt x="744" y="120"/>
                      <a:pt x="745" y="119"/>
                    </a:cubicBezTo>
                    <a:close/>
                    <a:moveTo>
                      <a:pt x="740" y="123"/>
                    </a:moveTo>
                    <a:cubicBezTo>
                      <a:pt x="740" y="123"/>
                      <a:pt x="740" y="123"/>
                      <a:pt x="740" y="125"/>
                    </a:cubicBezTo>
                    <a:cubicBezTo>
                      <a:pt x="740" y="125"/>
                      <a:pt x="740" y="125"/>
                      <a:pt x="741" y="126"/>
                    </a:cubicBezTo>
                    <a:cubicBezTo>
                      <a:pt x="741" y="126"/>
                      <a:pt x="741" y="126"/>
                      <a:pt x="741" y="125"/>
                    </a:cubicBezTo>
                    <a:cubicBezTo>
                      <a:pt x="741" y="125"/>
                      <a:pt x="741" y="125"/>
                      <a:pt x="742" y="125"/>
                    </a:cubicBezTo>
                    <a:cubicBezTo>
                      <a:pt x="742" y="125"/>
                      <a:pt x="742" y="125"/>
                      <a:pt x="742" y="124"/>
                    </a:cubicBezTo>
                    <a:cubicBezTo>
                      <a:pt x="742" y="124"/>
                      <a:pt x="742" y="124"/>
                      <a:pt x="743" y="123"/>
                    </a:cubicBezTo>
                    <a:cubicBezTo>
                      <a:pt x="743" y="123"/>
                      <a:pt x="743" y="123"/>
                      <a:pt x="742" y="123"/>
                    </a:cubicBezTo>
                    <a:cubicBezTo>
                      <a:pt x="742" y="123"/>
                      <a:pt x="742" y="123"/>
                      <a:pt x="741" y="123"/>
                    </a:cubicBezTo>
                    <a:cubicBezTo>
                      <a:pt x="741" y="123"/>
                      <a:pt x="741" y="123"/>
                      <a:pt x="740" y="123"/>
                    </a:cubicBezTo>
                    <a:close/>
                    <a:moveTo>
                      <a:pt x="750" y="71"/>
                    </a:moveTo>
                    <a:cubicBezTo>
                      <a:pt x="750" y="71"/>
                      <a:pt x="750" y="71"/>
                      <a:pt x="749" y="71"/>
                    </a:cubicBezTo>
                    <a:cubicBezTo>
                      <a:pt x="749" y="71"/>
                      <a:pt x="749" y="71"/>
                      <a:pt x="749" y="72"/>
                    </a:cubicBezTo>
                    <a:cubicBezTo>
                      <a:pt x="749" y="72"/>
                      <a:pt x="749" y="72"/>
                      <a:pt x="750" y="72"/>
                    </a:cubicBezTo>
                    <a:cubicBezTo>
                      <a:pt x="750" y="72"/>
                      <a:pt x="750" y="72"/>
                      <a:pt x="750" y="71"/>
                    </a:cubicBezTo>
                    <a:close/>
                    <a:moveTo>
                      <a:pt x="744" y="124"/>
                    </a:moveTo>
                    <a:cubicBezTo>
                      <a:pt x="744" y="124"/>
                      <a:pt x="744" y="124"/>
                      <a:pt x="745" y="123"/>
                    </a:cubicBezTo>
                    <a:cubicBezTo>
                      <a:pt x="745" y="123"/>
                      <a:pt x="745" y="123"/>
                      <a:pt x="744" y="123"/>
                    </a:cubicBezTo>
                    <a:cubicBezTo>
                      <a:pt x="744" y="123"/>
                      <a:pt x="744" y="123"/>
                      <a:pt x="744" y="122"/>
                    </a:cubicBezTo>
                    <a:cubicBezTo>
                      <a:pt x="744" y="122"/>
                      <a:pt x="744" y="122"/>
                      <a:pt x="743" y="122"/>
                    </a:cubicBezTo>
                    <a:cubicBezTo>
                      <a:pt x="743" y="122"/>
                      <a:pt x="743" y="122"/>
                      <a:pt x="743" y="123"/>
                    </a:cubicBezTo>
                    <a:cubicBezTo>
                      <a:pt x="743" y="123"/>
                      <a:pt x="743" y="123"/>
                      <a:pt x="743" y="124"/>
                    </a:cubicBezTo>
                    <a:cubicBezTo>
                      <a:pt x="743" y="124"/>
                      <a:pt x="743" y="124"/>
                      <a:pt x="744" y="124"/>
                    </a:cubicBezTo>
                    <a:close/>
                    <a:moveTo>
                      <a:pt x="739" y="134"/>
                    </a:moveTo>
                    <a:cubicBezTo>
                      <a:pt x="740" y="134"/>
                      <a:pt x="740" y="134"/>
                      <a:pt x="740" y="134"/>
                    </a:cubicBezTo>
                    <a:cubicBezTo>
                      <a:pt x="740" y="133"/>
                      <a:pt x="740" y="133"/>
                      <a:pt x="740" y="133"/>
                    </a:cubicBezTo>
                    <a:cubicBezTo>
                      <a:pt x="741" y="133"/>
                      <a:pt x="741" y="133"/>
                      <a:pt x="741" y="133"/>
                    </a:cubicBezTo>
                    <a:cubicBezTo>
                      <a:pt x="740" y="134"/>
                      <a:pt x="740" y="134"/>
                      <a:pt x="740" y="134"/>
                    </a:cubicBezTo>
                    <a:cubicBezTo>
                      <a:pt x="740" y="135"/>
                      <a:pt x="740" y="135"/>
                      <a:pt x="740" y="135"/>
                    </a:cubicBezTo>
                    <a:cubicBezTo>
                      <a:pt x="741" y="135"/>
                      <a:pt x="741" y="135"/>
                      <a:pt x="741" y="135"/>
                    </a:cubicBezTo>
                    <a:cubicBezTo>
                      <a:pt x="742" y="135"/>
                      <a:pt x="742" y="135"/>
                      <a:pt x="742" y="135"/>
                    </a:cubicBezTo>
                    <a:cubicBezTo>
                      <a:pt x="742" y="136"/>
                      <a:pt x="742" y="136"/>
                      <a:pt x="742" y="136"/>
                    </a:cubicBezTo>
                    <a:cubicBezTo>
                      <a:pt x="742" y="137"/>
                      <a:pt x="742" y="137"/>
                      <a:pt x="742" y="137"/>
                    </a:cubicBezTo>
                    <a:cubicBezTo>
                      <a:pt x="743" y="137"/>
                      <a:pt x="743" y="137"/>
                      <a:pt x="743" y="137"/>
                    </a:cubicBezTo>
                    <a:cubicBezTo>
                      <a:pt x="743" y="136"/>
                      <a:pt x="743" y="136"/>
                      <a:pt x="743" y="136"/>
                    </a:cubicBezTo>
                    <a:cubicBezTo>
                      <a:pt x="744" y="136"/>
                      <a:pt x="744" y="136"/>
                      <a:pt x="744" y="136"/>
                    </a:cubicBezTo>
                    <a:cubicBezTo>
                      <a:pt x="744" y="138"/>
                      <a:pt x="744" y="138"/>
                      <a:pt x="744" y="138"/>
                    </a:cubicBezTo>
                    <a:cubicBezTo>
                      <a:pt x="745" y="138"/>
                      <a:pt x="745" y="138"/>
                      <a:pt x="745" y="138"/>
                    </a:cubicBezTo>
                    <a:cubicBezTo>
                      <a:pt x="745" y="139"/>
                      <a:pt x="745" y="139"/>
                      <a:pt x="745" y="139"/>
                    </a:cubicBezTo>
                    <a:cubicBezTo>
                      <a:pt x="747" y="139"/>
                      <a:pt x="747" y="139"/>
                      <a:pt x="747" y="139"/>
                    </a:cubicBezTo>
                    <a:cubicBezTo>
                      <a:pt x="748" y="140"/>
                      <a:pt x="748" y="140"/>
                      <a:pt x="748" y="140"/>
                    </a:cubicBezTo>
                    <a:cubicBezTo>
                      <a:pt x="749" y="140"/>
                      <a:pt x="749" y="140"/>
                      <a:pt x="749" y="140"/>
                    </a:cubicBezTo>
                    <a:cubicBezTo>
                      <a:pt x="750" y="141"/>
                      <a:pt x="750" y="141"/>
                      <a:pt x="750" y="141"/>
                    </a:cubicBezTo>
                    <a:cubicBezTo>
                      <a:pt x="750" y="140"/>
                      <a:pt x="750" y="140"/>
                      <a:pt x="750" y="140"/>
                    </a:cubicBezTo>
                    <a:cubicBezTo>
                      <a:pt x="750" y="139"/>
                      <a:pt x="750" y="139"/>
                      <a:pt x="750" y="139"/>
                    </a:cubicBezTo>
                    <a:cubicBezTo>
                      <a:pt x="751" y="139"/>
                      <a:pt x="751" y="139"/>
                      <a:pt x="751" y="139"/>
                    </a:cubicBezTo>
                    <a:cubicBezTo>
                      <a:pt x="751" y="137"/>
                      <a:pt x="751" y="137"/>
                      <a:pt x="751" y="137"/>
                    </a:cubicBezTo>
                    <a:cubicBezTo>
                      <a:pt x="751" y="136"/>
                      <a:pt x="751" y="136"/>
                      <a:pt x="751" y="136"/>
                    </a:cubicBezTo>
                    <a:cubicBezTo>
                      <a:pt x="752" y="134"/>
                      <a:pt x="752" y="134"/>
                      <a:pt x="752" y="134"/>
                    </a:cubicBezTo>
                    <a:cubicBezTo>
                      <a:pt x="753" y="132"/>
                      <a:pt x="753" y="132"/>
                      <a:pt x="753" y="132"/>
                    </a:cubicBezTo>
                    <a:cubicBezTo>
                      <a:pt x="753" y="130"/>
                      <a:pt x="753" y="130"/>
                      <a:pt x="753" y="130"/>
                    </a:cubicBezTo>
                    <a:cubicBezTo>
                      <a:pt x="754" y="130"/>
                      <a:pt x="754" y="130"/>
                      <a:pt x="754" y="130"/>
                    </a:cubicBezTo>
                    <a:cubicBezTo>
                      <a:pt x="753" y="128"/>
                      <a:pt x="753" y="128"/>
                      <a:pt x="753" y="128"/>
                    </a:cubicBezTo>
                    <a:cubicBezTo>
                      <a:pt x="752" y="128"/>
                      <a:pt x="752" y="128"/>
                      <a:pt x="752" y="128"/>
                    </a:cubicBezTo>
                    <a:cubicBezTo>
                      <a:pt x="752" y="126"/>
                      <a:pt x="752" y="126"/>
                      <a:pt x="752" y="126"/>
                    </a:cubicBezTo>
                    <a:cubicBezTo>
                      <a:pt x="751" y="125"/>
                      <a:pt x="751" y="125"/>
                      <a:pt x="751" y="125"/>
                    </a:cubicBezTo>
                    <a:cubicBezTo>
                      <a:pt x="750" y="124"/>
                      <a:pt x="750" y="124"/>
                      <a:pt x="750" y="124"/>
                    </a:cubicBezTo>
                    <a:cubicBezTo>
                      <a:pt x="749" y="124"/>
                      <a:pt x="749" y="124"/>
                      <a:pt x="749" y="124"/>
                    </a:cubicBezTo>
                    <a:cubicBezTo>
                      <a:pt x="747" y="124"/>
                      <a:pt x="747" y="124"/>
                      <a:pt x="747" y="124"/>
                    </a:cubicBezTo>
                    <a:cubicBezTo>
                      <a:pt x="746" y="124"/>
                      <a:pt x="746" y="124"/>
                      <a:pt x="746" y="124"/>
                    </a:cubicBezTo>
                    <a:cubicBezTo>
                      <a:pt x="746" y="125"/>
                      <a:pt x="746" y="125"/>
                      <a:pt x="746" y="125"/>
                    </a:cubicBezTo>
                    <a:cubicBezTo>
                      <a:pt x="746" y="126"/>
                      <a:pt x="746" y="126"/>
                      <a:pt x="746" y="126"/>
                    </a:cubicBezTo>
                    <a:cubicBezTo>
                      <a:pt x="745" y="126"/>
                      <a:pt x="745" y="126"/>
                      <a:pt x="745" y="126"/>
                    </a:cubicBezTo>
                    <a:cubicBezTo>
                      <a:pt x="744" y="125"/>
                      <a:pt x="744" y="125"/>
                      <a:pt x="744" y="125"/>
                    </a:cubicBezTo>
                    <a:cubicBezTo>
                      <a:pt x="743" y="126"/>
                      <a:pt x="743" y="126"/>
                      <a:pt x="743" y="126"/>
                    </a:cubicBezTo>
                    <a:cubicBezTo>
                      <a:pt x="744" y="126"/>
                      <a:pt x="744" y="126"/>
                      <a:pt x="744" y="126"/>
                    </a:cubicBezTo>
                    <a:cubicBezTo>
                      <a:pt x="745" y="127"/>
                      <a:pt x="745" y="127"/>
                      <a:pt x="745" y="127"/>
                    </a:cubicBezTo>
                    <a:cubicBezTo>
                      <a:pt x="743" y="127"/>
                      <a:pt x="743" y="127"/>
                      <a:pt x="743" y="127"/>
                    </a:cubicBezTo>
                    <a:cubicBezTo>
                      <a:pt x="743" y="128"/>
                      <a:pt x="743" y="128"/>
                      <a:pt x="743" y="128"/>
                    </a:cubicBezTo>
                    <a:cubicBezTo>
                      <a:pt x="743" y="129"/>
                      <a:pt x="743" y="129"/>
                      <a:pt x="743" y="129"/>
                    </a:cubicBezTo>
                    <a:cubicBezTo>
                      <a:pt x="742" y="129"/>
                      <a:pt x="742" y="129"/>
                      <a:pt x="742" y="129"/>
                    </a:cubicBezTo>
                    <a:cubicBezTo>
                      <a:pt x="741" y="129"/>
                      <a:pt x="741" y="129"/>
                      <a:pt x="741" y="129"/>
                    </a:cubicBezTo>
                    <a:cubicBezTo>
                      <a:pt x="740" y="130"/>
                      <a:pt x="740" y="130"/>
                      <a:pt x="740" y="130"/>
                    </a:cubicBezTo>
                    <a:cubicBezTo>
                      <a:pt x="739" y="131"/>
                      <a:pt x="739" y="131"/>
                      <a:pt x="739" y="131"/>
                    </a:cubicBezTo>
                    <a:cubicBezTo>
                      <a:pt x="739" y="132"/>
                      <a:pt x="739" y="132"/>
                      <a:pt x="739" y="132"/>
                    </a:cubicBezTo>
                    <a:cubicBezTo>
                      <a:pt x="740" y="132"/>
                      <a:pt x="740" y="132"/>
                      <a:pt x="740" y="132"/>
                    </a:cubicBezTo>
                    <a:cubicBezTo>
                      <a:pt x="739" y="133"/>
                      <a:pt x="739" y="133"/>
                      <a:pt x="739" y="133"/>
                    </a:cubicBezTo>
                    <a:cubicBezTo>
                      <a:pt x="739" y="134"/>
                      <a:pt x="739" y="134"/>
                      <a:pt x="739" y="134"/>
                    </a:cubicBezTo>
                    <a:close/>
                    <a:moveTo>
                      <a:pt x="741" y="98"/>
                    </a:moveTo>
                    <a:cubicBezTo>
                      <a:pt x="742" y="99"/>
                      <a:pt x="742" y="99"/>
                      <a:pt x="742" y="99"/>
                    </a:cubicBezTo>
                    <a:cubicBezTo>
                      <a:pt x="742" y="98"/>
                      <a:pt x="742" y="98"/>
                      <a:pt x="742" y="98"/>
                    </a:cubicBezTo>
                    <a:cubicBezTo>
                      <a:pt x="741" y="97"/>
                      <a:pt x="741" y="97"/>
                      <a:pt x="741" y="97"/>
                    </a:cubicBezTo>
                    <a:cubicBezTo>
                      <a:pt x="741" y="98"/>
                      <a:pt x="741" y="98"/>
                      <a:pt x="741" y="98"/>
                    </a:cubicBezTo>
                    <a:close/>
                    <a:moveTo>
                      <a:pt x="564" y="170"/>
                    </a:moveTo>
                    <a:cubicBezTo>
                      <a:pt x="563" y="170"/>
                      <a:pt x="563" y="170"/>
                      <a:pt x="563" y="170"/>
                    </a:cubicBezTo>
                    <a:cubicBezTo>
                      <a:pt x="564" y="171"/>
                      <a:pt x="564" y="171"/>
                      <a:pt x="564" y="171"/>
                    </a:cubicBezTo>
                    <a:cubicBezTo>
                      <a:pt x="564" y="170"/>
                      <a:pt x="564" y="170"/>
                      <a:pt x="564" y="170"/>
                    </a:cubicBezTo>
                    <a:close/>
                    <a:moveTo>
                      <a:pt x="507" y="161"/>
                    </a:moveTo>
                    <a:cubicBezTo>
                      <a:pt x="507" y="162"/>
                      <a:pt x="507" y="162"/>
                      <a:pt x="507" y="162"/>
                    </a:cubicBezTo>
                    <a:cubicBezTo>
                      <a:pt x="508" y="161"/>
                      <a:pt x="508" y="161"/>
                      <a:pt x="508" y="161"/>
                    </a:cubicBezTo>
                    <a:cubicBezTo>
                      <a:pt x="507" y="161"/>
                      <a:pt x="507" y="161"/>
                      <a:pt x="507" y="161"/>
                    </a:cubicBezTo>
                    <a:close/>
                    <a:moveTo>
                      <a:pt x="553" y="158"/>
                    </a:moveTo>
                    <a:cubicBezTo>
                      <a:pt x="553" y="157"/>
                      <a:pt x="553" y="157"/>
                      <a:pt x="553" y="157"/>
                    </a:cubicBezTo>
                    <a:cubicBezTo>
                      <a:pt x="551" y="157"/>
                      <a:pt x="551" y="157"/>
                      <a:pt x="551" y="157"/>
                    </a:cubicBezTo>
                    <a:cubicBezTo>
                      <a:pt x="551" y="158"/>
                      <a:pt x="551" y="158"/>
                      <a:pt x="551" y="158"/>
                    </a:cubicBezTo>
                    <a:cubicBezTo>
                      <a:pt x="552" y="159"/>
                      <a:pt x="552" y="159"/>
                      <a:pt x="552" y="159"/>
                    </a:cubicBezTo>
                    <a:cubicBezTo>
                      <a:pt x="553" y="158"/>
                      <a:pt x="553" y="158"/>
                      <a:pt x="553" y="158"/>
                    </a:cubicBezTo>
                    <a:close/>
                    <a:moveTo>
                      <a:pt x="580" y="143"/>
                    </a:moveTo>
                    <a:cubicBezTo>
                      <a:pt x="581" y="143"/>
                      <a:pt x="581" y="143"/>
                      <a:pt x="581" y="143"/>
                    </a:cubicBezTo>
                    <a:cubicBezTo>
                      <a:pt x="581" y="143"/>
                      <a:pt x="581" y="143"/>
                      <a:pt x="581" y="144"/>
                    </a:cubicBezTo>
                    <a:cubicBezTo>
                      <a:pt x="581" y="144"/>
                      <a:pt x="581" y="144"/>
                      <a:pt x="580" y="143"/>
                    </a:cubicBezTo>
                    <a:cubicBezTo>
                      <a:pt x="580" y="143"/>
                      <a:pt x="580" y="143"/>
                      <a:pt x="581" y="147"/>
                    </a:cubicBezTo>
                    <a:cubicBezTo>
                      <a:pt x="581" y="147"/>
                      <a:pt x="581" y="147"/>
                      <a:pt x="581" y="148"/>
                    </a:cubicBezTo>
                    <a:cubicBezTo>
                      <a:pt x="581" y="148"/>
                      <a:pt x="581" y="148"/>
                      <a:pt x="581" y="149"/>
                    </a:cubicBezTo>
                    <a:cubicBezTo>
                      <a:pt x="581" y="149"/>
                      <a:pt x="581" y="149"/>
                      <a:pt x="581" y="151"/>
                    </a:cubicBezTo>
                    <a:cubicBezTo>
                      <a:pt x="581" y="151"/>
                      <a:pt x="581" y="151"/>
                      <a:pt x="581" y="152"/>
                    </a:cubicBezTo>
                    <a:cubicBezTo>
                      <a:pt x="581" y="152"/>
                      <a:pt x="581" y="152"/>
                      <a:pt x="580" y="154"/>
                    </a:cubicBezTo>
                    <a:cubicBezTo>
                      <a:pt x="580" y="154"/>
                      <a:pt x="580" y="154"/>
                      <a:pt x="580" y="157"/>
                    </a:cubicBezTo>
                    <a:cubicBezTo>
                      <a:pt x="580" y="157"/>
                      <a:pt x="580" y="157"/>
                      <a:pt x="581" y="157"/>
                    </a:cubicBezTo>
                    <a:cubicBezTo>
                      <a:pt x="581" y="157"/>
                      <a:pt x="581" y="157"/>
                      <a:pt x="582" y="157"/>
                    </a:cubicBezTo>
                    <a:cubicBezTo>
                      <a:pt x="582" y="157"/>
                      <a:pt x="582" y="157"/>
                      <a:pt x="583" y="157"/>
                    </a:cubicBezTo>
                    <a:cubicBezTo>
                      <a:pt x="583" y="157"/>
                      <a:pt x="583" y="157"/>
                      <a:pt x="584" y="156"/>
                    </a:cubicBezTo>
                    <a:cubicBezTo>
                      <a:pt x="584" y="156"/>
                      <a:pt x="584" y="156"/>
                      <a:pt x="585" y="156"/>
                    </a:cubicBezTo>
                    <a:cubicBezTo>
                      <a:pt x="585" y="156"/>
                      <a:pt x="585" y="156"/>
                      <a:pt x="587" y="156"/>
                    </a:cubicBezTo>
                    <a:cubicBezTo>
                      <a:pt x="587" y="156"/>
                      <a:pt x="587" y="156"/>
                      <a:pt x="589" y="154"/>
                    </a:cubicBezTo>
                    <a:cubicBezTo>
                      <a:pt x="589" y="154"/>
                      <a:pt x="589" y="154"/>
                      <a:pt x="589" y="153"/>
                    </a:cubicBezTo>
                    <a:cubicBezTo>
                      <a:pt x="589" y="153"/>
                      <a:pt x="589" y="153"/>
                      <a:pt x="590" y="152"/>
                    </a:cubicBezTo>
                    <a:cubicBezTo>
                      <a:pt x="590" y="152"/>
                      <a:pt x="590" y="152"/>
                      <a:pt x="591" y="153"/>
                    </a:cubicBezTo>
                    <a:cubicBezTo>
                      <a:pt x="591" y="153"/>
                      <a:pt x="591" y="153"/>
                      <a:pt x="591" y="155"/>
                    </a:cubicBezTo>
                    <a:cubicBezTo>
                      <a:pt x="591" y="155"/>
                      <a:pt x="591" y="155"/>
                      <a:pt x="590" y="155"/>
                    </a:cubicBezTo>
                    <a:cubicBezTo>
                      <a:pt x="590" y="155"/>
                      <a:pt x="590" y="155"/>
                      <a:pt x="591" y="157"/>
                    </a:cubicBezTo>
                    <a:cubicBezTo>
                      <a:pt x="591" y="157"/>
                      <a:pt x="591" y="157"/>
                      <a:pt x="592" y="157"/>
                    </a:cubicBezTo>
                    <a:cubicBezTo>
                      <a:pt x="592" y="157"/>
                      <a:pt x="592" y="157"/>
                      <a:pt x="594" y="156"/>
                    </a:cubicBezTo>
                    <a:cubicBezTo>
                      <a:pt x="594" y="156"/>
                      <a:pt x="594" y="156"/>
                      <a:pt x="595" y="156"/>
                    </a:cubicBezTo>
                    <a:cubicBezTo>
                      <a:pt x="595" y="156"/>
                      <a:pt x="595" y="156"/>
                      <a:pt x="597" y="155"/>
                    </a:cubicBezTo>
                    <a:cubicBezTo>
                      <a:pt x="597" y="155"/>
                      <a:pt x="597" y="155"/>
                      <a:pt x="598" y="153"/>
                    </a:cubicBezTo>
                    <a:cubicBezTo>
                      <a:pt x="598" y="153"/>
                      <a:pt x="598" y="153"/>
                      <a:pt x="598" y="152"/>
                    </a:cubicBezTo>
                    <a:cubicBezTo>
                      <a:pt x="598" y="152"/>
                      <a:pt x="598" y="152"/>
                      <a:pt x="600" y="150"/>
                    </a:cubicBezTo>
                    <a:cubicBezTo>
                      <a:pt x="600" y="150"/>
                      <a:pt x="600" y="150"/>
                      <a:pt x="600" y="149"/>
                    </a:cubicBezTo>
                    <a:cubicBezTo>
                      <a:pt x="600" y="149"/>
                      <a:pt x="600" y="149"/>
                      <a:pt x="601" y="148"/>
                    </a:cubicBezTo>
                    <a:cubicBezTo>
                      <a:pt x="601" y="148"/>
                      <a:pt x="601" y="148"/>
                      <a:pt x="603" y="147"/>
                    </a:cubicBezTo>
                    <a:cubicBezTo>
                      <a:pt x="603" y="147"/>
                      <a:pt x="603" y="147"/>
                      <a:pt x="603" y="146"/>
                    </a:cubicBezTo>
                    <a:cubicBezTo>
                      <a:pt x="603" y="146"/>
                      <a:pt x="603" y="146"/>
                      <a:pt x="604" y="144"/>
                    </a:cubicBezTo>
                    <a:cubicBezTo>
                      <a:pt x="604" y="144"/>
                      <a:pt x="604" y="144"/>
                      <a:pt x="605" y="146"/>
                    </a:cubicBezTo>
                    <a:cubicBezTo>
                      <a:pt x="605" y="146"/>
                      <a:pt x="605" y="146"/>
                      <a:pt x="607" y="146"/>
                    </a:cubicBezTo>
                    <a:cubicBezTo>
                      <a:pt x="607" y="146"/>
                      <a:pt x="607" y="146"/>
                      <a:pt x="608" y="145"/>
                    </a:cubicBezTo>
                    <a:cubicBezTo>
                      <a:pt x="608" y="145"/>
                      <a:pt x="608" y="145"/>
                      <a:pt x="610" y="145"/>
                    </a:cubicBezTo>
                    <a:cubicBezTo>
                      <a:pt x="610" y="145"/>
                      <a:pt x="610" y="145"/>
                      <a:pt x="610" y="143"/>
                    </a:cubicBezTo>
                    <a:cubicBezTo>
                      <a:pt x="610" y="143"/>
                      <a:pt x="610" y="143"/>
                      <a:pt x="611" y="143"/>
                    </a:cubicBezTo>
                    <a:cubicBezTo>
                      <a:pt x="611" y="143"/>
                      <a:pt x="611" y="143"/>
                      <a:pt x="612" y="141"/>
                    </a:cubicBezTo>
                    <a:cubicBezTo>
                      <a:pt x="612" y="141"/>
                      <a:pt x="612" y="141"/>
                      <a:pt x="613" y="140"/>
                    </a:cubicBezTo>
                    <a:cubicBezTo>
                      <a:pt x="613" y="140"/>
                      <a:pt x="613" y="140"/>
                      <a:pt x="615" y="139"/>
                    </a:cubicBezTo>
                    <a:cubicBezTo>
                      <a:pt x="615" y="139"/>
                      <a:pt x="615" y="139"/>
                      <a:pt x="616" y="140"/>
                    </a:cubicBezTo>
                    <a:cubicBezTo>
                      <a:pt x="616" y="140"/>
                      <a:pt x="616" y="140"/>
                      <a:pt x="617" y="139"/>
                    </a:cubicBezTo>
                    <a:cubicBezTo>
                      <a:pt x="617" y="139"/>
                      <a:pt x="617" y="139"/>
                      <a:pt x="619" y="139"/>
                    </a:cubicBezTo>
                    <a:cubicBezTo>
                      <a:pt x="619" y="139"/>
                      <a:pt x="619" y="139"/>
                      <a:pt x="620" y="138"/>
                    </a:cubicBezTo>
                    <a:cubicBezTo>
                      <a:pt x="620" y="138"/>
                      <a:pt x="620" y="138"/>
                      <a:pt x="622" y="138"/>
                    </a:cubicBezTo>
                    <a:cubicBezTo>
                      <a:pt x="622" y="138"/>
                      <a:pt x="622" y="138"/>
                      <a:pt x="624" y="137"/>
                    </a:cubicBezTo>
                    <a:cubicBezTo>
                      <a:pt x="624" y="137"/>
                      <a:pt x="624" y="137"/>
                      <a:pt x="626" y="137"/>
                    </a:cubicBezTo>
                    <a:cubicBezTo>
                      <a:pt x="626" y="137"/>
                      <a:pt x="626" y="137"/>
                      <a:pt x="630" y="135"/>
                    </a:cubicBezTo>
                    <a:cubicBezTo>
                      <a:pt x="630" y="135"/>
                      <a:pt x="630" y="135"/>
                      <a:pt x="632" y="135"/>
                    </a:cubicBezTo>
                    <a:cubicBezTo>
                      <a:pt x="632" y="135"/>
                      <a:pt x="632" y="135"/>
                      <a:pt x="634" y="135"/>
                    </a:cubicBezTo>
                    <a:cubicBezTo>
                      <a:pt x="634" y="135"/>
                      <a:pt x="634" y="135"/>
                      <a:pt x="635" y="134"/>
                    </a:cubicBezTo>
                    <a:cubicBezTo>
                      <a:pt x="635" y="134"/>
                      <a:pt x="635" y="134"/>
                      <a:pt x="638" y="134"/>
                    </a:cubicBezTo>
                    <a:cubicBezTo>
                      <a:pt x="638" y="134"/>
                      <a:pt x="638" y="134"/>
                      <a:pt x="639" y="132"/>
                    </a:cubicBezTo>
                    <a:cubicBezTo>
                      <a:pt x="639" y="132"/>
                      <a:pt x="639" y="132"/>
                      <a:pt x="639" y="131"/>
                    </a:cubicBezTo>
                    <a:cubicBezTo>
                      <a:pt x="639" y="131"/>
                      <a:pt x="639" y="131"/>
                      <a:pt x="639" y="130"/>
                    </a:cubicBezTo>
                    <a:cubicBezTo>
                      <a:pt x="639" y="130"/>
                      <a:pt x="639" y="130"/>
                      <a:pt x="638" y="129"/>
                    </a:cubicBezTo>
                    <a:cubicBezTo>
                      <a:pt x="638" y="129"/>
                      <a:pt x="638" y="129"/>
                      <a:pt x="638" y="128"/>
                    </a:cubicBezTo>
                    <a:cubicBezTo>
                      <a:pt x="638" y="128"/>
                      <a:pt x="638" y="128"/>
                      <a:pt x="638" y="127"/>
                    </a:cubicBezTo>
                    <a:cubicBezTo>
                      <a:pt x="638" y="127"/>
                      <a:pt x="638" y="127"/>
                      <a:pt x="638" y="125"/>
                    </a:cubicBezTo>
                    <a:cubicBezTo>
                      <a:pt x="638" y="125"/>
                      <a:pt x="638" y="125"/>
                      <a:pt x="638" y="123"/>
                    </a:cubicBezTo>
                    <a:cubicBezTo>
                      <a:pt x="638" y="123"/>
                      <a:pt x="638" y="123"/>
                      <a:pt x="638" y="120"/>
                    </a:cubicBezTo>
                    <a:cubicBezTo>
                      <a:pt x="638" y="120"/>
                      <a:pt x="638" y="120"/>
                      <a:pt x="635" y="118"/>
                    </a:cubicBezTo>
                    <a:cubicBezTo>
                      <a:pt x="635" y="118"/>
                      <a:pt x="635" y="118"/>
                      <a:pt x="635" y="117"/>
                    </a:cubicBezTo>
                    <a:cubicBezTo>
                      <a:pt x="635" y="117"/>
                      <a:pt x="635" y="117"/>
                      <a:pt x="634" y="116"/>
                    </a:cubicBezTo>
                    <a:cubicBezTo>
                      <a:pt x="634" y="116"/>
                      <a:pt x="634" y="116"/>
                      <a:pt x="633" y="117"/>
                    </a:cubicBezTo>
                    <a:cubicBezTo>
                      <a:pt x="633" y="117"/>
                      <a:pt x="633" y="117"/>
                      <a:pt x="631" y="117"/>
                    </a:cubicBezTo>
                    <a:cubicBezTo>
                      <a:pt x="631" y="117"/>
                      <a:pt x="631" y="117"/>
                      <a:pt x="630" y="118"/>
                    </a:cubicBezTo>
                    <a:cubicBezTo>
                      <a:pt x="630" y="118"/>
                      <a:pt x="630" y="118"/>
                      <a:pt x="630" y="119"/>
                    </a:cubicBezTo>
                    <a:cubicBezTo>
                      <a:pt x="630" y="119"/>
                      <a:pt x="630" y="119"/>
                      <a:pt x="628" y="121"/>
                    </a:cubicBezTo>
                    <a:cubicBezTo>
                      <a:pt x="628" y="121"/>
                      <a:pt x="628" y="121"/>
                      <a:pt x="628" y="120"/>
                    </a:cubicBezTo>
                    <a:cubicBezTo>
                      <a:pt x="628" y="120"/>
                      <a:pt x="628" y="120"/>
                      <a:pt x="629" y="118"/>
                    </a:cubicBezTo>
                    <a:cubicBezTo>
                      <a:pt x="629" y="118"/>
                      <a:pt x="629" y="118"/>
                      <a:pt x="630" y="116"/>
                    </a:cubicBezTo>
                    <a:cubicBezTo>
                      <a:pt x="630" y="116"/>
                      <a:pt x="630" y="116"/>
                      <a:pt x="628" y="116"/>
                    </a:cubicBezTo>
                    <a:cubicBezTo>
                      <a:pt x="628" y="116"/>
                      <a:pt x="628" y="116"/>
                      <a:pt x="627" y="116"/>
                    </a:cubicBezTo>
                    <a:cubicBezTo>
                      <a:pt x="627" y="116"/>
                      <a:pt x="627" y="116"/>
                      <a:pt x="627" y="115"/>
                    </a:cubicBezTo>
                    <a:cubicBezTo>
                      <a:pt x="627" y="115"/>
                      <a:pt x="627" y="115"/>
                      <a:pt x="624" y="113"/>
                    </a:cubicBezTo>
                    <a:cubicBezTo>
                      <a:pt x="624" y="113"/>
                      <a:pt x="624" y="113"/>
                      <a:pt x="623" y="112"/>
                    </a:cubicBezTo>
                    <a:cubicBezTo>
                      <a:pt x="623" y="112"/>
                      <a:pt x="623" y="112"/>
                      <a:pt x="622" y="111"/>
                    </a:cubicBezTo>
                    <a:cubicBezTo>
                      <a:pt x="622" y="111"/>
                      <a:pt x="622" y="111"/>
                      <a:pt x="622" y="110"/>
                    </a:cubicBezTo>
                    <a:cubicBezTo>
                      <a:pt x="622" y="110"/>
                      <a:pt x="622" y="110"/>
                      <a:pt x="619" y="109"/>
                    </a:cubicBezTo>
                    <a:cubicBezTo>
                      <a:pt x="619" y="109"/>
                      <a:pt x="619" y="109"/>
                      <a:pt x="616" y="110"/>
                    </a:cubicBezTo>
                    <a:cubicBezTo>
                      <a:pt x="616" y="110"/>
                      <a:pt x="616" y="110"/>
                      <a:pt x="612" y="110"/>
                    </a:cubicBezTo>
                    <a:cubicBezTo>
                      <a:pt x="612" y="110"/>
                      <a:pt x="612" y="110"/>
                      <a:pt x="611" y="109"/>
                    </a:cubicBezTo>
                    <a:cubicBezTo>
                      <a:pt x="611" y="109"/>
                      <a:pt x="611" y="109"/>
                      <a:pt x="607" y="110"/>
                    </a:cubicBezTo>
                    <a:cubicBezTo>
                      <a:pt x="607" y="110"/>
                      <a:pt x="607" y="110"/>
                      <a:pt x="606" y="109"/>
                    </a:cubicBezTo>
                    <a:cubicBezTo>
                      <a:pt x="606" y="109"/>
                      <a:pt x="606" y="109"/>
                      <a:pt x="604" y="110"/>
                    </a:cubicBezTo>
                    <a:cubicBezTo>
                      <a:pt x="604" y="110"/>
                      <a:pt x="604" y="110"/>
                      <a:pt x="604" y="111"/>
                    </a:cubicBezTo>
                    <a:cubicBezTo>
                      <a:pt x="604" y="111"/>
                      <a:pt x="604" y="111"/>
                      <a:pt x="604" y="113"/>
                    </a:cubicBezTo>
                    <a:cubicBezTo>
                      <a:pt x="604" y="113"/>
                      <a:pt x="604" y="113"/>
                      <a:pt x="604" y="114"/>
                    </a:cubicBezTo>
                    <a:cubicBezTo>
                      <a:pt x="604" y="114"/>
                      <a:pt x="604" y="114"/>
                      <a:pt x="603" y="117"/>
                    </a:cubicBezTo>
                    <a:cubicBezTo>
                      <a:pt x="603" y="117"/>
                      <a:pt x="603" y="117"/>
                      <a:pt x="604" y="118"/>
                    </a:cubicBezTo>
                    <a:cubicBezTo>
                      <a:pt x="604" y="118"/>
                      <a:pt x="604" y="118"/>
                      <a:pt x="604" y="119"/>
                    </a:cubicBezTo>
                    <a:cubicBezTo>
                      <a:pt x="604" y="119"/>
                      <a:pt x="604" y="119"/>
                      <a:pt x="602" y="119"/>
                    </a:cubicBezTo>
                    <a:cubicBezTo>
                      <a:pt x="602" y="119"/>
                      <a:pt x="602" y="119"/>
                      <a:pt x="600" y="121"/>
                    </a:cubicBezTo>
                    <a:cubicBezTo>
                      <a:pt x="600" y="121"/>
                      <a:pt x="600" y="121"/>
                      <a:pt x="600" y="122"/>
                    </a:cubicBezTo>
                    <a:cubicBezTo>
                      <a:pt x="600" y="122"/>
                      <a:pt x="600" y="122"/>
                      <a:pt x="597" y="123"/>
                    </a:cubicBezTo>
                    <a:cubicBezTo>
                      <a:pt x="597" y="123"/>
                      <a:pt x="597" y="123"/>
                      <a:pt x="596" y="124"/>
                    </a:cubicBezTo>
                    <a:cubicBezTo>
                      <a:pt x="596" y="124"/>
                      <a:pt x="596" y="124"/>
                      <a:pt x="593" y="127"/>
                    </a:cubicBezTo>
                    <a:cubicBezTo>
                      <a:pt x="593" y="127"/>
                      <a:pt x="593" y="127"/>
                      <a:pt x="592" y="127"/>
                    </a:cubicBezTo>
                    <a:cubicBezTo>
                      <a:pt x="592" y="127"/>
                      <a:pt x="592" y="127"/>
                      <a:pt x="592" y="128"/>
                    </a:cubicBezTo>
                    <a:cubicBezTo>
                      <a:pt x="592" y="128"/>
                      <a:pt x="592" y="128"/>
                      <a:pt x="593" y="130"/>
                    </a:cubicBezTo>
                    <a:cubicBezTo>
                      <a:pt x="593" y="130"/>
                      <a:pt x="593" y="130"/>
                      <a:pt x="593" y="131"/>
                    </a:cubicBezTo>
                    <a:cubicBezTo>
                      <a:pt x="593" y="131"/>
                      <a:pt x="593" y="131"/>
                      <a:pt x="589" y="131"/>
                    </a:cubicBezTo>
                    <a:cubicBezTo>
                      <a:pt x="589" y="132"/>
                      <a:pt x="589" y="132"/>
                      <a:pt x="589" y="132"/>
                    </a:cubicBezTo>
                    <a:cubicBezTo>
                      <a:pt x="589" y="132"/>
                      <a:pt x="589" y="132"/>
                      <a:pt x="588" y="134"/>
                    </a:cubicBezTo>
                    <a:cubicBezTo>
                      <a:pt x="588" y="134"/>
                      <a:pt x="588" y="134"/>
                      <a:pt x="587" y="134"/>
                    </a:cubicBezTo>
                    <a:cubicBezTo>
                      <a:pt x="587" y="134"/>
                      <a:pt x="587" y="134"/>
                      <a:pt x="587" y="135"/>
                    </a:cubicBezTo>
                    <a:cubicBezTo>
                      <a:pt x="587" y="135"/>
                      <a:pt x="587" y="135"/>
                      <a:pt x="584" y="135"/>
                    </a:cubicBezTo>
                    <a:cubicBezTo>
                      <a:pt x="584" y="135"/>
                      <a:pt x="584" y="135"/>
                      <a:pt x="584" y="137"/>
                    </a:cubicBezTo>
                    <a:cubicBezTo>
                      <a:pt x="584" y="137"/>
                      <a:pt x="584" y="137"/>
                      <a:pt x="583" y="137"/>
                    </a:cubicBezTo>
                    <a:cubicBezTo>
                      <a:pt x="583" y="137"/>
                      <a:pt x="583" y="137"/>
                      <a:pt x="582" y="139"/>
                    </a:cubicBezTo>
                    <a:cubicBezTo>
                      <a:pt x="582" y="139"/>
                      <a:pt x="582" y="139"/>
                      <a:pt x="581" y="139"/>
                    </a:cubicBezTo>
                    <a:cubicBezTo>
                      <a:pt x="581" y="139"/>
                      <a:pt x="581" y="139"/>
                      <a:pt x="581" y="140"/>
                    </a:cubicBezTo>
                    <a:cubicBezTo>
                      <a:pt x="581" y="140"/>
                      <a:pt x="581" y="140"/>
                      <a:pt x="579" y="140"/>
                    </a:cubicBezTo>
                    <a:cubicBezTo>
                      <a:pt x="579" y="140"/>
                      <a:pt x="579" y="140"/>
                      <a:pt x="578" y="141"/>
                    </a:cubicBezTo>
                    <a:cubicBezTo>
                      <a:pt x="578" y="141"/>
                      <a:pt x="578" y="141"/>
                      <a:pt x="577" y="141"/>
                    </a:cubicBezTo>
                    <a:cubicBezTo>
                      <a:pt x="577" y="141"/>
                      <a:pt x="577" y="141"/>
                      <a:pt x="577" y="142"/>
                    </a:cubicBezTo>
                    <a:cubicBezTo>
                      <a:pt x="577" y="142"/>
                      <a:pt x="577" y="142"/>
                      <a:pt x="579" y="143"/>
                    </a:cubicBezTo>
                    <a:cubicBezTo>
                      <a:pt x="579" y="143"/>
                      <a:pt x="579" y="143"/>
                      <a:pt x="580" y="143"/>
                    </a:cubicBezTo>
                    <a:close/>
                    <a:moveTo>
                      <a:pt x="682" y="106"/>
                    </a:moveTo>
                    <a:cubicBezTo>
                      <a:pt x="682" y="106"/>
                      <a:pt x="682" y="106"/>
                      <a:pt x="682" y="105"/>
                    </a:cubicBezTo>
                    <a:cubicBezTo>
                      <a:pt x="682" y="105"/>
                      <a:pt x="682" y="105"/>
                      <a:pt x="681" y="104"/>
                    </a:cubicBezTo>
                    <a:cubicBezTo>
                      <a:pt x="681" y="104"/>
                      <a:pt x="681" y="104"/>
                      <a:pt x="680" y="105"/>
                    </a:cubicBezTo>
                    <a:cubicBezTo>
                      <a:pt x="680" y="105"/>
                      <a:pt x="680" y="105"/>
                      <a:pt x="679" y="106"/>
                    </a:cubicBezTo>
                    <a:cubicBezTo>
                      <a:pt x="679" y="106"/>
                      <a:pt x="679" y="106"/>
                      <a:pt x="678" y="105"/>
                    </a:cubicBezTo>
                    <a:cubicBezTo>
                      <a:pt x="678" y="105"/>
                      <a:pt x="678" y="105"/>
                      <a:pt x="678" y="103"/>
                    </a:cubicBezTo>
                    <a:cubicBezTo>
                      <a:pt x="678" y="103"/>
                      <a:pt x="678" y="103"/>
                      <a:pt x="679" y="102"/>
                    </a:cubicBezTo>
                    <a:cubicBezTo>
                      <a:pt x="679" y="102"/>
                      <a:pt x="679" y="102"/>
                      <a:pt x="680" y="100"/>
                    </a:cubicBezTo>
                    <a:cubicBezTo>
                      <a:pt x="680" y="100"/>
                      <a:pt x="680" y="100"/>
                      <a:pt x="679" y="100"/>
                    </a:cubicBezTo>
                    <a:cubicBezTo>
                      <a:pt x="679" y="100"/>
                      <a:pt x="679" y="100"/>
                      <a:pt x="678" y="99"/>
                    </a:cubicBezTo>
                    <a:cubicBezTo>
                      <a:pt x="678" y="99"/>
                      <a:pt x="678" y="99"/>
                      <a:pt x="677" y="99"/>
                    </a:cubicBezTo>
                    <a:cubicBezTo>
                      <a:pt x="677" y="99"/>
                      <a:pt x="677" y="99"/>
                      <a:pt x="676" y="98"/>
                    </a:cubicBezTo>
                    <a:cubicBezTo>
                      <a:pt x="676" y="98"/>
                      <a:pt x="676" y="98"/>
                      <a:pt x="678" y="98"/>
                    </a:cubicBezTo>
                    <a:cubicBezTo>
                      <a:pt x="678" y="98"/>
                      <a:pt x="678" y="98"/>
                      <a:pt x="679" y="98"/>
                    </a:cubicBezTo>
                    <a:cubicBezTo>
                      <a:pt x="679" y="98"/>
                      <a:pt x="679" y="98"/>
                      <a:pt x="679" y="95"/>
                    </a:cubicBezTo>
                    <a:cubicBezTo>
                      <a:pt x="679" y="95"/>
                      <a:pt x="679" y="95"/>
                      <a:pt x="678" y="94"/>
                    </a:cubicBezTo>
                    <a:cubicBezTo>
                      <a:pt x="678" y="94"/>
                      <a:pt x="678" y="94"/>
                      <a:pt x="678" y="93"/>
                    </a:cubicBezTo>
                    <a:cubicBezTo>
                      <a:pt x="678" y="93"/>
                      <a:pt x="678" y="93"/>
                      <a:pt x="679" y="92"/>
                    </a:cubicBezTo>
                    <a:cubicBezTo>
                      <a:pt x="679" y="92"/>
                      <a:pt x="679" y="92"/>
                      <a:pt x="679" y="91"/>
                    </a:cubicBezTo>
                    <a:cubicBezTo>
                      <a:pt x="679" y="91"/>
                      <a:pt x="679" y="91"/>
                      <a:pt x="678" y="90"/>
                    </a:cubicBezTo>
                    <a:cubicBezTo>
                      <a:pt x="678" y="90"/>
                      <a:pt x="678" y="90"/>
                      <a:pt x="678" y="89"/>
                    </a:cubicBezTo>
                    <a:cubicBezTo>
                      <a:pt x="678" y="89"/>
                      <a:pt x="678" y="89"/>
                      <a:pt x="677" y="89"/>
                    </a:cubicBezTo>
                    <a:cubicBezTo>
                      <a:pt x="677" y="89"/>
                      <a:pt x="677" y="89"/>
                      <a:pt x="676" y="89"/>
                    </a:cubicBezTo>
                    <a:cubicBezTo>
                      <a:pt x="676" y="89"/>
                      <a:pt x="676" y="89"/>
                      <a:pt x="673" y="89"/>
                    </a:cubicBezTo>
                    <a:cubicBezTo>
                      <a:pt x="673" y="89"/>
                      <a:pt x="673" y="89"/>
                      <a:pt x="673" y="88"/>
                    </a:cubicBezTo>
                    <a:cubicBezTo>
                      <a:pt x="673" y="88"/>
                      <a:pt x="673" y="88"/>
                      <a:pt x="674" y="87"/>
                    </a:cubicBezTo>
                    <a:cubicBezTo>
                      <a:pt x="674" y="87"/>
                      <a:pt x="674" y="87"/>
                      <a:pt x="675" y="86"/>
                    </a:cubicBezTo>
                    <a:cubicBezTo>
                      <a:pt x="675" y="86"/>
                      <a:pt x="675" y="86"/>
                      <a:pt x="674" y="84"/>
                    </a:cubicBezTo>
                    <a:cubicBezTo>
                      <a:pt x="674" y="84"/>
                      <a:pt x="674" y="84"/>
                      <a:pt x="673" y="83"/>
                    </a:cubicBezTo>
                    <a:cubicBezTo>
                      <a:pt x="673" y="83"/>
                      <a:pt x="673" y="83"/>
                      <a:pt x="671" y="83"/>
                    </a:cubicBezTo>
                    <a:cubicBezTo>
                      <a:pt x="671" y="83"/>
                      <a:pt x="671" y="83"/>
                      <a:pt x="670" y="83"/>
                    </a:cubicBezTo>
                    <a:cubicBezTo>
                      <a:pt x="670" y="83"/>
                      <a:pt x="670" y="83"/>
                      <a:pt x="667" y="84"/>
                    </a:cubicBezTo>
                    <a:cubicBezTo>
                      <a:pt x="667" y="84"/>
                      <a:pt x="667" y="84"/>
                      <a:pt x="666" y="84"/>
                    </a:cubicBezTo>
                    <a:cubicBezTo>
                      <a:pt x="666" y="84"/>
                      <a:pt x="666" y="84"/>
                      <a:pt x="666" y="85"/>
                    </a:cubicBezTo>
                    <a:cubicBezTo>
                      <a:pt x="666" y="85"/>
                      <a:pt x="666" y="85"/>
                      <a:pt x="667" y="86"/>
                    </a:cubicBezTo>
                    <a:cubicBezTo>
                      <a:pt x="667" y="86"/>
                      <a:pt x="667" y="86"/>
                      <a:pt x="668" y="87"/>
                    </a:cubicBezTo>
                    <a:cubicBezTo>
                      <a:pt x="668" y="87"/>
                      <a:pt x="668" y="87"/>
                      <a:pt x="669" y="88"/>
                    </a:cubicBezTo>
                    <a:cubicBezTo>
                      <a:pt x="669" y="88"/>
                      <a:pt x="669" y="88"/>
                      <a:pt x="668" y="88"/>
                    </a:cubicBezTo>
                    <a:cubicBezTo>
                      <a:pt x="668" y="88"/>
                      <a:pt x="668" y="88"/>
                      <a:pt x="666" y="87"/>
                    </a:cubicBezTo>
                    <a:cubicBezTo>
                      <a:pt x="666" y="87"/>
                      <a:pt x="666" y="87"/>
                      <a:pt x="665" y="87"/>
                    </a:cubicBezTo>
                    <a:cubicBezTo>
                      <a:pt x="665" y="87"/>
                      <a:pt x="665" y="87"/>
                      <a:pt x="665" y="86"/>
                    </a:cubicBezTo>
                    <a:cubicBezTo>
                      <a:pt x="665" y="86"/>
                      <a:pt x="665" y="86"/>
                      <a:pt x="664" y="86"/>
                    </a:cubicBezTo>
                    <a:cubicBezTo>
                      <a:pt x="664" y="86"/>
                      <a:pt x="664" y="86"/>
                      <a:pt x="662" y="87"/>
                    </a:cubicBezTo>
                    <a:cubicBezTo>
                      <a:pt x="662" y="87"/>
                      <a:pt x="662" y="87"/>
                      <a:pt x="661" y="87"/>
                    </a:cubicBezTo>
                    <a:cubicBezTo>
                      <a:pt x="661" y="87"/>
                      <a:pt x="661" y="87"/>
                      <a:pt x="660" y="88"/>
                    </a:cubicBezTo>
                    <a:cubicBezTo>
                      <a:pt x="660" y="88"/>
                      <a:pt x="660" y="88"/>
                      <a:pt x="659" y="89"/>
                    </a:cubicBezTo>
                    <a:cubicBezTo>
                      <a:pt x="659" y="89"/>
                      <a:pt x="659" y="89"/>
                      <a:pt x="659" y="91"/>
                    </a:cubicBezTo>
                    <a:cubicBezTo>
                      <a:pt x="659" y="91"/>
                      <a:pt x="659" y="91"/>
                      <a:pt x="662" y="91"/>
                    </a:cubicBezTo>
                    <a:cubicBezTo>
                      <a:pt x="662" y="91"/>
                      <a:pt x="662" y="91"/>
                      <a:pt x="663" y="91"/>
                    </a:cubicBezTo>
                    <a:cubicBezTo>
                      <a:pt x="663" y="91"/>
                      <a:pt x="663" y="91"/>
                      <a:pt x="664" y="92"/>
                    </a:cubicBezTo>
                    <a:cubicBezTo>
                      <a:pt x="664" y="92"/>
                      <a:pt x="664" y="92"/>
                      <a:pt x="665" y="92"/>
                    </a:cubicBezTo>
                    <a:cubicBezTo>
                      <a:pt x="665" y="92"/>
                      <a:pt x="665" y="92"/>
                      <a:pt x="666" y="93"/>
                    </a:cubicBezTo>
                    <a:cubicBezTo>
                      <a:pt x="666" y="93"/>
                      <a:pt x="666" y="93"/>
                      <a:pt x="665" y="93"/>
                    </a:cubicBezTo>
                    <a:cubicBezTo>
                      <a:pt x="665" y="93"/>
                      <a:pt x="665" y="93"/>
                      <a:pt x="663" y="92"/>
                    </a:cubicBezTo>
                    <a:cubicBezTo>
                      <a:pt x="663" y="92"/>
                      <a:pt x="663" y="92"/>
                      <a:pt x="661" y="92"/>
                    </a:cubicBezTo>
                    <a:cubicBezTo>
                      <a:pt x="661" y="92"/>
                      <a:pt x="661" y="92"/>
                      <a:pt x="658" y="93"/>
                    </a:cubicBezTo>
                    <a:cubicBezTo>
                      <a:pt x="658" y="93"/>
                      <a:pt x="658" y="93"/>
                      <a:pt x="657" y="92"/>
                    </a:cubicBezTo>
                    <a:cubicBezTo>
                      <a:pt x="657" y="92"/>
                      <a:pt x="657" y="92"/>
                      <a:pt x="656" y="93"/>
                    </a:cubicBezTo>
                    <a:cubicBezTo>
                      <a:pt x="656" y="93"/>
                      <a:pt x="656" y="93"/>
                      <a:pt x="655" y="94"/>
                    </a:cubicBezTo>
                    <a:cubicBezTo>
                      <a:pt x="655" y="94"/>
                      <a:pt x="655" y="94"/>
                      <a:pt x="653" y="96"/>
                    </a:cubicBezTo>
                    <a:cubicBezTo>
                      <a:pt x="653" y="96"/>
                      <a:pt x="653" y="96"/>
                      <a:pt x="655" y="96"/>
                    </a:cubicBezTo>
                    <a:cubicBezTo>
                      <a:pt x="655" y="96"/>
                      <a:pt x="655" y="96"/>
                      <a:pt x="657" y="97"/>
                    </a:cubicBezTo>
                    <a:cubicBezTo>
                      <a:pt x="657" y="97"/>
                      <a:pt x="657" y="97"/>
                      <a:pt x="658" y="97"/>
                    </a:cubicBezTo>
                    <a:cubicBezTo>
                      <a:pt x="658" y="97"/>
                      <a:pt x="658" y="97"/>
                      <a:pt x="659" y="97"/>
                    </a:cubicBezTo>
                    <a:cubicBezTo>
                      <a:pt x="659" y="97"/>
                      <a:pt x="659" y="97"/>
                      <a:pt x="660" y="97"/>
                    </a:cubicBezTo>
                    <a:cubicBezTo>
                      <a:pt x="660" y="97"/>
                      <a:pt x="660" y="97"/>
                      <a:pt x="661" y="98"/>
                    </a:cubicBezTo>
                    <a:cubicBezTo>
                      <a:pt x="661" y="98"/>
                      <a:pt x="661" y="98"/>
                      <a:pt x="659" y="99"/>
                    </a:cubicBezTo>
                    <a:cubicBezTo>
                      <a:pt x="659" y="99"/>
                      <a:pt x="659" y="99"/>
                      <a:pt x="658" y="99"/>
                    </a:cubicBezTo>
                    <a:cubicBezTo>
                      <a:pt x="658" y="99"/>
                      <a:pt x="658" y="99"/>
                      <a:pt x="657" y="100"/>
                    </a:cubicBezTo>
                    <a:cubicBezTo>
                      <a:pt x="657" y="100"/>
                      <a:pt x="657" y="100"/>
                      <a:pt x="655" y="100"/>
                    </a:cubicBezTo>
                    <a:cubicBezTo>
                      <a:pt x="655" y="100"/>
                      <a:pt x="655" y="100"/>
                      <a:pt x="654" y="99"/>
                    </a:cubicBezTo>
                    <a:cubicBezTo>
                      <a:pt x="654" y="99"/>
                      <a:pt x="654" y="99"/>
                      <a:pt x="652" y="99"/>
                    </a:cubicBezTo>
                    <a:cubicBezTo>
                      <a:pt x="652" y="99"/>
                      <a:pt x="652" y="99"/>
                      <a:pt x="651" y="98"/>
                    </a:cubicBezTo>
                    <a:cubicBezTo>
                      <a:pt x="651" y="98"/>
                      <a:pt x="651" y="98"/>
                      <a:pt x="650" y="99"/>
                    </a:cubicBezTo>
                    <a:cubicBezTo>
                      <a:pt x="650" y="99"/>
                      <a:pt x="650" y="99"/>
                      <a:pt x="647" y="100"/>
                    </a:cubicBezTo>
                    <a:cubicBezTo>
                      <a:pt x="647" y="100"/>
                      <a:pt x="647" y="100"/>
                      <a:pt x="648" y="101"/>
                    </a:cubicBezTo>
                    <a:cubicBezTo>
                      <a:pt x="648" y="101"/>
                      <a:pt x="648" y="101"/>
                      <a:pt x="648" y="102"/>
                    </a:cubicBezTo>
                    <a:cubicBezTo>
                      <a:pt x="648" y="102"/>
                      <a:pt x="648" y="102"/>
                      <a:pt x="646" y="103"/>
                    </a:cubicBezTo>
                    <a:cubicBezTo>
                      <a:pt x="646" y="103"/>
                      <a:pt x="646" y="103"/>
                      <a:pt x="648" y="104"/>
                    </a:cubicBezTo>
                    <a:cubicBezTo>
                      <a:pt x="648" y="104"/>
                      <a:pt x="648" y="104"/>
                      <a:pt x="650" y="106"/>
                    </a:cubicBezTo>
                    <a:cubicBezTo>
                      <a:pt x="650" y="106"/>
                      <a:pt x="650" y="106"/>
                      <a:pt x="651" y="105"/>
                    </a:cubicBezTo>
                    <a:cubicBezTo>
                      <a:pt x="651" y="105"/>
                      <a:pt x="651" y="105"/>
                      <a:pt x="651" y="106"/>
                    </a:cubicBezTo>
                    <a:cubicBezTo>
                      <a:pt x="651" y="106"/>
                      <a:pt x="651" y="106"/>
                      <a:pt x="652" y="107"/>
                    </a:cubicBezTo>
                    <a:cubicBezTo>
                      <a:pt x="652" y="107"/>
                      <a:pt x="652" y="107"/>
                      <a:pt x="652" y="109"/>
                    </a:cubicBezTo>
                    <a:cubicBezTo>
                      <a:pt x="652" y="109"/>
                      <a:pt x="652" y="109"/>
                      <a:pt x="653" y="109"/>
                    </a:cubicBezTo>
                    <a:cubicBezTo>
                      <a:pt x="653" y="109"/>
                      <a:pt x="653" y="109"/>
                      <a:pt x="654" y="109"/>
                    </a:cubicBezTo>
                    <a:cubicBezTo>
                      <a:pt x="654" y="109"/>
                      <a:pt x="654" y="109"/>
                      <a:pt x="654" y="107"/>
                    </a:cubicBezTo>
                    <a:cubicBezTo>
                      <a:pt x="654" y="107"/>
                      <a:pt x="654" y="107"/>
                      <a:pt x="655" y="108"/>
                    </a:cubicBezTo>
                    <a:cubicBezTo>
                      <a:pt x="655" y="108"/>
                      <a:pt x="655" y="108"/>
                      <a:pt x="655" y="109"/>
                    </a:cubicBezTo>
                    <a:cubicBezTo>
                      <a:pt x="655" y="109"/>
                      <a:pt x="655" y="109"/>
                      <a:pt x="657" y="110"/>
                    </a:cubicBezTo>
                    <a:cubicBezTo>
                      <a:pt x="657" y="110"/>
                      <a:pt x="657" y="110"/>
                      <a:pt x="658" y="110"/>
                    </a:cubicBezTo>
                    <a:cubicBezTo>
                      <a:pt x="658" y="110"/>
                      <a:pt x="658" y="110"/>
                      <a:pt x="658" y="109"/>
                    </a:cubicBezTo>
                    <a:cubicBezTo>
                      <a:pt x="658" y="109"/>
                      <a:pt x="658" y="109"/>
                      <a:pt x="660" y="108"/>
                    </a:cubicBezTo>
                    <a:cubicBezTo>
                      <a:pt x="660" y="108"/>
                      <a:pt x="660" y="108"/>
                      <a:pt x="661" y="107"/>
                    </a:cubicBezTo>
                    <a:cubicBezTo>
                      <a:pt x="661" y="107"/>
                      <a:pt x="661" y="107"/>
                      <a:pt x="661" y="106"/>
                    </a:cubicBezTo>
                    <a:cubicBezTo>
                      <a:pt x="661" y="106"/>
                      <a:pt x="661" y="106"/>
                      <a:pt x="662" y="108"/>
                    </a:cubicBezTo>
                    <a:cubicBezTo>
                      <a:pt x="662" y="108"/>
                      <a:pt x="662" y="108"/>
                      <a:pt x="662" y="107"/>
                    </a:cubicBezTo>
                    <a:cubicBezTo>
                      <a:pt x="662" y="107"/>
                      <a:pt x="662" y="107"/>
                      <a:pt x="664" y="107"/>
                    </a:cubicBezTo>
                    <a:cubicBezTo>
                      <a:pt x="664" y="107"/>
                      <a:pt x="664" y="107"/>
                      <a:pt x="665" y="107"/>
                    </a:cubicBezTo>
                    <a:cubicBezTo>
                      <a:pt x="665" y="107"/>
                      <a:pt x="665" y="107"/>
                      <a:pt x="663" y="108"/>
                    </a:cubicBezTo>
                    <a:cubicBezTo>
                      <a:pt x="663" y="108"/>
                      <a:pt x="663" y="108"/>
                      <a:pt x="662" y="109"/>
                    </a:cubicBezTo>
                    <a:cubicBezTo>
                      <a:pt x="662" y="109"/>
                      <a:pt x="662" y="109"/>
                      <a:pt x="662" y="110"/>
                    </a:cubicBezTo>
                    <a:cubicBezTo>
                      <a:pt x="662" y="110"/>
                      <a:pt x="662" y="110"/>
                      <a:pt x="663" y="110"/>
                    </a:cubicBezTo>
                    <a:cubicBezTo>
                      <a:pt x="663" y="110"/>
                      <a:pt x="663" y="110"/>
                      <a:pt x="665" y="110"/>
                    </a:cubicBezTo>
                    <a:cubicBezTo>
                      <a:pt x="665" y="110"/>
                      <a:pt x="665" y="110"/>
                      <a:pt x="666" y="110"/>
                    </a:cubicBezTo>
                    <a:cubicBezTo>
                      <a:pt x="666" y="110"/>
                      <a:pt x="666" y="110"/>
                      <a:pt x="667" y="110"/>
                    </a:cubicBezTo>
                    <a:cubicBezTo>
                      <a:pt x="667" y="110"/>
                      <a:pt x="667" y="110"/>
                      <a:pt x="668" y="109"/>
                    </a:cubicBezTo>
                    <a:cubicBezTo>
                      <a:pt x="668" y="109"/>
                      <a:pt x="668" y="109"/>
                      <a:pt x="669" y="110"/>
                    </a:cubicBezTo>
                    <a:cubicBezTo>
                      <a:pt x="669" y="110"/>
                      <a:pt x="669" y="110"/>
                      <a:pt x="669" y="111"/>
                    </a:cubicBezTo>
                    <a:cubicBezTo>
                      <a:pt x="669" y="111"/>
                      <a:pt x="669" y="111"/>
                      <a:pt x="671" y="111"/>
                    </a:cubicBezTo>
                    <a:cubicBezTo>
                      <a:pt x="671" y="111"/>
                      <a:pt x="671" y="111"/>
                      <a:pt x="673" y="110"/>
                    </a:cubicBezTo>
                    <a:cubicBezTo>
                      <a:pt x="673" y="110"/>
                      <a:pt x="673" y="110"/>
                      <a:pt x="673" y="111"/>
                    </a:cubicBezTo>
                    <a:cubicBezTo>
                      <a:pt x="673" y="111"/>
                      <a:pt x="673" y="111"/>
                      <a:pt x="674" y="111"/>
                    </a:cubicBezTo>
                    <a:cubicBezTo>
                      <a:pt x="674" y="111"/>
                      <a:pt x="674" y="111"/>
                      <a:pt x="675" y="110"/>
                    </a:cubicBezTo>
                    <a:cubicBezTo>
                      <a:pt x="675" y="110"/>
                      <a:pt x="675" y="110"/>
                      <a:pt x="676" y="111"/>
                    </a:cubicBezTo>
                    <a:cubicBezTo>
                      <a:pt x="676" y="111"/>
                      <a:pt x="676" y="111"/>
                      <a:pt x="675" y="111"/>
                    </a:cubicBezTo>
                    <a:cubicBezTo>
                      <a:pt x="675" y="111"/>
                      <a:pt x="675" y="111"/>
                      <a:pt x="675" y="112"/>
                    </a:cubicBezTo>
                    <a:cubicBezTo>
                      <a:pt x="675" y="112"/>
                      <a:pt x="675" y="112"/>
                      <a:pt x="672" y="112"/>
                    </a:cubicBezTo>
                    <a:cubicBezTo>
                      <a:pt x="672" y="112"/>
                      <a:pt x="672" y="112"/>
                      <a:pt x="671" y="113"/>
                    </a:cubicBezTo>
                    <a:cubicBezTo>
                      <a:pt x="671" y="113"/>
                      <a:pt x="671" y="113"/>
                      <a:pt x="670" y="113"/>
                    </a:cubicBezTo>
                    <a:cubicBezTo>
                      <a:pt x="670" y="113"/>
                      <a:pt x="670" y="113"/>
                      <a:pt x="668" y="113"/>
                    </a:cubicBezTo>
                    <a:cubicBezTo>
                      <a:pt x="668" y="113"/>
                      <a:pt x="668" y="113"/>
                      <a:pt x="666" y="112"/>
                    </a:cubicBezTo>
                    <a:cubicBezTo>
                      <a:pt x="666" y="112"/>
                      <a:pt x="666" y="112"/>
                      <a:pt x="664" y="112"/>
                    </a:cubicBezTo>
                    <a:cubicBezTo>
                      <a:pt x="664" y="112"/>
                      <a:pt x="664" y="112"/>
                      <a:pt x="663" y="113"/>
                    </a:cubicBezTo>
                    <a:cubicBezTo>
                      <a:pt x="663" y="113"/>
                      <a:pt x="663" y="113"/>
                      <a:pt x="662" y="113"/>
                    </a:cubicBezTo>
                    <a:cubicBezTo>
                      <a:pt x="662" y="113"/>
                      <a:pt x="662" y="113"/>
                      <a:pt x="660" y="113"/>
                    </a:cubicBezTo>
                    <a:cubicBezTo>
                      <a:pt x="660" y="113"/>
                      <a:pt x="660" y="113"/>
                      <a:pt x="659" y="113"/>
                    </a:cubicBezTo>
                    <a:cubicBezTo>
                      <a:pt x="659" y="113"/>
                      <a:pt x="659" y="113"/>
                      <a:pt x="657" y="113"/>
                    </a:cubicBezTo>
                    <a:cubicBezTo>
                      <a:pt x="657" y="113"/>
                      <a:pt x="657" y="113"/>
                      <a:pt x="655" y="113"/>
                    </a:cubicBezTo>
                    <a:cubicBezTo>
                      <a:pt x="655" y="113"/>
                      <a:pt x="655" y="113"/>
                      <a:pt x="655" y="115"/>
                    </a:cubicBezTo>
                    <a:cubicBezTo>
                      <a:pt x="655" y="115"/>
                      <a:pt x="655" y="115"/>
                      <a:pt x="655" y="116"/>
                    </a:cubicBezTo>
                    <a:cubicBezTo>
                      <a:pt x="655" y="116"/>
                      <a:pt x="655" y="116"/>
                      <a:pt x="655" y="117"/>
                    </a:cubicBezTo>
                    <a:cubicBezTo>
                      <a:pt x="655" y="117"/>
                      <a:pt x="655" y="117"/>
                      <a:pt x="656" y="119"/>
                    </a:cubicBezTo>
                    <a:cubicBezTo>
                      <a:pt x="656" y="119"/>
                      <a:pt x="656" y="119"/>
                      <a:pt x="657" y="120"/>
                    </a:cubicBezTo>
                    <a:cubicBezTo>
                      <a:pt x="657" y="120"/>
                      <a:pt x="657" y="120"/>
                      <a:pt x="659" y="120"/>
                    </a:cubicBezTo>
                    <a:cubicBezTo>
                      <a:pt x="659" y="120"/>
                      <a:pt x="659" y="120"/>
                      <a:pt x="660" y="121"/>
                    </a:cubicBezTo>
                    <a:cubicBezTo>
                      <a:pt x="660" y="121"/>
                      <a:pt x="660" y="121"/>
                      <a:pt x="662" y="121"/>
                    </a:cubicBezTo>
                    <a:cubicBezTo>
                      <a:pt x="662" y="121"/>
                      <a:pt x="662" y="121"/>
                      <a:pt x="664" y="121"/>
                    </a:cubicBezTo>
                    <a:cubicBezTo>
                      <a:pt x="664" y="121"/>
                      <a:pt x="664" y="121"/>
                      <a:pt x="666" y="121"/>
                    </a:cubicBezTo>
                    <a:cubicBezTo>
                      <a:pt x="666" y="121"/>
                      <a:pt x="666" y="121"/>
                      <a:pt x="668" y="121"/>
                    </a:cubicBezTo>
                    <a:cubicBezTo>
                      <a:pt x="668" y="121"/>
                      <a:pt x="668" y="121"/>
                      <a:pt x="669" y="121"/>
                    </a:cubicBezTo>
                    <a:cubicBezTo>
                      <a:pt x="669" y="121"/>
                      <a:pt x="669" y="121"/>
                      <a:pt x="671" y="120"/>
                    </a:cubicBezTo>
                    <a:cubicBezTo>
                      <a:pt x="671" y="120"/>
                      <a:pt x="671" y="120"/>
                      <a:pt x="672" y="120"/>
                    </a:cubicBezTo>
                    <a:cubicBezTo>
                      <a:pt x="672" y="120"/>
                      <a:pt x="672" y="120"/>
                      <a:pt x="673" y="119"/>
                    </a:cubicBezTo>
                    <a:cubicBezTo>
                      <a:pt x="673" y="119"/>
                      <a:pt x="673" y="119"/>
                      <a:pt x="673" y="118"/>
                    </a:cubicBezTo>
                    <a:cubicBezTo>
                      <a:pt x="673" y="118"/>
                      <a:pt x="673" y="118"/>
                      <a:pt x="674" y="118"/>
                    </a:cubicBezTo>
                    <a:cubicBezTo>
                      <a:pt x="674" y="118"/>
                      <a:pt x="674" y="118"/>
                      <a:pt x="675" y="118"/>
                    </a:cubicBezTo>
                    <a:cubicBezTo>
                      <a:pt x="675" y="118"/>
                      <a:pt x="675" y="118"/>
                      <a:pt x="675" y="117"/>
                    </a:cubicBezTo>
                    <a:cubicBezTo>
                      <a:pt x="675" y="117"/>
                      <a:pt x="675" y="117"/>
                      <a:pt x="676" y="118"/>
                    </a:cubicBezTo>
                    <a:cubicBezTo>
                      <a:pt x="676" y="118"/>
                      <a:pt x="676" y="118"/>
                      <a:pt x="678" y="118"/>
                    </a:cubicBezTo>
                    <a:cubicBezTo>
                      <a:pt x="678" y="118"/>
                      <a:pt x="678" y="118"/>
                      <a:pt x="680" y="118"/>
                    </a:cubicBezTo>
                    <a:cubicBezTo>
                      <a:pt x="680" y="118"/>
                      <a:pt x="680" y="118"/>
                      <a:pt x="680" y="117"/>
                    </a:cubicBezTo>
                    <a:cubicBezTo>
                      <a:pt x="680" y="117"/>
                      <a:pt x="680" y="117"/>
                      <a:pt x="682" y="117"/>
                    </a:cubicBezTo>
                    <a:cubicBezTo>
                      <a:pt x="682" y="117"/>
                      <a:pt x="682" y="117"/>
                      <a:pt x="683" y="117"/>
                    </a:cubicBezTo>
                    <a:cubicBezTo>
                      <a:pt x="683" y="117"/>
                      <a:pt x="683" y="117"/>
                      <a:pt x="684" y="116"/>
                    </a:cubicBezTo>
                    <a:cubicBezTo>
                      <a:pt x="684" y="116"/>
                      <a:pt x="684" y="116"/>
                      <a:pt x="684" y="115"/>
                    </a:cubicBezTo>
                    <a:cubicBezTo>
                      <a:pt x="684" y="115"/>
                      <a:pt x="684" y="115"/>
                      <a:pt x="685" y="116"/>
                    </a:cubicBezTo>
                    <a:cubicBezTo>
                      <a:pt x="685" y="116"/>
                      <a:pt x="685" y="116"/>
                      <a:pt x="685" y="117"/>
                    </a:cubicBezTo>
                    <a:cubicBezTo>
                      <a:pt x="685" y="117"/>
                      <a:pt x="685" y="117"/>
                      <a:pt x="685" y="118"/>
                    </a:cubicBezTo>
                    <a:cubicBezTo>
                      <a:pt x="685" y="118"/>
                      <a:pt x="685" y="118"/>
                      <a:pt x="686" y="118"/>
                    </a:cubicBezTo>
                    <a:cubicBezTo>
                      <a:pt x="686" y="118"/>
                      <a:pt x="686" y="118"/>
                      <a:pt x="687" y="118"/>
                    </a:cubicBezTo>
                    <a:cubicBezTo>
                      <a:pt x="687" y="118"/>
                      <a:pt x="687" y="118"/>
                      <a:pt x="687" y="117"/>
                    </a:cubicBezTo>
                    <a:cubicBezTo>
                      <a:pt x="687" y="117"/>
                      <a:pt x="687" y="117"/>
                      <a:pt x="689" y="117"/>
                    </a:cubicBezTo>
                    <a:cubicBezTo>
                      <a:pt x="689" y="117"/>
                      <a:pt x="689" y="117"/>
                      <a:pt x="689" y="118"/>
                    </a:cubicBezTo>
                    <a:cubicBezTo>
                      <a:pt x="689" y="118"/>
                      <a:pt x="689" y="118"/>
                      <a:pt x="688" y="119"/>
                    </a:cubicBezTo>
                    <a:cubicBezTo>
                      <a:pt x="688" y="119"/>
                      <a:pt x="688" y="119"/>
                      <a:pt x="689" y="119"/>
                    </a:cubicBezTo>
                    <a:cubicBezTo>
                      <a:pt x="689" y="119"/>
                      <a:pt x="689" y="119"/>
                      <a:pt x="690" y="120"/>
                    </a:cubicBezTo>
                    <a:cubicBezTo>
                      <a:pt x="690" y="120"/>
                      <a:pt x="690" y="120"/>
                      <a:pt x="692" y="120"/>
                    </a:cubicBezTo>
                    <a:cubicBezTo>
                      <a:pt x="692" y="120"/>
                      <a:pt x="692" y="120"/>
                      <a:pt x="694" y="119"/>
                    </a:cubicBezTo>
                    <a:cubicBezTo>
                      <a:pt x="694" y="119"/>
                      <a:pt x="694" y="119"/>
                      <a:pt x="695" y="119"/>
                    </a:cubicBezTo>
                    <a:cubicBezTo>
                      <a:pt x="695" y="119"/>
                      <a:pt x="695" y="119"/>
                      <a:pt x="696" y="118"/>
                    </a:cubicBezTo>
                    <a:cubicBezTo>
                      <a:pt x="696" y="118"/>
                      <a:pt x="696" y="118"/>
                      <a:pt x="697" y="119"/>
                    </a:cubicBezTo>
                    <a:cubicBezTo>
                      <a:pt x="697" y="119"/>
                      <a:pt x="697" y="119"/>
                      <a:pt x="698" y="119"/>
                    </a:cubicBezTo>
                    <a:cubicBezTo>
                      <a:pt x="698" y="119"/>
                      <a:pt x="698" y="119"/>
                      <a:pt x="698" y="118"/>
                    </a:cubicBezTo>
                    <a:cubicBezTo>
                      <a:pt x="698" y="118"/>
                      <a:pt x="698" y="118"/>
                      <a:pt x="699" y="118"/>
                    </a:cubicBezTo>
                    <a:cubicBezTo>
                      <a:pt x="699" y="118"/>
                      <a:pt x="699" y="118"/>
                      <a:pt x="699" y="117"/>
                    </a:cubicBezTo>
                    <a:cubicBezTo>
                      <a:pt x="699" y="117"/>
                      <a:pt x="699" y="117"/>
                      <a:pt x="699" y="116"/>
                    </a:cubicBezTo>
                    <a:cubicBezTo>
                      <a:pt x="699" y="116"/>
                      <a:pt x="699" y="116"/>
                      <a:pt x="700" y="115"/>
                    </a:cubicBezTo>
                    <a:cubicBezTo>
                      <a:pt x="700" y="115"/>
                      <a:pt x="700" y="115"/>
                      <a:pt x="701" y="115"/>
                    </a:cubicBezTo>
                    <a:cubicBezTo>
                      <a:pt x="701" y="115"/>
                      <a:pt x="701" y="115"/>
                      <a:pt x="703" y="113"/>
                    </a:cubicBezTo>
                    <a:cubicBezTo>
                      <a:pt x="703" y="113"/>
                      <a:pt x="703" y="113"/>
                      <a:pt x="703" y="112"/>
                    </a:cubicBezTo>
                    <a:cubicBezTo>
                      <a:pt x="703" y="112"/>
                      <a:pt x="703" y="112"/>
                      <a:pt x="704" y="112"/>
                    </a:cubicBezTo>
                    <a:cubicBezTo>
                      <a:pt x="704" y="112"/>
                      <a:pt x="704" y="112"/>
                      <a:pt x="705" y="111"/>
                    </a:cubicBezTo>
                    <a:cubicBezTo>
                      <a:pt x="705" y="111"/>
                      <a:pt x="705" y="111"/>
                      <a:pt x="706" y="110"/>
                    </a:cubicBezTo>
                    <a:cubicBezTo>
                      <a:pt x="706" y="110"/>
                      <a:pt x="706" y="110"/>
                      <a:pt x="708" y="107"/>
                    </a:cubicBezTo>
                    <a:cubicBezTo>
                      <a:pt x="708" y="107"/>
                      <a:pt x="708" y="107"/>
                      <a:pt x="708" y="105"/>
                    </a:cubicBezTo>
                    <a:cubicBezTo>
                      <a:pt x="708" y="105"/>
                      <a:pt x="708" y="105"/>
                      <a:pt x="708" y="104"/>
                    </a:cubicBezTo>
                    <a:cubicBezTo>
                      <a:pt x="708" y="104"/>
                      <a:pt x="708" y="104"/>
                      <a:pt x="707" y="102"/>
                    </a:cubicBezTo>
                    <a:cubicBezTo>
                      <a:pt x="707" y="102"/>
                      <a:pt x="707" y="102"/>
                      <a:pt x="706" y="101"/>
                    </a:cubicBezTo>
                    <a:cubicBezTo>
                      <a:pt x="706" y="101"/>
                      <a:pt x="706" y="101"/>
                      <a:pt x="705" y="101"/>
                    </a:cubicBezTo>
                    <a:cubicBezTo>
                      <a:pt x="705" y="101"/>
                      <a:pt x="705" y="101"/>
                      <a:pt x="703" y="103"/>
                    </a:cubicBezTo>
                    <a:cubicBezTo>
                      <a:pt x="703" y="103"/>
                      <a:pt x="703" y="103"/>
                      <a:pt x="703" y="104"/>
                    </a:cubicBezTo>
                    <a:cubicBezTo>
                      <a:pt x="703" y="104"/>
                      <a:pt x="703" y="104"/>
                      <a:pt x="702" y="105"/>
                    </a:cubicBezTo>
                    <a:cubicBezTo>
                      <a:pt x="702" y="105"/>
                      <a:pt x="702" y="105"/>
                      <a:pt x="702" y="106"/>
                    </a:cubicBezTo>
                    <a:cubicBezTo>
                      <a:pt x="702" y="106"/>
                      <a:pt x="702" y="106"/>
                      <a:pt x="701" y="106"/>
                    </a:cubicBezTo>
                    <a:cubicBezTo>
                      <a:pt x="701" y="106"/>
                      <a:pt x="701" y="106"/>
                      <a:pt x="700" y="107"/>
                    </a:cubicBezTo>
                    <a:cubicBezTo>
                      <a:pt x="700" y="107"/>
                      <a:pt x="700" y="107"/>
                      <a:pt x="700" y="105"/>
                    </a:cubicBezTo>
                    <a:cubicBezTo>
                      <a:pt x="700" y="105"/>
                      <a:pt x="700" y="105"/>
                      <a:pt x="701" y="103"/>
                    </a:cubicBezTo>
                    <a:cubicBezTo>
                      <a:pt x="701" y="103"/>
                      <a:pt x="701" y="103"/>
                      <a:pt x="699" y="103"/>
                    </a:cubicBezTo>
                    <a:cubicBezTo>
                      <a:pt x="699" y="103"/>
                      <a:pt x="699" y="103"/>
                      <a:pt x="698" y="103"/>
                    </a:cubicBezTo>
                    <a:cubicBezTo>
                      <a:pt x="698" y="103"/>
                      <a:pt x="698" y="103"/>
                      <a:pt x="697" y="104"/>
                    </a:cubicBezTo>
                    <a:cubicBezTo>
                      <a:pt x="697" y="104"/>
                      <a:pt x="697" y="104"/>
                      <a:pt x="695" y="105"/>
                    </a:cubicBezTo>
                    <a:cubicBezTo>
                      <a:pt x="695" y="105"/>
                      <a:pt x="695" y="105"/>
                      <a:pt x="695" y="106"/>
                    </a:cubicBezTo>
                    <a:cubicBezTo>
                      <a:pt x="695" y="106"/>
                      <a:pt x="695" y="106"/>
                      <a:pt x="694" y="105"/>
                    </a:cubicBezTo>
                    <a:cubicBezTo>
                      <a:pt x="694" y="105"/>
                      <a:pt x="694" y="105"/>
                      <a:pt x="695" y="104"/>
                    </a:cubicBezTo>
                    <a:cubicBezTo>
                      <a:pt x="695" y="104"/>
                      <a:pt x="695" y="104"/>
                      <a:pt x="696" y="103"/>
                    </a:cubicBezTo>
                    <a:cubicBezTo>
                      <a:pt x="696" y="103"/>
                      <a:pt x="696" y="103"/>
                      <a:pt x="698" y="101"/>
                    </a:cubicBezTo>
                    <a:cubicBezTo>
                      <a:pt x="698" y="101"/>
                      <a:pt x="698" y="101"/>
                      <a:pt x="699" y="100"/>
                    </a:cubicBezTo>
                    <a:cubicBezTo>
                      <a:pt x="699" y="100"/>
                      <a:pt x="699" y="100"/>
                      <a:pt x="699" y="99"/>
                    </a:cubicBezTo>
                    <a:cubicBezTo>
                      <a:pt x="699" y="99"/>
                      <a:pt x="699" y="99"/>
                      <a:pt x="697" y="99"/>
                    </a:cubicBezTo>
                    <a:cubicBezTo>
                      <a:pt x="697" y="99"/>
                      <a:pt x="697" y="99"/>
                      <a:pt x="696" y="100"/>
                    </a:cubicBezTo>
                    <a:cubicBezTo>
                      <a:pt x="696" y="100"/>
                      <a:pt x="696" y="100"/>
                      <a:pt x="695" y="100"/>
                    </a:cubicBezTo>
                    <a:cubicBezTo>
                      <a:pt x="695" y="100"/>
                      <a:pt x="695" y="100"/>
                      <a:pt x="695" y="99"/>
                    </a:cubicBezTo>
                    <a:cubicBezTo>
                      <a:pt x="695" y="99"/>
                      <a:pt x="695" y="99"/>
                      <a:pt x="696" y="98"/>
                    </a:cubicBezTo>
                    <a:cubicBezTo>
                      <a:pt x="696" y="98"/>
                      <a:pt x="696" y="98"/>
                      <a:pt x="698" y="97"/>
                    </a:cubicBezTo>
                    <a:cubicBezTo>
                      <a:pt x="698" y="97"/>
                      <a:pt x="698" y="97"/>
                      <a:pt x="699" y="97"/>
                    </a:cubicBezTo>
                    <a:cubicBezTo>
                      <a:pt x="699" y="97"/>
                      <a:pt x="699" y="97"/>
                      <a:pt x="699" y="96"/>
                    </a:cubicBezTo>
                    <a:cubicBezTo>
                      <a:pt x="699" y="96"/>
                      <a:pt x="699" y="96"/>
                      <a:pt x="699" y="93"/>
                    </a:cubicBezTo>
                    <a:cubicBezTo>
                      <a:pt x="699" y="93"/>
                      <a:pt x="699" y="93"/>
                      <a:pt x="699" y="91"/>
                    </a:cubicBezTo>
                    <a:cubicBezTo>
                      <a:pt x="699" y="91"/>
                      <a:pt x="699" y="91"/>
                      <a:pt x="699" y="90"/>
                    </a:cubicBezTo>
                    <a:cubicBezTo>
                      <a:pt x="699" y="90"/>
                      <a:pt x="699" y="90"/>
                      <a:pt x="699" y="89"/>
                    </a:cubicBezTo>
                    <a:cubicBezTo>
                      <a:pt x="699" y="89"/>
                      <a:pt x="699" y="89"/>
                      <a:pt x="700" y="88"/>
                    </a:cubicBezTo>
                    <a:cubicBezTo>
                      <a:pt x="700" y="88"/>
                      <a:pt x="700" y="88"/>
                      <a:pt x="701" y="88"/>
                    </a:cubicBezTo>
                    <a:cubicBezTo>
                      <a:pt x="701" y="88"/>
                      <a:pt x="701" y="88"/>
                      <a:pt x="702" y="88"/>
                    </a:cubicBezTo>
                    <a:cubicBezTo>
                      <a:pt x="702" y="88"/>
                      <a:pt x="702" y="88"/>
                      <a:pt x="701" y="87"/>
                    </a:cubicBezTo>
                    <a:cubicBezTo>
                      <a:pt x="701" y="87"/>
                      <a:pt x="701" y="87"/>
                      <a:pt x="701" y="86"/>
                    </a:cubicBezTo>
                    <a:cubicBezTo>
                      <a:pt x="701" y="86"/>
                      <a:pt x="701" y="86"/>
                      <a:pt x="700" y="85"/>
                    </a:cubicBezTo>
                    <a:cubicBezTo>
                      <a:pt x="700" y="85"/>
                      <a:pt x="700" y="85"/>
                      <a:pt x="699" y="85"/>
                    </a:cubicBezTo>
                    <a:cubicBezTo>
                      <a:pt x="699" y="85"/>
                      <a:pt x="699" y="85"/>
                      <a:pt x="696" y="87"/>
                    </a:cubicBezTo>
                    <a:cubicBezTo>
                      <a:pt x="696" y="87"/>
                      <a:pt x="696" y="87"/>
                      <a:pt x="694" y="88"/>
                    </a:cubicBezTo>
                    <a:cubicBezTo>
                      <a:pt x="694" y="88"/>
                      <a:pt x="694" y="88"/>
                      <a:pt x="694" y="89"/>
                    </a:cubicBezTo>
                    <a:cubicBezTo>
                      <a:pt x="694" y="89"/>
                      <a:pt x="694" y="89"/>
                      <a:pt x="694" y="90"/>
                    </a:cubicBezTo>
                    <a:cubicBezTo>
                      <a:pt x="694" y="90"/>
                      <a:pt x="694" y="90"/>
                      <a:pt x="693" y="90"/>
                    </a:cubicBezTo>
                    <a:cubicBezTo>
                      <a:pt x="693" y="90"/>
                      <a:pt x="693" y="90"/>
                      <a:pt x="692" y="90"/>
                    </a:cubicBezTo>
                    <a:cubicBezTo>
                      <a:pt x="692" y="90"/>
                      <a:pt x="692" y="90"/>
                      <a:pt x="691" y="90"/>
                    </a:cubicBezTo>
                    <a:cubicBezTo>
                      <a:pt x="691" y="90"/>
                      <a:pt x="691" y="90"/>
                      <a:pt x="690" y="92"/>
                    </a:cubicBezTo>
                    <a:cubicBezTo>
                      <a:pt x="690" y="92"/>
                      <a:pt x="690" y="92"/>
                      <a:pt x="691" y="93"/>
                    </a:cubicBezTo>
                    <a:cubicBezTo>
                      <a:pt x="691" y="93"/>
                      <a:pt x="691" y="93"/>
                      <a:pt x="691" y="95"/>
                    </a:cubicBezTo>
                    <a:cubicBezTo>
                      <a:pt x="691" y="95"/>
                      <a:pt x="691" y="95"/>
                      <a:pt x="692" y="97"/>
                    </a:cubicBezTo>
                    <a:cubicBezTo>
                      <a:pt x="692" y="97"/>
                      <a:pt x="692" y="97"/>
                      <a:pt x="691" y="99"/>
                    </a:cubicBezTo>
                    <a:cubicBezTo>
                      <a:pt x="691" y="99"/>
                      <a:pt x="691" y="99"/>
                      <a:pt x="690" y="99"/>
                    </a:cubicBezTo>
                    <a:cubicBezTo>
                      <a:pt x="690" y="99"/>
                      <a:pt x="690" y="99"/>
                      <a:pt x="688" y="99"/>
                    </a:cubicBezTo>
                    <a:cubicBezTo>
                      <a:pt x="688" y="99"/>
                      <a:pt x="688" y="99"/>
                      <a:pt x="687" y="100"/>
                    </a:cubicBezTo>
                    <a:cubicBezTo>
                      <a:pt x="687" y="100"/>
                      <a:pt x="687" y="100"/>
                      <a:pt x="688" y="101"/>
                    </a:cubicBezTo>
                    <a:cubicBezTo>
                      <a:pt x="688" y="101"/>
                      <a:pt x="688" y="101"/>
                      <a:pt x="688" y="102"/>
                    </a:cubicBezTo>
                    <a:cubicBezTo>
                      <a:pt x="688" y="102"/>
                      <a:pt x="688" y="102"/>
                      <a:pt x="689" y="103"/>
                    </a:cubicBezTo>
                    <a:cubicBezTo>
                      <a:pt x="689" y="103"/>
                      <a:pt x="689" y="103"/>
                      <a:pt x="689" y="105"/>
                    </a:cubicBezTo>
                    <a:cubicBezTo>
                      <a:pt x="689" y="105"/>
                      <a:pt x="689" y="105"/>
                      <a:pt x="687" y="106"/>
                    </a:cubicBezTo>
                    <a:cubicBezTo>
                      <a:pt x="687" y="106"/>
                      <a:pt x="687" y="106"/>
                      <a:pt x="688" y="107"/>
                    </a:cubicBezTo>
                    <a:cubicBezTo>
                      <a:pt x="688" y="107"/>
                      <a:pt x="688" y="107"/>
                      <a:pt x="688" y="108"/>
                    </a:cubicBezTo>
                    <a:cubicBezTo>
                      <a:pt x="688" y="108"/>
                      <a:pt x="688" y="108"/>
                      <a:pt x="687" y="108"/>
                    </a:cubicBezTo>
                    <a:cubicBezTo>
                      <a:pt x="687" y="108"/>
                      <a:pt x="687" y="108"/>
                      <a:pt x="686" y="106"/>
                    </a:cubicBezTo>
                    <a:cubicBezTo>
                      <a:pt x="686" y="106"/>
                      <a:pt x="686" y="106"/>
                      <a:pt x="684" y="106"/>
                    </a:cubicBezTo>
                    <a:cubicBezTo>
                      <a:pt x="684" y="106"/>
                      <a:pt x="684" y="106"/>
                      <a:pt x="683" y="106"/>
                    </a:cubicBezTo>
                    <a:cubicBezTo>
                      <a:pt x="683" y="106"/>
                      <a:pt x="683" y="106"/>
                      <a:pt x="682" y="106"/>
                    </a:cubicBezTo>
                    <a:close/>
                    <a:moveTo>
                      <a:pt x="633" y="80"/>
                    </a:moveTo>
                    <a:cubicBezTo>
                      <a:pt x="633" y="81"/>
                      <a:pt x="633" y="81"/>
                      <a:pt x="633" y="81"/>
                    </a:cubicBezTo>
                    <a:cubicBezTo>
                      <a:pt x="634" y="81"/>
                      <a:pt x="634" y="81"/>
                      <a:pt x="634" y="81"/>
                    </a:cubicBezTo>
                    <a:cubicBezTo>
                      <a:pt x="635" y="81"/>
                      <a:pt x="635" y="81"/>
                      <a:pt x="635" y="81"/>
                    </a:cubicBezTo>
                    <a:cubicBezTo>
                      <a:pt x="636" y="80"/>
                      <a:pt x="636" y="80"/>
                      <a:pt x="636" y="80"/>
                    </a:cubicBezTo>
                    <a:cubicBezTo>
                      <a:pt x="637" y="79"/>
                      <a:pt x="637" y="79"/>
                      <a:pt x="637" y="79"/>
                    </a:cubicBezTo>
                    <a:cubicBezTo>
                      <a:pt x="638" y="80"/>
                      <a:pt x="638" y="80"/>
                      <a:pt x="638" y="80"/>
                    </a:cubicBezTo>
                    <a:cubicBezTo>
                      <a:pt x="639" y="82"/>
                      <a:pt x="639" y="82"/>
                      <a:pt x="639" y="82"/>
                    </a:cubicBezTo>
                    <a:cubicBezTo>
                      <a:pt x="639" y="83"/>
                      <a:pt x="639" y="83"/>
                      <a:pt x="639" y="83"/>
                    </a:cubicBezTo>
                    <a:cubicBezTo>
                      <a:pt x="640" y="83"/>
                      <a:pt x="640" y="83"/>
                      <a:pt x="640" y="83"/>
                    </a:cubicBezTo>
                    <a:cubicBezTo>
                      <a:pt x="641" y="83"/>
                      <a:pt x="641" y="83"/>
                      <a:pt x="641" y="83"/>
                    </a:cubicBezTo>
                    <a:cubicBezTo>
                      <a:pt x="641" y="82"/>
                      <a:pt x="641" y="82"/>
                      <a:pt x="641" y="82"/>
                    </a:cubicBezTo>
                    <a:cubicBezTo>
                      <a:pt x="641" y="80"/>
                      <a:pt x="641" y="80"/>
                      <a:pt x="641" y="80"/>
                    </a:cubicBezTo>
                    <a:cubicBezTo>
                      <a:pt x="642" y="80"/>
                      <a:pt x="642" y="80"/>
                      <a:pt x="642" y="80"/>
                    </a:cubicBezTo>
                    <a:cubicBezTo>
                      <a:pt x="644" y="79"/>
                      <a:pt x="644" y="79"/>
                      <a:pt x="644" y="79"/>
                    </a:cubicBezTo>
                    <a:cubicBezTo>
                      <a:pt x="644" y="80"/>
                      <a:pt x="644" y="80"/>
                      <a:pt x="644" y="80"/>
                    </a:cubicBezTo>
                    <a:cubicBezTo>
                      <a:pt x="643" y="81"/>
                      <a:pt x="643" y="81"/>
                      <a:pt x="643" y="81"/>
                    </a:cubicBezTo>
                    <a:cubicBezTo>
                      <a:pt x="642" y="83"/>
                      <a:pt x="642" y="83"/>
                      <a:pt x="642" y="83"/>
                    </a:cubicBezTo>
                    <a:cubicBezTo>
                      <a:pt x="643" y="83"/>
                      <a:pt x="643" y="83"/>
                      <a:pt x="643" y="83"/>
                    </a:cubicBezTo>
                    <a:cubicBezTo>
                      <a:pt x="642" y="84"/>
                      <a:pt x="642" y="84"/>
                      <a:pt x="642" y="84"/>
                    </a:cubicBezTo>
                    <a:cubicBezTo>
                      <a:pt x="642" y="85"/>
                      <a:pt x="642" y="85"/>
                      <a:pt x="642" y="85"/>
                    </a:cubicBezTo>
                    <a:cubicBezTo>
                      <a:pt x="642" y="86"/>
                      <a:pt x="642" y="86"/>
                      <a:pt x="642" y="86"/>
                    </a:cubicBezTo>
                    <a:cubicBezTo>
                      <a:pt x="643" y="85"/>
                      <a:pt x="643" y="85"/>
                      <a:pt x="643" y="85"/>
                    </a:cubicBezTo>
                    <a:cubicBezTo>
                      <a:pt x="644" y="85"/>
                      <a:pt x="644" y="85"/>
                      <a:pt x="644" y="85"/>
                    </a:cubicBezTo>
                    <a:cubicBezTo>
                      <a:pt x="644" y="86"/>
                      <a:pt x="644" y="86"/>
                      <a:pt x="644" y="86"/>
                    </a:cubicBezTo>
                    <a:cubicBezTo>
                      <a:pt x="646" y="85"/>
                      <a:pt x="646" y="85"/>
                      <a:pt x="646" y="85"/>
                    </a:cubicBezTo>
                    <a:cubicBezTo>
                      <a:pt x="647" y="84"/>
                      <a:pt x="647" y="84"/>
                      <a:pt x="647" y="84"/>
                    </a:cubicBezTo>
                    <a:cubicBezTo>
                      <a:pt x="648" y="84"/>
                      <a:pt x="648" y="84"/>
                      <a:pt x="648" y="84"/>
                    </a:cubicBezTo>
                    <a:cubicBezTo>
                      <a:pt x="648" y="83"/>
                      <a:pt x="648" y="83"/>
                      <a:pt x="648" y="83"/>
                    </a:cubicBezTo>
                    <a:cubicBezTo>
                      <a:pt x="648" y="82"/>
                      <a:pt x="648" y="82"/>
                      <a:pt x="648" y="82"/>
                    </a:cubicBezTo>
                    <a:cubicBezTo>
                      <a:pt x="649" y="82"/>
                      <a:pt x="649" y="82"/>
                      <a:pt x="649" y="82"/>
                    </a:cubicBezTo>
                    <a:cubicBezTo>
                      <a:pt x="650" y="81"/>
                      <a:pt x="650" y="81"/>
                      <a:pt x="650" y="81"/>
                    </a:cubicBezTo>
                    <a:cubicBezTo>
                      <a:pt x="650" y="79"/>
                      <a:pt x="650" y="79"/>
                      <a:pt x="650" y="79"/>
                    </a:cubicBezTo>
                    <a:cubicBezTo>
                      <a:pt x="651" y="79"/>
                      <a:pt x="651" y="79"/>
                      <a:pt x="651" y="79"/>
                    </a:cubicBezTo>
                    <a:cubicBezTo>
                      <a:pt x="651" y="80"/>
                      <a:pt x="651" y="80"/>
                      <a:pt x="651" y="80"/>
                    </a:cubicBezTo>
                    <a:cubicBezTo>
                      <a:pt x="651" y="81"/>
                      <a:pt x="651" y="81"/>
                      <a:pt x="651" y="81"/>
                    </a:cubicBezTo>
                    <a:cubicBezTo>
                      <a:pt x="651" y="82"/>
                      <a:pt x="651" y="82"/>
                      <a:pt x="651" y="82"/>
                    </a:cubicBezTo>
                    <a:cubicBezTo>
                      <a:pt x="651" y="84"/>
                      <a:pt x="651" y="84"/>
                      <a:pt x="651" y="84"/>
                    </a:cubicBezTo>
                    <a:cubicBezTo>
                      <a:pt x="652" y="84"/>
                      <a:pt x="652" y="84"/>
                      <a:pt x="652" y="84"/>
                    </a:cubicBezTo>
                    <a:cubicBezTo>
                      <a:pt x="653" y="82"/>
                      <a:pt x="653" y="82"/>
                      <a:pt x="653" y="82"/>
                    </a:cubicBezTo>
                    <a:cubicBezTo>
                      <a:pt x="653" y="81"/>
                      <a:pt x="653" y="81"/>
                      <a:pt x="653" y="81"/>
                    </a:cubicBezTo>
                    <a:cubicBezTo>
                      <a:pt x="653" y="80"/>
                      <a:pt x="653" y="80"/>
                      <a:pt x="653" y="80"/>
                    </a:cubicBezTo>
                    <a:cubicBezTo>
                      <a:pt x="654" y="80"/>
                      <a:pt x="654" y="80"/>
                      <a:pt x="654" y="80"/>
                    </a:cubicBezTo>
                    <a:cubicBezTo>
                      <a:pt x="655" y="78"/>
                      <a:pt x="655" y="78"/>
                      <a:pt x="655" y="78"/>
                    </a:cubicBezTo>
                    <a:cubicBezTo>
                      <a:pt x="656" y="77"/>
                      <a:pt x="656" y="77"/>
                      <a:pt x="656" y="77"/>
                    </a:cubicBezTo>
                    <a:cubicBezTo>
                      <a:pt x="655" y="76"/>
                      <a:pt x="655" y="76"/>
                      <a:pt x="655" y="76"/>
                    </a:cubicBezTo>
                    <a:cubicBezTo>
                      <a:pt x="656" y="75"/>
                      <a:pt x="656" y="75"/>
                      <a:pt x="656" y="75"/>
                    </a:cubicBezTo>
                    <a:cubicBezTo>
                      <a:pt x="657" y="76"/>
                      <a:pt x="657" y="76"/>
                      <a:pt x="657" y="76"/>
                    </a:cubicBezTo>
                    <a:cubicBezTo>
                      <a:pt x="659" y="75"/>
                      <a:pt x="659" y="75"/>
                      <a:pt x="659" y="75"/>
                    </a:cubicBezTo>
                    <a:cubicBezTo>
                      <a:pt x="660" y="73"/>
                      <a:pt x="660" y="73"/>
                      <a:pt x="660" y="73"/>
                    </a:cubicBezTo>
                    <a:cubicBezTo>
                      <a:pt x="660" y="72"/>
                      <a:pt x="660" y="72"/>
                      <a:pt x="660" y="72"/>
                    </a:cubicBezTo>
                    <a:cubicBezTo>
                      <a:pt x="661" y="72"/>
                      <a:pt x="661" y="72"/>
                      <a:pt x="661" y="72"/>
                    </a:cubicBezTo>
                    <a:cubicBezTo>
                      <a:pt x="661" y="71"/>
                      <a:pt x="661" y="71"/>
                      <a:pt x="661" y="71"/>
                    </a:cubicBezTo>
                    <a:cubicBezTo>
                      <a:pt x="662" y="72"/>
                      <a:pt x="662" y="72"/>
                      <a:pt x="662" y="72"/>
                    </a:cubicBezTo>
                    <a:cubicBezTo>
                      <a:pt x="663" y="71"/>
                      <a:pt x="663" y="71"/>
                      <a:pt x="663" y="71"/>
                    </a:cubicBezTo>
                    <a:cubicBezTo>
                      <a:pt x="664" y="71"/>
                      <a:pt x="664" y="71"/>
                      <a:pt x="664" y="71"/>
                    </a:cubicBezTo>
                    <a:cubicBezTo>
                      <a:pt x="663" y="73"/>
                      <a:pt x="663" y="73"/>
                      <a:pt x="663" y="73"/>
                    </a:cubicBezTo>
                    <a:cubicBezTo>
                      <a:pt x="662" y="75"/>
                      <a:pt x="662" y="75"/>
                      <a:pt x="662" y="75"/>
                    </a:cubicBezTo>
                    <a:cubicBezTo>
                      <a:pt x="661" y="76"/>
                      <a:pt x="661" y="76"/>
                      <a:pt x="661" y="76"/>
                    </a:cubicBezTo>
                    <a:cubicBezTo>
                      <a:pt x="661" y="77"/>
                      <a:pt x="661" y="77"/>
                      <a:pt x="661" y="77"/>
                    </a:cubicBezTo>
                    <a:cubicBezTo>
                      <a:pt x="661" y="78"/>
                      <a:pt x="661" y="78"/>
                      <a:pt x="661" y="78"/>
                    </a:cubicBezTo>
                    <a:cubicBezTo>
                      <a:pt x="660" y="78"/>
                      <a:pt x="660" y="78"/>
                      <a:pt x="660" y="78"/>
                    </a:cubicBezTo>
                    <a:cubicBezTo>
                      <a:pt x="658" y="81"/>
                      <a:pt x="658" y="81"/>
                      <a:pt x="658" y="81"/>
                    </a:cubicBezTo>
                    <a:cubicBezTo>
                      <a:pt x="658" y="82"/>
                      <a:pt x="658" y="82"/>
                      <a:pt x="658" y="82"/>
                    </a:cubicBezTo>
                    <a:cubicBezTo>
                      <a:pt x="658" y="83"/>
                      <a:pt x="658" y="83"/>
                      <a:pt x="658" y="83"/>
                    </a:cubicBezTo>
                    <a:cubicBezTo>
                      <a:pt x="658" y="84"/>
                      <a:pt x="658" y="84"/>
                      <a:pt x="658" y="84"/>
                    </a:cubicBezTo>
                    <a:cubicBezTo>
                      <a:pt x="659" y="84"/>
                      <a:pt x="659" y="84"/>
                      <a:pt x="659" y="84"/>
                    </a:cubicBezTo>
                    <a:cubicBezTo>
                      <a:pt x="660" y="84"/>
                      <a:pt x="660" y="84"/>
                      <a:pt x="660" y="84"/>
                    </a:cubicBezTo>
                    <a:cubicBezTo>
                      <a:pt x="661" y="84"/>
                      <a:pt x="661" y="84"/>
                      <a:pt x="661" y="84"/>
                    </a:cubicBezTo>
                    <a:cubicBezTo>
                      <a:pt x="662" y="83"/>
                      <a:pt x="662" y="83"/>
                      <a:pt x="662" y="83"/>
                    </a:cubicBezTo>
                    <a:cubicBezTo>
                      <a:pt x="663" y="82"/>
                      <a:pt x="663" y="82"/>
                      <a:pt x="663" y="82"/>
                    </a:cubicBezTo>
                    <a:cubicBezTo>
                      <a:pt x="662" y="81"/>
                      <a:pt x="662" y="81"/>
                      <a:pt x="662" y="81"/>
                    </a:cubicBezTo>
                    <a:cubicBezTo>
                      <a:pt x="663" y="80"/>
                      <a:pt x="663" y="80"/>
                      <a:pt x="663" y="80"/>
                    </a:cubicBezTo>
                    <a:cubicBezTo>
                      <a:pt x="664" y="79"/>
                      <a:pt x="664" y="79"/>
                      <a:pt x="664" y="79"/>
                    </a:cubicBezTo>
                    <a:cubicBezTo>
                      <a:pt x="665" y="79"/>
                      <a:pt x="665" y="79"/>
                      <a:pt x="665" y="79"/>
                    </a:cubicBezTo>
                    <a:cubicBezTo>
                      <a:pt x="666" y="79"/>
                      <a:pt x="666" y="79"/>
                      <a:pt x="666" y="79"/>
                    </a:cubicBezTo>
                    <a:cubicBezTo>
                      <a:pt x="667" y="79"/>
                      <a:pt x="667" y="79"/>
                      <a:pt x="667" y="79"/>
                    </a:cubicBezTo>
                    <a:cubicBezTo>
                      <a:pt x="668" y="79"/>
                      <a:pt x="668" y="79"/>
                      <a:pt x="668" y="79"/>
                    </a:cubicBezTo>
                    <a:cubicBezTo>
                      <a:pt x="670" y="79"/>
                      <a:pt x="670" y="79"/>
                      <a:pt x="670" y="79"/>
                    </a:cubicBezTo>
                    <a:cubicBezTo>
                      <a:pt x="671" y="77"/>
                      <a:pt x="671" y="77"/>
                      <a:pt x="671" y="77"/>
                    </a:cubicBezTo>
                    <a:cubicBezTo>
                      <a:pt x="671" y="75"/>
                      <a:pt x="671" y="75"/>
                      <a:pt x="671" y="75"/>
                    </a:cubicBezTo>
                    <a:cubicBezTo>
                      <a:pt x="672" y="73"/>
                      <a:pt x="672" y="73"/>
                      <a:pt x="672" y="73"/>
                    </a:cubicBezTo>
                    <a:cubicBezTo>
                      <a:pt x="673" y="72"/>
                      <a:pt x="673" y="72"/>
                      <a:pt x="673" y="72"/>
                    </a:cubicBezTo>
                    <a:cubicBezTo>
                      <a:pt x="674" y="73"/>
                      <a:pt x="674" y="73"/>
                      <a:pt x="674" y="73"/>
                    </a:cubicBezTo>
                    <a:cubicBezTo>
                      <a:pt x="675" y="73"/>
                      <a:pt x="675" y="73"/>
                      <a:pt x="675" y="73"/>
                    </a:cubicBezTo>
                    <a:cubicBezTo>
                      <a:pt x="675" y="72"/>
                      <a:pt x="675" y="72"/>
                      <a:pt x="675" y="72"/>
                    </a:cubicBezTo>
                    <a:cubicBezTo>
                      <a:pt x="674" y="70"/>
                      <a:pt x="674" y="70"/>
                      <a:pt x="674" y="70"/>
                    </a:cubicBezTo>
                    <a:cubicBezTo>
                      <a:pt x="674" y="69"/>
                      <a:pt x="674" y="69"/>
                      <a:pt x="674" y="69"/>
                    </a:cubicBezTo>
                    <a:cubicBezTo>
                      <a:pt x="675" y="68"/>
                      <a:pt x="675" y="68"/>
                      <a:pt x="675" y="68"/>
                    </a:cubicBezTo>
                    <a:cubicBezTo>
                      <a:pt x="677" y="68"/>
                      <a:pt x="677" y="68"/>
                      <a:pt x="677" y="68"/>
                    </a:cubicBezTo>
                    <a:cubicBezTo>
                      <a:pt x="678" y="67"/>
                      <a:pt x="678" y="67"/>
                      <a:pt x="678" y="67"/>
                    </a:cubicBezTo>
                    <a:cubicBezTo>
                      <a:pt x="679" y="68"/>
                      <a:pt x="679" y="68"/>
                      <a:pt x="679" y="68"/>
                    </a:cubicBezTo>
                    <a:cubicBezTo>
                      <a:pt x="680" y="66"/>
                      <a:pt x="680" y="66"/>
                      <a:pt x="680" y="66"/>
                    </a:cubicBezTo>
                    <a:cubicBezTo>
                      <a:pt x="680" y="65"/>
                      <a:pt x="680" y="65"/>
                      <a:pt x="680" y="65"/>
                    </a:cubicBezTo>
                    <a:cubicBezTo>
                      <a:pt x="680" y="63"/>
                      <a:pt x="680" y="63"/>
                      <a:pt x="680" y="63"/>
                    </a:cubicBezTo>
                    <a:cubicBezTo>
                      <a:pt x="680" y="62"/>
                      <a:pt x="680" y="62"/>
                      <a:pt x="680" y="62"/>
                    </a:cubicBezTo>
                    <a:cubicBezTo>
                      <a:pt x="680" y="60"/>
                      <a:pt x="680" y="60"/>
                      <a:pt x="680" y="60"/>
                    </a:cubicBezTo>
                    <a:cubicBezTo>
                      <a:pt x="679" y="60"/>
                      <a:pt x="679" y="60"/>
                      <a:pt x="679" y="60"/>
                    </a:cubicBezTo>
                    <a:cubicBezTo>
                      <a:pt x="678" y="60"/>
                      <a:pt x="678" y="60"/>
                      <a:pt x="678" y="60"/>
                    </a:cubicBezTo>
                    <a:cubicBezTo>
                      <a:pt x="677" y="61"/>
                      <a:pt x="677" y="61"/>
                      <a:pt x="677" y="61"/>
                    </a:cubicBezTo>
                    <a:cubicBezTo>
                      <a:pt x="677" y="63"/>
                      <a:pt x="677" y="63"/>
                      <a:pt x="677" y="63"/>
                    </a:cubicBezTo>
                    <a:cubicBezTo>
                      <a:pt x="677" y="64"/>
                      <a:pt x="677" y="64"/>
                      <a:pt x="677" y="64"/>
                    </a:cubicBezTo>
                    <a:cubicBezTo>
                      <a:pt x="676" y="64"/>
                      <a:pt x="676" y="64"/>
                      <a:pt x="676" y="64"/>
                    </a:cubicBezTo>
                    <a:cubicBezTo>
                      <a:pt x="675" y="63"/>
                      <a:pt x="675" y="63"/>
                      <a:pt x="675" y="63"/>
                    </a:cubicBezTo>
                    <a:cubicBezTo>
                      <a:pt x="675" y="64"/>
                      <a:pt x="675" y="64"/>
                      <a:pt x="675" y="64"/>
                    </a:cubicBezTo>
                    <a:cubicBezTo>
                      <a:pt x="674" y="65"/>
                      <a:pt x="674" y="65"/>
                      <a:pt x="674" y="65"/>
                    </a:cubicBezTo>
                    <a:cubicBezTo>
                      <a:pt x="674" y="64"/>
                      <a:pt x="674" y="64"/>
                      <a:pt x="674" y="64"/>
                    </a:cubicBezTo>
                    <a:cubicBezTo>
                      <a:pt x="674" y="62"/>
                      <a:pt x="674" y="62"/>
                      <a:pt x="674" y="62"/>
                    </a:cubicBezTo>
                    <a:cubicBezTo>
                      <a:pt x="672" y="61"/>
                      <a:pt x="672" y="61"/>
                      <a:pt x="672" y="61"/>
                    </a:cubicBezTo>
                    <a:cubicBezTo>
                      <a:pt x="671" y="61"/>
                      <a:pt x="671" y="61"/>
                      <a:pt x="671" y="61"/>
                    </a:cubicBezTo>
                    <a:cubicBezTo>
                      <a:pt x="670" y="61"/>
                      <a:pt x="670" y="61"/>
                      <a:pt x="670" y="61"/>
                    </a:cubicBezTo>
                    <a:cubicBezTo>
                      <a:pt x="669" y="61"/>
                      <a:pt x="669" y="61"/>
                      <a:pt x="669" y="61"/>
                    </a:cubicBezTo>
                    <a:cubicBezTo>
                      <a:pt x="668" y="61"/>
                      <a:pt x="668" y="61"/>
                      <a:pt x="668" y="61"/>
                    </a:cubicBezTo>
                    <a:cubicBezTo>
                      <a:pt x="665" y="61"/>
                      <a:pt x="665" y="61"/>
                      <a:pt x="665" y="61"/>
                    </a:cubicBezTo>
                    <a:cubicBezTo>
                      <a:pt x="664" y="61"/>
                      <a:pt x="664" y="61"/>
                      <a:pt x="664" y="61"/>
                    </a:cubicBezTo>
                    <a:cubicBezTo>
                      <a:pt x="663" y="62"/>
                      <a:pt x="663" y="62"/>
                      <a:pt x="663" y="62"/>
                    </a:cubicBezTo>
                    <a:cubicBezTo>
                      <a:pt x="663" y="63"/>
                      <a:pt x="663" y="63"/>
                      <a:pt x="663" y="63"/>
                    </a:cubicBezTo>
                    <a:cubicBezTo>
                      <a:pt x="662" y="63"/>
                      <a:pt x="662" y="63"/>
                      <a:pt x="662" y="63"/>
                    </a:cubicBezTo>
                    <a:cubicBezTo>
                      <a:pt x="661" y="63"/>
                      <a:pt x="661" y="63"/>
                      <a:pt x="661" y="63"/>
                    </a:cubicBezTo>
                    <a:cubicBezTo>
                      <a:pt x="658" y="65"/>
                      <a:pt x="658" y="65"/>
                      <a:pt x="658" y="65"/>
                    </a:cubicBezTo>
                    <a:cubicBezTo>
                      <a:pt x="658" y="66"/>
                      <a:pt x="658" y="66"/>
                      <a:pt x="658" y="66"/>
                    </a:cubicBezTo>
                    <a:cubicBezTo>
                      <a:pt x="656" y="66"/>
                      <a:pt x="656" y="66"/>
                      <a:pt x="656" y="66"/>
                    </a:cubicBezTo>
                    <a:cubicBezTo>
                      <a:pt x="655" y="67"/>
                      <a:pt x="655" y="67"/>
                      <a:pt x="655" y="67"/>
                    </a:cubicBezTo>
                    <a:cubicBezTo>
                      <a:pt x="654" y="67"/>
                      <a:pt x="654" y="67"/>
                      <a:pt x="654" y="67"/>
                    </a:cubicBezTo>
                    <a:cubicBezTo>
                      <a:pt x="653" y="68"/>
                      <a:pt x="653" y="68"/>
                      <a:pt x="653" y="68"/>
                    </a:cubicBezTo>
                    <a:cubicBezTo>
                      <a:pt x="653" y="69"/>
                      <a:pt x="653" y="69"/>
                      <a:pt x="653" y="69"/>
                    </a:cubicBezTo>
                    <a:cubicBezTo>
                      <a:pt x="651" y="69"/>
                      <a:pt x="651" y="69"/>
                      <a:pt x="651" y="69"/>
                    </a:cubicBezTo>
                    <a:cubicBezTo>
                      <a:pt x="650" y="70"/>
                      <a:pt x="650" y="70"/>
                      <a:pt x="650" y="70"/>
                    </a:cubicBezTo>
                    <a:cubicBezTo>
                      <a:pt x="649" y="69"/>
                      <a:pt x="649" y="69"/>
                      <a:pt x="649" y="69"/>
                    </a:cubicBezTo>
                    <a:cubicBezTo>
                      <a:pt x="648" y="70"/>
                      <a:pt x="648" y="70"/>
                      <a:pt x="648" y="70"/>
                    </a:cubicBezTo>
                    <a:cubicBezTo>
                      <a:pt x="647" y="70"/>
                      <a:pt x="647" y="70"/>
                      <a:pt x="647" y="70"/>
                    </a:cubicBezTo>
                    <a:cubicBezTo>
                      <a:pt x="645" y="72"/>
                      <a:pt x="645" y="72"/>
                      <a:pt x="645" y="72"/>
                    </a:cubicBezTo>
                    <a:cubicBezTo>
                      <a:pt x="644" y="72"/>
                      <a:pt x="644" y="72"/>
                      <a:pt x="644" y="72"/>
                    </a:cubicBezTo>
                    <a:cubicBezTo>
                      <a:pt x="642" y="72"/>
                      <a:pt x="642" y="72"/>
                      <a:pt x="642" y="72"/>
                    </a:cubicBezTo>
                    <a:cubicBezTo>
                      <a:pt x="641" y="72"/>
                      <a:pt x="641" y="72"/>
                      <a:pt x="641" y="72"/>
                    </a:cubicBezTo>
                    <a:cubicBezTo>
                      <a:pt x="638" y="73"/>
                      <a:pt x="638" y="73"/>
                      <a:pt x="638" y="73"/>
                    </a:cubicBezTo>
                    <a:cubicBezTo>
                      <a:pt x="637" y="75"/>
                      <a:pt x="637" y="75"/>
                      <a:pt x="637" y="75"/>
                    </a:cubicBezTo>
                    <a:cubicBezTo>
                      <a:pt x="636" y="75"/>
                      <a:pt x="636" y="75"/>
                      <a:pt x="636" y="75"/>
                    </a:cubicBezTo>
                    <a:cubicBezTo>
                      <a:pt x="634" y="75"/>
                      <a:pt x="634" y="75"/>
                      <a:pt x="634" y="75"/>
                    </a:cubicBezTo>
                    <a:cubicBezTo>
                      <a:pt x="634" y="77"/>
                      <a:pt x="634" y="77"/>
                      <a:pt x="634" y="77"/>
                    </a:cubicBezTo>
                    <a:cubicBezTo>
                      <a:pt x="634" y="78"/>
                      <a:pt x="634" y="78"/>
                      <a:pt x="634" y="78"/>
                    </a:cubicBezTo>
                    <a:cubicBezTo>
                      <a:pt x="635" y="79"/>
                      <a:pt x="635" y="79"/>
                      <a:pt x="635" y="79"/>
                    </a:cubicBezTo>
                    <a:cubicBezTo>
                      <a:pt x="633" y="80"/>
                      <a:pt x="633" y="80"/>
                      <a:pt x="633" y="80"/>
                    </a:cubicBezTo>
                    <a:close/>
                    <a:moveTo>
                      <a:pt x="678" y="76"/>
                    </a:moveTo>
                    <a:cubicBezTo>
                      <a:pt x="678" y="76"/>
                      <a:pt x="678" y="76"/>
                      <a:pt x="677" y="77"/>
                    </a:cubicBezTo>
                    <a:cubicBezTo>
                      <a:pt x="677" y="77"/>
                      <a:pt x="677" y="77"/>
                      <a:pt x="678" y="77"/>
                    </a:cubicBezTo>
                    <a:cubicBezTo>
                      <a:pt x="678" y="77"/>
                      <a:pt x="678" y="77"/>
                      <a:pt x="679" y="78"/>
                    </a:cubicBezTo>
                    <a:cubicBezTo>
                      <a:pt x="679" y="78"/>
                      <a:pt x="679" y="78"/>
                      <a:pt x="679" y="79"/>
                    </a:cubicBezTo>
                    <a:cubicBezTo>
                      <a:pt x="679" y="79"/>
                      <a:pt x="679" y="79"/>
                      <a:pt x="680" y="80"/>
                    </a:cubicBezTo>
                    <a:cubicBezTo>
                      <a:pt x="680" y="80"/>
                      <a:pt x="680" y="80"/>
                      <a:pt x="681" y="80"/>
                    </a:cubicBezTo>
                    <a:cubicBezTo>
                      <a:pt x="681" y="80"/>
                      <a:pt x="681" y="80"/>
                      <a:pt x="682" y="79"/>
                    </a:cubicBezTo>
                    <a:cubicBezTo>
                      <a:pt x="682" y="79"/>
                      <a:pt x="682" y="79"/>
                      <a:pt x="683" y="78"/>
                    </a:cubicBezTo>
                    <a:cubicBezTo>
                      <a:pt x="683" y="78"/>
                      <a:pt x="683" y="78"/>
                      <a:pt x="682" y="77"/>
                    </a:cubicBezTo>
                    <a:cubicBezTo>
                      <a:pt x="682" y="77"/>
                      <a:pt x="682" y="77"/>
                      <a:pt x="681" y="77"/>
                    </a:cubicBezTo>
                    <a:cubicBezTo>
                      <a:pt x="681" y="77"/>
                      <a:pt x="681" y="77"/>
                      <a:pt x="679" y="76"/>
                    </a:cubicBezTo>
                    <a:cubicBezTo>
                      <a:pt x="679" y="76"/>
                      <a:pt x="679" y="76"/>
                      <a:pt x="678" y="76"/>
                    </a:cubicBezTo>
                    <a:close/>
                    <a:moveTo>
                      <a:pt x="490" y="158"/>
                    </a:moveTo>
                    <a:cubicBezTo>
                      <a:pt x="491" y="158"/>
                      <a:pt x="491" y="158"/>
                      <a:pt x="491" y="158"/>
                    </a:cubicBezTo>
                    <a:cubicBezTo>
                      <a:pt x="490" y="156"/>
                      <a:pt x="490" y="156"/>
                      <a:pt x="490" y="156"/>
                    </a:cubicBezTo>
                    <a:cubicBezTo>
                      <a:pt x="489" y="156"/>
                      <a:pt x="489" y="156"/>
                      <a:pt x="489" y="156"/>
                    </a:cubicBezTo>
                    <a:cubicBezTo>
                      <a:pt x="488" y="156"/>
                      <a:pt x="488" y="156"/>
                      <a:pt x="488" y="156"/>
                    </a:cubicBezTo>
                    <a:cubicBezTo>
                      <a:pt x="489" y="158"/>
                      <a:pt x="489" y="158"/>
                      <a:pt x="489" y="158"/>
                    </a:cubicBezTo>
                    <a:cubicBezTo>
                      <a:pt x="490" y="158"/>
                      <a:pt x="490" y="158"/>
                      <a:pt x="490" y="158"/>
                    </a:cubicBezTo>
                    <a:close/>
                    <a:moveTo>
                      <a:pt x="426" y="367"/>
                    </a:moveTo>
                    <a:cubicBezTo>
                      <a:pt x="425" y="368"/>
                      <a:pt x="425" y="368"/>
                      <a:pt x="425" y="368"/>
                    </a:cubicBezTo>
                    <a:cubicBezTo>
                      <a:pt x="425" y="368"/>
                      <a:pt x="425" y="368"/>
                      <a:pt x="424" y="369"/>
                    </a:cubicBezTo>
                    <a:cubicBezTo>
                      <a:pt x="424" y="369"/>
                      <a:pt x="424" y="369"/>
                      <a:pt x="423" y="370"/>
                    </a:cubicBezTo>
                    <a:cubicBezTo>
                      <a:pt x="423" y="370"/>
                      <a:pt x="423" y="370"/>
                      <a:pt x="423" y="369"/>
                    </a:cubicBezTo>
                    <a:cubicBezTo>
                      <a:pt x="423" y="369"/>
                      <a:pt x="423" y="369"/>
                      <a:pt x="422" y="369"/>
                    </a:cubicBezTo>
                    <a:cubicBezTo>
                      <a:pt x="422" y="369"/>
                      <a:pt x="422" y="369"/>
                      <a:pt x="424" y="368"/>
                    </a:cubicBezTo>
                    <a:cubicBezTo>
                      <a:pt x="424" y="368"/>
                      <a:pt x="424" y="368"/>
                      <a:pt x="426" y="367"/>
                    </a:cubicBezTo>
                    <a:cubicBezTo>
                      <a:pt x="426" y="367"/>
                      <a:pt x="426" y="367"/>
                      <a:pt x="426" y="365"/>
                    </a:cubicBezTo>
                    <a:cubicBezTo>
                      <a:pt x="426" y="365"/>
                      <a:pt x="426" y="365"/>
                      <a:pt x="426" y="364"/>
                    </a:cubicBezTo>
                    <a:cubicBezTo>
                      <a:pt x="426" y="364"/>
                      <a:pt x="426" y="364"/>
                      <a:pt x="425" y="364"/>
                    </a:cubicBezTo>
                    <a:cubicBezTo>
                      <a:pt x="425" y="364"/>
                      <a:pt x="425" y="364"/>
                      <a:pt x="424" y="365"/>
                    </a:cubicBezTo>
                    <a:cubicBezTo>
                      <a:pt x="424" y="365"/>
                      <a:pt x="424" y="365"/>
                      <a:pt x="423" y="365"/>
                    </a:cubicBezTo>
                    <a:cubicBezTo>
                      <a:pt x="423" y="365"/>
                      <a:pt x="423" y="365"/>
                      <a:pt x="424" y="363"/>
                    </a:cubicBezTo>
                    <a:cubicBezTo>
                      <a:pt x="424" y="363"/>
                      <a:pt x="424" y="363"/>
                      <a:pt x="422" y="363"/>
                    </a:cubicBezTo>
                    <a:cubicBezTo>
                      <a:pt x="422" y="363"/>
                      <a:pt x="422" y="363"/>
                      <a:pt x="420" y="366"/>
                    </a:cubicBezTo>
                    <a:cubicBezTo>
                      <a:pt x="420" y="366"/>
                      <a:pt x="420" y="366"/>
                      <a:pt x="420" y="368"/>
                    </a:cubicBezTo>
                    <a:cubicBezTo>
                      <a:pt x="420" y="368"/>
                      <a:pt x="420" y="368"/>
                      <a:pt x="419" y="370"/>
                    </a:cubicBezTo>
                    <a:cubicBezTo>
                      <a:pt x="419" y="370"/>
                      <a:pt x="419" y="370"/>
                      <a:pt x="419" y="371"/>
                    </a:cubicBezTo>
                    <a:cubicBezTo>
                      <a:pt x="419" y="371"/>
                      <a:pt x="419" y="371"/>
                      <a:pt x="420" y="371"/>
                    </a:cubicBezTo>
                    <a:cubicBezTo>
                      <a:pt x="420" y="371"/>
                      <a:pt x="420" y="371"/>
                      <a:pt x="421" y="372"/>
                    </a:cubicBezTo>
                    <a:cubicBezTo>
                      <a:pt x="421" y="372"/>
                      <a:pt x="421" y="372"/>
                      <a:pt x="421" y="373"/>
                    </a:cubicBezTo>
                    <a:cubicBezTo>
                      <a:pt x="421" y="373"/>
                      <a:pt x="421" y="373"/>
                      <a:pt x="420" y="372"/>
                    </a:cubicBezTo>
                    <a:cubicBezTo>
                      <a:pt x="420" y="372"/>
                      <a:pt x="420" y="372"/>
                      <a:pt x="419" y="373"/>
                    </a:cubicBezTo>
                    <a:cubicBezTo>
                      <a:pt x="419" y="373"/>
                      <a:pt x="419" y="373"/>
                      <a:pt x="420" y="374"/>
                    </a:cubicBezTo>
                    <a:cubicBezTo>
                      <a:pt x="420" y="374"/>
                      <a:pt x="420" y="374"/>
                      <a:pt x="420" y="376"/>
                    </a:cubicBezTo>
                    <a:cubicBezTo>
                      <a:pt x="420" y="376"/>
                      <a:pt x="420" y="376"/>
                      <a:pt x="422" y="377"/>
                    </a:cubicBezTo>
                    <a:cubicBezTo>
                      <a:pt x="422" y="377"/>
                      <a:pt x="422" y="377"/>
                      <a:pt x="420" y="377"/>
                    </a:cubicBezTo>
                    <a:cubicBezTo>
                      <a:pt x="420" y="377"/>
                      <a:pt x="420" y="377"/>
                      <a:pt x="420" y="378"/>
                    </a:cubicBezTo>
                    <a:cubicBezTo>
                      <a:pt x="420" y="378"/>
                      <a:pt x="420" y="378"/>
                      <a:pt x="420" y="379"/>
                    </a:cubicBezTo>
                    <a:cubicBezTo>
                      <a:pt x="420" y="379"/>
                      <a:pt x="420" y="379"/>
                      <a:pt x="421" y="379"/>
                    </a:cubicBezTo>
                    <a:cubicBezTo>
                      <a:pt x="421" y="379"/>
                      <a:pt x="421" y="379"/>
                      <a:pt x="421" y="380"/>
                    </a:cubicBezTo>
                    <a:cubicBezTo>
                      <a:pt x="421" y="380"/>
                      <a:pt x="421" y="380"/>
                      <a:pt x="421" y="382"/>
                    </a:cubicBezTo>
                    <a:cubicBezTo>
                      <a:pt x="421" y="382"/>
                      <a:pt x="421" y="382"/>
                      <a:pt x="423" y="386"/>
                    </a:cubicBezTo>
                    <a:cubicBezTo>
                      <a:pt x="423" y="386"/>
                      <a:pt x="423" y="386"/>
                      <a:pt x="425" y="386"/>
                    </a:cubicBezTo>
                    <a:cubicBezTo>
                      <a:pt x="425" y="386"/>
                      <a:pt x="425" y="386"/>
                      <a:pt x="425" y="385"/>
                    </a:cubicBezTo>
                    <a:cubicBezTo>
                      <a:pt x="425" y="385"/>
                      <a:pt x="425" y="385"/>
                      <a:pt x="425" y="384"/>
                    </a:cubicBezTo>
                    <a:cubicBezTo>
                      <a:pt x="425" y="384"/>
                      <a:pt x="425" y="384"/>
                      <a:pt x="424" y="385"/>
                    </a:cubicBezTo>
                    <a:cubicBezTo>
                      <a:pt x="424" y="385"/>
                      <a:pt x="424" y="385"/>
                      <a:pt x="424" y="383"/>
                    </a:cubicBezTo>
                    <a:cubicBezTo>
                      <a:pt x="424" y="383"/>
                      <a:pt x="424" y="383"/>
                      <a:pt x="423" y="381"/>
                    </a:cubicBezTo>
                    <a:cubicBezTo>
                      <a:pt x="423" y="381"/>
                      <a:pt x="423" y="381"/>
                      <a:pt x="423" y="379"/>
                    </a:cubicBezTo>
                    <a:cubicBezTo>
                      <a:pt x="423" y="379"/>
                      <a:pt x="423" y="379"/>
                      <a:pt x="423" y="378"/>
                    </a:cubicBezTo>
                    <a:cubicBezTo>
                      <a:pt x="423" y="378"/>
                      <a:pt x="423" y="378"/>
                      <a:pt x="424" y="376"/>
                    </a:cubicBezTo>
                    <a:cubicBezTo>
                      <a:pt x="424" y="376"/>
                      <a:pt x="424" y="376"/>
                      <a:pt x="425" y="376"/>
                    </a:cubicBezTo>
                    <a:cubicBezTo>
                      <a:pt x="425" y="376"/>
                      <a:pt x="425" y="376"/>
                      <a:pt x="425" y="375"/>
                    </a:cubicBezTo>
                    <a:cubicBezTo>
                      <a:pt x="425" y="375"/>
                      <a:pt x="425" y="375"/>
                      <a:pt x="424" y="375"/>
                    </a:cubicBezTo>
                    <a:cubicBezTo>
                      <a:pt x="424" y="375"/>
                      <a:pt x="424" y="375"/>
                      <a:pt x="423" y="375"/>
                    </a:cubicBezTo>
                    <a:cubicBezTo>
                      <a:pt x="423" y="375"/>
                      <a:pt x="423" y="375"/>
                      <a:pt x="422" y="375"/>
                    </a:cubicBezTo>
                    <a:cubicBezTo>
                      <a:pt x="422" y="375"/>
                      <a:pt x="422" y="375"/>
                      <a:pt x="423" y="374"/>
                    </a:cubicBezTo>
                    <a:cubicBezTo>
                      <a:pt x="423" y="374"/>
                      <a:pt x="423" y="374"/>
                      <a:pt x="424" y="374"/>
                    </a:cubicBezTo>
                    <a:cubicBezTo>
                      <a:pt x="424" y="374"/>
                      <a:pt x="424" y="374"/>
                      <a:pt x="425" y="373"/>
                    </a:cubicBezTo>
                    <a:cubicBezTo>
                      <a:pt x="425" y="373"/>
                      <a:pt x="425" y="373"/>
                      <a:pt x="425" y="371"/>
                    </a:cubicBezTo>
                    <a:cubicBezTo>
                      <a:pt x="425" y="371"/>
                      <a:pt x="425" y="371"/>
                      <a:pt x="427" y="369"/>
                    </a:cubicBezTo>
                    <a:cubicBezTo>
                      <a:pt x="427" y="369"/>
                      <a:pt x="427" y="369"/>
                      <a:pt x="427" y="367"/>
                    </a:cubicBezTo>
                    <a:cubicBezTo>
                      <a:pt x="427" y="367"/>
                      <a:pt x="427" y="367"/>
                      <a:pt x="429" y="365"/>
                    </a:cubicBezTo>
                    <a:cubicBezTo>
                      <a:pt x="429" y="365"/>
                      <a:pt x="429" y="365"/>
                      <a:pt x="427" y="366"/>
                    </a:cubicBezTo>
                    <a:cubicBezTo>
                      <a:pt x="427" y="366"/>
                      <a:pt x="427" y="366"/>
                      <a:pt x="426" y="367"/>
                    </a:cubicBezTo>
                    <a:close/>
                    <a:moveTo>
                      <a:pt x="500" y="171"/>
                    </a:moveTo>
                    <a:cubicBezTo>
                      <a:pt x="500" y="168"/>
                      <a:pt x="500" y="168"/>
                      <a:pt x="500" y="168"/>
                    </a:cubicBezTo>
                    <a:cubicBezTo>
                      <a:pt x="499" y="169"/>
                      <a:pt x="499" y="169"/>
                      <a:pt x="499" y="169"/>
                    </a:cubicBezTo>
                    <a:cubicBezTo>
                      <a:pt x="499" y="171"/>
                      <a:pt x="499" y="171"/>
                      <a:pt x="499" y="171"/>
                    </a:cubicBezTo>
                    <a:cubicBezTo>
                      <a:pt x="500" y="172"/>
                      <a:pt x="500" y="172"/>
                      <a:pt x="500" y="172"/>
                    </a:cubicBezTo>
                    <a:cubicBezTo>
                      <a:pt x="500" y="171"/>
                      <a:pt x="500" y="171"/>
                      <a:pt x="500" y="171"/>
                    </a:cubicBezTo>
                    <a:close/>
                    <a:moveTo>
                      <a:pt x="506" y="171"/>
                    </a:moveTo>
                    <a:cubicBezTo>
                      <a:pt x="507" y="171"/>
                      <a:pt x="507" y="171"/>
                      <a:pt x="507" y="171"/>
                    </a:cubicBezTo>
                    <a:cubicBezTo>
                      <a:pt x="511" y="168"/>
                      <a:pt x="511" y="168"/>
                      <a:pt x="511" y="168"/>
                    </a:cubicBezTo>
                    <a:cubicBezTo>
                      <a:pt x="513" y="167"/>
                      <a:pt x="513" y="167"/>
                      <a:pt x="513" y="167"/>
                    </a:cubicBezTo>
                    <a:cubicBezTo>
                      <a:pt x="514" y="165"/>
                      <a:pt x="514" y="165"/>
                      <a:pt x="514" y="165"/>
                    </a:cubicBezTo>
                    <a:cubicBezTo>
                      <a:pt x="513" y="166"/>
                      <a:pt x="513" y="166"/>
                      <a:pt x="513" y="166"/>
                    </a:cubicBezTo>
                    <a:cubicBezTo>
                      <a:pt x="512" y="165"/>
                      <a:pt x="512" y="165"/>
                      <a:pt x="512" y="165"/>
                    </a:cubicBezTo>
                    <a:cubicBezTo>
                      <a:pt x="512" y="163"/>
                      <a:pt x="512" y="163"/>
                      <a:pt x="512" y="163"/>
                    </a:cubicBezTo>
                    <a:cubicBezTo>
                      <a:pt x="511" y="163"/>
                      <a:pt x="511" y="163"/>
                      <a:pt x="511" y="163"/>
                    </a:cubicBezTo>
                    <a:cubicBezTo>
                      <a:pt x="510" y="165"/>
                      <a:pt x="510" y="165"/>
                      <a:pt x="510" y="165"/>
                    </a:cubicBezTo>
                    <a:cubicBezTo>
                      <a:pt x="509" y="165"/>
                      <a:pt x="509" y="165"/>
                      <a:pt x="509" y="165"/>
                    </a:cubicBezTo>
                    <a:cubicBezTo>
                      <a:pt x="509" y="166"/>
                      <a:pt x="509" y="166"/>
                      <a:pt x="509" y="166"/>
                    </a:cubicBezTo>
                    <a:cubicBezTo>
                      <a:pt x="508" y="166"/>
                      <a:pt x="508" y="166"/>
                      <a:pt x="508" y="166"/>
                    </a:cubicBezTo>
                    <a:cubicBezTo>
                      <a:pt x="508" y="167"/>
                      <a:pt x="508" y="167"/>
                      <a:pt x="508" y="167"/>
                    </a:cubicBezTo>
                    <a:cubicBezTo>
                      <a:pt x="508" y="168"/>
                      <a:pt x="508" y="168"/>
                      <a:pt x="508" y="168"/>
                    </a:cubicBezTo>
                    <a:cubicBezTo>
                      <a:pt x="507" y="167"/>
                      <a:pt x="507" y="167"/>
                      <a:pt x="507" y="167"/>
                    </a:cubicBezTo>
                    <a:cubicBezTo>
                      <a:pt x="507" y="166"/>
                      <a:pt x="507" y="166"/>
                      <a:pt x="507" y="166"/>
                    </a:cubicBezTo>
                    <a:cubicBezTo>
                      <a:pt x="507" y="165"/>
                      <a:pt x="507" y="165"/>
                      <a:pt x="507" y="165"/>
                    </a:cubicBezTo>
                    <a:cubicBezTo>
                      <a:pt x="506" y="166"/>
                      <a:pt x="506" y="166"/>
                      <a:pt x="506" y="166"/>
                    </a:cubicBezTo>
                    <a:cubicBezTo>
                      <a:pt x="505" y="166"/>
                      <a:pt x="505" y="166"/>
                      <a:pt x="505" y="166"/>
                    </a:cubicBezTo>
                    <a:cubicBezTo>
                      <a:pt x="505" y="167"/>
                      <a:pt x="505" y="167"/>
                      <a:pt x="505" y="167"/>
                    </a:cubicBezTo>
                    <a:cubicBezTo>
                      <a:pt x="504" y="168"/>
                      <a:pt x="504" y="168"/>
                      <a:pt x="504" y="168"/>
                    </a:cubicBezTo>
                    <a:cubicBezTo>
                      <a:pt x="504" y="170"/>
                      <a:pt x="504" y="170"/>
                      <a:pt x="504" y="170"/>
                    </a:cubicBezTo>
                    <a:cubicBezTo>
                      <a:pt x="504" y="171"/>
                      <a:pt x="504" y="171"/>
                      <a:pt x="504" y="171"/>
                    </a:cubicBezTo>
                    <a:cubicBezTo>
                      <a:pt x="504" y="172"/>
                      <a:pt x="504" y="172"/>
                      <a:pt x="504" y="172"/>
                    </a:cubicBezTo>
                    <a:cubicBezTo>
                      <a:pt x="505" y="172"/>
                      <a:pt x="505" y="172"/>
                      <a:pt x="505" y="172"/>
                    </a:cubicBezTo>
                    <a:cubicBezTo>
                      <a:pt x="506" y="171"/>
                      <a:pt x="506" y="171"/>
                      <a:pt x="506" y="171"/>
                    </a:cubicBezTo>
                    <a:close/>
                    <a:moveTo>
                      <a:pt x="507" y="163"/>
                    </a:moveTo>
                    <a:cubicBezTo>
                      <a:pt x="507" y="163"/>
                      <a:pt x="507" y="163"/>
                      <a:pt x="506" y="164"/>
                    </a:cubicBezTo>
                    <a:cubicBezTo>
                      <a:pt x="506" y="164"/>
                      <a:pt x="506" y="164"/>
                      <a:pt x="507" y="164"/>
                    </a:cubicBezTo>
                    <a:cubicBezTo>
                      <a:pt x="507" y="164"/>
                      <a:pt x="507" y="164"/>
                      <a:pt x="507" y="163"/>
                    </a:cubicBezTo>
                    <a:close/>
                    <a:moveTo>
                      <a:pt x="634" y="79"/>
                    </a:moveTo>
                    <a:cubicBezTo>
                      <a:pt x="634" y="79"/>
                      <a:pt x="634" y="79"/>
                      <a:pt x="633" y="78"/>
                    </a:cubicBezTo>
                    <a:cubicBezTo>
                      <a:pt x="633" y="78"/>
                      <a:pt x="633" y="78"/>
                      <a:pt x="632" y="78"/>
                    </a:cubicBezTo>
                    <a:cubicBezTo>
                      <a:pt x="632" y="78"/>
                      <a:pt x="632" y="78"/>
                      <a:pt x="632" y="79"/>
                    </a:cubicBezTo>
                    <a:cubicBezTo>
                      <a:pt x="632" y="79"/>
                      <a:pt x="632" y="79"/>
                      <a:pt x="633" y="79"/>
                    </a:cubicBezTo>
                    <a:cubicBezTo>
                      <a:pt x="633" y="79"/>
                      <a:pt x="633" y="79"/>
                      <a:pt x="634" y="79"/>
                    </a:cubicBezTo>
                    <a:close/>
                    <a:moveTo>
                      <a:pt x="726" y="86"/>
                    </a:moveTo>
                    <a:cubicBezTo>
                      <a:pt x="726" y="86"/>
                      <a:pt x="726" y="86"/>
                      <a:pt x="727" y="85"/>
                    </a:cubicBezTo>
                    <a:cubicBezTo>
                      <a:pt x="727" y="85"/>
                      <a:pt x="727" y="85"/>
                      <a:pt x="728" y="82"/>
                    </a:cubicBezTo>
                    <a:cubicBezTo>
                      <a:pt x="728" y="82"/>
                      <a:pt x="728" y="82"/>
                      <a:pt x="727" y="81"/>
                    </a:cubicBezTo>
                    <a:cubicBezTo>
                      <a:pt x="727" y="81"/>
                      <a:pt x="727" y="81"/>
                      <a:pt x="728" y="80"/>
                    </a:cubicBezTo>
                    <a:cubicBezTo>
                      <a:pt x="728" y="80"/>
                      <a:pt x="728" y="80"/>
                      <a:pt x="728" y="79"/>
                    </a:cubicBezTo>
                    <a:cubicBezTo>
                      <a:pt x="728" y="79"/>
                      <a:pt x="728" y="79"/>
                      <a:pt x="729" y="76"/>
                    </a:cubicBezTo>
                    <a:cubicBezTo>
                      <a:pt x="729" y="76"/>
                      <a:pt x="729" y="76"/>
                      <a:pt x="728" y="74"/>
                    </a:cubicBezTo>
                    <a:cubicBezTo>
                      <a:pt x="728" y="74"/>
                      <a:pt x="728" y="74"/>
                      <a:pt x="728" y="73"/>
                    </a:cubicBezTo>
                    <a:cubicBezTo>
                      <a:pt x="728" y="73"/>
                      <a:pt x="728" y="73"/>
                      <a:pt x="727" y="74"/>
                    </a:cubicBezTo>
                    <a:cubicBezTo>
                      <a:pt x="727" y="74"/>
                      <a:pt x="727" y="74"/>
                      <a:pt x="727" y="75"/>
                    </a:cubicBezTo>
                    <a:cubicBezTo>
                      <a:pt x="727" y="75"/>
                      <a:pt x="727" y="75"/>
                      <a:pt x="726" y="77"/>
                    </a:cubicBezTo>
                    <a:cubicBezTo>
                      <a:pt x="726" y="77"/>
                      <a:pt x="726" y="77"/>
                      <a:pt x="726" y="78"/>
                    </a:cubicBezTo>
                    <a:cubicBezTo>
                      <a:pt x="726" y="78"/>
                      <a:pt x="726" y="78"/>
                      <a:pt x="726" y="79"/>
                    </a:cubicBezTo>
                    <a:cubicBezTo>
                      <a:pt x="726" y="79"/>
                      <a:pt x="726" y="79"/>
                      <a:pt x="724" y="80"/>
                    </a:cubicBezTo>
                    <a:cubicBezTo>
                      <a:pt x="724" y="80"/>
                      <a:pt x="724" y="80"/>
                      <a:pt x="724" y="81"/>
                    </a:cubicBezTo>
                    <a:cubicBezTo>
                      <a:pt x="724" y="81"/>
                      <a:pt x="724" y="81"/>
                      <a:pt x="724" y="83"/>
                    </a:cubicBezTo>
                    <a:cubicBezTo>
                      <a:pt x="724" y="83"/>
                      <a:pt x="724" y="83"/>
                      <a:pt x="723" y="84"/>
                    </a:cubicBezTo>
                    <a:cubicBezTo>
                      <a:pt x="723" y="84"/>
                      <a:pt x="723" y="84"/>
                      <a:pt x="724" y="86"/>
                    </a:cubicBezTo>
                    <a:cubicBezTo>
                      <a:pt x="724" y="86"/>
                      <a:pt x="724" y="86"/>
                      <a:pt x="726" y="86"/>
                    </a:cubicBezTo>
                    <a:close/>
                    <a:moveTo>
                      <a:pt x="722" y="95"/>
                    </a:moveTo>
                    <a:cubicBezTo>
                      <a:pt x="722" y="95"/>
                      <a:pt x="722" y="95"/>
                      <a:pt x="722" y="94"/>
                    </a:cubicBezTo>
                    <a:cubicBezTo>
                      <a:pt x="722" y="94"/>
                      <a:pt x="722" y="94"/>
                      <a:pt x="721" y="94"/>
                    </a:cubicBezTo>
                    <a:cubicBezTo>
                      <a:pt x="721" y="94"/>
                      <a:pt x="721" y="94"/>
                      <a:pt x="720" y="94"/>
                    </a:cubicBezTo>
                    <a:cubicBezTo>
                      <a:pt x="720" y="94"/>
                      <a:pt x="720" y="94"/>
                      <a:pt x="719" y="95"/>
                    </a:cubicBezTo>
                    <a:cubicBezTo>
                      <a:pt x="719" y="95"/>
                      <a:pt x="719" y="95"/>
                      <a:pt x="719" y="96"/>
                    </a:cubicBezTo>
                    <a:cubicBezTo>
                      <a:pt x="719" y="96"/>
                      <a:pt x="719" y="96"/>
                      <a:pt x="719" y="97"/>
                    </a:cubicBezTo>
                    <a:cubicBezTo>
                      <a:pt x="719" y="97"/>
                      <a:pt x="719" y="97"/>
                      <a:pt x="718" y="98"/>
                    </a:cubicBezTo>
                    <a:cubicBezTo>
                      <a:pt x="718" y="98"/>
                      <a:pt x="718" y="98"/>
                      <a:pt x="718" y="100"/>
                    </a:cubicBezTo>
                    <a:cubicBezTo>
                      <a:pt x="718" y="100"/>
                      <a:pt x="718" y="100"/>
                      <a:pt x="719" y="100"/>
                    </a:cubicBezTo>
                    <a:cubicBezTo>
                      <a:pt x="719" y="100"/>
                      <a:pt x="719" y="100"/>
                      <a:pt x="721" y="100"/>
                    </a:cubicBezTo>
                    <a:cubicBezTo>
                      <a:pt x="721" y="100"/>
                      <a:pt x="721" y="100"/>
                      <a:pt x="722" y="101"/>
                    </a:cubicBezTo>
                    <a:cubicBezTo>
                      <a:pt x="722" y="101"/>
                      <a:pt x="722" y="101"/>
                      <a:pt x="723" y="101"/>
                    </a:cubicBezTo>
                    <a:cubicBezTo>
                      <a:pt x="723" y="101"/>
                      <a:pt x="723" y="101"/>
                      <a:pt x="723" y="100"/>
                    </a:cubicBezTo>
                    <a:cubicBezTo>
                      <a:pt x="723" y="100"/>
                      <a:pt x="723" y="100"/>
                      <a:pt x="723" y="99"/>
                    </a:cubicBezTo>
                    <a:cubicBezTo>
                      <a:pt x="723" y="99"/>
                      <a:pt x="723" y="99"/>
                      <a:pt x="723" y="98"/>
                    </a:cubicBezTo>
                    <a:cubicBezTo>
                      <a:pt x="723" y="98"/>
                      <a:pt x="723" y="98"/>
                      <a:pt x="723" y="97"/>
                    </a:cubicBezTo>
                    <a:cubicBezTo>
                      <a:pt x="723" y="97"/>
                      <a:pt x="723" y="97"/>
                      <a:pt x="723" y="96"/>
                    </a:cubicBezTo>
                    <a:cubicBezTo>
                      <a:pt x="723" y="96"/>
                      <a:pt x="723" y="96"/>
                      <a:pt x="722" y="96"/>
                    </a:cubicBezTo>
                    <a:cubicBezTo>
                      <a:pt x="722" y="96"/>
                      <a:pt x="722" y="96"/>
                      <a:pt x="722" y="95"/>
                    </a:cubicBezTo>
                    <a:close/>
                    <a:moveTo>
                      <a:pt x="746" y="68"/>
                    </a:moveTo>
                    <a:cubicBezTo>
                      <a:pt x="746" y="68"/>
                      <a:pt x="746" y="68"/>
                      <a:pt x="745" y="68"/>
                    </a:cubicBezTo>
                    <a:cubicBezTo>
                      <a:pt x="745" y="68"/>
                      <a:pt x="745" y="68"/>
                      <a:pt x="744" y="69"/>
                    </a:cubicBezTo>
                    <a:cubicBezTo>
                      <a:pt x="744" y="69"/>
                      <a:pt x="744" y="69"/>
                      <a:pt x="743" y="70"/>
                    </a:cubicBezTo>
                    <a:cubicBezTo>
                      <a:pt x="743" y="70"/>
                      <a:pt x="743" y="70"/>
                      <a:pt x="744" y="70"/>
                    </a:cubicBezTo>
                    <a:cubicBezTo>
                      <a:pt x="744" y="70"/>
                      <a:pt x="744" y="70"/>
                      <a:pt x="745" y="69"/>
                    </a:cubicBezTo>
                    <a:cubicBezTo>
                      <a:pt x="745" y="69"/>
                      <a:pt x="745" y="69"/>
                      <a:pt x="746" y="68"/>
                    </a:cubicBezTo>
                    <a:close/>
                    <a:moveTo>
                      <a:pt x="730" y="104"/>
                    </a:moveTo>
                    <a:cubicBezTo>
                      <a:pt x="730" y="104"/>
                      <a:pt x="730" y="104"/>
                      <a:pt x="730" y="103"/>
                    </a:cubicBezTo>
                    <a:cubicBezTo>
                      <a:pt x="730" y="103"/>
                      <a:pt x="730" y="103"/>
                      <a:pt x="729" y="102"/>
                    </a:cubicBezTo>
                    <a:cubicBezTo>
                      <a:pt x="729" y="102"/>
                      <a:pt x="729" y="102"/>
                      <a:pt x="728" y="102"/>
                    </a:cubicBezTo>
                    <a:cubicBezTo>
                      <a:pt x="728" y="102"/>
                      <a:pt x="728" y="102"/>
                      <a:pt x="727" y="103"/>
                    </a:cubicBezTo>
                    <a:cubicBezTo>
                      <a:pt x="727" y="103"/>
                      <a:pt x="727" y="103"/>
                      <a:pt x="726" y="104"/>
                    </a:cubicBezTo>
                    <a:cubicBezTo>
                      <a:pt x="726" y="104"/>
                      <a:pt x="726" y="104"/>
                      <a:pt x="726" y="105"/>
                    </a:cubicBezTo>
                    <a:cubicBezTo>
                      <a:pt x="726" y="105"/>
                      <a:pt x="726" y="105"/>
                      <a:pt x="727" y="105"/>
                    </a:cubicBezTo>
                    <a:cubicBezTo>
                      <a:pt x="727" y="105"/>
                      <a:pt x="727" y="105"/>
                      <a:pt x="728" y="106"/>
                    </a:cubicBezTo>
                    <a:cubicBezTo>
                      <a:pt x="728" y="106"/>
                      <a:pt x="728" y="106"/>
                      <a:pt x="727" y="106"/>
                    </a:cubicBezTo>
                    <a:cubicBezTo>
                      <a:pt x="727" y="106"/>
                      <a:pt x="727" y="106"/>
                      <a:pt x="726" y="107"/>
                    </a:cubicBezTo>
                    <a:cubicBezTo>
                      <a:pt x="726" y="107"/>
                      <a:pt x="726" y="107"/>
                      <a:pt x="725" y="107"/>
                    </a:cubicBezTo>
                    <a:cubicBezTo>
                      <a:pt x="725" y="107"/>
                      <a:pt x="725" y="107"/>
                      <a:pt x="725" y="109"/>
                    </a:cubicBezTo>
                    <a:cubicBezTo>
                      <a:pt x="725" y="109"/>
                      <a:pt x="725" y="109"/>
                      <a:pt x="726" y="109"/>
                    </a:cubicBezTo>
                    <a:cubicBezTo>
                      <a:pt x="726" y="109"/>
                      <a:pt x="726" y="109"/>
                      <a:pt x="726" y="110"/>
                    </a:cubicBezTo>
                    <a:cubicBezTo>
                      <a:pt x="726" y="110"/>
                      <a:pt x="726" y="110"/>
                      <a:pt x="724" y="111"/>
                    </a:cubicBezTo>
                    <a:cubicBezTo>
                      <a:pt x="724" y="111"/>
                      <a:pt x="724" y="111"/>
                      <a:pt x="724" y="112"/>
                    </a:cubicBezTo>
                    <a:cubicBezTo>
                      <a:pt x="724" y="112"/>
                      <a:pt x="724" y="112"/>
                      <a:pt x="725" y="112"/>
                    </a:cubicBezTo>
                    <a:cubicBezTo>
                      <a:pt x="725" y="112"/>
                      <a:pt x="725" y="112"/>
                      <a:pt x="725" y="114"/>
                    </a:cubicBezTo>
                    <a:cubicBezTo>
                      <a:pt x="725" y="114"/>
                      <a:pt x="725" y="114"/>
                      <a:pt x="724" y="114"/>
                    </a:cubicBezTo>
                    <a:cubicBezTo>
                      <a:pt x="724" y="114"/>
                      <a:pt x="724" y="114"/>
                      <a:pt x="724" y="112"/>
                    </a:cubicBezTo>
                    <a:cubicBezTo>
                      <a:pt x="724" y="112"/>
                      <a:pt x="724" y="112"/>
                      <a:pt x="723" y="112"/>
                    </a:cubicBezTo>
                    <a:cubicBezTo>
                      <a:pt x="723" y="112"/>
                      <a:pt x="723" y="112"/>
                      <a:pt x="723" y="111"/>
                    </a:cubicBezTo>
                    <a:cubicBezTo>
                      <a:pt x="723" y="111"/>
                      <a:pt x="723" y="111"/>
                      <a:pt x="722" y="111"/>
                    </a:cubicBezTo>
                    <a:cubicBezTo>
                      <a:pt x="722" y="111"/>
                      <a:pt x="722" y="111"/>
                      <a:pt x="721" y="111"/>
                    </a:cubicBezTo>
                    <a:cubicBezTo>
                      <a:pt x="721" y="111"/>
                      <a:pt x="721" y="111"/>
                      <a:pt x="721" y="112"/>
                    </a:cubicBezTo>
                    <a:cubicBezTo>
                      <a:pt x="721" y="112"/>
                      <a:pt x="721" y="112"/>
                      <a:pt x="720" y="113"/>
                    </a:cubicBezTo>
                    <a:cubicBezTo>
                      <a:pt x="720" y="113"/>
                      <a:pt x="720" y="113"/>
                      <a:pt x="719" y="113"/>
                    </a:cubicBezTo>
                    <a:cubicBezTo>
                      <a:pt x="719" y="113"/>
                      <a:pt x="719" y="113"/>
                      <a:pt x="719" y="114"/>
                    </a:cubicBezTo>
                    <a:cubicBezTo>
                      <a:pt x="719" y="114"/>
                      <a:pt x="719" y="114"/>
                      <a:pt x="718" y="114"/>
                    </a:cubicBezTo>
                    <a:cubicBezTo>
                      <a:pt x="718" y="114"/>
                      <a:pt x="718" y="114"/>
                      <a:pt x="718" y="115"/>
                    </a:cubicBezTo>
                    <a:cubicBezTo>
                      <a:pt x="718" y="115"/>
                      <a:pt x="718" y="115"/>
                      <a:pt x="719" y="115"/>
                    </a:cubicBezTo>
                    <a:cubicBezTo>
                      <a:pt x="719" y="115"/>
                      <a:pt x="719" y="115"/>
                      <a:pt x="719" y="116"/>
                    </a:cubicBezTo>
                    <a:cubicBezTo>
                      <a:pt x="719" y="116"/>
                      <a:pt x="719" y="116"/>
                      <a:pt x="720" y="115"/>
                    </a:cubicBezTo>
                    <a:cubicBezTo>
                      <a:pt x="720" y="115"/>
                      <a:pt x="720" y="115"/>
                      <a:pt x="721" y="115"/>
                    </a:cubicBezTo>
                    <a:cubicBezTo>
                      <a:pt x="721" y="115"/>
                      <a:pt x="721" y="115"/>
                      <a:pt x="722" y="116"/>
                    </a:cubicBezTo>
                    <a:cubicBezTo>
                      <a:pt x="722" y="116"/>
                      <a:pt x="722" y="116"/>
                      <a:pt x="723" y="115"/>
                    </a:cubicBezTo>
                    <a:cubicBezTo>
                      <a:pt x="723" y="115"/>
                      <a:pt x="723" y="115"/>
                      <a:pt x="724" y="116"/>
                    </a:cubicBezTo>
                    <a:cubicBezTo>
                      <a:pt x="724" y="116"/>
                      <a:pt x="724" y="116"/>
                      <a:pt x="726" y="116"/>
                    </a:cubicBezTo>
                    <a:cubicBezTo>
                      <a:pt x="726" y="116"/>
                      <a:pt x="726" y="116"/>
                      <a:pt x="727" y="116"/>
                    </a:cubicBezTo>
                    <a:cubicBezTo>
                      <a:pt x="727" y="116"/>
                      <a:pt x="727" y="116"/>
                      <a:pt x="728" y="116"/>
                    </a:cubicBezTo>
                    <a:cubicBezTo>
                      <a:pt x="728" y="116"/>
                      <a:pt x="728" y="116"/>
                      <a:pt x="733" y="117"/>
                    </a:cubicBezTo>
                    <a:cubicBezTo>
                      <a:pt x="733" y="117"/>
                      <a:pt x="733" y="117"/>
                      <a:pt x="734" y="118"/>
                    </a:cubicBezTo>
                    <a:cubicBezTo>
                      <a:pt x="734" y="118"/>
                      <a:pt x="734" y="118"/>
                      <a:pt x="733" y="118"/>
                    </a:cubicBezTo>
                    <a:cubicBezTo>
                      <a:pt x="733" y="118"/>
                      <a:pt x="733" y="118"/>
                      <a:pt x="731" y="118"/>
                    </a:cubicBezTo>
                    <a:cubicBezTo>
                      <a:pt x="731" y="118"/>
                      <a:pt x="731" y="118"/>
                      <a:pt x="730" y="118"/>
                    </a:cubicBezTo>
                    <a:cubicBezTo>
                      <a:pt x="730" y="118"/>
                      <a:pt x="730" y="118"/>
                      <a:pt x="729" y="119"/>
                    </a:cubicBezTo>
                    <a:cubicBezTo>
                      <a:pt x="729" y="119"/>
                      <a:pt x="729" y="119"/>
                      <a:pt x="727" y="119"/>
                    </a:cubicBezTo>
                    <a:cubicBezTo>
                      <a:pt x="727" y="119"/>
                      <a:pt x="727" y="119"/>
                      <a:pt x="728" y="120"/>
                    </a:cubicBezTo>
                    <a:cubicBezTo>
                      <a:pt x="728" y="120"/>
                      <a:pt x="728" y="120"/>
                      <a:pt x="727" y="120"/>
                    </a:cubicBezTo>
                    <a:cubicBezTo>
                      <a:pt x="727" y="120"/>
                      <a:pt x="727" y="120"/>
                      <a:pt x="725" y="120"/>
                    </a:cubicBezTo>
                    <a:cubicBezTo>
                      <a:pt x="725" y="120"/>
                      <a:pt x="725" y="120"/>
                      <a:pt x="724" y="119"/>
                    </a:cubicBezTo>
                    <a:cubicBezTo>
                      <a:pt x="724" y="119"/>
                      <a:pt x="724" y="119"/>
                      <a:pt x="724" y="120"/>
                    </a:cubicBezTo>
                    <a:cubicBezTo>
                      <a:pt x="724" y="120"/>
                      <a:pt x="724" y="120"/>
                      <a:pt x="723" y="121"/>
                    </a:cubicBezTo>
                    <a:cubicBezTo>
                      <a:pt x="723" y="121"/>
                      <a:pt x="723" y="121"/>
                      <a:pt x="723" y="120"/>
                    </a:cubicBezTo>
                    <a:cubicBezTo>
                      <a:pt x="723" y="120"/>
                      <a:pt x="723" y="120"/>
                      <a:pt x="722" y="120"/>
                    </a:cubicBezTo>
                    <a:cubicBezTo>
                      <a:pt x="722" y="120"/>
                      <a:pt x="722" y="120"/>
                      <a:pt x="722" y="121"/>
                    </a:cubicBezTo>
                    <a:cubicBezTo>
                      <a:pt x="722" y="121"/>
                      <a:pt x="722" y="121"/>
                      <a:pt x="723" y="122"/>
                    </a:cubicBezTo>
                    <a:cubicBezTo>
                      <a:pt x="723" y="122"/>
                      <a:pt x="723" y="122"/>
                      <a:pt x="724" y="122"/>
                    </a:cubicBezTo>
                    <a:cubicBezTo>
                      <a:pt x="724" y="122"/>
                      <a:pt x="724" y="122"/>
                      <a:pt x="724" y="123"/>
                    </a:cubicBezTo>
                    <a:cubicBezTo>
                      <a:pt x="724" y="123"/>
                      <a:pt x="724" y="123"/>
                      <a:pt x="724" y="124"/>
                    </a:cubicBezTo>
                    <a:cubicBezTo>
                      <a:pt x="724" y="124"/>
                      <a:pt x="724" y="124"/>
                      <a:pt x="723" y="123"/>
                    </a:cubicBezTo>
                    <a:cubicBezTo>
                      <a:pt x="723" y="123"/>
                      <a:pt x="723" y="123"/>
                      <a:pt x="722" y="124"/>
                    </a:cubicBezTo>
                    <a:cubicBezTo>
                      <a:pt x="722" y="124"/>
                      <a:pt x="722" y="124"/>
                      <a:pt x="722" y="125"/>
                    </a:cubicBezTo>
                    <a:cubicBezTo>
                      <a:pt x="722" y="125"/>
                      <a:pt x="722" y="125"/>
                      <a:pt x="722" y="127"/>
                    </a:cubicBezTo>
                    <a:cubicBezTo>
                      <a:pt x="722" y="127"/>
                      <a:pt x="722" y="127"/>
                      <a:pt x="723" y="127"/>
                    </a:cubicBezTo>
                    <a:cubicBezTo>
                      <a:pt x="723" y="127"/>
                      <a:pt x="723" y="127"/>
                      <a:pt x="724" y="127"/>
                    </a:cubicBezTo>
                    <a:cubicBezTo>
                      <a:pt x="724" y="127"/>
                      <a:pt x="724" y="127"/>
                      <a:pt x="725" y="128"/>
                    </a:cubicBezTo>
                    <a:cubicBezTo>
                      <a:pt x="725" y="128"/>
                      <a:pt x="725" y="128"/>
                      <a:pt x="726" y="127"/>
                    </a:cubicBezTo>
                    <a:cubicBezTo>
                      <a:pt x="726" y="127"/>
                      <a:pt x="726" y="127"/>
                      <a:pt x="726" y="128"/>
                    </a:cubicBezTo>
                    <a:cubicBezTo>
                      <a:pt x="726" y="128"/>
                      <a:pt x="726" y="128"/>
                      <a:pt x="727" y="128"/>
                    </a:cubicBezTo>
                    <a:cubicBezTo>
                      <a:pt x="727" y="128"/>
                      <a:pt x="727" y="128"/>
                      <a:pt x="728" y="127"/>
                    </a:cubicBezTo>
                    <a:cubicBezTo>
                      <a:pt x="728" y="127"/>
                      <a:pt x="728" y="127"/>
                      <a:pt x="728" y="128"/>
                    </a:cubicBezTo>
                    <a:cubicBezTo>
                      <a:pt x="728" y="128"/>
                      <a:pt x="728" y="128"/>
                      <a:pt x="729" y="129"/>
                    </a:cubicBezTo>
                    <a:cubicBezTo>
                      <a:pt x="729" y="129"/>
                      <a:pt x="729" y="129"/>
                      <a:pt x="732" y="129"/>
                    </a:cubicBezTo>
                    <a:cubicBezTo>
                      <a:pt x="732" y="129"/>
                      <a:pt x="732" y="129"/>
                      <a:pt x="733" y="128"/>
                    </a:cubicBezTo>
                    <a:cubicBezTo>
                      <a:pt x="733" y="128"/>
                      <a:pt x="733" y="128"/>
                      <a:pt x="733" y="127"/>
                    </a:cubicBezTo>
                    <a:cubicBezTo>
                      <a:pt x="733" y="127"/>
                      <a:pt x="733" y="127"/>
                      <a:pt x="733" y="126"/>
                    </a:cubicBezTo>
                    <a:cubicBezTo>
                      <a:pt x="733" y="126"/>
                      <a:pt x="733" y="126"/>
                      <a:pt x="734" y="127"/>
                    </a:cubicBezTo>
                    <a:cubicBezTo>
                      <a:pt x="734" y="127"/>
                      <a:pt x="734" y="127"/>
                      <a:pt x="734" y="129"/>
                    </a:cubicBezTo>
                    <a:cubicBezTo>
                      <a:pt x="734" y="129"/>
                      <a:pt x="734" y="129"/>
                      <a:pt x="735" y="128"/>
                    </a:cubicBezTo>
                    <a:cubicBezTo>
                      <a:pt x="735" y="128"/>
                      <a:pt x="735" y="128"/>
                      <a:pt x="735" y="127"/>
                    </a:cubicBezTo>
                    <a:cubicBezTo>
                      <a:pt x="735" y="127"/>
                      <a:pt x="735" y="127"/>
                      <a:pt x="735" y="126"/>
                    </a:cubicBezTo>
                    <a:cubicBezTo>
                      <a:pt x="735" y="126"/>
                      <a:pt x="735" y="126"/>
                      <a:pt x="735" y="125"/>
                    </a:cubicBezTo>
                    <a:cubicBezTo>
                      <a:pt x="735" y="125"/>
                      <a:pt x="735" y="125"/>
                      <a:pt x="734" y="125"/>
                    </a:cubicBezTo>
                    <a:cubicBezTo>
                      <a:pt x="734" y="125"/>
                      <a:pt x="734" y="125"/>
                      <a:pt x="734" y="124"/>
                    </a:cubicBezTo>
                    <a:cubicBezTo>
                      <a:pt x="734" y="124"/>
                      <a:pt x="734" y="124"/>
                      <a:pt x="735" y="123"/>
                    </a:cubicBezTo>
                    <a:cubicBezTo>
                      <a:pt x="735" y="123"/>
                      <a:pt x="735" y="123"/>
                      <a:pt x="736" y="123"/>
                    </a:cubicBezTo>
                    <a:cubicBezTo>
                      <a:pt x="736" y="123"/>
                      <a:pt x="736" y="123"/>
                      <a:pt x="737" y="122"/>
                    </a:cubicBezTo>
                    <a:cubicBezTo>
                      <a:pt x="737" y="122"/>
                      <a:pt x="737" y="122"/>
                      <a:pt x="737" y="121"/>
                    </a:cubicBezTo>
                    <a:cubicBezTo>
                      <a:pt x="737" y="121"/>
                      <a:pt x="737" y="121"/>
                      <a:pt x="738" y="121"/>
                    </a:cubicBezTo>
                    <a:cubicBezTo>
                      <a:pt x="738" y="121"/>
                      <a:pt x="738" y="121"/>
                      <a:pt x="738" y="122"/>
                    </a:cubicBezTo>
                    <a:cubicBezTo>
                      <a:pt x="738" y="122"/>
                      <a:pt x="738" y="122"/>
                      <a:pt x="738" y="123"/>
                    </a:cubicBezTo>
                    <a:cubicBezTo>
                      <a:pt x="738" y="123"/>
                      <a:pt x="738" y="123"/>
                      <a:pt x="739" y="122"/>
                    </a:cubicBezTo>
                    <a:cubicBezTo>
                      <a:pt x="739" y="122"/>
                      <a:pt x="739" y="122"/>
                      <a:pt x="740" y="120"/>
                    </a:cubicBezTo>
                    <a:cubicBezTo>
                      <a:pt x="740" y="120"/>
                      <a:pt x="740" y="120"/>
                      <a:pt x="740" y="119"/>
                    </a:cubicBezTo>
                    <a:cubicBezTo>
                      <a:pt x="740" y="119"/>
                      <a:pt x="740" y="119"/>
                      <a:pt x="739" y="119"/>
                    </a:cubicBezTo>
                    <a:cubicBezTo>
                      <a:pt x="739" y="119"/>
                      <a:pt x="739" y="119"/>
                      <a:pt x="739" y="118"/>
                    </a:cubicBezTo>
                    <a:cubicBezTo>
                      <a:pt x="739" y="118"/>
                      <a:pt x="739" y="118"/>
                      <a:pt x="740" y="118"/>
                    </a:cubicBezTo>
                    <a:cubicBezTo>
                      <a:pt x="740" y="118"/>
                      <a:pt x="740" y="118"/>
                      <a:pt x="741" y="118"/>
                    </a:cubicBezTo>
                    <a:cubicBezTo>
                      <a:pt x="741" y="118"/>
                      <a:pt x="741" y="118"/>
                      <a:pt x="741" y="117"/>
                    </a:cubicBezTo>
                    <a:cubicBezTo>
                      <a:pt x="741" y="117"/>
                      <a:pt x="741" y="117"/>
                      <a:pt x="741" y="116"/>
                    </a:cubicBezTo>
                    <a:cubicBezTo>
                      <a:pt x="741" y="116"/>
                      <a:pt x="741" y="116"/>
                      <a:pt x="742" y="115"/>
                    </a:cubicBezTo>
                    <a:cubicBezTo>
                      <a:pt x="742" y="115"/>
                      <a:pt x="742" y="115"/>
                      <a:pt x="743" y="114"/>
                    </a:cubicBezTo>
                    <a:cubicBezTo>
                      <a:pt x="743" y="114"/>
                      <a:pt x="743" y="114"/>
                      <a:pt x="744" y="113"/>
                    </a:cubicBezTo>
                    <a:cubicBezTo>
                      <a:pt x="744" y="113"/>
                      <a:pt x="744" y="113"/>
                      <a:pt x="745" y="112"/>
                    </a:cubicBezTo>
                    <a:cubicBezTo>
                      <a:pt x="745" y="112"/>
                      <a:pt x="745" y="112"/>
                      <a:pt x="746" y="111"/>
                    </a:cubicBezTo>
                    <a:cubicBezTo>
                      <a:pt x="746" y="111"/>
                      <a:pt x="746" y="111"/>
                      <a:pt x="746" y="110"/>
                    </a:cubicBezTo>
                    <a:cubicBezTo>
                      <a:pt x="746" y="110"/>
                      <a:pt x="746" y="110"/>
                      <a:pt x="747" y="108"/>
                    </a:cubicBezTo>
                    <a:cubicBezTo>
                      <a:pt x="747" y="108"/>
                      <a:pt x="747" y="108"/>
                      <a:pt x="748" y="107"/>
                    </a:cubicBezTo>
                    <a:cubicBezTo>
                      <a:pt x="748" y="107"/>
                      <a:pt x="748" y="107"/>
                      <a:pt x="748" y="106"/>
                    </a:cubicBezTo>
                    <a:cubicBezTo>
                      <a:pt x="748" y="106"/>
                      <a:pt x="748" y="106"/>
                      <a:pt x="748" y="105"/>
                    </a:cubicBezTo>
                    <a:cubicBezTo>
                      <a:pt x="748" y="105"/>
                      <a:pt x="748" y="105"/>
                      <a:pt x="746" y="104"/>
                    </a:cubicBezTo>
                    <a:cubicBezTo>
                      <a:pt x="746" y="104"/>
                      <a:pt x="746" y="104"/>
                      <a:pt x="746" y="103"/>
                    </a:cubicBezTo>
                    <a:cubicBezTo>
                      <a:pt x="746" y="103"/>
                      <a:pt x="746" y="103"/>
                      <a:pt x="747" y="103"/>
                    </a:cubicBezTo>
                    <a:cubicBezTo>
                      <a:pt x="747" y="103"/>
                      <a:pt x="747" y="103"/>
                      <a:pt x="747" y="102"/>
                    </a:cubicBezTo>
                    <a:cubicBezTo>
                      <a:pt x="747" y="102"/>
                      <a:pt x="747" y="102"/>
                      <a:pt x="747" y="101"/>
                    </a:cubicBezTo>
                    <a:cubicBezTo>
                      <a:pt x="747" y="101"/>
                      <a:pt x="747" y="101"/>
                      <a:pt x="746" y="100"/>
                    </a:cubicBezTo>
                    <a:cubicBezTo>
                      <a:pt x="746" y="100"/>
                      <a:pt x="746" y="100"/>
                      <a:pt x="745" y="100"/>
                    </a:cubicBezTo>
                    <a:cubicBezTo>
                      <a:pt x="745" y="100"/>
                      <a:pt x="745" y="100"/>
                      <a:pt x="746" y="101"/>
                    </a:cubicBezTo>
                    <a:cubicBezTo>
                      <a:pt x="746" y="101"/>
                      <a:pt x="746" y="101"/>
                      <a:pt x="746" y="102"/>
                    </a:cubicBezTo>
                    <a:cubicBezTo>
                      <a:pt x="746" y="102"/>
                      <a:pt x="746" y="102"/>
                      <a:pt x="745" y="102"/>
                    </a:cubicBezTo>
                    <a:cubicBezTo>
                      <a:pt x="745" y="102"/>
                      <a:pt x="745" y="102"/>
                      <a:pt x="744" y="101"/>
                    </a:cubicBezTo>
                    <a:cubicBezTo>
                      <a:pt x="744" y="101"/>
                      <a:pt x="744" y="101"/>
                      <a:pt x="743" y="102"/>
                    </a:cubicBezTo>
                    <a:cubicBezTo>
                      <a:pt x="743" y="102"/>
                      <a:pt x="743" y="102"/>
                      <a:pt x="743" y="104"/>
                    </a:cubicBezTo>
                    <a:cubicBezTo>
                      <a:pt x="743" y="104"/>
                      <a:pt x="743" y="104"/>
                      <a:pt x="742" y="105"/>
                    </a:cubicBezTo>
                    <a:cubicBezTo>
                      <a:pt x="742" y="105"/>
                      <a:pt x="742" y="105"/>
                      <a:pt x="741" y="105"/>
                    </a:cubicBezTo>
                    <a:cubicBezTo>
                      <a:pt x="741" y="105"/>
                      <a:pt x="741" y="105"/>
                      <a:pt x="740" y="104"/>
                    </a:cubicBezTo>
                    <a:cubicBezTo>
                      <a:pt x="740" y="104"/>
                      <a:pt x="740" y="104"/>
                      <a:pt x="741" y="103"/>
                    </a:cubicBezTo>
                    <a:cubicBezTo>
                      <a:pt x="741" y="103"/>
                      <a:pt x="741" y="103"/>
                      <a:pt x="742" y="101"/>
                    </a:cubicBezTo>
                    <a:cubicBezTo>
                      <a:pt x="742" y="101"/>
                      <a:pt x="742" y="101"/>
                      <a:pt x="741" y="100"/>
                    </a:cubicBezTo>
                    <a:cubicBezTo>
                      <a:pt x="741" y="100"/>
                      <a:pt x="741" y="100"/>
                      <a:pt x="740" y="101"/>
                    </a:cubicBezTo>
                    <a:cubicBezTo>
                      <a:pt x="740" y="101"/>
                      <a:pt x="740" y="101"/>
                      <a:pt x="739" y="100"/>
                    </a:cubicBezTo>
                    <a:cubicBezTo>
                      <a:pt x="739" y="100"/>
                      <a:pt x="739" y="100"/>
                      <a:pt x="739" y="99"/>
                    </a:cubicBezTo>
                    <a:cubicBezTo>
                      <a:pt x="738" y="99"/>
                      <a:pt x="738" y="99"/>
                      <a:pt x="738" y="99"/>
                    </a:cubicBezTo>
                    <a:cubicBezTo>
                      <a:pt x="737" y="100"/>
                      <a:pt x="737" y="100"/>
                      <a:pt x="737" y="100"/>
                    </a:cubicBezTo>
                    <a:cubicBezTo>
                      <a:pt x="737" y="100"/>
                      <a:pt x="737" y="100"/>
                      <a:pt x="736" y="100"/>
                    </a:cubicBezTo>
                    <a:cubicBezTo>
                      <a:pt x="736" y="100"/>
                      <a:pt x="736" y="100"/>
                      <a:pt x="735" y="100"/>
                    </a:cubicBezTo>
                    <a:cubicBezTo>
                      <a:pt x="735" y="100"/>
                      <a:pt x="735" y="100"/>
                      <a:pt x="734" y="101"/>
                    </a:cubicBezTo>
                    <a:cubicBezTo>
                      <a:pt x="734" y="101"/>
                      <a:pt x="734" y="101"/>
                      <a:pt x="733" y="101"/>
                    </a:cubicBezTo>
                    <a:cubicBezTo>
                      <a:pt x="733" y="101"/>
                      <a:pt x="733" y="101"/>
                      <a:pt x="733" y="103"/>
                    </a:cubicBezTo>
                    <a:cubicBezTo>
                      <a:pt x="733" y="103"/>
                      <a:pt x="733" y="103"/>
                      <a:pt x="733" y="105"/>
                    </a:cubicBezTo>
                    <a:cubicBezTo>
                      <a:pt x="733" y="105"/>
                      <a:pt x="733" y="105"/>
                      <a:pt x="735" y="106"/>
                    </a:cubicBezTo>
                    <a:cubicBezTo>
                      <a:pt x="735" y="106"/>
                      <a:pt x="735" y="106"/>
                      <a:pt x="735" y="107"/>
                    </a:cubicBezTo>
                    <a:cubicBezTo>
                      <a:pt x="735" y="107"/>
                      <a:pt x="735" y="107"/>
                      <a:pt x="734" y="106"/>
                    </a:cubicBezTo>
                    <a:cubicBezTo>
                      <a:pt x="734" y="106"/>
                      <a:pt x="734" y="106"/>
                      <a:pt x="733" y="106"/>
                    </a:cubicBezTo>
                    <a:cubicBezTo>
                      <a:pt x="733" y="106"/>
                      <a:pt x="733" y="106"/>
                      <a:pt x="732" y="107"/>
                    </a:cubicBezTo>
                    <a:cubicBezTo>
                      <a:pt x="732" y="107"/>
                      <a:pt x="732" y="107"/>
                      <a:pt x="734" y="108"/>
                    </a:cubicBezTo>
                    <a:cubicBezTo>
                      <a:pt x="734" y="108"/>
                      <a:pt x="734" y="108"/>
                      <a:pt x="734" y="109"/>
                    </a:cubicBezTo>
                    <a:cubicBezTo>
                      <a:pt x="734" y="109"/>
                      <a:pt x="734" y="109"/>
                      <a:pt x="733" y="109"/>
                    </a:cubicBezTo>
                    <a:cubicBezTo>
                      <a:pt x="733" y="109"/>
                      <a:pt x="733" y="109"/>
                      <a:pt x="733" y="111"/>
                    </a:cubicBezTo>
                    <a:cubicBezTo>
                      <a:pt x="733" y="111"/>
                      <a:pt x="733" y="111"/>
                      <a:pt x="734" y="112"/>
                    </a:cubicBezTo>
                    <a:cubicBezTo>
                      <a:pt x="734" y="112"/>
                      <a:pt x="734" y="112"/>
                      <a:pt x="732" y="113"/>
                    </a:cubicBezTo>
                    <a:cubicBezTo>
                      <a:pt x="732" y="113"/>
                      <a:pt x="732" y="113"/>
                      <a:pt x="731" y="112"/>
                    </a:cubicBezTo>
                    <a:cubicBezTo>
                      <a:pt x="731" y="112"/>
                      <a:pt x="731" y="112"/>
                      <a:pt x="731" y="111"/>
                    </a:cubicBezTo>
                    <a:cubicBezTo>
                      <a:pt x="731" y="111"/>
                      <a:pt x="731" y="111"/>
                      <a:pt x="731" y="107"/>
                    </a:cubicBezTo>
                    <a:cubicBezTo>
                      <a:pt x="731" y="107"/>
                      <a:pt x="731" y="107"/>
                      <a:pt x="730" y="106"/>
                    </a:cubicBezTo>
                    <a:cubicBezTo>
                      <a:pt x="730" y="106"/>
                      <a:pt x="730" y="106"/>
                      <a:pt x="730" y="105"/>
                    </a:cubicBezTo>
                    <a:cubicBezTo>
                      <a:pt x="730" y="105"/>
                      <a:pt x="730" y="105"/>
                      <a:pt x="730" y="104"/>
                    </a:cubicBezTo>
                    <a:close/>
                    <a:moveTo>
                      <a:pt x="733" y="99"/>
                    </a:moveTo>
                    <a:cubicBezTo>
                      <a:pt x="734" y="98"/>
                      <a:pt x="734" y="98"/>
                      <a:pt x="734" y="98"/>
                    </a:cubicBezTo>
                    <a:cubicBezTo>
                      <a:pt x="735" y="99"/>
                      <a:pt x="735" y="99"/>
                      <a:pt x="735" y="99"/>
                    </a:cubicBezTo>
                    <a:cubicBezTo>
                      <a:pt x="737" y="97"/>
                      <a:pt x="737" y="97"/>
                      <a:pt x="737" y="97"/>
                    </a:cubicBezTo>
                    <a:cubicBezTo>
                      <a:pt x="738" y="97"/>
                      <a:pt x="738" y="97"/>
                      <a:pt x="738" y="97"/>
                    </a:cubicBezTo>
                    <a:cubicBezTo>
                      <a:pt x="739" y="97"/>
                      <a:pt x="739" y="97"/>
                      <a:pt x="739" y="97"/>
                    </a:cubicBezTo>
                    <a:cubicBezTo>
                      <a:pt x="737" y="96"/>
                      <a:pt x="737" y="96"/>
                      <a:pt x="737" y="96"/>
                    </a:cubicBezTo>
                    <a:cubicBezTo>
                      <a:pt x="735" y="97"/>
                      <a:pt x="735" y="97"/>
                      <a:pt x="735" y="97"/>
                    </a:cubicBezTo>
                    <a:cubicBezTo>
                      <a:pt x="734" y="97"/>
                      <a:pt x="734" y="97"/>
                      <a:pt x="734" y="97"/>
                    </a:cubicBezTo>
                    <a:cubicBezTo>
                      <a:pt x="733" y="97"/>
                      <a:pt x="733" y="97"/>
                      <a:pt x="733" y="97"/>
                    </a:cubicBezTo>
                    <a:cubicBezTo>
                      <a:pt x="732" y="97"/>
                      <a:pt x="732" y="97"/>
                      <a:pt x="732" y="97"/>
                    </a:cubicBezTo>
                    <a:cubicBezTo>
                      <a:pt x="731" y="98"/>
                      <a:pt x="731" y="98"/>
                      <a:pt x="731" y="98"/>
                    </a:cubicBezTo>
                    <a:cubicBezTo>
                      <a:pt x="731" y="99"/>
                      <a:pt x="731" y="99"/>
                      <a:pt x="731" y="99"/>
                    </a:cubicBezTo>
                    <a:cubicBezTo>
                      <a:pt x="732" y="99"/>
                      <a:pt x="732" y="99"/>
                      <a:pt x="732" y="99"/>
                    </a:cubicBezTo>
                    <a:cubicBezTo>
                      <a:pt x="733" y="99"/>
                      <a:pt x="733" y="99"/>
                      <a:pt x="733" y="99"/>
                    </a:cubicBezTo>
                    <a:close/>
                    <a:moveTo>
                      <a:pt x="727" y="88"/>
                    </a:moveTo>
                    <a:cubicBezTo>
                      <a:pt x="727" y="88"/>
                      <a:pt x="727" y="88"/>
                      <a:pt x="728" y="87"/>
                    </a:cubicBezTo>
                    <a:cubicBezTo>
                      <a:pt x="728" y="87"/>
                      <a:pt x="728" y="87"/>
                      <a:pt x="726" y="87"/>
                    </a:cubicBezTo>
                    <a:cubicBezTo>
                      <a:pt x="726" y="87"/>
                      <a:pt x="726" y="87"/>
                      <a:pt x="725" y="87"/>
                    </a:cubicBezTo>
                    <a:cubicBezTo>
                      <a:pt x="725" y="87"/>
                      <a:pt x="725" y="87"/>
                      <a:pt x="726" y="88"/>
                    </a:cubicBezTo>
                    <a:cubicBezTo>
                      <a:pt x="726" y="88"/>
                      <a:pt x="726" y="88"/>
                      <a:pt x="727" y="88"/>
                    </a:cubicBezTo>
                    <a:close/>
                    <a:moveTo>
                      <a:pt x="706" y="53"/>
                    </a:moveTo>
                    <a:cubicBezTo>
                      <a:pt x="706" y="53"/>
                      <a:pt x="706" y="53"/>
                      <a:pt x="707" y="53"/>
                    </a:cubicBezTo>
                    <a:cubicBezTo>
                      <a:pt x="707" y="53"/>
                      <a:pt x="707" y="53"/>
                      <a:pt x="708" y="53"/>
                    </a:cubicBezTo>
                    <a:cubicBezTo>
                      <a:pt x="708" y="53"/>
                      <a:pt x="708" y="53"/>
                      <a:pt x="709" y="54"/>
                    </a:cubicBezTo>
                    <a:cubicBezTo>
                      <a:pt x="709" y="54"/>
                      <a:pt x="709" y="54"/>
                      <a:pt x="709" y="56"/>
                    </a:cubicBezTo>
                    <a:cubicBezTo>
                      <a:pt x="709" y="56"/>
                      <a:pt x="709" y="56"/>
                      <a:pt x="710" y="57"/>
                    </a:cubicBezTo>
                    <a:cubicBezTo>
                      <a:pt x="710" y="57"/>
                      <a:pt x="710" y="57"/>
                      <a:pt x="711" y="56"/>
                    </a:cubicBezTo>
                    <a:cubicBezTo>
                      <a:pt x="711" y="56"/>
                      <a:pt x="711" y="56"/>
                      <a:pt x="711" y="55"/>
                    </a:cubicBezTo>
                    <a:cubicBezTo>
                      <a:pt x="711" y="55"/>
                      <a:pt x="711" y="55"/>
                      <a:pt x="711" y="54"/>
                    </a:cubicBezTo>
                    <a:cubicBezTo>
                      <a:pt x="711" y="54"/>
                      <a:pt x="711" y="54"/>
                      <a:pt x="712" y="56"/>
                    </a:cubicBezTo>
                    <a:cubicBezTo>
                      <a:pt x="712" y="56"/>
                      <a:pt x="712" y="56"/>
                      <a:pt x="712" y="57"/>
                    </a:cubicBezTo>
                    <a:cubicBezTo>
                      <a:pt x="712" y="57"/>
                      <a:pt x="712" y="57"/>
                      <a:pt x="714" y="59"/>
                    </a:cubicBezTo>
                    <a:cubicBezTo>
                      <a:pt x="714" y="59"/>
                      <a:pt x="714" y="59"/>
                      <a:pt x="715" y="59"/>
                    </a:cubicBezTo>
                    <a:cubicBezTo>
                      <a:pt x="715" y="59"/>
                      <a:pt x="715" y="59"/>
                      <a:pt x="716" y="59"/>
                    </a:cubicBezTo>
                    <a:cubicBezTo>
                      <a:pt x="716" y="59"/>
                      <a:pt x="716" y="59"/>
                      <a:pt x="717" y="59"/>
                    </a:cubicBezTo>
                    <a:cubicBezTo>
                      <a:pt x="717" y="59"/>
                      <a:pt x="717" y="59"/>
                      <a:pt x="718" y="60"/>
                    </a:cubicBezTo>
                    <a:cubicBezTo>
                      <a:pt x="718" y="60"/>
                      <a:pt x="718" y="60"/>
                      <a:pt x="719" y="58"/>
                    </a:cubicBezTo>
                    <a:cubicBezTo>
                      <a:pt x="719" y="58"/>
                      <a:pt x="719" y="58"/>
                      <a:pt x="720" y="58"/>
                    </a:cubicBezTo>
                    <a:cubicBezTo>
                      <a:pt x="720" y="58"/>
                      <a:pt x="720" y="58"/>
                      <a:pt x="721" y="55"/>
                    </a:cubicBezTo>
                    <a:cubicBezTo>
                      <a:pt x="721" y="55"/>
                      <a:pt x="721" y="55"/>
                      <a:pt x="720" y="54"/>
                    </a:cubicBezTo>
                    <a:cubicBezTo>
                      <a:pt x="720" y="54"/>
                      <a:pt x="720" y="54"/>
                      <a:pt x="722" y="52"/>
                    </a:cubicBezTo>
                    <a:cubicBezTo>
                      <a:pt x="722" y="52"/>
                      <a:pt x="722" y="52"/>
                      <a:pt x="722" y="51"/>
                    </a:cubicBezTo>
                    <a:cubicBezTo>
                      <a:pt x="722" y="51"/>
                      <a:pt x="722" y="51"/>
                      <a:pt x="721" y="49"/>
                    </a:cubicBezTo>
                    <a:cubicBezTo>
                      <a:pt x="721" y="49"/>
                      <a:pt x="721" y="49"/>
                      <a:pt x="720" y="48"/>
                    </a:cubicBezTo>
                    <a:cubicBezTo>
                      <a:pt x="720" y="48"/>
                      <a:pt x="720" y="48"/>
                      <a:pt x="719" y="49"/>
                    </a:cubicBezTo>
                    <a:cubicBezTo>
                      <a:pt x="719" y="49"/>
                      <a:pt x="719" y="49"/>
                      <a:pt x="717" y="49"/>
                    </a:cubicBezTo>
                    <a:cubicBezTo>
                      <a:pt x="717" y="49"/>
                      <a:pt x="717" y="49"/>
                      <a:pt x="715" y="50"/>
                    </a:cubicBezTo>
                    <a:cubicBezTo>
                      <a:pt x="715" y="50"/>
                      <a:pt x="715" y="50"/>
                      <a:pt x="714" y="50"/>
                    </a:cubicBezTo>
                    <a:cubicBezTo>
                      <a:pt x="714" y="50"/>
                      <a:pt x="714" y="50"/>
                      <a:pt x="713" y="50"/>
                    </a:cubicBezTo>
                    <a:cubicBezTo>
                      <a:pt x="713" y="50"/>
                      <a:pt x="713" y="50"/>
                      <a:pt x="712" y="49"/>
                    </a:cubicBezTo>
                    <a:cubicBezTo>
                      <a:pt x="712" y="49"/>
                      <a:pt x="712" y="49"/>
                      <a:pt x="711" y="49"/>
                    </a:cubicBezTo>
                    <a:cubicBezTo>
                      <a:pt x="711" y="49"/>
                      <a:pt x="711" y="49"/>
                      <a:pt x="707" y="50"/>
                    </a:cubicBezTo>
                    <a:cubicBezTo>
                      <a:pt x="707" y="50"/>
                      <a:pt x="707" y="50"/>
                      <a:pt x="706" y="50"/>
                    </a:cubicBezTo>
                    <a:cubicBezTo>
                      <a:pt x="706" y="50"/>
                      <a:pt x="706" y="50"/>
                      <a:pt x="704" y="50"/>
                    </a:cubicBezTo>
                    <a:cubicBezTo>
                      <a:pt x="704" y="50"/>
                      <a:pt x="704" y="50"/>
                      <a:pt x="704" y="51"/>
                    </a:cubicBezTo>
                    <a:cubicBezTo>
                      <a:pt x="704" y="51"/>
                      <a:pt x="704" y="51"/>
                      <a:pt x="703" y="52"/>
                    </a:cubicBezTo>
                    <a:cubicBezTo>
                      <a:pt x="703" y="52"/>
                      <a:pt x="703" y="52"/>
                      <a:pt x="703" y="53"/>
                    </a:cubicBezTo>
                    <a:cubicBezTo>
                      <a:pt x="703" y="53"/>
                      <a:pt x="703" y="53"/>
                      <a:pt x="704" y="53"/>
                    </a:cubicBezTo>
                    <a:cubicBezTo>
                      <a:pt x="704" y="53"/>
                      <a:pt x="704" y="53"/>
                      <a:pt x="706" y="53"/>
                    </a:cubicBezTo>
                    <a:close/>
                    <a:moveTo>
                      <a:pt x="692" y="63"/>
                    </a:moveTo>
                    <a:cubicBezTo>
                      <a:pt x="693" y="62"/>
                      <a:pt x="693" y="62"/>
                      <a:pt x="693" y="62"/>
                    </a:cubicBezTo>
                    <a:cubicBezTo>
                      <a:pt x="694" y="61"/>
                      <a:pt x="694" y="61"/>
                      <a:pt x="694" y="61"/>
                    </a:cubicBezTo>
                    <a:cubicBezTo>
                      <a:pt x="694" y="59"/>
                      <a:pt x="694" y="59"/>
                      <a:pt x="694" y="59"/>
                    </a:cubicBezTo>
                    <a:cubicBezTo>
                      <a:pt x="695" y="58"/>
                      <a:pt x="695" y="58"/>
                      <a:pt x="695" y="58"/>
                    </a:cubicBezTo>
                    <a:cubicBezTo>
                      <a:pt x="694" y="57"/>
                      <a:pt x="694" y="57"/>
                      <a:pt x="694" y="57"/>
                    </a:cubicBezTo>
                    <a:cubicBezTo>
                      <a:pt x="695" y="56"/>
                      <a:pt x="695" y="56"/>
                      <a:pt x="695" y="56"/>
                    </a:cubicBezTo>
                    <a:cubicBezTo>
                      <a:pt x="694" y="56"/>
                      <a:pt x="694" y="56"/>
                      <a:pt x="694" y="56"/>
                    </a:cubicBezTo>
                    <a:cubicBezTo>
                      <a:pt x="693" y="56"/>
                      <a:pt x="693" y="56"/>
                      <a:pt x="693" y="56"/>
                    </a:cubicBezTo>
                    <a:cubicBezTo>
                      <a:pt x="692" y="56"/>
                      <a:pt x="692" y="56"/>
                      <a:pt x="692" y="56"/>
                    </a:cubicBezTo>
                    <a:cubicBezTo>
                      <a:pt x="691" y="56"/>
                      <a:pt x="691" y="56"/>
                      <a:pt x="691" y="56"/>
                    </a:cubicBezTo>
                    <a:cubicBezTo>
                      <a:pt x="690" y="58"/>
                      <a:pt x="690" y="58"/>
                      <a:pt x="690" y="58"/>
                    </a:cubicBezTo>
                    <a:cubicBezTo>
                      <a:pt x="690" y="59"/>
                      <a:pt x="690" y="59"/>
                      <a:pt x="690" y="59"/>
                    </a:cubicBezTo>
                    <a:cubicBezTo>
                      <a:pt x="690" y="60"/>
                      <a:pt x="690" y="60"/>
                      <a:pt x="690" y="60"/>
                    </a:cubicBezTo>
                    <a:cubicBezTo>
                      <a:pt x="691" y="62"/>
                      <a:pt x="691" y="62"/>
                      <a:pt x="691" y="62"/>
                    </a:cubicBezTo>
                    <a:cubicBezTo>
                      <a:pt x="692" y="63"/>
                      <a:pt x="692" y="63"/>
                      <a:pt x="692" y="63"/>
                    </a:cubicBezTo>
                    <a:close/>
                    <a:moveTo>
                      <a:pt x="687" y="72"/>
                    </a:moveTo>
                    <a:cubicBezTo>
                      <a:pt x="687" y="72"/>
                      <a:pt x="687" y="72"/>
                      <a:pt x="685" y="72"/>
                    </a:cubicBezTo>
                    <a:cubicBezTo>
                      <a:pt x="685" y="72"/>
                      <a:pt x="685" y="72"/>
                      <a:pt x="685" y="73"/>
                    </a:cubicBezTo>
                    <a:cubicBezTo>
                      <a:pt x="685" y="73"/>
                      <a:pt x="685" y="73"/>
                      <a:pt x="686" y="73"/>
                    </a:cubicBezTo>
                    <a:cubicBezTo>
                      <a:pt x="686" y="73"/>
                      <a:pt x="686" y="73"/>
                      <a:pt x="687" y="72"/>
                    </a:cubicBezTo>
                    <a:close/>
                    <a:moveTo>
                      <a:pt x="695" y="63"/>
                    </a:moveTo>
                    <a:cubicBezTo>
                      <a:pt x="695" y="63"/>
                      <a:pt x="695" y="63"/>
                      <a:pt x="693" y="64"/>
                    </a:cubicBezTo>
                    <a:cubicBezTo>
                      <a:pt x="693" y="64"/>
                      <a:pt x="693" y="64"/>
                      <a:pt x="693" y="65"/>
                    </a:cubicBezTo>
                    <a:cubicBezTo>
                      <a:pt x="693" y="65"/>
                      <a:pt x="693" y="65"/>
                      <a:pt x="692" y="67"/>
                    </a:cubicBezTo>
                    <a:cubicBezTo>
                      <a:pt x="692" y="67"/>
                      <a:pt x="692" y="67"/>
                      <a:pt x="693" y="68"/>
                    </a:cubicBezTo>
                    <a:cubicBezTo>
                      <a:pt x="693" y="68"/>
                      <a:pt x="693" y="68"/>
                      <a:pt x="693" y="70"/>
                    </a:cubicBezTo>
                    <a:cubicBezTo>
                      <a:pt x="693" y="70"/>
                      <a:pt x="693" y="70"/>
                      <a:pt x="694" y="70"/>
                    </a:cubicBezTo>
                    <a:cubicBezTo>
                      <a:pt x="694" y="70"/>
                      <a:pt x="694" y="70"/>
                      <a:pt x="695" y="71"/>
                    </a:cubicBezTo>
                    <a:cubicBezTo>
                      <a:pt x="695" y="71"/>
                      <a:pt x="695" y="71"/>
                      <a:pt x="696" y="72"/>
                    </a:cubicBezTo>
                    <a:cubicBezTo>
                      <a:pt x="696" y="72"/>
                      <a:pt x="696" y="72"/>
                      <a:pt x="695" y="73"/>
                    </a:cubicBezTo>
                    <a:cubicBezTo>
                      <a:pt x="695" y="73"/>
                      <a:pt x="695" y="73"/>
                      <a:pt x="697" y="73"/>
                    </a:cubicBezTo>
                    <a:cubicBezTo>
                      <a:pt x="697" y="73"/>
                      <a:pt x="697" y="73"/>
                      <a:pt x="698" y="73"/>
                    </a:cubicBezTo>
                    <a:cubicBezTo>
                      <a:pt x="698" y="73"/>
                      <a:pt x="698" y="73"/>
                      <a:pt x="699" y="73"/>
                    </a:cubicBezTo>
                    <a:cubicBezTo>
                      <a:pt x="699" y="73"/>
                      <a:pt x="699" y="73"/>
                      <a:pt x="700" y="74"/>
                    </a:cubicBezTo>
                    <a:cubicBezTo>
                      <a:pt x="700" y="74"/>
                      <a:pt x="700" y="74"/>
                      <a:pt x="701" y="74"/>
                    </a:cubicBezTo>
                    <a:cubicBezTo>
                      <a:pt x="701" y="74"/>
                      <a:pt x="701" y="74"/>
                      <a:pt x="703" y="73"/>
                    </a:cubicBezTo>
                    <a:cubicBezTo>
                      <a:pt x="703" y="73"/>
                      <a:pt x="703" y="73"/>
                      <a:pt x="704" y="73"/>
                    </a:cubicBezTo>
                    <a:cubicBezTo>
                      <a:pt x="704" y="73"/>
                      <a:pt x="704" y="73"/>
                      <a:pt x="705" y="72"/>
                    </a:cubicBezTo>
                    <a:cubicBezTo>
                      <a:pt x="705" y="72"/>
                      <a:pt x="705" y="72"/>
                      <a:pt x="706" y="71"/>
                    </a:cubicBezTo>
                    <a:cubicBezTo>
                      <a:pt x="706" y="71"/>
                      <a:pt x="706" y="71"/>
                      <a:pt x="708" y="69"/>
                    </a:cubicBezTo>
                    <a:cubicBezTo>
                      <a:pt x="708" y="69"/>
                      <a:pt x="708" y="69"/>
                      <a:pt x="708" y="68"/>
                    </a:cubicBezTo>
                    <a:cubicBezTo>
                      <a:pt x="708" y="68"/>
                      <a:pt x="708" y="68"/>
                      <a:pt x="707" y="68"/>
                    </a:cubicBezTo>
                    <a:cubicBezTo>
                      <a:pt x="707" y="68"/>
                      <a:pt x="707" y="68"/>
                      <a:pt x="706" y="68"/>
                    </a:cubicBezTo>
                    <a:cubicBezTo>
                      <a:pt x="706" y="68"/>
                      <a:pt x="706" y="68"/>
                      <a:pt x="706" y="67"/>
                    </a:cubicBezTo>
                    <a:cubicBezTo>
                      <a:pt x="706" y="67"/>
                      <a:pt x="706" y="67"/>
                      <a:pt x="707" y="66"/>
                    </a:cubicBezTo>
                    <a:cubicBezTo>
                      <a:pt x="707" y="66"/>
                      <a:pt x="707" y="66"/>
                      <a:pt x="708" y="66"/>
                    </a:cubicBezTo>
                    <a:cubicBezTo>
                      <a:pt x="708" y="66"/>
                      <a:pt x="708" y="66"/>
                      <a:pt x="711" y="65"/>
                    </a:cubicBezTo>
                    <a:cubicBezTo>
                      <a:pt x="711" y="65"/>
                      <a:pt x="711" y="65"/>
                      <a:pt x="712" y="65"/>
                    </a:cubicBezTo>
                    <a:cubicBezTo>
                      <a:pt x="712" y="65"/>
                      <a:pt x="712" y="65"/>
                      <a:pt x="714" y="63"/>
                    </a:cubicBezTo>
                    <a:cubicBezTo>
                      <a:pt x="714" y="63"/>
                      <a:pt x="714" y="63"/>
                      <a:pt x="713" y="62"/>
                    </a:cubicBezTo>
                    <a:cubicBezTo>
                      <a:pt x="713" y="62"/>
                      <a:pt x="713" y="62"/>
                      <a:pt x="712" y="62"/>
                    </a:cubicBezTo>
                    <a:cubicBezTo>
                      <a:pt x="712" y="62"/>
                      <a:pt x="712" y="62"/>
                      <a:pt x="711" y="62"/>
                    </a:cubicBezTo>
                    <a:cubicBezTo>
                      <a:pt x="711" y="62"/>
                      <a:pt x="711" y="62"/>
                      <a:pt x="710" y="61"/>
                    </a:cubicBezTo>
                    <a:cubicBezTo>
                      <a:pt x="710" y="61"/>
                      <a:pt x="710" y="61"/>
                      <a:pt x="708" y="61"/>
                    </a:cubicBezTo>
                    <a:cubicBezTo>
                      <a:pt x="708" y="61"/>
                      <a:pt x="708" y="61"/>
                      <a:pt x="706" y="60"/>
                    </a:cubicBezTo>
                    <a:cubicBezTo>
                      <a:pt x="706" y="60"/>
                      <a:pt x="706" y="60"/>
                      <a:pt x="705" y="61"/>
                    </a:cubicBezTo>
                    <a:cubicBezTo>
                      <a:pt x="705" y="61"/>
                      <a:pt x="705" y="61"/>
                      <a:pt x="704" y="61"/>
                    </a:cubicBezTo>
                    <a:cubicBezTo>
                      <a:pt x="704" y="61"/>
                      <a:pt x="704" y="61"/>
                      <a:pt x="703" y="60"/>
                    </a:cubicBezTo>
                    <a:cubicBezTo>
                      <a:pt x="703" y="60"/>
                      <a:pt x="703" y="60"/>
                      <a:pt x="702" y="60"/>
                    </a:cubicBezTo>
                    <a:cubicBezTo>
                      <a:pt x="702" y="60"/>
                      <a:pt x="702" y="60"/>
                      <a:pt x="701" y="60"/>
                    </a:cubicBezTo>
                    <a:cubicBezTo>
                      <a:pt x="701" y="60"/>
                      <a:pt x="701" y="60"/>
                      <a:pt x="698" y="60"/>
                    </a:cubicBezTo>
                    <a:cubicBezTo>
                      <a:pt x="698" y="60"/>
                      <a:pt x="698" y="60"/>
                      <a:pt x="697" y="60"/>
                    </a:cubicBezTo>
                    <a:cubicBezTo>
                      <a:pt x="697" y="60"/>
                      <a:pt x="697" y="60"/>
                      <a:pt x="696" y="61"/>
                    </a:cubicBezTo>
                    <a:cubicBezTo>
                      <a:pt x="696" y="61"/>
                      <a:pt x="696" y="61"/>
                      <a:pt x="695" y="62"/>
                    </a:cubicBezTo>
                    <a:cubicBezTo>
                      <a:pt x="695" y="62"/>
                      <a:pt x="695" y="62"/>
                      <a:pt x="695" y="63"/>
                    </a:cubicBezTo>
                    <a:close/>
                    <a:moveTo>
                      <a:pt x="581" y="614"/>
                    </a:moveTo>
                    <a:cubicBezTo>
                      <a:pt x="583" y="612"/>
                      <a:pt x="583" y="612"/>
                      <a:pt x="583" y="612"/>
                    </a:cubicBezTo>
                    <a:cubicBezTo>
                      <a:pt x="584" y="611"/>
                      <a:pt x="584" y="611"/>
                      <a:pt x="584" y="611"/>
                    </a:cubicBezTo>
                    <a:cubicBezTo>
                      <a:pt x="582" y="612"/>
                      <a:pt x="582" y="612"/>
                      <a:pt x="582" y="612"/>
                    </a:cubicBezTo>
                    <a:cubicBezTo>
                      <a:pt x="581" y="614"/>
                      <a:pt x="581" y="614"/>
                      <a:pt x="581" y="614"/>
                    </a:cubicBezTo>
                    <a:close/>
                    <a:moveTo>
                      <a:pt x="747" y="515"/>
                    </a:moveTo>
                    <a:cubicBezTo>
                      <a:pt x="746" y="516"/>
                      <a:pt x="746" y="516"/>
                      <a:pt x="746" y="516"/>
                    </a:cubicBezTo>
                    <a:cubicBezTo>
                      <a:pt x="744" y="516"/>
                      <a:pt x="744" y="516"/>
                      <a:pt x="744" y="516"/>
                    </a:cubicBezTo>
                    <a:cubicBezTo>
                      <a:pt x="742" y="517"/>
                      <a:pt x="742" y="517"/>
                      <a:pt x="742" y="517"/>
                    </a:cubicBezTo>
                    <a:cubicBezTo>
                      <a:pt x="741" y="517"/>
                      <a:pt x="741" y="517"/>
                      <a:pt x="741" y="517"/>
                    </a:cubicBezTo>
                    <a:cubicBezTo>
                      <a:pt x="739" y="517"/>
                      <a:pt x="739" y="517"/>
                      <a:pt x="739" y="517"/>
                    </a:cubicBezTo>
                    <a:cubicBezTo>
                      <a:pt x="738" y="518"/>
                      <a:pt x="738" y="518"/>
                      <a:pt x="738" y="518"/>
                    </a:cubicBezTo>
                    <a:cubicBezTo>
                      <a:pt x="737" y="518"/>
                      <a:pt x="737" y="518"/>
                      <a:pt x="737" y="518"/>
                    </a:cubicBezTo>
                    <a:cubicBezTo>
                      <a:pt x="737" y="519"/>
                      <a:pt x="737" y="519"/>
                      <a:pt x="737" y="519"/>
                    </a:cubicBezTo>
                    <a:cubicBezTo>
                      <a:pt x="737" y="519"/>
                      <a:pt x="737" y="519"/>
                      <a:pt x="738" y="519"/>
                    </a:cubicBezTo>
                    <a:cubicBezTo>
                      <a:pt x="739" y="519"/>
                      <a:pt x="739" y="519"/>
                      <a:pt x="739" y="519"/>
                    </a:cubicBezTo>
                    <a:cubicBezTo>
                      <a:pt x="740" y="519"/>
                      <a:pt x="740" y="519"/>
                      <a:pt x="740" y="519"/>
                    </a:cubicBezTo>
                    <a:cubicBezTo>
                      <a:pt x="741" y="518"/>
                      <a:pt x="741" y="518"/>
                      <a:pt x="741" y="518"/>
                    </a:cubicBezTo>
                    <a:cubicBezTo>
                      <a:pt x="743" y="518"/>
                      <a:pt x="743" y="518"/>
                      <a:pt x="743" y="518"/>
                    </a:cubicBezTo>
                    <a:cubicBezTo>
                      <a:pt x="744" y="518"/>
                      <a:pt x="744" y="518"/>
                      <a:pt x="744" y="518"/>
                    </a:cubicBezTo>
                    <a:cubicBezTo>
                      <a:pt x="746" y="518"/>
                      <a:pt x="746" y="518"/>
                      <a:pt x="746" y="518"/>
                    </a:cubicBezTo>
                    <a:cubicBezTo>
                      <a:pt x="747" y="517"/>
                      <a:pt x="747" y="517"/>
                      <a:pt x="747" y="517"/>
                    </a:cubicBezTo>
                    <a:cubicBezTo>
                      <a:pt x="747" y="516"/>
                      <a:pt x="747" y="516"/>
                      <a:pt x="747" y="516"/>
                    </a:cubicBezTo>
                    <a:cubicBezTo>
                      <a:pt x="747" y="515"/>
                      <a:pt x="747" y="515"/>
                      <a:pt x="747" y="515"/>
                    </a:cubicBezTo>
                    <a:close/>
                    <a:moveTo>
                      <a:pt x="748" y="516"/>
                    </a:moveTo>
                    <a:cubicBezTo>
                      <a:pt x="747" y="517"/>
                      <a:pt x="747" y="517"/>
                      <a:pt x="747" y="517"/>
                    </a:cubicBezTo>
                    <a:cubicBezTo>
                      <a:pt x="748" y="517"/>
                      <a:pt x="748" y="517"/>
                      <a:pt x="748" y="517"/>
                    </a:cubicBezTo>
                    <a:cubicBezTo>
                      <a:pt x="748" y="516"/>
                      <a:pt x="748" y="516"/>
                      <a:pt x="748" y="516"/>
                    </a:cubicBezTo>
                    <a:close/>
                    <a:moveTo>
                      <a:pt x="749" y="516"/>
                    </a:moveTo>
                    <a:cubicBezTo>
                      <a:pt x="748" y="517"/>
                      <a:pt x="748" y="517"/>
                      <a:pt x="748" y="517"/>
                    </a:cubicBezTo>
                    <a:cubicBezTo>
                      <a:pt x="749" y="517"/>
                      <a:pt x="749" y="517"/>
                      <a:pt x="749" y="517"/>
                    </a:cubicBezTo>
                    <a:cubicBezTo>
                      <a:pt x="749" y="516"/>
                      <a:pt x="749" y="516"/>
                      <a:pt x="749" y="516"/>
                    </a:cubicBezTo>
                    <a:close/>
                    <a:moveTo>
                      <a:pt x="757" y="513"/>
                    </a:moveTo>
                    <a:cubicBezTo>
                      <a:pt x="757" y="514"/>
                      <a:pt x="757" y="514"/>
                      <a:pt x="757" y="514"/>
                    </a:cubicBezTo>
                    <a:cubicBezTo>
                      <a:pt x="758" y="514"/>
                      <a:pt x="758" y="514"/>
                      <a:pt x="758" y="514"/>
                    </a:cubicBezTo>
                    <a:cubicBezTo>
                      <a:pt x="759" y="514"/>
                      <a:pt x="759" y="514"/>
                      <a:pt x="759" y="514"/>
                    </a:cubicBezTo>
                    <a:cubicBezTo>
                      <a:pt x="759" y="513"/>
                      <a:pt x="759" y="513"/>
                      <a:pt x="759" y="513"/>
                    </a:cubicBezTo>
                    <a:cubicBezTo>
                      <a:pt x="758" y="513"/>
                      <a:pt x="758" y="513"/>
                      <a:pt x="758" y="513"/>
                    </a:cubicBezTo>
                    <a:cubicBezTo>
                      <a:pt x="757" y="513"/>
                      <a:pt x="757" y="513"/>
                      <a:pt x="757" y="513"/>
                    </a:cubicBezTo>
                    <a:close/>
                    <a:moveTo>
                      <a:pt x="580" y="615"/>
                    </a:moveTo>
                    <a:cubicBezTo>
                      <a:pt x="579" y="617"/>
                      <a:pt x="579" y="617"/>
                      <a:pt x="579" y="617"/>
                    </a:cubicBezTo>
                    <a:cubicBezTo>
                      <a:pt x="580" y="617"/>
                      <a:pt x="580" y="617"/>
                      <a:pt x="580" y="617"/>
                    </a:cubicBezTo>
                    <a:cubicBezTo>
                      <a:pt x="580" y="615"/>
                      <a:pt x="580" y="615"/>
                      <a:pt x="580" y="615"/>
                    </a:cubicBezTo>
                    <a:close/>
                    <a:moveTo>
                      <a:pt x="721" y="546"/>
                    </a:moveTo>
                    <a:cubicBezTo>
                      <a:pt x="721" y="546"/>
                      <a:pt x="721" y="546"/>
                      <a:pt x="722" y="543"/>
                    </a:cubicBezTo>
                    <a:cubicBezTo>
                      <a:pt x="722" y="543"/>
                      <a:pt x="722" y="543"/>
                      <a:pt x="721" y="544"/>
                    </a:cubicBezTo>
                    <a:cubicBezTo>
                      <a:pt x="721" y="544"/>
                      <a:pt x="721" y="544"/>
                      <a:pt x="721" y="546"/>
                    </a:cubicBezTo>
                    <a:close/>
                    <a:moveTo>
                      <a:pt x="461" y="433"/>
                    </a:moveTo>
                    <a:cubicBezTo>
                      <a:pt x="461" y="434"/>
                      <a:pt x="461" y="434"/>
                      <a:pt x="461" y="434"/>
                    </a:cubicBezTo>
                    <a:cubicBezTo>
                      <a:pt x="461" y="435"/>
                      <a:pt x="461" y="435"/>
                      <a:pt x="461" y="435"/>
                    </a:cubicBezTo>
                    <a:cubicBezTo>
                      <a:pt x="462" y="435"/>
                      <a:pt x="462" y="435"/>
                      <a:pt x="462" y="435"/>
                    </a:cubicBezTo>
                    <a:cubicBezTo>
                      <a:pt x="461" y="433"/>
                      <a:pt x="461" y="433"/>
                      <a:pt x="461" y="433"/>
                    </a:cubicBezTo>
                    <a:close/>
                    <a:moveTo>
                      <a:pt x="831" y="1170"/>
                    </a:moveTo>
                    <a:cubicBezTo>
                      <a:pt x="831" y="1170"/>
                      <a:pt x="831" y="1170"/>
                      <a:pt x="830" y="1171"/>
                    </a:cubicBezTo>
                    <a:cubicBezTo>
                      <a:pt x="830" y="1171"/>
                      <a:pt x="830" y="1171"/>
                      <a:pt x="831" y="1171"/>
                    </a:cubicBezTo>
                    <a:cubicBezTo>
                      <a:pt x="831" y="1171"/>
                      <a:pt x="831" y="1171"/>
                      <a:pt x="832" y="1171"/>
                    </a:cubicBezTo>
                    <a:cubicBezTo>
                      <a:pt x="832" y="1171"/>
                      <a:pt x="832" y="1171"/>
                      <a:pt x="831" y="1170"/>
                    </a:cubicBezTo>
                    <a:close/>
                    <a:moveTo>
                      <a:pt x="839" y="1170"/>
                    </a:moveTo>
                    <a:cubicBezTo>
                      <a:pt x="839" y="1170"/>
                      <a:pt x="839" y="1170"/>
                      <a:pt x="840" y="1168"/>
                    </a:cubicBezTo>
                    <a:cubicBezTo>
                      <a:pt x="840" y="1168"/>
                      <a:pt x="840" y="1168"/>
                      <a:pt x="841" y="1167"/>
                    </a:cubicBezTo>
                    <a:cubicBezTo>
                      <a:pt x="841" y="1167"/>
                      <a:pt x="841" y="1167"/>
                      <a:pt x="840" y="1166"/>
                    </a:cubicBezTo>
                    <a:cubicBezTo>
                      <a:pt x="840" y="1166"/>
                      <a:pt x="840" y="1166"/>
                      <a:pt x="839" y="1167"/>
                    </a:cubicBezTo>
                    <a:cubicBezTo>
                      <a:pt x="839" y="1167"/>
                      <a:pt x="839" y="1167"/>
                      <a:pt x="838" y="1166"/>
                    </a:cubicBezTo>
                    <a:cubicBezTo>
                      <a:pt x="837" y="1166"/>
                      <a:pt x="837" y="1166"/>
                      <a:pt x="837" y="1166"/>
                    </a:cubicBezTo>
                    <a:cubicBezTo>
                      <a:pt x="837" y="1166"/>
                      <a:pt x="837" y="1166"/>
                      <a:pt x="836" y="1168"/>
                    </a:cubicBezTo>
                    <a:cubicBezTo>
                      <a:pt x="836" y="1168"/>
                      <a:pt x="836" y="1168"/>
                      <a:pt x="835" y="1168"/>
                    </a:cubicBezTo>
                    <a:cubicBezTo>
                      <a:pt x="835" y="1168"/>
                      <a:pt x="835" y="1168"/>
                      <a:pt x="834" y="1167"/>
                    </a:cubicBezTo>
                    <a:cubicBezTo>
                      <a:pt x="834" y="1167"/>
                      <a:pt x="834" y="1167"/>
                      <a:pt x="833" y="1167"/>
                    </a:cubicBezTo>
                    <a:cubicBezTo>
                      <a:pt x="833" y="1167"/>
                      <a:pt x="833" y="1167"/>
                      <a:pt x="835" y="1169"/>
                    </a:cubicBezTo>
                    <a:cubicBezTo>
                      <a:pt x="835" y="1169"/>
                      <a:pt x="835" y="1169"/>
                      <a:pt x="836" y="1169"/>
                    </a:cubicBezTo>
                    <a:cubicBezTo>
                      <a:pt x="836" y="1169"/>
                      <a:pt x="836" y="1169"/>
                      <a:pt x="836" y="1170"/>
                    </a:cubicBezTo>
                    <a:cubicBezTo>
                      <a:pt x="836" y="1170"/>
                      <a:pt x="836" y="1170"/>
                      <a:pt x="835" y="1170"/>
                    </a:cubicBezTo>
                    <a:cubicBezTo>
                      <a:pt x="835" y="1170"/>
                      <a:pt x="835" y="1170"/>
                      <a:pt x="834" y="1170"/>
                    </a:cubicBezTo>
                    <a:cubicBezTo>
                      <a:pt x="834" y="1170"/>
                      <a:pt x="834" y="1170"/>
                      <a:pt x="834" y="1171"/>
                    </a:cubicBezTo>
                    <a:cubicBezTo>
                      <a:pt x="834" y="1171"/>
                      <a:pt x="834" y="1171"/>
                      <a:pt x="833" y="1172"/>
                    </a:cubicBezTo>
                    <a:cubicBezTo>
                      <a:pt x="833" y="1172"/>
                      <a:pt x="833" y="1172"/>
                      <a:pt x="832" y="1172"/>
                    </a:cubicBezTo>
                    <a:cubicBezTo>
                      <a:pt x="832" y="1172"/>
                      <a:pt x="832" y="1172"/>
                      <a:pt x="832" y="1173"/>
                    </a:cubicBezTo>
                    <a:cubicBezTo>
                      <a:pt x="832" y="1173"/>
                      <a:pt x="832" y="1173"/>
                      <a:pt x="833" y="1174"/>
                    </a:cubicBezTo>
                    <a:cubicBezTo>
                      <a:pt x="833" y="1174"/>
                      <a:pt x="833" y="1174"/>
                      <a:pt x="834" y="1173"/>
                    </a:cubicBezTo>
                    <a:cubicBezTo>
                      <a:pt x="834" y="1173"/>
                      <a:pt x="834" y="1173"/>
                      <a:pt x="835" y="1174"/>
                    </a:cubicBezTo>
                    <a:cubicBezTo>
                      <a:pt x="835" y="1174"/>
                      <a:pt x="835" y="1174"/>
                      <a:pt x="836" y="1173"/>
                    </a:cubicBezTo>
                    <a:cubicBezTo>
                      <a:pt x="836" y="1173"/>
                      <a:pt x="836" y="1173"/>
                      <a:pt x="835" y="1172"/>
                    </a:cubicBezTo>
                    <a:cubicBezTo>
                      <a:pt x="835" y="1172"/>
                      <a:pt x="835" y="1172"/>
                      <a:pt x="836" y="1171"/>
                    </a:cubicBezTo>
                    <a:cubicBezTo>
                      <a:pt x="836" y="1171"/>
                      <a:pt x="836" y="1171"/>
                      <a:pt x="837" y="1172"/>
                    </a:cubicBezTo>
                    <a:cubicBezTo>
                      <a:pt x="837" y="1172"/>
                      <a:pt x="837" y="1172"/>
                      <a:pt x="839" y="1171"/>
                    </a:cubicBezTo>
                    <a:cubicBezTo>
                      <a:pt x="839" y="1171"/>
                      <a:pt x="839" y="1171"/>
                      <a:pt x="839" y="1170"/>
                    </a:cubicBezTo>
                    <a:close/>
                    <a:moveTo>
                      <a:pt x="845" y="1171"/>
                    </a:moveTo>
                    <a:cubicBezTo>
                      <a:pt x="844" y="1171"/>
                      <a:pt x="844" y="1171"/>
                      <a:pt x="844" y="1171"/>
                    </a:cubicBezTo>
                    <a:cubicBezTo>
                      <a:pt x="843" y="1171"/>
                      <a:pt x="843" y="1171"/>
                      <a:pt x="843" y="1171"/>
                    </a:cubicBezTo>
                    <a:cubicBezTo>
                      <a:pt x="844" y="1172"/>
                      <a:pt x="844" y="1172"/>
                      <a:pt x="844" y="1172"/>
                    </a:cubicBezTo>
                    <a:cubicBezTo>
                      <a:pt x="845" y="1171"/>
                      <a:pt x="845" y="1171"/>
                      <a:pt x="845" y="1171"/>
                    </a:cubicBezTo>
                    <a:close/>
                    <a:moveTo>
                      <a:pt x="835" y="1165"/>
                    </a:moveTo>
                    <a:cubicBezTo>
                      <a:pt x="835" y="1166"/>
                      <a:pt x="835" y="1166"/>
                      <a:pt x="835" y="1166"/>
                    </a:cubicBezTo>
                    <a:cubicBezTo>
                      <a:pt x="836" y="1166"/>
                      <a:pt x="836" y="1166"/>
                      <a:pt x="836" y="1166"/>
                    </a:cubicBezTo>
                    <a:cubicBezTo>
                      <a:pt x="835" y="1165"/>
                      <a:pt x="835" y="1165"/>
                      <a:pt x="835" y="1165"/>
                    </a:cubicBezTo>
                    <a:close/>
                    <a:moveTo>
                      <a:pt x="973" y="1189"/>
                    </a:moveTo>
                    <a:cubicBezTo>
                      <a:pt x="973" y="1189"/>
                      <a:pt x="973" y="1189"/>
                      <a:pt x="973" y="1188"/>
                    </a:cubicBezTo>
                    <a:cubicBezTo>
                      <a:pt x="973" y="1188"/>
                      <a:pt x="973" y="1188"/>
                      <a:pt x="973" y="1187"/>
                    </a:cubicBezTo>
                    <a:cubicBezTo>
                      <a:pt x="973" y="1187"/>
                      <a:pt x="972" y="1187"/>
                      <a:pt x="971" y="1186"/>
                    </a:cubicBezTo>
                    <a:cubicBezTo>
                      <a:pt x="971" y="1186"/>
                      <a:pt x="971" y="1186"/>
                      <a:pt x="969" y="1185"/>
                    </a:cubicBezTo>
                    <a:cubicBezTo>
                      <a:pt x="969" y="1185"/>
                      <a:pt x="969" y="1185"/>
                      <a:pt x="968" y="1185"/>
                    </a:cubicBezTo>
                    <a:cubicBezTo>
                      <a:pt x="968" y="1185"/>
                      <a:pt x="968" y="1185"/>
                      <a:pt x="968" y="1186"/>
                    </a:cubicBezTo>
                    <a:cubicBezTo>
                      <a:pt x="968" y="1186"/>
                      <a:pt x="968" y="1186"/>
                      <a:pt x="969" y="1186"/>
                    </a:cubicBezTo>
                    <a:cubicBezTo>
                      <a:pt x="969" y="1186"/>
                      <a:pt x="969" y="1186"/>
                      <a:pt x="970" y="1187"/>
                    </a:cubicBezTo>
                    <a:cubicBezTo>
                      <a:pt x="970" y="1187"/>
                      <a:pt x="970" y="1187"/>
                      <a:pt x="971" y="1187"/>
                    </a:cubicBezTo>
                    <a:cubicBezTo>
                      <a:pt x="971" y="1187"/>
                      <a:pt x="971" y="1187"/>
                      <a:pt x="971" y="1188"/>
                    </a:cubicBezTo>
                    <a:cubicBezTo>
                      <a:pt x="971" y="1188"/>
                      <a:pt x="971" y="1188"/>
                      <a:pt x="972" y="1189"/>
                    </a:cubicBezTo>
                    <a:cubicBezTo>
                      <a:pt x="972" y="1189"/>
                      <a:pt x="972" y="1189"/>
                      <a:pt x="972" y="1190"/>
                    </a:cubicBezTo>
                    <a:cubicBezTo>
                      <a:pt x="972" y="1190"/>
                      <a:pt x="972" y="1190"/>
                      <a:pt x="972" y="1191"/>
                    </a:cubicBezTo>
                    <a:cubicBezTo>
                      <a:pt x="972" y="1191"/>
                      <a:pt x="972" y="1191"/>
                      <a:pt x="973" y="1191"/>
                    </a:cubicBezTo>
                    <a:cubicBezTo>
                      <a:pt x="973" y="1191"/>
                      <a:pt x="973" y="1191"/>
                      <a:pt x="974" y="1190"/>
                    </a:cubicBezTo>
                    <a:cubicBezTo>
                      <a:pt x="974" y="1190"/>
                      <a:pt x="974" y="1190"/>
                      <a:pt x="975" y="1190"/>
                    </a:cubicBezTo>
                    <a:cubicBezTo>
                      <a:pt x="975" y="1190"/>
                      <a:pt x="975" y="1190"/>
                      <a:pt x="975" y="1189"/>
                    </a:cubicBezTo>
                    <a:cubicBezTo>
                      <a:pt x="975" y="1189"/>
                      <a:pt x="975" y="1189"/>
                      <a:pt x="974" y="1189"/>
                    </a:cubicBezTo>
                    <a:cubicBezTo>
                      <a:pt x="974" y="1189"/>
                      <a:pt x="974" y="1189"/>
                      <a:pt x="973" y="1189"/>
                    </a:cubicBezTo>
                    <a:close/>
                    <a:moveTo>
                      <a:pt x="849" y="1167"/>
                    </a:moveTo>
                    <a:cubicBezTo>
                      <a:pt x="847" y="1166"/>
                      <a:pt x="847" y="1166"/>
                      <a:pt x="847" y="1166"/>
                    </a:cubicBezTo>
                    <a:cubicBezTo>
                      <a:pt x="846" y="1166"/>
                      <a:pt x="846" y="1166"/>
                      <a:pt x="846" y="1166"/>
                    </a:cubicBezTo>
                    <a:cubicBezTo>
                      <a:pt x="847" y="1167"/>
                      <a:pt x="847" y="1167"/>
                      <a:pt x="847" y="1167"/>
                    </a:cubicBezTo>
                    <a:cubicBezTo>
                      <a:pt x="846" y="1168"/>
                      <a:pt x="846" y="1168"/>
                      <a:pt x="846" y="1168"/>
                    </a:cubicBezTo>
                    <a:cubicBezTo>
                      <a:pt x="845" y="1166"/>
                      <a:pt x="845" y="1166"/>
                      <a:pt x="845" y="1166"/>
                    </a:cubicBezTo>
                    <a:cubicBezTo>
                      <a:pt x="845" y="1165"/>
                      <a:pt x="845" y="1165"/>
                      <a:pt x="845" y="1165"/>
                    </a:cubicBezTo>
                    <a:cubicBezTo>
                      <a:pt x="843" y="1165"/>
                      <a:pt x="843" y="1165"/>
                      <a:pt x="843" y="1165"/>
                    </a:cubicBezTo>
                    <a:cubicBezTo>
                      <a:pt x="843" y="1166"/>
                      <a:pt x="843" y="1166"/>
                      <a:pt x="843" y="1166"/>
                    </a:cubicBezTo>
                    <a:cubicBezTo>
                      <a:pt x="842" y="1166"/>
                      <a:pt x="842" y="1166"/>
                      <a:pt x="842" y="1166"/>
                    </a:cubicBezTo>
                    <a:cubicBezTo>
                      <a:pt x="842" y="1167"/>
                      <a:pt x="842" y="1167"/>
                      <a:pt x="842" y="1167"/>
                    </a:cubicBezTo>
                    <a:cubicBezTo>
                      <a:pt x="842" y="1168"/>
                      <a:pt x="842" y="1168"/>
                      <a:pt x="842" y="1168"/>
                    </a:cubicBezTo>
                    <a:cubicBezTo>
                      <a:pt x="843" y="1169"/>
                      <a:pt x="843" y="1169"/>
                      <a:pt x="843" y="1169"/>
                    </a:cubicBezTo>
                    <a:cubicBezTo>
                      <a:pt x="843" y="1170"/>
                      <a:pt x="843" y="1170"/>
                      <a:pt x="843" y="1170"/>
                    </a:cubicBezTo>
                    <a:cubicBezTo>
                      <a:pt x="842" y="1169"/>
                      <a:pt x="842" y="1169"/>
                      <a:pt x="842" y="1169"/>
                    </a:cubicBezTo>
                    <a:cubicBezTo>
                      <a:pt x="841" y="1170"/>
                      <a:pt x="841" y="1170"/>
                      <a:pt x="841" y="1170"/>
                    </a:cubicBezTo>
                    <a:cubicBezTo>
                      <a:pt x="839" y="1173"/>
                      <a:pt x="839" y="1173"/>
                      <a:pt x="839" y="1173"/>
                    </a:cubicBezTo>
                    <a:cubicBezTo>
                      <a:pt x="840" y="1173"/>
                      <a:pt x="840" y="1173"/>
                      <a:pt x="840" y="1173"/>
                    </a:cubicBezTo>
                    <a:cubicBezTo>
                      <a:pt x="841" y="1174"/>
                      <a:pt x="841" y="1174"/>
                      <a:pt x="841" y="1174"/>
                    </a:cubicBezTo>
                    <a:cubicBezTo>
                      <a:pt x="842" y="1174"/>
                      <a:pt x="842" y="1174"/>
                      <a:pt x="842" y="1174"/>
                    </a:cubicBezTo>
                    <a:cubicBezTo>
                      <a:pt x="841" y="1173"/>
                      <a:pt x="841" y="1173"/>
                      <a:pt x="841" y="1173"/>
                    </a:cubicBezTo>
                    <a:cubicBezTo>
                      <a:pt x="842" y="1172"/>
                      <a:pt x="842" y="1172"/>
                      <a:pt x="842" y="1172"/>
                    </a:cubicBezTo>
                    <a:cubicBezTo>
                      <a:pt x="843" y="1173"/>
                      <a:pt x="843" y="1173"/>
                      <a:pt x="843" y="1173"/>
                    </a:cubicBezTo>
                    <a:cubicBezTo>
                      <a:pt x="843" y="1172"/>
                      <a:pt x="843" y="1172"/>
                      <a:pt x="843" y="1172"/>
                    </a:cubicBezTo>
                    <a:cubicBezTo>
                      <a:pt x="843" y="1171"/>
                      <a:pt x="843" y="1171"/>
                      <a:pt x="843" y="1171"/>
                    </a:cubicBezTo>
                    <a:cubicBezTo>
                      <a:pt x="844" y="1170"/>
                      <a:pt x="844" y="1170"/>
                      <a:pt x="844" y="1170"/>
                    </a:cubicBezTo>
                    <a:cubicBezTo>
                      <a:pt x="845" y="1170"/>
                      <a:pt x="845" y="1170"/>
                      <a:pt x="845" y="1170"/>
                    </a:cubicBezTo>
                    <a:cubicBezTo>
                      <a:pt x="847" y="1170"/>
                      <a:pt x="847" y="1170"/>
                      <a:pt x="847" y="1170"/>
                    </a:cubicBezTo>
                    <a:cubicBezTo>
                      <a:pt x="848" y="1169"/>
                      <a:pt x="848" y="1169"/>
                      <a:pt x="848" y="1169"/>
                    </a:cubicBezTo>
                    <a:cubicBezTo>
                      <a:pt x="849" y="1169"/>
                      <a:pt x="849" y="1169"/>
                      <a:pt x="849" y="1169"/>
                    </a:cubicBezTo>
                    <a:cubicBezTo>
                      <a:pt x="849" y="1168"/>
                      <a:pt x="849" y="1168"/>
                      <a:pt x="849" y="1168"/>
                    </a:cubicBezTo>
                    <a:cubicBezTo>
                      <a:pt x="848" y="1168"/>
                      <a:pt x="848" y="1168"/>
                      <a:pt x="848" y="1168"/>
                    </a:cubicBezTo>
                    <a:cubicBezTo>
                      <a:pt x="848" y="1167"/>
                      <a:pt x="848" y="1167"/>
                      <a:pt x="848" y="1167"/>
                    </a:cubicBezTo>
                    <a:cubicBezTo>
                      <a:pt x="849" y="1167"/>
                      <a:pt x="849" y="1167"/>
                      <a:pt x="849" y="1167"/>
                    </a:cubicBezTo>
                    <a:close/>
                    <a:moveTo>
                      <a:pt x="576" y="634"/>
                    </a:moveTo>
                    <a:cubicBezTo>
                      <a:pt x="575" y="634"/>
                      <a:pt x="575" y="634"/>
                      <a:pt x="575" y="634"/>
                    </a:cubicBezTo>
                    <a:cubicBezTo>
                      <a:pt x="575" y="635"/>
                      <a:pt x="575" y="635"/>
                      <a:pt x="575" y="635"/>
                    </a:cubicBezTo>
                    <a:cubicBezTo>
                      <a:pt x="576" y="635"/>
                      <a:pt x="576" y="635"/>
                      <a:pt x="576" y="635"/>
                    </a:cubicBezTo>
                    <a:cubicBezTo>
                      <a:pt x="576" y="634"/>
                      <a:pt x="576" y="634"/>
                      <a:pt x="576" y="634"/>
                    </a:cubicBezTo>
                    <a:close/>
                    <a:moveTo>
                      <a:pt x="494" y="633"/>
                    </a:moveTo>
                    <a:cubicBezTo>
                      <a:pt x="494" y="632"/>
                      <a:pt x="494" y="632"/>
                      <a:pt x="494" y="632"/>
                    </a:cubicBezTo>
                    <a:cubicBezTo>
                      <a:pt x="493" y="632"/>
                      <a:pt x="493" y="632"/>
                      <a:pt x="493" y="632"/>
                    </a:cubicBezTo>
                    <a:cubicBezTo>
                      <a:pt x="494" y="633"/>
                      <a:pt x="494" y="633"/>
                      <a:pt x="494" y="633"/>
                    </a:cubicBezTo>
                    <a:close/>
                    <a:moveTo>
                      <a:pt x="575" y="637"/>
                    </a:moveTo>
                    <a:cubicBezTo>
                      <a:pt x="574" y="639"/>
                      <a:pt x="574" y="639"/>
                      <a:pt x="574" y="639"/>
                    </a:cubicBezTo>
                    <a:cubicBezTo>
                      <a:pt x="575" y="638"/>
                      <a:pt x="575" y="638"/>
                      <a:pt x="575" y="638"/>
                    </a:cubicBezTo>
                    <a:cubicBezTo>
                      <a:pt x="575" y="637"/>
                      <a:pt x="575" y="637"/>
                      <a:pt x="575" y="637"/>
                    </a:cubicBezTo>
                    <a:close/>
                    <a:moveTo>
                      <a:pt x="865" y="785"/>
                    </a:moveTo>
                    <a:cubicBezTo>
                      <a:pt x="865" y="785"/>
                      <a:pt x="865" y="785"/>
                      <a:pt x="864" y="785"/>
                    </a:cubicBezTo>
                    <a:cubicBezTo>
                      <a:pt x="864" y="785"/>
                      <a:pt x="864" y="785"/>
                      <a:pt x="864" y="787"/>
                    </a:cubicBezTo>
                    <a:cubicBezTo>
                      <a:pt x="864" y="787"/>
                      <a:pt x="864" y="787"/>
                      <a:pt x="865" y="788"/>
                    </a:cubicBezTo>
                    <a:cubicBezTo>
                      <a:pt x="865" y="788"/>
                      <a:pt x="865" y="788"/>
                      <a:pt x="866" y="787"/>
                    </a:cubicBezTo>
                    <a:cubicBezTo>
                      <a:pt x="866" y="787"/>
                      <a:pt x="866" y="787"/>
                      <a:pt x="865" y="785"/>
                    </a:cubicBezTo>
                    <a:close/>
                    <a:moveTo>
                      <a:pt x="959" y="838"/>
                    </a:moveTo>
                    <a:cubicBezTo>
                      <a:pt x="959" y="838"/>
                      <a:pt x="959" y="838"/>
                      <a:pt x="961" y="842"/>
                    </a:cubicBezTo>
                    <a:cubicBezTo>
                      <a:pt x="961" y="842"/>
                      <a:pt x="961" y="842"/>
                      <a:pt x="962" y="844"/>
                    </a:cubicBezTo>
                    <a:cubicBezTo>
                      <a:pt x="962" y="844"/>
                      <a:pt x="962" y="844"/>
                      <a:pt x="962" y="848"/>
                    </a:cubicBezTo>
                    <a:cubicBezTo>
                      <a:pt x="962" y="848"/>
                      <a:pt x="962" y="848"/>
                      <a:pt x="961" y="849"/>
                    </a:cubicBezTo>
                    <a:cubicBezTo>
                      <a:pt x="961" y="849"/>
                      <a:pt x="961" y="849"/>
                      <a:pt x="962" y="851"/>
                    </a:cubicBezTo>
                    <a:cubicBezTo>
                      <a:pt x="962" y="851"/>
                      <a:pt x="962" y="851"/>
                      <a:pt x="962" y="852"/>
                    </a:cubicBezTo>
                    <a:cubicBezTo>
                      <a:pt x="962" y="852"/>
                      <a:pt x="962" y="852"/>
                      <a:pt x="961" y="853"/>
                    </a:cubicBezTo>
                    <a:cubicBezTo>
                      <a:pt x="961" y="853"/>
                      <a:pt x="961" y="853"/>
                      <a:pt x="961" y="854"/>
                    </a:cubicBezTo>
                    <a:cubicBezTo>
                      <a:pt x="961" y="854"/>
                      <a:pt x="961" y="854"/>
                      <a:pt x="960" y="858"/>
                    </a:cubicBezTo>
                    <a:cubicBezTo>
                      <a:pt x="960" y="858"/>
                      <a:pt x="960" y="858"/>
                      <a:pt x="959" y="859"/>
                    </a:cubicBezTo>
                    <a:cubicBezTo>
                      <a:pt x="959" y="859"/>
                      <a:pt x="959" y="859"/>
                      <a:pt x="956" y="862"/>
                    </a:cubicBezTo>
                    <a:cubicBezTo>
                      <a:pt x="956" y="862"/>
                      <a:pt x="956" y="862"/>
                      <a:pt x="954" y="865"/>
                    </a:cubicBezTo>
                    <a:cubicBezTo>
                      <a:pt x="954" y="865"/>
                      <a:pt x="954" y="865"/>
                      <a:pt x="953" y="866"/>
                    </a:cubicBezTo>
                    <a:cubicBezTo>
                      <a:pt x="953" y="866"/>
                      <a:pt x="953" y="866"/>
                      <a:pt x="952" y="866"/>
                    </a:cubicBezTo>
                    <a:cubicBezTo>
                      <a:pt x="952" y="866"/>
                      <a:pt x="952" y="866"/>
                      <a:pt x="951" y="867"/>
                    </a:cubicBezTo>
                    <a:cubicBezTo>
                      <a:pt x="951" y="867"/>
                      <a:pt x="951" y="867"/>
                      <a:pt x="948" y="869"/>
                    </a:cubicBezTo>
                    <a:cubicBezTo>
                      <a:pt x="948" y="869"/>
                      <a:pt x="948" y="869"/>
                      <a:pt x="947" y="871"/>
                    </a:cubicBezTo>
                    <a:cubicBezTo>
                      <a:pt x="947" y="871"/>
                      <a:pt x="947" y="871"/>
                      <a:pt x="946" y="873"/>
                    </a:cubicBezTo>
                    <a:cubicBezTo>
                      <a:pt x="946" y="873"/>
                      <a:pt x="946" y="873"/>
                      <a:pt x="946" y="874"/>
                    </a:cubicBezTo>
                    <a:cubicBezTo>
                      <a:pt x="946" y="874"/>
                      <a:pt x="946" y="874"/>
                      <a:pt x="945" y="876"/>
                    </a:cubicBezTo>
                    <a:cubicBezTo>
                      <a:pt x="945" y="876"/>
                      <a:pt x="945" y="876"/>
                      <a:pt x="944" y="878"/>
                    </a:cubicBezTo>
                    <a:cubicBezTo>
                      <a:pt x="944" y="878"/>
                      <a:pt x="944" y="878"/>
                      <a:pt x="942" y="881"/>
                    </a:cubicBezTo>
                    <a:cubicBezTo>
                      <a:pt x="942" y="881"/>
                      <a:pt x="942" y="881"/>
                      <a:pt x="941" y="882"/>
                    </a:cubicBezTo>
                    <a:cubicBezTo>
                      <a:pt x="941" y="882"/>
                      <a:pt x="941" y="882"/>
                      <a:pt x="939" y="883"/>
                    </a:cubicBezTo>
                    <a:cubicBezTo>
                      <a:pt x="939" y="883"/>
                      <a:pt x="939" y="883"/>
                      <a:pt x="939" y="882"/>
                    </a:cubicBezTo>
                    <a:cubicBezTo>
                      <a:pt x="939" y="882"/>
                      <a:pt x="939" y="882"/>
                      <a:pt x="940" y="882"/>
                    </a:cubicBezTo>
                    <a:cubicBezTo>
                      <a:pt x="940" y="882"/>
                      <a:pt x="940" y="882"/>
                      <a:pt x="941" y="881"/>
                    </a:cubicBezTo>
                    <a:cubicBezTo>
                      <a:pt x="941" y="881"/>
                      <a:pt x="941" y="881"/>
                      <a:pt x="940" y="880"/>
                    </a:cubicBezTo>
                    <a:cubicBezTo>
                      <a:pt x="940" y="880"/>
                      <a:pt x="940" y="880"/>
                      <a:pt x="939" y="880"/>
                    </a:cubicBezTo>
                    <a:cubicBezTo>
                      <a:pt x="939" y="880"/>
                      <a:pt x="939" y="880"/>
                      <a:pt x="938" y="881"/>
                    </a:cubicBezTo>
                    <a:cubicBezTo>
                      <a:pt x="938" y="881"/>
                      <a:pt x="938" y="881"/>
                      <a:pt x="937" y="881"/>
                    </a:cubicBezTo>
                    <a:cubicBezTo>
                      <a:pt x="937" y="881"/>
                      <a:pt x="937" y="881"/>
                      <a:pt x="936" y="880"/>
                    </a:cubicBezTo>
                    <a:cubicBezTo>
                      <a:pt x="936" y="880"/>
                      <a:pt x="936" y="880"/>
                      <a:pt x="935" y="880"/>
                    </a:cubicBezTo>
                    <a:cubicBezTo>
                      <a:pt x="935" y="880"/>
                      <a:pt x="935" y="880"/>
                      <a:pt x="937" y="881"/>
                    </a:cubicBezTo>
                    <a:cubicBezTo>
                      <a:pt x="937" y="881"/>
                      <a:pt x="937" y="881"/>
                      <a:pt x="938" y="882"/>
                    </a:cubicBezTo>
                    <a:cubicBezTo>
                      <a:pt x="938" y="882"/>
                      <a:pt x="938" y="882"/>
                      <a:pt x="938" y="884"/>
                    </a:cubicBezTo>
                    <a:cubicBezTo>
                      <a:pt x="938" y="884"/>
                      <a:pt x="938" y="884"/>
                      <a:pt x="937" y="884"/>
                    </a:cubicBezTo>
                    <a:cubicBezTo>
                      <a:pt x="937" y="884"/>
                      <a:pt x="937" y="884"/>
                      <a:pt x="937" y="885"/>
                    </a:cubicBezTo>
                    <a:cubicBezTo>
                      <a:pt x="937" y="885"/>
                      <a:pt x="937" y="885"/>
                      <a:pt x="937" y="886"/>
                    </a:cubicBezTo>
                    <a:cubicBezTo>
                      <a:pt x="937" y="886"/>
                      <a:pt x="937" y="886"/>
                      <a:pt x="936" y="888"/>
                    </a:cubicBezTo>
                    <a:cubicBezTo>
                      <a:pt x="936" y="888"/>
                      <a:pt x="936" y="888"/>
                      <a:pt x="936" y="889"/>
                    </a:cubicBezTo>
                    <a:cubicBezTo>
                      <a:pt x="936" y="889"/>
                      <a:pt x="936" y="889"/>
                      <a:pt x="937" y="889"/>
                    </a:cubicBezTo>
                    <a:cubicBezTo>
                      <a:pt x="937" y="889"/>
                      <a:pt x="937" y="889"/>
                      <a:pt x="938" y="889"/>
                    </a:cubicBezTo>
                    <a:cubicBezTo>
                      <a:pt x="938" y="889"/>
                      <a:pt x="938" y="889"/>
                      <a:pt x="938" y="890"/>
                    </a:cubicBezTo>
                    <a:cubicBezTo>
                      <a:pt x="938" y="890"/>
                      <a:pt x="938" y="890"/>
                      <a:pt x="937" y="891"/>
                    </a:cubicBezTo>
                    <a:cubicBezTo>
                      <a:pt x="937" y="891"/>
                      <a:pt x="937" y="891"/>
                      <a:pt x="937" y="893"/>
                    </a:cubicBezTo>
                    <a:cubicBezTo>
                      <a:pt x="937" y="893"/>
                      <a:pt x="937" y="893"/>
                      <a:pt x="938" y="901"/>
                    </a:cubicBezTo>
                    <a:cubicBezTo>
                      <a:pt x="938" y="901"/>
                      <a:pt x="938" y="901"/>
                      <a:pt x="937" y="903"/>
                    </a:cubicBezTo>
                    <a:cubicBezTo>
                      <a:pt x="937" y="903"/>
                      <a:pt x="937" y="903"/>
                      <a:pt x="937" y="904"/>
                    </a:cubicBezTo>
                    <a:cubicBezTo>
                      <a:pt x="937" y="904"/>
                      <a:pt x="937" y="904"/>
                      <a:pt x="937" y="906"/>
                    </a:cubicBezTo>
                    <a:cubicBezTo>
                      <a:pt x="937" y="906"/>
                      <a:pt x="937" y="906"/>
                      <a:pt x="937" y="908"/>
                    </a:cubicBezTo>
                    <a:cubicBezTo>
                      <a:pt x="937" y="908"/>
                      <a:pt x="937" y="908"/>
                      <a:pt x="936" y="911"/>
                    </a:cubicBezTo>
                    <a:cubicBezTo>
                      <a:pt x="936" y="911"/>
                      <a:pt x="936" y="911"/>
                      <a:pt x="937" y="913"/>
                    </a:cubicBezTo>
                    <a:cubicBezTo>
                      <a:pt x="937" y="913"/>
                      <a:pt x="937" y="913"/>
                      <a:pt x="936" y="914"/>
                    </a:cubicBezTo>
                    <a:cubicBezTo>
                      <a:pt x="936" y="914"/>
                      <a:pt x="936" y="914"/>
                      <a:pt x="935" y="915"/>
                    </a:cubicBezTo>
                    <a:cubicBezTo>
                      <a:pt x="935" y="915"/>
                      <a:pt x="935" y="915"/>
                      <a:pt x="934" y="916"/>
                    </a:cubicBezTo>
                    <a:cubicBezTo>
                      <a:pt x="934" y="916"/>
                      <a:pt x="934" y="916"/>
                      <a:pt x="934" y="917"/>
                    </a:cubicBezTo>
                    <a:cubicBezTo>
                      <a:pt x="934" y="917"/>
                      <a:pt x="934" y="917"/>
                      <a:pt x="933" y="920"/>
                    </a:cubicBezTo>
                    <a:cubicBezTo>
                      <a:pt x="933" y="920"/>
                      <a:pt x="933" y="920"/>
                      <a:pt x="934" y="924"/>
                    </a:cubicBezTo>
                    <a:cubicBezTo>
                      <a:pt x="934" y="924"/>
                      <a:pt x="934" y="924"/>
                      <a:pt x="934" y="926"/>
                    </a:cubicBezTo>
                    <a:cubicBezTo>
                      <a:pt x="934" y="926"/>
                      <a:pt x="934" y="926"/>
                      <a:pt x="931" y="928"/>
                    </a:cubicBezTo>
                    <a:cubicBezTo>
                      <a:pt x="931" y="928"/>
                      <a:pt x="931" y="928"/>
                      <a:pt x="930" y="931"/>
                    </a:cubicBezTo>
                    <a:cubicBezTo>
                      <a:pt x="930" y="931"/>
                      <a:pt x="930" y="931"/>
                      <a:pt x="930" y="933"/>
                    </a:cubicBezTo>
                    <a:cubicBezTo>
                      <a:pt x="930" y="933"/>
                      <a:pt x="930" y="933"/>
                      <a:pt x="929" y="933"/>
                    </a:cubicBezTo>
                    <a:cubicBezTo>
                      <a:pt x="929" y="933"/>
                      <a:pt x="929" y="933"/>
                      <a:pt x="928" y="934"/>
                    </a:cubicBezTo>
                    <a:cubicBezTo>
                      <a:pt x="928" y="934"/>
                      <a:pt x="928" y="934"/>
                      <a:pt x="928" y="935"/>
                    </a:cubicBezTo>
                    <a:cubicBezTo>
                      <a:pt x="928" y="935"/>
                      <a:pt x="928" y="935"/>
                      <a:pt x="927" y="936"/>
                    </a:cubicBezTo>
                    <a:cubicBezTo>
                      <a:pt x="927" y="936"/>
                      <a:pt x="927" y="936"/>
                      <a:pt x="926" y="938"/>
                    </a:cubicBezTo>
                    <a:cubicBezTo>
                      <a:pt x="926" y="938"/>
                      <a:pt x="926" y="938"/>
                      <a:pt x="928" y="940"/>
                    </a:cubicBezTo>
                    <a:cubicBezTo>
                      <a:pt x="928" y="940"/>
                      <a:pt x="928" y="940"/>
                      <a:pt x="928" y="941"/>
                    </a:cubicBezTo>
                    <a:cubicBezTo>
                      <a:pt x="928" y="941"/>
                      <a:pt x="928" y="941"/>
                      <a:pt x="927" y="942"/>
                    </a:cubicBezTo>
                    <a:cubicBezTo>
                      <a:pt x="927" y="942"/>
                      <a:pt x="927" y="942"/>
                      <a:pt x="926" y="942"/>
                    </a:cubicBezTo>
                    <a:cubicBezTo>
                      <a:pt x="926" y="942"/>
                      <a:pt x="926" y="942"/>
                      <a:pt x="924" y="943"/>
                    </a:cubicBezTo>
                    <a:cubicBezTo>
                      <a:pt x="924" y="943"/>
                      <a:pt x="924" y="943"/>
                      <a:pt x="921" y="945"/>
                    </a:cubicBezTo>
                    <a:cubicBezTo>
                      <a:pt x="921" y="945"/>
                      <a:pt x="921" y="945"/>
                      <a:pt x="921" y="946"/>
                    </a:cubicBezTo>
                    <a:cubicBezTo>
                      <a:pt x="921" y="946"/>
                      <a:pt x="921" y="946"/>
                      <a:pt x="921" y="947"/>
                    </a:cubicBezTo>
                    <a:cubicBezTo>
                      <a:pt x="921" y="947"/>
                      <a:pt x="921" y="947"/>
                      <a:pt x="920" y="948"/>
                    </a:cubicBezTo>
                    <a:cubicBezTo>
                      <a:pt x="920" y="948"/>
                      <a:pt x="920" y="948"/>
                      <a:pt x="918" y="947"/>
                    </a:cubicBezTo>
                    <a:cubicBezTo>
                      <a:pt x="918" y="947"/>
                      <a:pt x="918" y="947"/>
                      <a:pt x="916" y="947"/>
                    </a:cubicBezTo>
                    <a:cubicBezTo>
                      <a:pt x="916" y="947"/>
                      <a:pt x="916" y="947"/>
                      <a:pt x="915" y="948"/>
                    </a:cubicBezTo>
                    <a:cubicBezTo>
                      <a:pt x="915" y="948"/>
                      <a:pt x="915" y="948"/>
                      <a:pt x="913" y="948"/>
                    </a:cubicBezTo>
                    <a:cubicBezTo>
                      <a:pt x="913" y="948"/>
                      <a:pt x="913" y="948"/>
                      <a:pt x="913" y="946"/>
                    </a:cubicBezTo>
                    <a:cubicBezTo>
                      <a:pt x="913" y="946"/>
                      <a:pt x="913" y="946"/>
                      <a:pt x="912" y="946"/>
                    </a:cubicBezTo>
                    <a:cubicBezTo>
                      <a:pt x="912" y="946"/>
                      <a:pt x="912" y="946"/>
                      <a:pt x="912" y="947"/>
                    </a:cubicBezTo>
                    <a:cubicBezTo>
                      <a:pt x="912" y="947"/>
                      <a:pt x="912" y="947"/>
                      <a:pt x="909" y="948"/>
                    </a:cubicBezTo>
                    <a:cubicBezTo>
                      <a:pt x="909" y="948"/>
                      <a:pt x="909" y="948"/>
                      <a:pt x="907" y="949"/>
                    </a:cubicBezTo>
                    <a:cubicBezTo>
                      <a:pt x="907" y="949"/>
                      <a:pt x="907" y="949"/>
                      <a:pt x="906" y="948"/>
                    </a:cubicBezTo>
                    <a:cubicBezTo>
                      <a:pt x="906" y="948"/>
                      <a:pt x="906" y="948"/>
                      <a:pt x="908" y="948"/>
                    </a:cubicBezTo>
                    <a:cubicBezTo>
                      <a:pt x="908" y="948"/>
                      <a:pt x="908" y="948"/>
                      <a:pt x="910" y="947"/>
                    </a:cubicBezTo>
                    <a:cubicBezTo>
                      <a:pt x="910" y="947"/>
                      <a:pt x="910" y="947"/>
                      <a:pt x="910" y="946"/>
                    </a:cubicBezTo>
                    <a:cubicBezTo>
                      <a:pt x="910" y="946"/>
                      <a:pt x="910" y="946"/>
                      <a:pt x="909" y="946"/>
                    </a:cubicBezTo>
                    <a:cubicBezTo>
                      <a:pt x="909" y="946"/>
                      <a:pt x="909" y="946"/>
                      <a:pt x="908" y="947"/>
                    </a:cubicBezTo>
                    <a:cubicBezTo>
                      <a:pt x="908" y="947"/>
                      <a:pt x="908" y="947"/>
                      <a:pt x="907" y="947"/>
                    </a:cubicBezTo>
                    <a:cubicBezTo>
                      <a:pt x="907" y="947"/>
                      <a:pt x="907" y="947"/>
                      <a:pt x="906" y="947"/>
                    </a:cubicBezTo>
                    <a:cubicBezTo>
                      <a:pt x="906" y="947"/>
                      <a:pt x="906" y="947"/>
                      <a:pt x="904" y="948"/>
                    </a:cubicBezTo>
                    <a:cubicBezTo>
                      <a:pt x="904" y="948"/>
                      <a:pt x="904" y="948"/>
                      <a:pt x="903" y="948"/>
                    </a:cubicBezTo>
                    <a:cubicBezTo>
                      <a:pt x="903" y="948"/>
                      <a:pt x="903" y="948"/>
                      <a:pt x="904" y="949"/>
                    </a:cubicBezTo>
                    <a:cubicBezTo>
                      <a:pt x="904" y="949"/>
                      <a:pt x="904" y="949"/>
                      <a:pt x="905" y="949"/>
                    </a:cubicBezTo>
                    <a:cubicBezTo>
                      <a:pt x="905" y="949"/>
                      <a:pt x="905" y="949"/>
                      <a:pt x="905" y="950"/>
                    </a:cubicBezTo>
                    <a:cubicBezTo>
                      <a:pt x="905" y="950"/>
                      <a:pt x="905" y="950"/>
                      <a:pt x="904" y="950"/>
                    </a:cubicBezTo>
                    <a:cubicBezTo>
                      <a:pt x="904" y="950"/>
                      <a:pt x="904" y="950"/>
                      <a:pt x="901" y="952"/>
                    </a:cubicBezTo>
                    <a:cubicBezTo>
                      <a:pt x="901" y="952"/>
                      <a:pt x="901" y="952"/>
                      <a:pt x="900" y="954"/>
                    </a:cubicBezTo>
                    <a:cubicBezTo>
                      <a:pt x="900" y="954"/>
                      <a:pt x="900" y="954"/>
                      <a:pt x="899" y="954"/>
                    </a:cubicBezTo>
                    <a:cubicBezTo>
                      <a:pt x="899" y="954"/>
                      <a:pt x="899" y="954"/>
                      <a:pt x="897" y="954"/>
                    </a:cubicBezTo>
                    <a:cubicBezTo>
                      <a:pt x="897" y="954"/>
                      <a:pt x="897" y="954"/>
                      <a:pt x="896" y="955"/>
                    </a:cubicBezTo>
                    <a:cubicBezTo>
                      <a:pt x="896" y="955"/>
                      <a:pt x="896" y="955"/>
                      <a:pt x="895" y="956"/>
                    </a:cubicBezTo>
                    <a:cubicBezTo>
                      <a:pt x="895" y="956"/>
                      <a:pt x="895" y="956"/>
                      <a:pt x="893" y="956"/>
                    </a:cubicBezTo>
                    <a:cubicBezTo>
                      <a:pt x="893" y="956"/>
                      <a:pt x="893" y="956"/>
                      <a:pt x="890" y="959"/>
                    </a:cubicBezTo>
                    <a:cubicBezTo>
                      <a:pt x="890" y="959"/>
                      <a:pt x="890" y="959"/>
                      <a:pt x="888" y="960"/>
                    </a:cubicBezTo>
                    <a:cubicBezTo>
                      <a:pt x="888" y="960"/>
                      <a:pt x="888" y="960"/>
                      <a:pt x="886" y="962"/>
                    </a:cubicBezTo>
                    <a:cubicBezTo>
                      <a:pt x="886" y="962"/>
                      <a:pt x="886" y="962"/>
                      <a:pt x="885" y="963"/>
                    </a:cubicBezTo>
                    <a:cubicBezTo>
                      <a:pt x="885" y="963"/>
                      <a:pt x="885" y="963"/>
                      <a:pt x="883" y="965"/>
                    </a:cubicBezTo>
                    <a:cubicBezTo>
                      <a:pt x="883" y="965"/>
                      <a:pt x="883" y="965"/>
                      <a:pt x="883" y="964"/>
                    </a:cubicBezTo>
                    <a:cubicBezTo>
                      <a:pt x="883" y="964"/>
                      <a:pt x="883" y="964"/>
                      <a:pt x="882" y="966"/>
                    </a:cubicBezTo>
                    <a:cubicBezTo>
                      <a:pt x="882" y="966"/>
                      <a:pt x="882" y="966"/>
                      <a:pt x="881" y="966"/>
                    </a:cubicBezTo>
                    <a:cubicBezTo>
                      <a:pt x="881" y="966"/>
                      <a:pt x="881" y="966"/>
                      <a:pt x="882" y="967"/>
                    </a:cubicBezTo>
                    <a:cubicBezTo>
                      <a:pt x="882" y="967"/>
                      <a:pt x="882" y="967"/>
                      <a:pt x="882" y="968"/>
                    </a:cubicBezTo>
                    <a:cubicBezTo>
                      <a:pt x="882" y="968"/>
                      <a:pt x="882" y="968"/>
                      <a:pt x="881" y="968"/>
                    </a:cubicBezTo>
                    <a:cubicBezTo>
                      <a:pt x="881" y="968"/>
                      <a:pt x="881" y="968"/>
                      <a:pt x="881" y="969"/>
                    </a:cubicBezTo>
                    <a:cubicBezTo>
                      <a:pt x="881" y="969"/>
                      <a:pt x="881" y="969"/>
                      <a:pt x="882" y="970"/>
                    </a:cubicBezTo>
                    <a:cubicBezTo>
                      <a:pt x="882" y="970"/>
                      <a:pt x="882" y="970"/>
                      <a:pt x="880" y="970"/>
                    </a:cubicBezTo>
                    <a:cubicBezTo>
                      <a:pt x="880" y="970"/>
                      <a:pt x="880" y="970"/>
                      <a:pt x="880" y="971"/>
                    </a:cubicBezTo>
                    <a:cubicBezTo>
                      <a:pt x="880" y="971"/>
                      <a:pt x="880" y="971"/>
                      <a:pt x="880" y="972"/>
                    </a:cubicBezTo>
                    <a:cubicBezTo>
                      <a:pt x="880" y="972"/>
                      <a:pt x="880" y="972"/>
                      <a:pt x="881" y="974"/>
                    </a:cubicBezTo>
                    <a:cubicBezTo>
                      <a:pt x="881" y="974"/>
                      <a:pt x="881" y="974"/>
                      <a:pt x="881" y="975"/>
                    </a:cubicBezTo>
                    <a:cubicBezTo>
                      <a:pt x="881" y="975"/>
                      <a:pt x="881" y="975"/>
                      <a:pt x="881" y="976"/>
                    </a:cubicBezTo>
                    <a:cubicBezTo>
                      <a:pt x="881" y="976"/>
                      <a:pt x="881" y="976"/>
                      <a:pt x="881" y="977"/>
                    </a:cubicBezTo>
                    <a:cubicBezTo>
                      <a:pt x="881" y="977"/>
                      <a:pt x="881" y="977"/>
                      <a:pt x="882" y="978"/>
                    </a:cubicBezTo>
                    <a:cubicBezTo>
                      <a:pt x="882" y="978"/>
                      <a:pt x="882" y="978"/>
                      <a:pt x="882" y="980"/>
                    </a:cubicBezTo>
                    <a:cubicBezTo>
                      <a:pt x="882" y="980"/>
                      <a:pt x="882" y="980"/>
                      <a:pt x="883" y="980"/>
                    </a:cubicBezTo>
                    <a:cubicBezTo>
                      <a:pt x="883" y="980"/>
                      <a:pt x="883" y="980"/>
                      <a:pt x="882" y="981"/>
                    </a:cubicBezTo>
                    <a:cubicBezTo>
                      <a:pt x="882" y="981"/>
                      <a:pt x="882" y="981"/>
                      <a:pt x="883" y="982"/>
                    </a:cubicBezTo>
                    <a:cubicBezTo>
                      <a:pt x="883" y="982"/>
                      <a:pt x="883" y="982"/>
                      <a:pt x="882" y="983"/>
                    </a:cubicBezTo>
                    <a:cubicBezTo>
                      <a:pt x="882" y="983"/>
                      <a:pt x="882" y="983"/>
                      <a:pt x="881" y="984"/>
                    </a:cubicBezTo>
                    <a:cubicBezTo>
                      <a:pt x="881" y="984"/>
                      <a:pt x="881" y="984"/>
                      <a:pt x="881" y="985"/>
                    </a:cubicBezTo>
                    <a:cubicBezTo>
                      <a:pt x="881" y="985"/>
                      <a:pt x="881" y="985"/>
                      <a:pt x="881" y="986"/>
                    </a:cubicBezTo>
                    <a:cubicBezTo>
                      <a:pt x="881" y="986"/>
                      <a:pt x="881" y="986"/>
                      <a:pt x="880" y="987"/>
                    </a:cubicBezTo>
                    <a:cubicBezTo>
                      <a:pt x="880" y="987"/>
                      <a:pt x="880" y="987"/>
                      <a:pt x="878" y="990"/>
                    </a:cubicBezTo>
                    <a:cubicBezTo>
                      <a:pt x="878" y="990"/>
                      <a:pt x="878" y="990"/>
                      <a:pt x="875" y="995"/>
                    </a:cubicBezTo>
                    <a:cubicBezTo>
                      <a:pt x="875" y="995"/>
                      <a:pt x="875" y="995"/>
                      <a:pt x="874" y="999"/>
                    </a:cubicBezTo>
                    <a:cubicBezTo>
                      <a:pt x="874" y="999"/>
                      <a:pt x="874" y="999"/>
                      <a:pt x="872" y="1001"/>
                    </a:cubicBezTo>
                    <a:cubicBezTo>
                      <a:pt x="872" y="1001"/>
                      <a:pt x="872" y="1001"/>
                      <a:pt x="870" y="1006"/>
                    </a:cubicBezTo>
                    <a:cubicBezTo>
                      <a:pt x="870" y="1006"/>
                      <a:pt x="870" y="1006"/>
                      <a:pt x="867" y="1008"/>
                    </a:cubicBezTo>
                    <a:cubicBezTo>
                      <a:pt x="867" y="1008"/>
                      <a:pt x="867" y="1008"/>
                      <a:pt x="867" y="1007"/>
                    </a:cubicBezTo>
                    <a:cubicBezTo>
                      <a:pt x="867" y="1007"/>
                      <a:pt x="867" y="1007"/>
                      <a:pt x="867" y="1005"/>
                    </a:cubicBezTo>
                    <a:cubicBezTo>
                      <a:pt x="867" y="1005"/>
                      <a:pt x="867" y="1005"/>
                      <a:pt x="868" y="1005"/>
                    </a:cubicBezTo>
                    <a:cubicBezTo>
                      <a:pt x="868" y="1005"/>
                      <a:pt x="868" y="1005"/>
                      <a:pt x="870" y="1003"/>
                    </a:cubicBezTo>
                    <a:cubicBezTo>
                      <a:pt x="870" y="1003"/>
                      <a:pt x="870" y="1003"/>
                      <a:pt x="871" y="1001"/>
                    </a:cubicBezTo>
                    <a:cubicBezTo>
                      <a:pt x="871" y="1001"/>
                      <a:pt x="871" y="1001"/>
                      <a:pt x="871" y="999"/>
                    </a:cubicBezTo>
                    <a:cubicBezTo>
                      <a:pt x="871" y="999"/>
                      <a:pt x="871" y="999"/>
                      <a:pt x="870" y="999"/>
                    </a:cubicBezTo>
                    <a:cubicBezTo>
                      <a:pt x="870" y="999"/>
                      <a:pt x="870" y="999"/>
                      <a:pt x="869" y="999"/>
                    </a:cubicBezTo>
                    <a:cubicBezTo>
                      <a:pt x="869" y="999"/>
                      <a:pt x="869" y="999"/>
                      <a:pt x="868" y="998"/>
                    </a:cubicBezTo>
                    <a:cubicBezTo>
                      <a:pt x="868" y="998"/>
                      <a:pt x="868" y="998"/>
                      <a:pt x="867" y="996"/>
                    </a:cubicBezTo>
                    <a:cubicBezTo>
                      <a:pt x="867" y="996"/>
                      <a:pt x="867" y="996"/>
                      <a:pt x="866" y="996"/>
                    </a:cubicBezTo>
                    <a:cubicBezTo>
                      <a:pt x="866" y="996"/>
                      <a:pt x="866" y="996"/>
                      <a:pt x="867" y="997"/>
                    </a:cubicBezTo>
                    <a:cubicBezTo>
                      <a:pt x="867" y="997"/>
                      <a:pt x="867" y="997"/>
                      <a:pt x="867" y="998"/>
                    </a:cubicBezTo>
                    <a:cubicBezTo>
                      <a:pt x="867" y="998"/>
                      <a:pt x="867" y="998"/>
                      <a:pt x="868" y="999"/>
                    </a:cubicBezTo>
                    <a:cubicBezTo>
                      <a:pt x="868" y="999"/>
                      <a:pt x="868" y="999"/>
                      <a:pt x="868" y="1000"/>
                    </a:cubicBezTo>
                    <a:cubicBezTo>
                      <a:pt x="868" y="1000"/>
                      <a:pt x="868" y="1000"/>
                      <a:pt x="867" y="1001"/>
                    </a:cubicBezTo>
                    <a:cubicBezTo>
                      <a:pt x="867" y="1001"/>
                      <a:pt x="867" y="1001"/>
                      <a:pt x="866" y="1002"/>
                    </a:cubicBezTo>
                    <a:cubicBezTo>
                      <a:pt x="866" y="1002"/>
                      <a:pt x="866" y="1002"/>
                      <a:pt x="866" y="1003"/>
                    </a:cubicBezTo>
                    <a:cubicBezTo>
                      <a:pt x="866" y="1003"/>
                      <a:pt x="866" y="1003"/>
                      <a:pt x="866" y="1004"/>
                    </a:cubicBezTo>
                    <a:cubicBezTo>
                      <a:pt x="866" y="1004"/>
                      <a:pt x="866" y="1004"/>
                      <a:pt x="866" y="1005"/>
                    </a:cubicBezTo>
                    <a:cubicBezTo>
                      <a:pt x="866" y="1005"/>
                      <a:pt x="866" y="1005"/>
                      <a:pt x="865" y="1006"/>
                    </a:cubicBezTo>
                    <a:cubicBezTo>
                      <a:pt x="865" y="1006"/>
                      <a:pt x="865" y="1006"/>
                      <a:pt x="864" y="1006"/>
                    </a:cubicBezTo>
                    <a:cubicBezTo>
                      <a:pt x="864" y="1006"/>
                      <a:pt x="864" y="1006"/>
                      <a:pt x="863" y="1006"/>
                    </a:cubicBezTo>
                    <a:cubicBezTo>
                      <a:pt x="863" y="1006"/>
                      <a:pt x="863" y="1006"/>
                      <a:pt x="863" y="1007"/>
                    </a:cubicBezTo>
                    <a:cubicBezTo>
                      <a:pt x="863" y="1007"/>
                      <a:pt x="863" y="1007"/>
                      <a:pt x="862" y="1008"/>
                    </a:cubicBezTo>
                    <a:cubicBezTo>
                      <a:pt x="862" y="1008"/>
                      <a:pt x="862" y="1008"/>
                      <a:pt x="862" y="1009"/>
                    </a:cubicBezTo>
                    <a:cubicBezTo>
                      <a:pt x="862" y="1009"/>
                      <a:pt x="862" y="1009"/>
                      <a:pt x="861" y="1009"/>
                    </a:cubicBezTo>
                    <a:cubicBezTo>
                      <a:pt x="861" y="1009"/>
                      <a:pt x="861" y="1009"/>
                      <a:pt x="861" y="1010"/>
                    </a:cubicBezTo>
                    <a:cubicBezTo>
                      <a:pt x="861" y="1010"/>
                      <a:pt x="861" y="1010"/>
                      <a:pt x="862" y="1012"/>
                    </a:cubicBezTo>
                    <a:cubicBezTo>
                      <a:pt x="862" y="1012"/>
                      <a:pt x="862" y="1012"/>
                      <a:pt x="862" y="1013"/>
                    </a:cubicBezTo>
                    <a:cubicBezTo>
                      <a:pt x="862" y="1013"/>
                      <a:pt x="862" y="1013"/>
                      <a:pt x="861" y="1016"/>
                    </a:cubicBezTo>
                    <a:cubicBezTo>
                      <a:pt x="861" y="1016"/>
                      <a:pt x="861" y="1016"/>
                      <a:pt x="860" y="1020"/>
                    </a:cubicBezTo>
                    <a:cubicBezTo>
                      <a:pt x="860" y="1020"/>
                      <a:pt x="860" y="1020"/>
                      <a:pt x="859" y="1022"/>
                    </a:cubicBezTo>
                    <a:cubicBezTo>
                      <a:pt x="859" y="1022"/>
                      <a:pt x="859" y="1022"/>
                      <a:pt x="857" y="1024"/>
                    </a:cubicBezTo>
                    <a:cubicBezTo>
                      <a:pt x="857" y="1024"/>
                      <a:pt x="857" y="1024"/>
                      <a:pt x="856" y="1025"/>
                    </a:cubicBezTo>
                    <a:cubicBezTo>
                      <a:pt x="856" y="1025"/>
                      <a:pt x="856" y="1025"/>
                      <a:pt x="855" y="1026"/>
                    </a:cubicBezTo>
                    <a:cubicBezTo>
                      <a:pt x="855" y="1026"/>
                      <a:pt x="855" y="1026"/>
                      <a:pt x="855" y="1028"/>
                    </a:cubicBezTo>
                    <a:cubicBezTo>
                      <a:pt x="855" y="1028"/>
                      <a:pt x="855" y="1028"/>
                      <a:pt x="854" y="1029"/>
                    </a:cubicBezTo>
                    <a:cubicBezTo>
                      <a:pt x="854" y="1029"/>
                      <a:pt x="854" y="1029"/>
                      <a:pt x="853" y="1030"/>
                    </a:cubicBezTo>
                    <a:cubicBezTo>
                      <a:pt x="853" y="1030"/>
                      <a:pt x="853" y="1030"/>
                      <a:pt x="853" y="1031"/>
                    </a:cubicBezTo>
                    <a:cubicBezTo>
                      <a:pt x="853" y="1031"/>
                      <a:pt x="853" y="1031"/>
                      <a:pt x="852" y="1032"/>
                    </a:cubicBezTo>
                    <a:cubicBezTo>
                      <a:pt x="852" y="1032"/>
                      <a:pt x="852" y="1032"/>
                      <a:pt x="849" y="1033"/>
                    </a:cubicBezTo>
                    <a:cubicBezTo>
                      <a:pt x="849" y="1033"/>
                      <a:pt x="849" y="1033"/>
                      <a:pt x="848" y="1033"/>
                    </a:cubicBezTo>
                    <a:cubicBezTo>
                      <a:pt x="848" y="1033"/>
                      <a:pt x="848" y="1033"/>
                      <a:pt x="848" y="1034"/>
                    </a:cubicBezTo>
                    <a:cubicBezTo>
                      <a:pt x="848" y="1034"/>
                      <a:pt x="848" y="1034"/>
                      <a:pt x="847" y="1034"/>
                    </a:cubicBezTo>
                    <a:cubicBezTo>
                      <a:pt x="847" y="1034"/>
                      <a:pt x="847" y="1034"/>
                      <a:pt x="846" y="1034"/>
                    </a:cubicBezTo>
                    <a:cubicBezTo>
                      <a:pt x="846" y="1034"/>
                      <a:pt x="846" y="1034"/>
                      <a:pt x="845" y="1034"/>
                    </a:cubicBezTo>
                    <a:cubicBezTo>
                      <a:pt x="845" y="1034"/>
                      <a:pt x="845" y="1034"/>
                      <a:pt x="844" y="1033"/>
                    </a:cubicBezTo>
                    <a:cubicBezTo>
                      <a:pt x="844" y="1033"/>
                      <a:pt x="844" y="1033"/>
                      <a:pt x="843" y="1033"/>
                    </a:cubicBezTo>
                    <a:cubicBezTo>
                      <a:pt x="843" y="1033"/>
                      <a:pt x="843" y="1033"/>
                      <a:pt x="841" y="1033"/>
                    </a:cubicBezTo>
                    <a:cubicBezTo>
                      <a:pt x="841" y="1033"/>
                      <a:pt x="841" y="1033"/>
                      <a:pt x="840" y="1034"/>
                    </a:cubicBezTo>
                    <a:cubicBezTo>
                      <a:pt x="840" y="1034"/>
                      <a:pt x="840" y="1034"/>
                      <a:pt x="839" y="1034"/>
                    </a:cubicBezTo>
                    <a:cubicBezTo>
                      <a:pt x="839" y="1034"/>
                      <a:pt x="839" y="1034"/>
                      <a:pt x="839" y="1033"/>
                    </a:cubicBezTo>
                    <a:cubicBezTo>
                      <a:pt x="839" y="1033"/>
                      <a:pt x="839" y="1033"/>
                      <a:pt x="838" y="1033"/>
                    </a:cubicBezTo>
                    <a:cubicBezTo>
                      <a:pt x="838" y="1033"/>
                      <a:pt x="838" y="1033"/>
                      <a:pt x="837" y="1032"/>
                    </a:cubicBezTo>
                    <a:cubicBezTo>
                      <a:pt x="837" y="1032"/>
                      <a:pt x="837" y="1032"/>
                      <a:pt x="835" y="1031"/>
                    </a:cubicBezTo>
                    <a:cubicBezTo>
                      <a:pt x="835" y="1031"/>
                      <a:pt x="835" y="1031"/>
                      <a:pt x="833" y="1031"/>
                    </a:cubicBezTo>
                    <a:cubicBezTo>
                      <a:pt x="833" y="1031"/>
                      <a:pt x="833" y="1031"/>
                      <a:pt x="831" y="1031"/>
                    </a:cubicBezTo>
                    <a:cubicBezTo>
                      <a:pt x="831" y="1031"/>
                      <a:pt x="831" y="1031"/>
                      <a:pt x="830" y="1031"/>
                    </a:cubicBezTo>
                    <a:cubicBezTo>
                      <a:pt x="830" y="1031"/>
                      <a:pt x="830" y="1031"/>
                      <a:pt x="828" y="1030"/>
                    </a:cubicBezTo>
                    <a:cubicBezTo>
                      <a:pt x="828" y="1030"/>
                      <a:pt x="828" y="1030"/>
                      <a:pt x="827" y="1029"/>
                    </a:cubicBezTo>
                    <a:cubicBezTo>
                      <a:pt x="827" y="1029"/>
                      <a:pt x="827" y="1029"/>
                      <a:pt x="826" y="1027"/>
                    </a:cubicBezTo>
                    <a:cubicBezTo>
                      <a:pt x="826" y="1027"/>
                      <a:pt x="826" y="1027"/>
                      <a:pt x="825" y="1025"/>
                    </a:cubicBezTo>
                    <a:cubicBezTo>
                      <a:pt x="825" y="1025"/>
                      <a:pt x="825" y="1025"/>
                      <a:pt x="825" y="1022"/>
                    </a:cubicBezTo>
                    <a:cubicBezTo>
                      <a:pt x="825" y="1022"/>
                      <a:pt x="825" y="1022"/>
                      <a:pt x="824" y="1024"/>
                    </a:cubicBezTo>
                    <a:cubicBezTo>
                      <a:pt x="824" y="1024"/>
                      <a:pt x="824" y="1024"/>
                      <a:pt x="825" y="1027"/>
                    </a:cubicBezTo>
                    <a:cubicBezTo>
                      <a:pt x="825" y="1027"/>
                      <a:pt x="825" y="1027"/>
                      <a:pt x="825" y="1028"/>
                    </a:cubicBezTo>
                    <a:cubicBezTo>
                      <a:pt x="825" y="1028"/>
                      <a:pt x="825" y="1028"/>
                      <a:pt x="825" y="1029"/>
                    </a:cubicBezTo>
                    <a:cubicBezTo>
                      <a:pt x="825" y="1029"/>
                      <a:pt x="825" y="1029"/>
                      <a:pt x="825" y="1030"/>
                    </a:cubicBezTo>
                    <a:cubicBezTo>
                      <a:pt x="825" y="1030"/>
                      <a:pt x="825" y="1030"/>
                      <a:pt x="826" y="1031"/>
                    </a:cubicBezTo>
                    <a:cubicBezTo>
                      <a:pt x="826" y="1031"/>
                      <a:pt x="826" y="1031"/>
                      <a:pt x="828" y="1033"/>
                    </a:cubicBezTo>
                    <a:cubicBezTo>
                      <a:pt x="828" y="1033"/>
                      <a:pt x="828" y="1033"/>
                      <a:pt x="831" y="1034"/>
                    </a:cubicBezTo>
                    <a:cubicBezTo>
                      <a:pt x="831" y="1034"/>
                      <a:pt x="831" y="1034"/>
                      <a:pt x="834" y="1036"/>
                    </a:cubicBezTo>
                    <a:cubicBezTo>
                      <a:pt x="834" y="1036"/>
                      <a:pt x="834" y="1036"/>
                      <a:pt x="835" y="1037"/>
                    </a:cubicBezTo>
                    <a:cubicBezTo>
                      <a:pt x="835" y="1037"/>
                      <a:pt x="835" y="1037"/>
                      <a:pt x="835" y="1039"/>
                    </a:cubicBezTo>
                    <a:cubicBezTo>
                      <a:pt x="835" y="1039"/>
                      <a:pt x="835" y="1039"/>
                      <a:pt x="833" y="1042"/>
                    </a:cubicBezTo>
                    <a:cubicBezTo>
                      <a:pt x="833" y="1042"/>
                      <a:pt x="833" y="1042"/>
                      <a:pt x="833" y="1043"/>
                    </a:cubicBezTo>
                    <a:cubicBezTo>
                      <a:pt x="833" y="1043"/>
                      <a:pt x="833" y="1043"/>
                      <a:pt x="834" y="1044"/>
                    </a:cubicBezTo>
                    <a:cubicBezTo>
                      <a:pt x="834" y="1044"/>
                      <a:pt x="834" y="1044"/>
                      <a:pt x="836" y="1045"/>
                    </a:cubicBezTo>
                    <a:cubicBezTo>
                      <a:pt x="836" y="1045"/>
                      <a:pt x="836" y="1045"/>
                      <a:pt x="837" y="1045"/>
                    </a:cubicBezTo>
                    <a:cubicBezTo>
                      <a:pt x="837" y="1045"/>
                      <a:pt x="837" y="1045"/>
                      <a:pt x="838" y="1045"/>
                    </a:cubicBezTo>
                    <a:cubicBezTo>
                      <a:pt x="838" y="1045"/>
                      <a:pt x="838" y="1045"/>
                      <a:pt x="838" y="1046"/>
                    </a:cubicBezTo>
                    <a:cubicBezTo>
                      <a:pt x="838" y="1046"/>
                      <a:pt x="838" y="1046"/>
                      <a:pt x="838" y="1048"/>
                    </a:cubicBezTo>
                    <a:cubicBezTo>
                      <a:pt x="838" y="1048"/>
                      <a:pt x="838" y="1048"/>
                      <a:pt x="838" y="1050"/>
                    </a:cubicBezTo>
                    <a:cubicBezTo>
                      <a:pt x="838" y="1050"/>
                      <a:pt x="838" y="1050"/>
                      <a:pt x="837" y="1052"/>
                    </a:cubicBezTo>
                    <a:cubicBezTo>
                      <a:pt x="837" y="1052"/>
                      <a:pt x="837" y="1052"/>
                      <a:pt x="837" y="1054"/>
                    </a:cubicBezTo>
                    <a:cubicBezTo>
                      <a:pt x="837" y="1054"/>
                      <a:pt x="837" y="1054"/>
                      <a:pt x="836" y="1054"/>
                    </a:cubicBezTo>
                    <a:cubicBezTo>
                      <a:pt x="836" y="1054"/>
                      <a:pt x="836" y="1054"/>
                      <a:pt x="836" y="1053"/>
                    </a:cubicBezTo>
                    <a:cubicBezTo>
                      <a:pt x="836" y="1053"/>
                      <a:pt x="836" y="1053"/>
                      <a:pt x="835" y="1054"/>
                    </a:cubicBezTo>
                    <a:cubicBezTo>
                      <a:pt x="835" y="1054"/>
                      <a:pt x="835" y="1054"/>
                      <a:pt x="835" y="1056"/>
                    </a:cubicBezTo>
                    <a:cubicBezTo>
                      <a:pt x="835" y="1056"/>
                      <a:pt x="835" y="1056"/>
                      <a:pt x="835" y="1057"/>
                    </a:cubicBezTo>
                    <a:cubicBezTo>
                      <a:pt x="835" y="1057"/>
                      <a:pt x="835" y="1057"/>
                      <a:pt x="835" y="1059"/>
                    </a:cubicBezTo>
                    <a:cubicBezTo>
                      <a:pt x="835" y="1059"/>
                      <a:pt x="835" y="1059"/>
                      <a:pt x="831" y="1061"/>
                    </a:cubicBezTo>
                    <a:cubicBezTo>
                      <a:pt x="831" y="1061"/>
                      <a:pt x="831" y="1061"/>
                      <a:pt x="829" y="1062"/>
                    </a:cubicBezTo>
                    <a:cubicBezTo>
                      <a:pt x="829" y="1062"/>
                      <a:pt x="829" y="1062"/>
                      <a:pt x="828" y="1061"/>
                    </a:cubicBezTo>
                    <a:cubicBezTo>
                      <a:pt x="828" y="1061"/>
                      <a:pt x="828" y="1061"/>
                      <a:pt x="828" y="1062"/>
                    </a:cubicBezTo>
                    <a:cubicBezTo>
                      <a:pt x="828" y="1062"/>
                      <a:pt x="828" y="1062"/>
                      <a:pt x="824" y="1063"/>
                    </a:cubicBezTo>
                    <a:cubicBezTo>
                      <a:pt x="824" y="1063"/>
                      <a:pt x="824" y="1063"/>
                      <a:pt x="820" y="1064"/>
                    </a:cubicBezTo>
                    <a:cubicBezTo>
                      <a:pt x="820" y="1064"/>
                      <a:pt x="820" y="1064"/>
                      <a:pt x="817" y="1065"/>
                    </a:cubicBezTo>
                    <a:cubicBezTo>
                      <a:pt x="817" y="1065"/>
                      <a:pt x="817" y="1065"/>
                      <a:pt x="815" y="1064"/>
                    </a:cubicBezTo>
                    <a:cubicBezTo>
                      <a:pt x="815" y="1064"/>
                      <a:pt x="815" y="1064"/>
                      <a:pt x="813" y="1065"/>
                    </a:cubicBezTo>
                    <a:cubicBezTo>
                      <a:pt x="813" y="1065"/>
                      <a:pt x="813" y="1065"/>
                      <a:pt x="812" y="1065"/>
                    </a:cubicBezTo>
                    <a:cubicBezTo>
                      <a:pt x="812" y="1065"/>
                      <a:pt x="812" y="1065"/>
                      <a:pt x="810" y="1064"/>
                    </a:cubicBezTo>
                    <a:cubicBezTo>
                      <a:pt x="810" y="1064"/>
                      <a:pt x="810" y="1064"/>
                      <a:pt x="809" y="1063"/>
                    </a:cubicBezTo>
                    <a:cubicBezTo>
                      <a:pt x="809" y="1063"/>
                      <a:pt x="809" y="1063"/>
                      <a:pt x="808" y="1063"/>
                    </a:cubicBezTo>
                    <a:cubicBezTo>
                      <a:pt x="808" y="1063"/>
                      <a:pt x="808" y="1063"/>
                      <a:pt x="807" y="1062"/>
                    </a:cubicBezTo>
                    <a:cubicBezTo>
                      <a:pt x="807" y="1062"/>
                      <a:pt x="807" y="1062"/>
                      <a:pt x="807" y="1063"/>
                    </a:cubicBezTo>
                    <a:cubicBezTo>
                      <a:pt x="807" y="1063"/>
                      <a:pt x="807" y="1063"/>
                      <a:pt x="807" y="1064"/>
                    </a:cubicBezTo>
                    <a:cubicBezTo>
                      <a:pt x="807" y="1064"/>
                      <a:pt x="807" y="1064"/>
                      <a:pt x="807" y="1065"/>
                    </a:cubicBezTo>
                    <a:cubicBezTo>
                      <a:pt x="807" y="1065"/>
                      <a:pt x="807" y="1065"/>
                      <a:pt x="807" y="1067"/>
                    </a:cubicBezTo>
                    <a:cubicBezTo>
                      <a:pt x="807" y="1067"/>
                      <a:pt x="807" y="1067"/>
                      <a:pt x="808" y="1068"/>
                    </a:cubicBezTo>
                    <a:cubicBezTo>
                      <a:pt x="808" y="1068"/>
                      <a:pt x="808" y="1068"/>
                      <a:pt x="809" y="1068"/>
                    </a:cubicBezTo>
                    <a:cubicBezTo>
                      <a:pt x="809" y="1068"/>
                      <a:pt x="809" y="1068"/>
                      <a:pt x="809" y="1069"/>
                    </a:cubicBezTo>
                    <a:cubicBezTo>
                      <a:pt x="809" y="1069"/>
                      <a:pt x="809" y="1069"/>
                      <a:pt x="809" y="1070"/>
                    </a:cubicBezTo>
                    <a:cubicBezTo>
                      <a:pt x="809" y="1070"/>
                      <a:pt x="809" y="1070"/>
                      <a:pt x="808" y="1070"/>
                    </a:cubicBezTo>
                    <a:cubicBezTo>
                      <a:pt x="808" y="1070"/>
                      <a:pt x="808" y="1070"/>
                      <a:pt x="808" y="1071"/>
                    </a:cubicBezTo>
                    <a:cubicBezTo>
                      <a:pt x="808" y="1071"/>
                      <a:pt x="808" y="1071"/>
                      <a:pt x="807" y="1072"/>
                    </a:cubicBezTo>
                    <a:cubicBezTo>
                      <a:pt x="807" y="1072"/>
                      <a:pt x="807" y="1072"/>
                      <a:pt x="807" y="1073"/>
                    </a:cubicBezTo>
                    <a:cubicBezTo>
                      <a:pt x="807" y="1073"/>
                      <a:pt x="807" y="1073"/>
                      <a:pt x="807" y="1075"/>
                    </a:cubicBezTo>
                    <a:cubicBezTo>
                      <a:pt x="807" y="1075"/>
                      <a:pt x="807" y="1075"/>
                      <a:pt x="808" y="1076"/>
                    </a:cubicBezTo>
                    <a:cubicBezTo>
                      <a:pt x="808" y="1076"/>
                      <a:pt x="808" y="1076"/>
                      <a:pt x="809" y="1076"/>
                    </a:cubicBezTo>
                    <a:cubicBezTo>
                      <a:pt x="809" y="1076"/>
                      <a:pt x="809" y="1076"/>
                      <a:pt x="808" y="1077"/>
                    </a:cubicBezTo>
                    <a:cubicBezTo>
                      <a:pt x="808" y="1077"/>
                      <a:pt x="808" y="1077"/>
                      <a:pt x="808" y="1078"/>
                    </a:cubicBezTo>
                    <a:cubicBezTo>
                      <a:pt x="808" y="1078"/>
                      <a:pt x="808" y="1078"/>
                      <a:pt x="808" y="1079"/>
                    </a:cubicBezTo>
                    <a:cubicBezTo>
                      <a:pt x="808" y="1079"/>
                      <a:pt x="808" y="1079"/>
                      <a:pt x="808" y="1080"/>
                    </a:cubicBezTo>
                    <a:cubicBezTo>
                      <a:pt x="808" y="1080"/>
                      <a:pt x="808" y="1080"/>
                      <a:pt x="807" y="1081"/>
                    </a:cubicBezTo>
                    <a:cubicBezTo>
                      <a:pt x="807" y="1081"/>
                      <a:pt x="807" y="1081"/>
                      <a:pt x="805" y="1083"/>
                    </a:cubicBezTo>
                    <a:cubicBezTo>
                      <a:pt x="805" y="1083"/>
                      <a:pt x="805" y="1083"/>
                      <a:pt x="801" y="1083"/>
                    </a:cubicBezTo>
                    <a:cubicBezTo>
                      <a:pt x="801" y="1083"/>
                      <a:pt x="801" y="1083"/>
                      <a:pt x="799" y="1082"/>
                    </a:cubicBezTo>
                    <a:cubicBezTo>
                      <a:pt x="799" y="1082"/>
                      <a:pt x="799" y="1082"/>
                      <a:pt x="797" y="1081"/>
                    </a:cubicBezTo>
                    <a:cubicBezTo>
                      <a:pt x="797" y="1081"/>
                      <a:pt x="797" y="1081"/>
                      <a:pt x="795" y="1080"/>
                    </a:cubicBezTo>
                    <a:cubicBezTo>
                      <a:pt x="795" y="1080"/>
                      <a:pt x="795" y="1080"/>
                      <a:pt x="793" y="1080"/>
                    </a:cubicBezTo>
                    <a:cubicBezTo>
                      <a:pt x="793" y="1080"/>
                      <a:pt x="793" y="1080"/>
                      <a:pt x="793" y="1079"/>
                    </a:cubicBezTo>
                    <a:cubicBezTo>
                      <a:pt x="793" y="1079"/>
                      <a:pt x="793" y="1079"/>
                      <a:pt x="792" y="1079"/>
                    </a:cubicBezTo>
                    <a:cubicBezTo>
                      <a:pt x="792" y="1079"/>
                      <a:pt x="792" y="1079"/>
                      <a:pt x="791" y="1080"/>
                    </a:cubicBezTo>
                    <a:cubicBezTo>
                      <a:pt x="791" y="1080"/>
                      <a:pt x="791" y="1080"/>
                      <a:pt x="791" y="1083"/>
                    </a:cubicBezTo>
                    <a:cubicBezTo>
                      <a:pt x="791" y="1083"/>
                      <a:pt x="791" y="1083"/>
                      <a:pt x="792" y="1084"/>
                    </a:cubicBezTo>
                    <a:cubicBezTo>
                      <a:pt x="792" y="1084"/>
                      <a:pt x="792" y="1084"/>
                      <a:pt x="793" y="1086"/>
                    </a:cubicBezTo>
                    <a:cubicBezTo>
                      <a:pt x="793" y="1086"/>
                      <a:pt x="793" y="1086"/>
                      <a:pt x="793" y="1089"/>
                    </a:cubicBezTo>
                    <a:cubicBezTo>
                      <a:pt x="793" y="1089"/>
                      <a:pt x="793" y="1089"/>
                      <a:pt x="793" y="1090"/>
                    </a:cubicBezTo>
                    <a:cubicBezTo>
                      <a:pt x="793" y="1090"/>
                      <a:pt x="793" y="1090"/>
                      <a:pt x="795" y="1091"/>
                    </a:cubicBezTo>
                    <a:cubicBezTo>
                      <a:pt x="795" y="1091"/>
                      <a:pt x="795" y="1091"/>
                      <a:pt x="797" y="1091"/>
                    </a:cubicBezTo>
                    <a:cubicBezTo>
                      <a:pt x="797" y="1091"/>
                      <a:pt x="797" y="1091"/>
                      <a:pt x="797" y="1092"/>
                    </a:cubicBezTo>
                    <a:cubicBezTo>
                      <a:pt x="797" y="1092"/>
                      <a:pt x="797" y="1092"/>
                      <a:pt x="796" y="1092"/>
                    </a:cubicBezTo>
                    <a:cubicBezTo>
                      <a:pt x="796" y="1092"/>
                      <a:pt x="796" y="1092"/>
                      <a:pt x="797" y="1093"/>
                    </a:cubicBezTo>
                    <a:cubicBezTo>
                      <a:pt x="797" y="1093"/>
                      <a:pt x="797" y="1093"/>
                      <a:pt x="799" y="1092"/>
                    </a:cubicBezTo>
                    <a:cubicBezTo>
                      <a:pt x="799" y="1092"/>
                      <a:pt x="799" y="1092"/>
                      <a:pt x="799" y="1091"/>
                    </a:cubicBezTo>
                    <a:cubicBezTo>
                      <a:pt x="799" y="1091"/>
                      <a:pt x="799" y="1091"/>
                      <a:pt x="798" y="1091"/>
                    </a:cubicBezTo>
                    <a:cubicBezTo>
                      <a:pt x="798" y="1091"/>
                      <a:pt x="798" y="1091"/>
                      <a:pt x="798" y="1090"/>
                    </a:cubicBezTo>
                    <a:cubicBezTo>
                      <a:pt x="798" y="1090"/>
                      <a:pt x="798" y="1090"/>
                      <a:pt x="799" y="1090"/>
                    </a:cubicBezTo>
                    <a:cubicBezTo>
                      <a:pt x="799" y="1090"/>
                      <a:pt x="799" y="1090"/>
                      <a:pt x="801" y="1089"/>
                    </a:cubicBezTo>
                    <a:cubicBezTo>
                      <a:pt x="801" y="1089"/>
                      <a:pt x="801" y="1089"/>
                      <a:pt x="802" y="1091"/>
                    </a:cubicBezTo>
                    <a:cubicBezTo>
                      <a:pt x="802" y="1091"/>
                      <a:pt x="802" y="1091"/>
                      <a:pt x="802" y="1092"/>
                    </a:cubicBezTo>
                    <a:cubicBezTo>
                      <a:pt x="802" y="1092"/>
                      <a:pt x="802" y="1092"/>
                      <a:pt x="802" y="1093"/>
                    </a:cubicBezTo>
                    <a:cubicBezTo>
                      <a:pt x="802" y="1093"/>
                      <a:pt x="802" y="1093"/>
                      <a:pt x="803" y="1095"/>
                    </a:cubicBezTo>
                    <a:cubicBezTo>
                      <a:pt x="803" y="1095"/>
                      <a:pt x="803" y="1095"/>
                      <a:pt x="803" y="1096"/>
                    </a:cubicBezTo>
                    <a:cubicBezTo>
                      <a:pt x="803" y="1096"/>
                      <a:pt x="803" y="1096"/>
                      <a:pt x="800" y="1097"/>
                    </a:cubicBezTo>
                    <a:cubicBezTo>
                      <a:pt x="800" y="1097"/>
                      <a:pt x="800" y="1097"/>
                      <a:pt x="799" y="1097"/>
                    </a:cubicBezTo>
                    <a:cubicBezTo>
                      <a:pt x="799" y="1097"/>
                      <a:pt x="799" y="1097"/>
                      <a:pt x="799" y="1096"/>
                    </a:cubicBezTo>
                    <a:cubicBezTo>
                      <a:pt x="799" y="1096"/>
                      <a:pt x="799" y="1096"/>
                      <a:pt x="799" y="1095"/>
                    </a:cubicBezTo>
                    <a:cubicBezTo>
                      <a:pt x="799" y="1095"/>
                      <a:pt x="799" y="1095"/>
                      <a:pt x="799" y="1094"/>
                    </a:cubicBezTo>
                    <a:cubicBezTo>
                      <a:pt x="799" y="1094"/>
                      <a:pt x="799" y="1094"/>
                      <a:pt x="797" y="1094"/>
                    </a:cubicBezTo>
                    <a:cubicBezTo>
                      <a:pt x="797" y="1094"/>
                      <a:pt x="797" y="1094"/>
                      <a:pt x="796" y="1094"/>
                    </a:cubicBezTo>
                    <a:cubicBezTo>
                      <a:pt x="796" y="1094"/>
                      <a:pt x="796" y="1094"/>
                      <a:pt x="795" y="1095"/>
                    </a:cubicBezTo>
                    <a:cubicBezTo>
                      <a:pt x="795" y="1095"/>
                      <a:pt x="795" y="1095"/>
                      <a:pt x="794" y="1096"/>
                    </a:cubicBezTo>
                    <a:cubicBezTo>
                      <a:pt x="794" y="1096"/>
                      <a:pt x="794" y="1096"/>
                      <a:pt x="795" y="1097"/>
                    </a:cubicBezTo>
                    <a:cubicBezTo>
                      <a:pt x="795" y="1097"/>
                      <a:pt x="795" y="1097"/>
                      <a:pt x="796" y="1097"/>
                    </a:cubicBezTo>
                    <a:cubicBezTo>
                      <a:pt x="796" y="1097"/>
                      <a:pt x="796" y="1097"/>
                      <a:pt x="798" y="1097"/>
                    </a:cubicBezTo>
                    <a:cubicBezTo>
                      <a:pt x="798" y="1097"/>
                      <a:pt x="798" y="1097"/>
                      <a:pt x="798" y="1098"/>
                    </a:cubicBezTo>
                    <a:cubicBezTo>
                      <a:pt x="798" y="1098"/>
                      <a:pt x="798" y="1098"/>
                      <a:pt x="797" y="1099"/>
                    </a:cubicBezTo>
                    <a:cubicBezTo>
                      <a:pt x="797" y="1099"/>
                      <a:pt x="797" y="1099"/>
                      <a:pt x="795" y="1100"/>
                    </a:cubicBezTo>
                    <a:cubicBezTo>
                      <a:pt x="795" y="1100"/>
                      <a:pt x="795" y="1100"/>
                      <a:pt x="794" y="1101"/>
                    </a:cubicBezTo>
                    <a:cubicBezTo>
                      <a:pt x="794" y="1101"/>
                      <a:pt x="794" y="1101"/>
                      <a:pt x="795" y="1101"/>
                    </a:cubicBezTo>
                    <a:cubicBezTo>
                      <a:pt x="795" y="1101"/>
                      <a:pt x="795" y="1101"/>
                      <a:pt x="794" y="1102"/>
                    </a:cubicBezTo>
                    <a:cubicBezTo>
                      <a:pt x="794" y="1102"/>
                      <a:pt x="794" y="1102"/>
                      <a:pt x="793" y="1103"/>
                    </a:cubicBezTo>
                    <a:cubicBezTo>
                      <a:pt x="793" y="1103"/>
                      <a:pt x="793" y="1103"/>
                      <a:pt x="793" y="1105"/>
                    </a:cubicBezTo>
                    <a:cubicBezTo>
                      <a:pt x="793" y="1105"/>
                      <a:pt x="793" y="1105"/>
                      <a:pt x="794" y="1106"/>
                    </a:cubicBezTo>
                    <a:cubicBezTo>
                      <a:pt x="794" y="1106"/>
                      <a:pt x="794" y="1106"/>
                      <a:pt x="794" y="1107"/>
                    </a:cubicBezTo>
                    <a:cubicBezTo>
                      <a:pt x="794" y="1107"/>
                      <a:pt x="794" y="1107"/>
                      <a:pt x="795" y="1109"/>
                    </a:cubicBezTo>
                    <a:cubicBezTo>
                      <a:pt x="795" y="1109"/>
                      <a:pt x="795" y="1109"/>
                      <a:pt x="795" y="1110"/>
                    </a:cubicBezTo>
                    <a:cubicBezTo>
                      <a:pt x="795" y="1110"/>
                      <a:pt x="795" y="1110"/>
                      <a:pt x="795" y="1111"/>
                    </a:cubicBezTo>
                    <a:cubicBezTo>
                      <a:pt x="795" y="1111"/>
                      <a:pt x="795" y="1111"/>
                      <a:pt x="793" y="1112"/>
                    </a:cubicBezTo>
                    <a:cubicBezTo>
                      <a:pt x="793" y="1112"/>
                      <a:pt x="793" y="1112"/>
                      <a:pt x="793" y="1113"/>
                    </a:cubicBezTo>
                    <a:cubicBezTo>
                      <a:pt x="793" y="1113"/>
                      <a:pt x="793" y="1113"/>
                      <a:pt x="794" y="1114"/>
                    </a:cubicBezTo>
                    <a:cubicBezTo>
                      <a:pt x="794" y="1114"/>
                      <a:pt x="794" y="1114"/>
                      <a:pt x="795" y="1114"/>
                    </a:cubicBezTo>
                    <a:cubicBezTo>
                      <a:pt x="795" y="1114"/>
                      <a:pt x="795" y="1114"/>
                      <a:pt x="794" y="1115"/>
                    </a:cubicBezTo>
                    <a:cubicBezTo>
                      <a:pt x="794" y="1115"/>
                      <a:pt x="794" y="1115"/>
                      <a:pt x="792" y="1115"/>
                    </a:cubicBezTo>
                    <a:cubicBezTo>
                      <a:pt x="792" y="1115"/>
                      <a:pt x="792" y="1115"/>
                      <a:pt x="791" y="1115"/>
                    </a:cubicBezTo>
                    <a:cubicBezTo>
                      <a:pt x="791" y="1115"/>
                      <a:pt x="791" y="1115"/>
                      <a:pt x="790" y="1115"/>
                    </a:cubicBezTo>
                    <a:cubicBezTo>
                      <a:pt x="790" y="1115"/>
                      <a:pt x="790" y="1115"/>
                      <a:pt x="788" y="1117"/>
                    </a:cubicBezTo>
                    <a:cubicBezTo>
                      <a:pt x="788" y="1117"/>
                      <a:pt x="788" y="1117"/>
                      <a:pt x="787" y="1117"/>
                    </a:cubicBezTo>
                    <a:cubicBezTo>
                      <a:pt x="787" y="1117"/>
                      <a:pt x="787" y="1117"/>
                      <a:pt x="786" y="1118"/>
                    </a:cubicBezTo>
                    <a:cubicBezTo>
                      <a:pt x="786" y="1118"/>
                      <a:pt x="786" y="1118"/>
                      <a:pt x="785" y="1118"/>
                    </a:cubicBezTo>
                    <a:cubicBezTo>
                      <a:pt x="785" y="1118"/>
                      <a:pt x="785" y="1118"/>
                      <a:pt x="785" y="1120"/>
                    </a:cubicBezTo>
                    <a:cubicBezTo>
                      <a:pt x="785" y="1120"/>
                      <a:pt x="785" y="1120"/>
                      <a:pt x="784" y="1121"/>
                    </a:cubicBezTo>
                    <a:cubicBezTo>
                      <a:pt x="784" y="1121"/>
                      <a:pt x="784" y="1121"/>
                      <a:pt x="783" y="1122"/>
                    </a:cubicBezTo>
                    <a:cubicBezTo>
                      <a:pt x="783" y="1122"/>
                      <a:pt x="783" y="1122"/>
                      <a:pt x="783" y="1123"/>
                    </a:cubicBezTo>
                    <a:cubicBezTo>
                      <a:pt x="783" y="1123"/>
                      <a:pt x="783" y="1123"/>
                      <a:pt x="783" y="1124"/>
                    </a:cubicBezTo>
                    <a:cubicBezTo>
                      <a:pt x="783" y="1124"/>
                      <a:pt x="783" y="1124"/>
                      <a:pt x="783" y="1125"/>
                    </a:cubicBezTo>
                    <a:cubicBezTo>
                      <a:pt x="783" y="1125"/>
                      <a:pt x="783" y="1125"/>
                      <a:pt x="785" y="1127"/>
                    </a:cubicBezTo>
                    <a:cubicBezTo>
                      <a:pt x="785" y="1127"/>
                      <a:pt x="785" y="1127"/>
                      <a:pt x="786" y="1128"/>
                    </a:cubicBezTo>
                    <a:cubicBezTo>
                      <a:pt x="786" y="1128"/>
                      <a:pt x="786" y="1128"/>
                      <a:pt x="787" y="1129"/>
                    </a:cubicBezTo>
                    <a:cubicBezTo>
                      <a:pt x="787" y="1129"/>
                      <a:pt x="787" y="1129"/>
                      <a:pt x="789" y="1130"/>
                    </a:cubicBezTo>
                    <a:cubicBezTo>
                      <a:pt x="789" y="1130"/>
                      <a:pt x="789" y="1130"/>
                      <a:pt x="791" y="1132"/>
                    </a:cubicBezTo>
                    <a:cubicBezTo>
                      <a:pt x="791" y="1132"/>
                      <a:pt x="791" y="1132"/>
                      <a:pt x="793" y="1132"/>
                    </a:cubicBezTo>
                    <a:cubicBezTo>
                      <a:pt x="793" y="1132"/>
                      <a:pt x="793" y="1132"/>
                      <a:pt x="794" y="1132"/>
                    </a:cubicBezTo>
                    <a:cubicBezTo>
                      <a:pt x="794" y="1132"/>
                      <a:pt x="794" y="1132"/>
                      <a:pt x="795" y="1132"/>
                    </a:cubicBezTo>
                    <a:cubicBezTo>
                      <a:pt x="795" y="1132"/>
                      <a:pt x="795" y="1132"/>
                      <a:pt x="796" y="1132"/>
                    </a:cubicBezTo>
                    <a:cubicBezTo>
                      <a:pt x="796" y="1132"/>
                      <a:pt x="796" y="1132"/>
                      <a:pt x="796" y="1133"/>
                    </a:cubicBezTo>
                    <a:cubicBezTo>
                      <a:pt x="796" y="1133"/>
                      <a:pt x="796" y="1133"/>
                      <a:pt x="796" y="1134"/>
                    </a:cubicBezTo>
                    <a:cubicBezTo>
                      <a:pt x="796" y="1134"/>
                      <a:pt x="796" y="1134"/>
                      <a:pt x="796" y="1136"/>
                    </a:cubicBezTo>
                    <a:cubicBezTo>
                      <a:pt x="796" y="1136"/>
                      <a:pt x="796" y="1136"/>
                      <a:pt x="796" y="1137"/>
                    </a:cubicBezTo>
                    <a:cubicBezTo>
                      <a:pt x="796" y="1137"/>
                      <a:pt x="796" y="1137"/>
                      <a:pt x="795" y="1138"/>
                    </a:cubicBezTo>
                    <a:cubicBezTo>
                      <a:pt x="795" y="1138"/>
                      <a:pt x="795" y="1138"/>
                      <a:pt x="796" y="1138"/>
                    </a:cubicBezTo>
                    <a:cubicBezTo>
                      <a:pt x="796" y="1138"/>
                      <a:pt x="796" y="1138"/>
                      <a:pt x="797" y="1139"/>
                    </a:cubicBezTo>
                    <a:cubicBezTo>
                      <a:pt x="797" y="1139"/>
                      <a:pt x="797" y="1139"/>
                      <a:pt x="796" y="1139"/>
                    </a:cubicBezTo>
                    <a:cubicBezTo>
                      <a:pt x="796" y="1139"/>
                      <a:pt x="796" y="1139"/>
                      <a:pt x="796" y="1140"/>
                    </a:cubicBezTo>
                    <a:cubicBezTo>
                      <a:pt x="796" y="1140"/>
                      <a:pt x="796" y="1140"/>
                      <a:pt x="797" y="1140"/>
                    </a:cubicBezTo>
                    <a:cubicBezTo>
                      <a:pt x="797" y="1140"/>
                      <a:pt x="797" y="1140"/>
                      <a:pt x="796" y="1142"/>
                    </a:cubicBezTo>
                    <a:cubicBezTo>
                      <a:pt x="796" y="1142"/>
                      <a:pt x="796" y="1142"/>
                      <a:pt x="795" y="1142"/>
                    </a:cubicBezTo>
                    <a:cubicBezTo>
                      <a:pt x="795" y="1142"/>
                      <a:pt x="795" y="1142"/>
                      <a:pt x="794" y="1143"/>
                    </a:cubicBezTo>
                    <a:cubicBezTo>
                      <a:pt x="794" y="1143"/>
                      <a:pt x="794" y="1143"/>
                      <a:pt x="793" y="1145"/>
                    </a:cubicBezTo>
                    <a:cubicBezTo>
                      <a:pt x="793" y="1145"/>
                      <a:pt x="793" y="1145"/>
                      <a:pt x="792" y="1146"/>
                    </a:cubicBezTo>
                    <a:cubicBezTo>
                      <a:pt x="792" y="1146"/>
                      <a:pt x="792" y="1146"/>
                      <a:pt x="791" y="1146"/>
                    </a:cubicBezTo>
                    <a:cubicBezTo>
                      <a:pt x="791" y="1146"/>
                      <a:pt x="791" y="1146"/>
                      <a:pt x="790" y="1147"/>
                    </a:cubicBezTo>
                    <a:cubicBezTo>
                      <a:pt x="790" y="1147"/>
                      <a:pt x="790" y="1147"/>
                      <a:pt x="789" y="1149"/>
                    </a:cubicBezTo>
                    <a:cubicBezTo>
                      <a:pt x="789" y="1149"/>
                      <a:pt x="789" y="1149"/>
                      <a:pt x="789" y="1150"/>
                    </a:cubicBezTo>
                    <a:cubicBezTo>
                      <a:pt x="789" y="1150"/>
                      <a:pt x="789" y="1150"/>
                      <a:pt x="788" y="1151"/>
                    </a:cubicBezTo>
                    <a:cubicBezTo>
                      <a:pt x="788" y="1151"/>
                      <a:pt x="788" y="1151"/>
                      <a:pt x="788" y="1152"/>
                    </a:cubicBezTo>
                    <a:cubicBezTo>
                      <a:pt x="788" y="1152"/>
                      <a:pt x="788" y="1152"/>
                      <a:pt x="789" y="1152"/>
                    </a:cubicBezTo>
                    <a:cubicBezTo>
                      <a:pt x="789" y="1152"/>
                      <a:pt x="789" y="1152"/>
                      <a:pt x="790" y="1154"/>
                    </a:cubicBezTo>
                    <a:cubicBezTo>
                      <a:pt x="790" y="1154"/>
                      <a:pt x="790" y="1154"/>
                      <a:pt x="789" y="1155"/>
                    </a:cubicBezTo>
                    <a:cubicBezTo>
                      <a:pt x="789" y="1155"/>
                      <a:pt x="789" y="1155"/>
                      <a:pt x="788" y="1156"/>
                    </a:cubicBezTo>
                    <a:cubicBezTo>
                      <a:pt x="788" y="1156"/>
                      <a:pt x="788" y="1156"/>
                      <a:pt x="788" y="1157"/>
                    </a:cubicBezTo>
                    <a:cubicBezTo>
                      <a:pt x="788" y="1157"/>
                      <a:pt x="788" y="1157"/>
                      <a:pt x="787" y="1158"/>
                    </a:cubicBezTo>
                    <a:cubicBezTo>
                      <a:pt x="787" y="1158"/>
                      <a:pt x="787" y="1158"/>
                      <a:pt x="786" y="1158"/>
                    </a:cubicBezTo>
                    <a:cubicBezTo>
                      <a:pt x="786" y="1158"/>
                      <a:pt x="786" y="1158"/>
                      <a:pt x="785" y="1157"/>
                    </a:cubicBezTo>
                    <a:cubicBezTo>
                      <a:pt x="785" y="1157"/>
                      <a:pt x="785" y="1157"/>
                      <a:pt x="785" y="1158"/>
                    </a:cubicBezTo>
                    <a:cubicBezTo>
                      <a:pt x="785" y="1158"/>
                      <a:pt x="785" y="1158"/>
                      <a:pt x="785" y="1159"/>
                    </a:cubicBezTo>
                    <a:cubicBezTo>
                      <a:pt x="785" y="1159"/>
                      <a:pt x="785" y="1159"/>
                      <a:pt x="784" y="1160"/>
                    </a:cubicBezTo>
                    <a:cubicBezTo>
                      <a:pt x="784" y="1160"/>
                      <a:pt x="784" y="1160"/>
                      <a:pt x="783" y="1161"/>
                    </a:cubicBezTo>
                    <a:cubicBezTo>
                      <a:pt x="783" y="1161"/>
                      <a:pt x="783" y="1161"/>
                      <a:pt x="782" y="1163"/>
                    </a:cubicBezTo>
                    <a:cubicBezTo>
                      <a:pt x="782" y="1163"/>
                      <a:pt x="782" y="1163"/>
                      <a:pt x="782" y="1165"/>
                    </a:cubicBezTo>
                    <a:cubicBezTo>
                      <a:pt x="782" y="1165"/>
                      <a:pt x="782" y="1165"/>
                      <a:pt x="784" y="1167"/>
                    </a:cubicBezTo>
                    <a:cubicBezTo>
                      <a:pt x="784" y="1167"/>
                      <a:pt x="784" y="1167"/>
                      <a:pt x="785" y="1170"/>
                    </a:cubicBezTo>
                    <a:cubicBezTo>
                      <a:pt x="785" y="1170"/>
                      <a:pt x="785" y="1170"/>
                      <a:pt x="785" y="1171"/>
                    </a:cubicBezTo>
                    <a:cubicBezTo>
                      <a:pt x="785" y="1171"/>
                      <a:pt x="785" y="1171"/>
                      <a:pt x="785" y="1172"/>
                    </a:cubicBezTo>
                    <a:cubicBezTo>
                      <a:pt x="785" y="1172"/>
                      <a:pt x="785" y="1172"/>
                      <a:pt x="784" y="1172"/>
                    </a:cubicBezTo>
                    <a:cubicBezTo>
                      <a:pt x="784" y="1172"/>
                      <a:pt x="784" y="1172"/>
                      <a:pt x="785" y="1173"/>
                    </a:cubicBezTo>
                    <a:cubicBezTo>
                      <a:pt x="785" y="1173"/>
                      <a:pt x="785" y="1173"/>
                      <a:pt x="786" y="1174"/>
                    </a:cubicBezTo>
                    <a:cubicBezTo>
                      <a:pt x="786" y="1174"/>
                      <a:pt x="786" y="1174"/>
                      <a:pt x="787" y="1175"/>
                    </a:cubicBezTo>
                    <a:cubicBezTo>
                      <a:pt x="787" y="1175"/>
                      <a:pt x="787" y="1175"/>
                      <a:pt x="789" y="1176"/>
                    </a:cubicBezTo>
                    <a:cubicBezTo>
                      <a:pt x="789" y="1176"/>
                      <a:pt x="789" y="1176"/>
                      <a:pt x="790" y="1177"/>
                    </a:cubicBezTo>
                    <a:cubicBezTo>
                      <a:pt x="790" y="1177"/>
                      <a:pt x="790" y="1177"/>
                      <a:pt x="790" y="1178"/>
                    </a:cubicBezTo>
                    <a:cubicBezTo>
                      <a:pt x="790" y="1178"/>
                      <a:pt x="790" y="1178"/>
                      <a:pt x="788" y="1178"/>
                    </a:cubicBezTo>
                    <a:cubicBezTo>
                      <a:pt x="788" y="1178"/>
                      <a:pt x="788" y="1178"/>
                      <a:pt x="787" y="1178"/>
                    </a:cubicBezTo>
                    <a:cubicBezTo>
                      <a:pt x="787" y="1178"/>
                      <a:pt x="787" y="1178"/>
                      <a:pt x="786" y="1177"/>
                    </a:cubicBezTo>
                    <a:cubicBezTo>
                      <a:pt x="786" y="1177"/>
                      <a:pt x="786" y="1177"/>
                      <a:pt x="784" y="1178"/>
                    </a:cubicBezTo>
                    <a:cubicBezTo>
                      <a:pt x="784" y="1178"/>
                      <a:pt x="784" y="1178"/>
                      <a:pt x="783" y="1178"/>
                    </a:cubicBezTo>
                    <a:cubicBezTo>
                      <a:pt x="783" y="1178"/>
                      <a:pt x="783" y="1178"/>
                      <a:pt x="784" y="1180"/>
                    </a:cubicBezTo>
                    <a:cubicBezTo>
                      <a:pt x="784" y="1180"/>
                      <a:pt x="784" y="1180"/>
                      <a:pt x="783" y="1180"/>
                    </a:cubicBezTo>
                    <a:cubicBezTo>
                      <a:pt x="783" y="1180"/>
                      <a:pt x="783" y="1180"/>
                      <a:pt x="782" y="1180"/>
                    </a:cubicBezTo>
                    <a:cubicBezTo>
                      <a:pt x="782" y="1180"/>
                      <a:pt x="782" y="1180"/>
                      <a:pt x="781" y="1181"/>
                    </a:cubicBezTo>
                    <a:cubicBezTo>
                      <a:pt x="781" y="1181"/>
                      <a:pt x="781" y="1181"/>
                      <a:pt x="779" y="1182"/>
                    </a:cubicBezTo>
                    <a:cubicBezTo>
                      <a:pt x="779" y="1182"/>
                      <a:pt x="779" y="1182"/>
                      <a:pt x="778" y="1183"/>
                    </a:cubicBezTo>
                    <a:cubicBezTo>
                      <a:pt x="778" y="1183"/>
                      <a:pt x="778" y="1183"/>
                      <a:pt x="778" y="1184"/>
                    </a:cubicBezTo>
                    <a:cubicBezTo>
                      <a:pt x="778" y="1184"/>
                      <a:pt x="778" y="1184"/>
                      <a:pt x="778" y="1185"/>
                    </a:cubicBezTo>
                    <a:cubicBezTo>
                      <a:pt x="778" y="1185"/>
                      <a:pt x="778" y="1185"/>
                      <a:pt x="778" y="1187"/>
                    </a:cubicBezTo>
                    <a:cubicBezTo>
                      <a:pt x="778" y="1187"/>
                      <a:pt x="778" y="1187"/>
                      <a:pt x="778" y="1189"/>
                    </a:cubicBezTo>
                    <a:cubicBezTo>
                      <a:pt x="778" y="1189"/>
                      <a:pt x="778" y="1189"/>
                      <a:pt x="778" y="1190"/>
                    </a:cubicBezTo>
                    <a:cubicBezTo>
                      <a:pt x="778" y="1190"/>
                      <a:pt x="778" y="1190"/>
                      <a:pt x="778" y="1191"/>
                    </a:cubicBezTo>
                    <a:cubicBezTo>
                      <a:pt x="778" y="1191"/>
                      <a:pt x="778" y="1191"/>
                      <a:pt x="778" y="1193"/>
                    </a:cubicBezTo>
                    <a:cubicBezTo>
                      <a:pt x="778" y="1193"/>
                      <a:pt x="778" y="1193"/>
                      <a:pt x="778" y="1194"/>
                    </a:cubicBezTo>
                    <a:cubicBezTo>
                      <a:pt x="778" y="1194"/>
                      <a:pt x="778" y="1194"/>
                      <a:pt x="777" y="1195"/>
                    </a:cubicBezTo>
                    <a:cubicBezTo>
                      <a:pt x="777" y="1195"/>
                      <a:pt x="777" y="1195"/>
                      <a:pt x="776" y="1194"/>
                    </a:cubicBezTo>
                    <a:cubicBezTo>
                      <a:pt x="776" y="1194"/>
                      <a:pt x="776" y="1194"/>
                      <a:pt x="775" y="1194"/>
                    </a:cubicBezTo>
                    <a:cubicBezTo>
                      <a:pt x="775" y="1194"/>
                      <a:pt x="775" y="1194"/>
                      <a:pt x="774" y="1194"/>
                    </a:cubicBezTo>
                    <a:cubicBezTo>
                      <a:pt x="774" y="1194"/>
                      <a:pt x="774" y="1194"/>
                      <a:pt x="772" y="1193"/>
                    </a:cubicBezTo>
                    <a:cubicBezTo>
                      <a:pt x="772" y="1193"/>
                      <a:pt x="772" y="1193"/>
                      <a:pt x="770" y="1191"/>
                    </a:cubicBezTo>
                    <a:cubicBezTo>
                      <a:pt x="770" y="1191"/>
                      <a:pt x="770" y="1191"/>
                      <a:pt x="770" y="1190"/>
                    </a:cubicBezTo>
                    <a:cubicBezTo>
                      <a:pt x="770" y="1190"/>
                      <a:pt x="770" y="1190"/>
                      <a:pt x="771" y="1190"/>
                    </a:cubicBezTo>
                    <a:cubicBezTo>
                      <a:pt x="771" y="1190"/>
                      <a:pt x="771" y="1190"/>
                      <a:pt x="772" y="1189"/>
                    </a:cubicBezTo>
                    <a:cubicBezTo>
                      <a:pt x="772" y="1189"/>
                      <a:pt x="772" y="1189"/>
                      <a:pt x="773" y="1189"/>
                    </a:cubicBezTo>
                    <a:cubicBezTo>
                      <a:pt x="773" y="1189"/>
                      <a:pt x="773" y="1189"/>
                      <a:pt x="773" y="1190"/>
                    </a:cubicBezTo>
                    <a:cubicBezTo>
                      <a:pt x="773" y="1190"/>
                      <a:pt x="773" y="1190"/>
                      <a:pt x="772" y="1191"/>
                    </a:cubicBezTo>
                    <a:cubicBezTo>
                      <a:pt x="772" y="1191"/>
                      <a:pt x="772" y="1191"/>
                      <a:pt x="773" y="1191"/>
                    </a:cubicBezTo>
                    <a:cubicBezTo>
                      <a:pt x="773" y="1191"/>
                      <a:pt x="773" y="1191"/>
                      <a:pt x="774" y="1190"/>
                    </a:cubicBezTo>
                    <a:cubicBezTo>
                      <a:pt x="774" y="1190"/>
                      <a:pt x="774" y="1190"/>
                      <a:pt x="773" y="1189"/>
                    </a:cubicBezTo>
                    <a:cubicBezTo>
                      <a:pt x="773" y="1189"/>
                      <a:pt x="773" y="1189"/>
                      <a:pt x="773" y="1188"/>
                    </a:cubicBezTo>
                    <a:cubicBezTo>
                      <a:pt x="773" y="1188"/>
                      <a:pt x="773" y="1188"/>
                      <a:pt x="774" y="1187"/>
                    </a:cubicBezTo>
                    <a:cubicBezTo>
                      <a:pt x="774" y="1187"/>
                      <a:pt x="774" y="1187"/>
                      <a:pt x="775" y="1186"/>
                    </a:cubicBezTo>
                    <a:cubicBezTo>
                      <a:pt x="775" y="1186"/>
                      <a:pt x="775" y="1186"/>
                      <a:pt x="775" y="1185"/>
                    </a:cubicBezTo>
                    <a:cubicBezTo>
                      <a:pt x="775" y="1185"/>
                      <a:pt x="775" y="1185"/>
                      <a:pt x="776" y="1185"/>
                    </a:cubicBezTo>
                    <a:cubicBezTo>
                      <a:pt x="776" y="1185"/>
                      <a:pt x="776" y="1185"/>
                      <a:pt x="776" y="1184"/>
                    </a:cubicBezTo>
                    <a:cubicBezTo>
                      <a:pt x="776" y="1184"/>
                      <a:pt x="776" y="1184"/>
                      <a:pt x="775" y="1184"/>
                    </a:cubicBezTo>
                    <a:cubicBezTo>
                      <a:pt x="775" y="1184"/>
                      <a:pt x="775" y="1184"/>
                      <a:pt x="774" y="1184"/>
                    </a:cubicBezTo>
                    <a:cubicBezTo>
                      <a:pt x="774" y="1184"/>
                      <a:pt x="774" y="1184"/>
                      <a:pt x="773" y="1184"/>
                    </a:cubicBezTo>
                    <a:cubicBezTo>
                      <a:pt x="773" y="1184"/>
                      <a:pt x="773" y="1184"/>
                      <a:pt x="772" y="1186"/>
                    </a:cubicBezTo>
                    <a:cubicBezTo>
                      <a:pt x="772" y="1186"/>
                      <a:pt x="772" y="1186"/>
                      <a:pt x="771" y="1187"/>
                    </a:cubicBezTo>
                    <a:cubicBezTo>
                      <a:pt x="771" y="1187"/>
                      <a:pt x="771" y="1187"/>
                      <a:pt x="770" y="1187"/>
                    </a:cubicBezTo>
                    <a:cubicBezTo>
                      <a:pt x="770" y="1187"/>
                      <a:pt x="770" y="1187"/>
                      <a:pt x="771" y="1188"/>
                    </a:cubicBezTo>
                    <a:cubicBezTo>
                      <a:pt x="771" y="1188"/>
                      <a:pt x="771" y="1188"/>
                      <a:pt x="770" y="1189"/>
                    </a:cubicBezTo>
                    <a:cubicBezTo>
                      <a:pt x="770" y="1189"/>
                      <a:pt x="770" y="1189"/>
                      <a:pt x="769" y="1190"/>
                    </a:cubicBezTo>
                    <a:cubicBezTo>
                      <a:pt x="769" y="1190"/>
                      <a:pt x="769" y="1190"/>
                      <a:pt x="769" y="1191"/>
                    </a:cubicBezTo>
                    <a:cubicBezTo>
                      <a:pt x="769" y="1191"/>
                      <a:pt x="769" y="1191"/>
                      <a:pt x="767" y="1190"/>
                    </a:cubicBezTo>
                    <a:cubicBezTo>
                      <a:pt x="767" y="1190"/>
                      <a:pt x="767" y="1190"/>
                      <a:pt x="765" y="1189"/>
                    </a:cubicBezTo>
                    <a:cubicBezTo>
                      <a:pt x="765" y="1189"/>
                      <a:pt x="765" y="1189"/>
                      <a:pt x="766" y="1188"/>
                    </a:cubicBezTo>
                    <a:cubicBezTo>
                      <a:pt x="766" y="1188"/>
                      <a:pt x="766" y="1188"/>
                      <a:pt x="765" y="1188"/>
                    </a:cubicBezTo>
                    <a:cubicBezTo>
                      <a:pt x="765" y="1188"/>
                      <a:pt x="765" y="1188"/>
                      <a:pt x="765" y="1187"/>
                    </a:cubicBezTo>
                    <a:cubicBezTo>
                      <a:pt x="765" y="1187"/>
                      <a:pt x="765" y="1187"/>
                      <a:pt x="766" y="1187"/>
                    </a:cubicBezTo>
                    <a:cubicBezTo>
                      <a:pt x="766" y="1187"/>
                      <a:pt x="766" y="1187"/>
                      <a:pt x="766" y="1186"/>
                    </a:cubicBezTo>
                    <a:cubicBezTo>
                      <a:pt x="766" y="1186"/>
                      <a:pt x="766" y="1186"/>
                      <a:pt x="766" y="1185"/>
                    </a:cubicBezTo>
                    <a:cubicBezTo>
                      <a:pt x="766" y="1185"/>
                      <a:pt x="766" y="1185"/>
                      <a:pt x="767" y="1185"/>
                    </a:cubicBezTo>
                    <a:cubicBezTo>
                      <a:pt x="767" y="1185"/>
                      <a:pt x="767" y="1185"/>
                      <a:pt x="768" y="1185"/>
                    </a:cubicBezTo>
                    <a:cubicBezTo>
                      <a:pt x="768" y="1185"/>
                      <a:pt x="768" y="1185"/>
                      <a:pt x="770" y="1183"/>
                    </a:cubicBezTo>
                    <a:cubicBezTo>
                      <a:pt x="770" y="1183"/>
                      <a:pt x="770" y="1183"/>
                      <a:pt x="771" y="1183"/>
                    </a:cubicBezTo>
                    <a:cubicBezTo>
                      <a:pt x="771" y="1183"/>
                      <a:pt x="771" y="1183"/>
                      <a:pt x="772" y="1183"/>
                    </a:cubicBezTo>
                    <a:cubicBezTo>
                      <a:pt x="772" y="1183"/>
                      <a:pt x="772" y="1183"/>
                      <a:pt x="773" y="1182"/>
                    </a:cubicBezTo>
                    <a:cubicBezTo>
                      <a:pt x="773" y="1182"/>
                      <a:pt x="773" y="1182"/>
                      <a:pt x="772" y="1182"/>
                    </a:cubicBezTo>
                    <a:cubicBezTo>
                      <a:pt x="772" y="1182"/>
                      <a:pt x="772" y="1182"/>
                      <a:pt x="771" y="1182"/>
                    </a:cubicBezTo>
                    <a:cubicBezTo>
                      <a:pt x="771" y="1182"/>
                      <a:pt x="771" y="1182"/>
                      <a:pt x="770" y="1182"/>
                    </a:cubicBezTo>
                    <a:cubicBezTo>
                      <a:pt x="770" y="1182"/>
                      <a:pt x="770" y="1182"/>
                      <a:pt x="768" y="1182"/>
                    </a:cubicBezTo>
                    <a:cubicBezTo>
                      <a:pt x="768" y="1182"/>
                      <a:pt x="768" y="1182"/>
                      <a:pt x="767" y="1182"/>
                    </a:cubicBezTo>
                    <a:cubicBezTo>
                      <a:pt x="767" y="1182"/>
                      <a:pt x="767" y="1182"/>
                      <a:pt x="765" y="1181"/>
                    </a:cubicBezTo>
                    <a:cubicBezTo>
                      <a:pt x="765" y="1181"/>
                      <a:pt x="765" y="1181"/>
                      <a:pt x="765" y="1182"/>
                    </a:cubicBezTo>
                    <a:cubicBezTo>
                      <a:pt x="765" y="1182"/>
                      <a:pt x="765" y="1182"/>
                      <a:pt x="764" y="1183"/>
                    </a:cubicBezTo>
                    <a:cubicBezTo>
                      <a:pt x="764" y="1183"/>
                      <a:pt x="764" y="1183"/>
                      <a:pt x="765" y="1183"/>
                    </a:cubicBezTo>
                    <a:cubicBezTo>
                      <a:pt x="765" y="1183"/>
                      <a:pt x="765" y="1183"/>
                      <a:pt x="765" y="1184"/>
                    </a:cubicBezTo>
                    <a:cubicBezTo>
                      <a:pt x="765" y="1184"/>
                      <a:pt x="765" y="1184"/>
                      <a:pt x="765" y="1185"/>
                    </a:cubicBezTo>
                    <a:cubicBezTo>
                      <a:pt x="765" y="1185"/>
                      <a:pt x="765" y="1185"/>
                      <a:pt x="766" y="1186"/>
                    </a:cubicBezTo>
                    <a:cubicBezTo>
                      <a:pt x="766" y="1186"/>
                      <a:pt x="766" y="1186"/>
                      <a:pt x="765" y="1187"/>
                    </a:cubicBezTo>
                    <a:cubicBezTo>
                      <a:pt x="765" y="1187"/>
                      <a:pt x="765" y="1187"/>
                      <a:pt x="764" y="1187"/>
                    </a:cubicBezTo>
                    <a:cubicBezTo>
                      <a:pt x="764" y="1187"/>
                      <a:pt x="764" y="1187"/>
                      <a:pt x="763" y="1186"/>
                    </a:cubicBezTo>
                    <a:cubicBezTo>
                      <a:pt x="763" y="1186"/>
                      <a:pt x="763" y="1186"/>
                      <a:pt x="761" y="1186"/>
                    </a:cubicBezTo>
                    <a:cubicBezTo>
                      <a:pt x="761" y="1186"/>
                      <a:pt x="761" y="1186"/>
                      <a:pt x="762" y="1185"/>
                    </a:cubicBezTo>
                    <a:cubicBezTo>
                      <a:pt x="762" y="1185"/>
                      <a:pt x="762" y="1185"/>
                      <a:pt x="763" y="1185"/>
                    </a:cubicBezTo>
                    <a:cubicBezTo>
                      <a:pt x="763" y="1185"/>
                      <a:pt x="763" y="1185"/>
                      <a:pt x="763" y="1184"/>
                    </a:cubicBezTo>
                    <a:cubicBezTo>
                      <a:pt x="763" y="1184"/>
                      <a:pt x="763" y="1184"/>
                      <a:pt x="762" y="1184"/>
                    </a:cubicBezTo>
                    <a:cubicBezTo>
                      <a:pt x="762" y="1184"/>
                      <a:pt x="762" y="1184"/>
                      <a:pt x="761" y="1183"/>
                    </a:cubicBezTo>
                    <a:cubicBezTo>
                      <a:pt x="761" y="1183"/>
                      <a:pt x="761" y="1183"/>
                      <a:pt x="761" y="1184"/>
                    </a:cubicBezTo>
                    <a:cubicBezTo>
                      <a:pt x="761" y="1184"/>
                      <a:pt x="761" y="1184"/>
                      <a:pt x="760" y="1184"/>
                    </a:cubicBezTo>
                    <a:cubicBezTo>
                      <a:pt x="760" y="1184"/>
                      <a:pt x="760" y="1184"/>
                      <a:pt x="760" y="1183"/>
                    </a:cubicBezTo>
                    <a:cubicBezTo>
                      <a:pt x="760" y="1183"/>
                      <a:pt x="760" y="1183"/>
                      <a:pt x="760" y="1182"/>
                    </a:cubicBezTo>
                    <a:cubicBezTo>
                      <a:pt x="760" y="1182"/>
                      <a:pt x="760" y="1182"/>
                      <a:pt x="759" y="1182"/>
                    </a:cubicBezTo>
                    <a:cubicBezTo>
                      <a:pt x="759" y="1182"/>
                      <a:pt x="759" y="1182"/>
                      <a:pt x="759" y="1180"/>
                    </a:cubicBezTo>
                    <a:cubicBezTo>
                      <a:pt x="759" y="1180"/>
                      <a:pt x="759" y="1180"/>
                      <a:pt x="758" y="1179"/>
                    </a:cubicBezTo>
                    <a:cubicBezTo>
                      <a:pt x="758" y="1179"/>
                      <a:pt x="758" y="1179"/>
                      <a:pt x="759" y="1179"/>
                    </a:cubicBezTo>
                    <a:cubicBezTo>
                      <a:pt x="759" y="1179"/>
                      <a:pt x="759" y="1179"/>
                      <a:pt x="761" y="1179"/>
                    </a:cubicBezTo>
                    <a:cubicBezTo>
                      <a:pt x="761" y="1179"/>
                      <a:pt x="761" y="1179"/>
                      <a:pt x="762" y="1178"/>
                    </a:cubicBezTo>
                    <a:cubicBezTo>
                      <a:pt x="762" y="1178"/>
                      <a:pt x="762" y="1178"/>
                      <a:pt x="763" y="1179"/>
                    </a:cubicBezTo>
                    <a:cubicBezTo>
                      <a:pt x="763" y="1179"/>
                      <a:pt x="763" y="1179"/>
                      <a:pt x="763" y="1180"/>
                    </a:cubicBezTo>
                    <a:cubicBezTo>
                      <a:pt x="763" y="1180"/>
                      <a:pt x="763" y="1180"/>
                      <a:pt x="764" y="1179"/>
                    </a:cubicBezTo>
                    <a:cubicBezTo>
                      <a:pt x="764" y="1179"/>
                      <a:pt x="764" y="1179"/>
                      <a:pt x="763" y="1178"/>
                    </a:cubicBezTo>
                    <a:cubicBezTo>
                      <a:pt x="763" y="1178"/>
                      <a:pt x="763" y="1178"/>
                      <a:pt x="763" y="1177"/>
                    </a:cubicBezTo>
                    <a:cubicBezTo>
                      <a:pt x="763" y="1177"/>
                      <a:pt x="763" y="1177"/>
                      <a:pt x="764" y="1176"/>
                    </a:cubicBezTo>
                    <a:cubicBezTo>
                      <a:pt x="764" y="1176"/>
                      <a:pt x="764" y="1176"/>
                      <a:pt x="764" y="1177"/>
                    </a:cubicBezTo>
                    <a:cubicBezTo>
                      <a:pt x="764" y="1177"/>
                      <a:pt x="764" y="1177"/>
                      <a:pt x="765" y="1179"/>
                    </a:cubicBezTo>
                    <a:cubicBezTo>
                      <a:pt x="765" y="1179"/>
                      <a:pt x="765" y="1179"/>
                      <a:pt x="765" y="1180"/>
                    </a:cubicBezTo>
                    <a:cubicBezTo>
                      <a:pt x="765" y="1180"/>
                      <a:pt x="765" y="1180"/>
                      <a:pt x="766" y="1180"/>
                    </a:cubicBezTo>
                    <a:cubicBezTo>
                      <a:pt x="766" y="1180"/>
                      <a:pt x="766" y="1180"/>
                      <a:pt x="766" y="1179"/>
                    </a:cubicBezTo>
                    <a:cubicBezTo>
                      <a:pt x="766" y="1179"/>
                      <a:pt x="766" y="1179"/>
                      <a:pt x="765" y="1177"/>
                    </a:cubicBezTo>
                    <a:cubicBezTo>
                      <a:pt x="765" y="1177"/>
                      <a:pt x="765" y="1177"/>
                      <a:pt x="765" y="1176"/>
                    </a:cubicBezTo>
                    <a:cubicBezTo>
                      <a:pt x="765" y="1176"/>
                      <a:pt x="765" y="1176"/>
                      <a:pt x="766" y="1175"/>
                    </a:cubicBezTo>
                    <a:cubicBezTo>
                      <a:pt x="766" y="1175"/>
                      <a:pt x="766" y="1175"/>
                      <a:pt x="766" y="1174"/>
                    </a:cubicBezTo>
                    <a:cubicBezTo>
                      <a:pt x="766" y="1174"/>
                      <a:pt x="766" y="1174"/>
                      <a:pt x="765" y="1173"/>
                    </a:cubicBezTo>
                    <a:cubicBezTo>
                      <a:pt x="765" y="1173"/>
                      <a:pt x="765" y="1173"/>
                      <a:pt x="765" y="1173"/>
                    </a:cubicBezTo>
                    <a:cubicBezTo>
                      <a:pt x="764" y="1173"/>
                      <a:pt x="764" y="1173"/>
                      <a:pt x="764" y="1173"/>
                    </a:cubicBezTo>
                    <a:cubicBezTo>
                      <a:pt x="764" y="1173"/>
                      <a:pt x="764" y="1173"/>
                      <a:pt x="762" y="1172"/>
                    </a:cubicBezTo>
                    <a:cubicBezTo>
                      <a:pt x="762" y="1172"/>
                      <a:pt x="762" y="1172"/>
                      <a:pt x="761" y="1172"/>
                    </a:cubicBezTo>
                    <a:cubicBezTo>
                      <a:pt x="761" y="1172"/>
                      <a:pt x="761" y="1172"/>
                      <a:pt x="761" y="1173"/>
                    </a:cubicBezTo>
                    <a:cubicBezTo>
                      <a:pt x="761" y="1173"/>
                      <a:pt x="761" y="1173"/>
                      <a:pt x="760" y="1173"/>
                    </a:cubicBezTo>
                    <a:cubicBezTo>
                      <a:pt x="760" y="1173"/>
                      <a:pt x="760" y="1173"/>
                      <a:pt x="760" y="1174"/>
                    </a:cubicBezTo>
                    <a:cubicBezTo>
                      <a:pt x="760" y="1174"/>
                      <a:pt x="760" y="1174"/>
                      <a:pt x="762" y="1174"/>
                    </a:cubicBezTo>
                    <a:cubicBezTo>
                      <a:pt x="762" y="1174"/>
                      <a:pt x="762" y="1174"/>
                      <a:pt x="763" y="1174"/>
                    </a:cubicBezTo>
                    <a:cubicBezTo>
                      <a:pt x="763" y="1174"/>
                      <a:pt x="763" y="1174"/>
                      <a:pt x="763" y="1175"/>
                    </a:cubicBezTo>
                    <a:cubicBezTo>
                      <a:pt x="763" y="1175"/>
                      <a:pt x="763" y="1175"/>
                      <a:pt x="762" y="1176"/>
                    </a:cubicBezTo>
                    <a:cubicBezTo>
                      <a:pt x="762" y="1176"/>
                      <a:pt x="762" y="1176"/>
                      <a:pt x="761" y="1177"/>
                    </a:cubicBezTo>
                    <a:cubicBezTo>
                      <a:pt x="761" y="1177"/>
                      <a:pt x="761" y="1177"/>
                      <a:pt x="761" y="1176"/>
                    </a:cubicBezTo>
                    <a:cubicBezTo>
                      <a:pt x="761" y="1176"/>
                      <a:pt x="761" y="1176"/>
                      <a:pt x="761" y="1175"/>
                    </a:cubicBezTo>
                    <a:cubicBezTo>
                      <a:pt x="761" y="1175"/>
                      <a:pt x="761" y="1175"/>
                      <a:pt x="760" y="1175"/>
                    </a:cubicBezTo>
                    <a:cubicBezTo>
                      <a:pt x="760" y="1175"/>
                      <a:pt x="760" y="1175"/>
                      <a:pt x="760" y="1176"/>
                    </a:cubicBezTo>
                    <a:cubicBezTo>
                      <a:pt x="760" y="1176"/>
                      <a:pt x="760" y="1176"/>
                      <a:pt x="760" y="1178"/>
                    </a:cubicBezTo>
                    <a:cubicBezTo>
                      <a:pt x="760" y="1178"/>
                      <a:pt x="760" y="1178"/>
                      <a:pt x="759" y="1178"/>
                    </a:cubicBezTo>
                    <a:cubicBezTo>
                      <a:pt x="759" y="1178"/>
                      <a:pt x="759" y="1178"/>
                      <a:pt x="758" y="1177"/>
                    </a:cubicBezTo>
                    <a:cubicBezTo>
                      <a:pt x="758" y="1177"/>
                      <a:pt x="758" y="1177"/>
                      <a:pt x="758" y="1176"/>
                    </a:cubicBezTo>
                    <a:cubicBezTo>
                      <a:pt x="758" y="1176"/>
                      <a:pt x="758" y="1176"/>
                      <a:pt x="757" y="1175"/>
                    </a:cubicBezTo>
                    <a:cubicBezTo>
                      <a:pt x="757" y="1175"/>
                      <a:pt x="757" y="1175"/>
                      <a:pt x="756" y="1173"/>
                    </a:cubicBezTo>
                    <a:cubicBezTo>
                      <a:pt x="756" y="1173"/>
                      <a:pt x="756" y="1173"/>
                      <a:pt x="757" y="1173"/>
                    </a:cubicBezTo>
                    <a:cubicBezTo>
                      <a:pt x="757" y="1173"/>
                      <a:pt x="757" y="1173"/>
                      <a:pt x="758" y="1173"/>
                    </a:cubicBezTo>
                    <a:cubicBezTo>
                      <a:pt x="758" y="1173"/>
                      <a:pt x="758" y="1173"/>
                      <a:pt x="757" y="1172"/>
                    </a:cubicBezTo>
                    <a:cubicBezTo>
                      <a:pt x="757" y="1172"/>
                      <a:pt x="757" y="1172"/>
                      <a:pt x="757" y="1171"/>
                    </a:cubicBezTo>
                    <a:cubicBezTo>
                      <a:pt x="757" y="1171"/>
                      <a:pt x="757" y="1171"/>
                      <a:pt x="756" y="1171"/>
                    </a:cubicBezTo>
                    <a:cubicBezTo>
                      <a:pt x="756" y="1171"/>
                      <a:pt x="756" y="1171"/>
                      <a:pt x="755" y="1170"/>
                    </a:cubicBezTo>
                    <a:cubicBezTo>
                      <a:pt x="755" y="1170"/>
                      <a:pt x="755" y="1170"/>
                      <a:pt x="754" y="1170"/>
                    </a:cubicBezTo>
                    <a:cubicBezTo>
                      <a:pt x="754" y="1170"/>
                      <a:pt x="754" y="1170"/>
                      <a:pt x="754" y="1169"/>
                    </a:cubicBezTo>
                    <a:cubicBezTo>
                      <a:pt x="754" y="1169"/>
                      <a:pt x="754" y="1169"/>
                      <a:pt x="754" y="1168"/>
                    </a:cubicBezTo>
                    <a:cubicBezTo>
                      <a:pt x="754" y="1168"/>
                      <a:pt x="754" y="1168"/>
                      <a:pt x="755" y="1168"/>
                    </a:cubicBezTo>
                    <a:cubicBezTo>
                      <a:pt x="755" y="1168"/>
                      <a:pt x="755" y="1168"/>
                      <a:pt x="756" y="1167"/>
                    </a:cubicBezTo>
                    <a:cubicBezTo>
                      <a:pt x="756" y="1167"/>
                      <a:pt x="756" y="1167"/>
                      <a:pt x="756" y="1166"/>
                    </a:cubicBezTo>
                    <a:cubicBezTo>
                      <a:pt x="756" y="1166"/>
                      <a:pt x="756" y="1166"/>
                      <a:pt x="755" y="1167"/>
                    </a:cubicBezTo>
                    <a:cubicBezTo>
                      <a:pt x="755" y="1167"/>
                      <a:pt x="755" y="1167"/>
                      <a:pt x="754" y="1167"/>
                    </a:cubicBezTo>
                    <a:cubicBezTo>
                      <a:pt x="754" y="1167"/>
                      <a:pt x="754" y="1167"/>
                      <a:pt x="754" y="1165"/>
                    </a:cubicBezTo>
                    <a:cubicBezTo>
                      <a:pt x="754" y="1165"/>
                      <a:pt x="754" y="1165"/>
                      <a:pt x="755" y="1165"/>
                    </a:cubicBezTo>
                    <a:cubicBezTo>
                      <a:pt x="755" y="1165"/>
                      <a:pt x="755" y="1165"/>
                      <a:pt x="754" y="1164"/>
                    </a:cubicBezTo>
                    <a:cubicBezTo>
                      <a:pt x="754" y="1164"/>
                      <a:pt x="754" y="1164"/>
                      <a:pt x="751" y="1164"/>
                    </a:cubicBezTo>
                    <a:cubicBezTo>
                      <a:pt x="751" y="1164"/>
                      <a:pt x="751" y="1164"/>
                      <a:pt x="750" y="1162"/>
                    </a:cubicBezTo>
                    <a:cubicBezTo>
                      <a:pt x="750" y="1162"/>
                      <a:pt x="750" y="1162"/>
                      <a:pt x="749" y="1161"/>
                    </a:cubicBezTo>
                    <a:cubicBezTo>
                      <a:pt x="749" y="1161"/>
                      <a:pt x="749" y="1161"/>
                      <a:pt x="750" y="1160"/>
                    </a:cubicBezTo>
                    <a:cubicBezTo>
                      <a:pt x="750" y="1160"/>
                      <a:pt x="750" y="1160"/>
                      <a:pt x="751" y="1160"/>
                    </a:cubicBezTo>
                    <a:cubicBezTo>
                      <a:pt x="751" y="1160"/>
                      <a:pt x="751" y="1160"/>
                      <a:pt x="751" y="1159"/>
                    </a:cubicBezTo>
                    <a:cubicBezTo>
                      <a:pt x="751" y="1159"/>
                      <a:pt x="751" y="1159"/>
                      <a:pt x="751" y="1158"/>
                    </a:cubicBezTo>
                    <a:cubicBezTo>
                      <a:pt x="751" y="1158"/>
                      <a:pt x="751" y="1158"/>
                      <a:pt x="751" y="1157"/>
                    </a:cubicBezTo>
                    <a:cubicBezTo>
                      <a:pt x="751" y="1157"/>
                      <a:pt x="751" y="1157"/>
                      <a:pt x="752" y="1156"/>
                    </a:cubicBezTo>
                    <a:cubicBezTo>
                      <a:pt x="752" y="1156"/>
                      <a:pt x="752" y="1156"/>
                      <a:pt x="753" y="1156"/>
                    </a:cubicBezTo>
                    <a:cubicBezTo>
                      <a:pt x="753" y="1156"/>
                      <a:pt x="753" y="1156"/>
                      <a:pt x="754" y="1155"/>
                    </a:cubicBezTo>
                    <a:cubicBezTo>
                      <a:pt x="754" y="1155"/>
                      <a:pt x="754" y="1155"/>
                      <a:pt x="753" y="1155"/>
                    </a:cubicBezTo>
                    <a:cubicBezTo>
                      <a:pt x="753" y="1155"/>
                      <a:pt x="753" y="1155"/>
                      <a:pt x="752" y="1155"/>
                    </a:cubicBezTo>
                    <a:cubicBezTo>
                      <a:pt x="752" y="1155"/>
                      <a:pt x="752" y="1155"/>
                      <a:pt x="752" y="1154"/>
                    </a:cubicBezTo>
                    <a:cubicBezTo>
                      <a:pt x="752" y="1154"/>
                      <a:pt x="752" y="1154"/>
                      <a:pt x="752" y="1152"/>
                    </a:cubicBezTo>
                    <a:cubicBezTo>
                      <a:pt x="752" y="1152"/>
                      <a:pt x="752" y="1152"/>
                      <a:pt x="751" y="1154"/>
                    </a:cubicBezTo>
                    <a:cubicBezTo>
                      <a:pt x="751" y="1154"/>
                      <a:pt x="751" y="1154"/>
                      <a:pt x="751" y="1156"/>
                    </a:cubicBezTo>
                    <a:cubicBezTo>
                      <a:pt x="751" y="1156"/>
                      <a:pt x="751" y="1156"/>
                      <a:pt x="750" y="1156"/>
                    </a:cubicBezTo>
                    <a:cubicBezTo>
                      <a:pt x="750" y="1156"/>
                      <a:pt x="750" y="1156"/>
                      <a:pt x="749" y="1154"/>
                    </a:cubicBezTo>
                    <a:cubicBezTo>
                      <a:pt x="749" y="1154"/>
                      <a:pt x="749" y="1154"/>
                      <a:pt x="750" y="1153"/>
                    </a:cubicBezTo>
                    <a:cubicBezTo>
                      <a:pt x="750" y="1153"/>
                      <a:pt x="750" y="1153"/>
                      <a:pt x="749" y="1152"/>
                    </a:cubicBezTo>
                    <a:cubicBezTo>
                      <a:pt x="749" y="1152"/>
                      <a:pt x="749" y="1152"/>
                      <a:pt x="748" y="1149"/>
                    </a:cubicBezTo>
                    <a:cubicBezTo>
                      <a:pt x="748" y="1149"/>
                      <a:pt x="748" y="1149"/>
                      <a:pt x="748" y="1148"/>
                    </a:cubicBezTo>
                    <a:cubicBezTo>
                      <a:pt x="748" y="1148"/>
                      <a:pt x="748" y="1148"/>
                      <a:pt x="749" y="1148"/>
                    </a:cubicBezTo>
                    <a:cubicBezTo>
                      <a:pt x="749" y="1148"/>
                      <a:pt x="749" y="1148"/>
                      <a:pt x="749" y="1147"/>
                    </a:cubicBezTo>
                    <a:cubicBezTo>
                      <a:pt x="749" y="1147"/>
                      <a:pt x="749" y="1147"/>
                      <a:pt x="749" y="1146"/>
                    </a:cubicBezTo>
                    <a:cubicBezTo>
                      <a:pt x="749" y="1146"/>
                      <a:pt x="749" y="1146"/>
                      <a:pt x="750" y="1145"/>
                    </a:cubicBezTo>
                    <a:cubicBezTo>
                      <a:pt x="750" y="1145"/>
                      <a:pt x="750" y="1145"/>
                      <a:pt x="749" y="1145"/>
                    </a:cubicBezTo>
                    <a:cubicBezTo>
                      <a:pt x="749" y="1145"/>
                      <a:pt x="749" y="1145"/>
                      <a:pt x="748" y="1145"/>
                    </a:cubicBezTo>
                    <a:cubicBezTo>
                      <a:pt x="748" y="1145"/>
                      <a:pt x="748" y="1145"/>
                      <a:pt x="748" y="1144"/>
                    </a:cubicBezTo>
                    <a:cubicBezTo>
                      <a:pt x="748" y="1144"/>
                      <a:pt x="748" y="1144"/>
                      <a:pt x="747" y="1143"/>
                    </a:cubicBezTo>
                    <a:cubicBezTo>
                      <a:pt x="747" y="1143"/>
                      <a:pt x="747" y="1143"/>
                      <a:pt x="746" y="1142"/>
                    </a:cubicBezTo>
                    <a:cubicBezTo>
                      <a:pt x="746" y="1142"/>
                      <a:pt x="746" y="1142"/>
                      <a:pt x="747" y="1142"/>
                    </a:cubicBezTo>
                    <a:cubicBezTo>
                      <a:pt x="747" y="1142"/>
                      <a:pt x="747" y="1142"/>
                      <a:pt x="749" y="1141"/>
                    </a:cubicBezTo>
                    <a:cubicBezTo>
                      <a:pt x="749" y="1141"/>
                      <a:pt x="749" y="1141"/>
                      <a:pt x="750" y="1142"/>
                    </a:cubicBezTo>
                    <a:cubicBezTo>
                      <a:pt x="750" y="1142"/>
                      <a:pt x="750" y="1142"/>
                      <a:pt x="750" y="1141"/>
                    </a:cubicBezTo>
                    <a:cubicBezTo>
                      <a:pt x="750" y="1141"/>
                      <a:pt x="750" y="1141"/>
                      <a:pt x="751" y="1141"/>
                    </a:cubicBezTo>
                    <a:cubicBezTo>
                      <a:pt x="751" y="1141"/>
                      <a:pt x="751" y="1141"/>
                      <a:pt x="752" y="1140"/>
                    </a:cubicBezTo>
                    <a:cubicBezTo>
                      <a:pt x="752" y="1140"/>
                      <a:pt x="752" y="1140"/>
                      <a:pt x="751" y="1140"/>
                    </a:cubicBezTo>
                    <a:cubicBezTo>
                      <a:pt x="751" y="1140"/>
                      <a:pt x="751" y="1140"/>
                      <a:pt x="750" y="1140"/>
                    </a:cubicBezTo>
                    <a:cubicBezTo>
                      <a:pt x="750" y="1140"/>
                      <a:pt x="750" y="1140"/>
                      <a:pt x="749" y="1140"/>
                    </a:cubicBezTo>
                    <a:cubicBezTo>
                      <a:pt x="749" y="1140"/>
                      <a:pt x="749" y="1140"/>
                      <a:pt x="748" y="1140"/>
                    </a:cubicBezTo>
                    <a:cubicBezTo>
                      <a:pt x="748" y="1140"/>
                      <a:pt x="748" y="1140"/>
                      <a:pt x="746" y="1140"/>
                    </a:cubicBezTo>
                    <a:cubicBezTo>
                      <a:pt x="746" y="1140"/>
                      <a:pt x="746" y="1140"/>
                      <a:pt x="746" y="1139"/>
                    </a:cubicBezTo>
                    <a:cubicBezTo>
                      <a:pt x="746" y="1139"/>
                      <a:pt x="746" y="1139"/>
                      <a:pt x="745" y="1138"/>
                    </a:cubicBezTo>
                    <a:cubicBezTo>
                      <a:pt x="745" y="1138"/>
                      <a:pt x="745" y="1138"/>
                      <a:pt x="745" y="1137"/>
                    </a:cubicBezTo>
                    <a:cubicBezTo>
                      <a:pt x="745" y="1137"/>
                      <a:pt x="745" y="1137"/>
                      <a:pt x="746" y="1138"/>
                    </a:cubicBezTo>
                    <a:cubicBezTo>
                      <a:pt x="746" y="1138"/>
                      <a:pt x="746" y="1138"/>
                      <a:pt x="747" y="1138"/>
                    </a:cubicBezTo>
                    <a:cubicBezTo>
                      <a:pt x="747" y="1138"/>
                      <a:pt x="747" y="1138"/>
                      <a:pt x="746" y="1137"/>
                    </a:cubicBezTo>
                    <a:cubicBezTo>
                      <a:pt x="746" y="1137"/>
                      <a:pt x="746" y="1137"/>
                      <a:pt x="746" y="1136"/>
                    </a:cubicBezTo>
                    <a:cubicBezTo>
                      <a:pt x="746" y="1136"/>
                      <a:pt x="746" y="1136"/>
                      <a:pt x="747" y="1135"/>
                    </a:cubicBezTo>
                    <a:cubicBezTo>
                      <a:pt x="747" y="1135"/>
                      <a:pt x="747" y="1135"/>
                      <a:pt x="746" y="1134"/>
                    </a:cubicBezTo>
                    <a:cubicBezTo>
                      <a:pt x="746" y="1134"/>
                      <a:pt x="746" y="1134"/>
                      <a:pt x="747" y="1134"/>
                    </a:cubicBezTo>
                    <a:cubicBezTo>
                      <a:pt x="747" y="1134"/>
                      <a:pt x="747" y="1134"/>
                      <a:pt x="747" y="1133"/>
                    </a:cubicBezTo>
                    <a:cubicBezTo>
                      <a:pt x="747" y="1133"/>
                      <a:pt x="747" y="1133"/>
                      <a:pt x="745" y="1132"/>
                    </a:cubicBezTo>
                    <a:cubicBezTo>
                      <a:pt x="745" y="1132"/>
                      <a:pt x="745" y="1132"/>
                      <a:pt x="745" y="1131"/>
                    </a:cubicBezTo>
                    <a:cubicBezTo>
                      <a:pt x="745" y="1131"/>
                      <a:pt x="745" y="1131"/>
                      <a:pt x="744" y="1131"/>
                    </a:cubicBezTo>
                    <a:cubicBezTo>
                      <a:pt x="744" y="1131"/>
                      <a:pt x="744" y="1131"/>
                      <a:pt x="743" y="1132"/>
                    </a:cubicBezTo>
                    <a:cubicBezTo>
                      <a:pt x="743" y="1132"/>
                      <a:pt x="743" y="1132"/>
                      <a:pt x="742" y="1132"/>
                    </a:cubicBezTo>
                    <a:cubicBezTo>
                      <a:pt x="742" y="1132"/>
                      <a:pt x="742" y="1132"/>
                      <a:pt x="741" y="1131"/>
                    </a:cubicBezTo>
                    <a:cubicBezTo>
                      <a:pt x="741" y="1131"/>
                      <a:pt x="741" y="1131"/>
                      <a:pt x="740" y="1130"/>
                    </a:cubicBezTo>
                    <a:cubicBezTo>
                      <a:pt x="740" y="1130"/>
                      <a:pt x="740" y="1130"/>
                      <a:pt x="738" y="1130"/>
                    </a:cubicBezTo>
                    <a:cubicBezTo>
                      <a:pt x="738" y="1130"/>
                      <a:pt x="738" y="1130"/>
                      <a:pt x="738" y="1129"/>
                    </a:cubicBezTo>
                    <a:cubicBezTo>
                      <a:pt x="738" y="1129"/>
                      <a:pt x="738" y="1129"/>
                      <a:pt x="739" y="1128"/>
                    </a:cubicBezTo>
                    <a:cubicBezTo>
                      <a:pt x="739" y="1128"/>
                      <a:pt x="739" y="1128"/>
                      <a:pt x="739" y="1127"/>
                    </a:cubicBezTo>
                    <a:cubicBezTo>
                      <a:pt x="739" y="1127"/>
                      <a:pt x="739" y="1127"/>
                      <a:pt x="740" y="1127"/>
                    </a:cubicBezTo>
                    <a:cubicBezTo>
                      <a:pt x="740" y="1127"/>
                      <a:pt x="740" y="1127"/>
                      <a:pt x="740" y="1126"/>
                    </a:cubicBezTo>
                    <a:cubicBezTo>
                      <a:pt x="740" y="1126"/>
                      <a:pt x="740" y="1126"/>
                      <a:pt x="739" y="1126"/>
                    </a:cubicBezTo>
                    <a:cubicBezTo>
                      <a:pt x="739" y="1126"/>
                      <a:pt x="739" y="1126"/>
                      <a:pt x="739" y="1124"/>
                    </a:cubicBezTo>
                    <a:cubicBezTo>
                      <a:pt x="739" y="1124"/>
                      <a:pt x="739" y="1124"/>
                      <a:pt x="740" y="1123"/>
                    </a:cubicBezTo>
                    <a:cubicBezTo>
                      <a:pt x="740" y="1123"/>
                      <a:pt x="740" y="1123"/>
                      <a:pt x="740" y="1124"/>
                    </a:cubicBezTo>
                    <a:cubicBezTo>
                      <a:pt x="740" y="1124"/>
                      <a:pt x="740" y="1124"/>
                      <a:pt x="743" y="1124"/>
                    </a:cubicBezTo>
                    <a:cubicBezTo>
                      <a:pt x="743" y="1124"/>
                      <a:pt x="743" y="1124"/>
                      <a:pt x="744" y="1123"/>
                    </a:cubicBezTo>
                    <a:cubicBezTo>
                      <a:pt x="744" y="1123"/>
                      <a:pt x="744" y="1123"/>
                      <a:pt x="744" y="1125"/>
                    </a:cubicBezTo>
                    <a:cubicBezTo>
                      <a:pt x="744" y="1125"/>
                      <a:pt x="744" y="1125"/>
                      <a:pt x="744" y="1126"/>
                    </a:cubicBezTo>
                    <a:cubicBezTo>
                      <a:pt x="744" y="1126"/>
                      <a:pt x="744" y="1126"/>
                      <a:pt x="743" y="1126"/>
                    </a:cubicBezTo>
                    <a:cubicBezTo>
                      <a:pt x="743" y="1126"/>
                      <a:pt x="743" y="1126"/>
                      <a:pt x="742" y="1127"/>
                    </a:cubicBezTo>
                    <a:cubicBezTo>
                      <a:pt x="742" y="1127"/>
                      <a:pt x="742" y="1127"/>
                      <a:pt x="743" y="1127"/>
                    </a:cubicBezTo>
                    <a:cubicBezTo>
                      <a:pt x="743" y="1127"/>
                      <a:pt x="743" y="1127"/>
                      <a:pt x="744" y="1126"/>
                    </a:cubicBezTo>
                    <a:cubicBezTo>
                      <a:pt x="744" y="1126"/>
                      <a:pt x="744" y="1126"/>
                      <a:pt x="746" y="1125"/>
                    </a:cubicBezTo>
                    <a:cubicBezTo>
                      <a:pt x="746" y="1125"/>
                      <a:pt x="746" y="1125"/>
                      <a:pt x="746" y="1126"/>
                    </a:cubicBezTo>
                    <a:cubicBezTo>
                      <a:pt x="746" y="1126"/>
                      <a:pt x="746" y="1126"/>
                      <a:pt x="746" y="1127"/>
                    </a:cubicBezTo>
                    <a:cubicBezTo>
                      <a:pt x="746" y="1127"/>
                      <a:pt x="746" y="1127"/>
                      <a:pt x="746" y="1129"/>
                    </a:cubicBezTo>
                    <a:cubicBezTo>
                      <a:pt x="746" y="1129"/>
                      <a:pt x="746" y="1129"/>
                      <a:pt x="747" y="1129"/>
                    </a:cubicBezTo>
                    <a:cubicBezTo>
                      <a:pt x="747" y="1129"/>
                      <a:pt x="747" y="1129"/>
                      <a:pt x="747" y="1127"/>
                    </a:cubicBezTo>
                    <a:cubicBezTo>
                      <a:pt x="747" y="1127"/>
                      <a:pt x="747" y="1127"/>
                      <a:pt x="748" y="1126"/>
                    </a:cubicBezTo>
                    <a:cubicBezTo>
                      <a:pt x="748" y="1126"/>
                      <a:pt x="748" y="1126"/>
                      <a:pt x="747" y="1126"/>
                    </a:cubicBezTo>
                    <a:cubicBezTo>
                      <a:pt x="747" y="1126"/>
                      <a:pt x="747" y="1126"/>
                      <a:pt x="747" y="1124"/>
                    </a:cubicBezTo>
                    <a:cubicBezTo>
                      <a:pt x="747" y="1124"/>
                      <a:pt x="747" y="1124"/>
                      <a:pt x="748" y="1122"/>
                    </a:cubicBezTo>
                    <a:cubicBezTo>
                      <a:pt x="748" y="1122"/>
                      <a:pt x="748" y="1122"/>
                      <a:pt x="749" y="1121"/>
                    </a:cubicBezTo>
                    <a:cubicBezTo>
                      <a:pt x="749" y="1121"/>
                      <a:pt x="749" y="1121"/>
                      <a:pt x="748" y="1121"/>
                    </a:cubicBezTo>
                    <a:cubicBezTo>
                      <a:pt x="748" y="1121"/>
                      <a:pt x="748" y="1121"/>
                      <a:pt x="748" y="1120"/>
                    </a:cubicBezTo>
                    <a:cubicBezTo>
                      <a:pt x="748" y="1120"/>
                      <a:pt x="748" y="1120"/>
                      <a:pt x="748" y="1119"/>
                    </a:cubicBezTo>
                    <a:cubicBezTo>
                      <a:pt x="748" y="1119"/>
                      <a:pt x="748" y="1119"/>
                      <a:pt x="748" y="1118"/>
                    </a:cubicBezTo>
                    <a:cubicBezTo>
                      <a:pt x="748" y="1118"/>
                      <a:pt x="748" y="1118"/>
                      <a:pt x="748" y="1117"/>
                    </a:cubicBezTo>
                    <a:cubicBezTo>
                      <a:pt x="748" y="1117"/>
                      <a:pt x="748" y="1117"/>
                      <a:pt x="749" y="1117"/>
                    </a:cubicBezTo>
                    <a:cubicBezTo>
                      <a:pt x="749" y="1117"/>
                      <a:pt x="749" y="1117"/>
                      <a:pt x="750" y="1116"/>
                    </a:cubicBezTo>
                    <a:cubicBezTo>
                      <a:pt x="750" y="1116"/>
                      <a:pt x="750" y="1116"/>
                      <a:pt x="751" y="1114"/>
                    </a:cubicBezTo>
                    <a:cubicBezTo>
                      <a:pt x="751" y="1114"/>
                      <a:pt x="751" y="1114"/>
                      <a:pt x="751" y="1112"/>
                    </a:cubicBezTo>
                    <a:cubicBezTo>
                      <a:pt x="751" y="1112"/>
                      <a:pt x="751" y="1112"/>
                      <a:pt x="750" y="1112"/>
                    </a:cubicBezTo>
                    <a:cubicBezTo>
                      <a:pt x="750" y="1112"/>
                      <a:pt x="750" y="1112"/>
                      <a:pt x="750" y="1111"/>
                    </a:cubicBezTo>
                    <a:cubicBezTo>
                      <a:pt x="750" y="1111"/>
                      <a:pt x="750" y="1111"/>
                      <a:pt x="749" y="1110"/>
                    </a:cubicBezTo>
                    <a:cubicBezTo>
                      <a:pt x="749" y="1110"/>
                      <a:pt x="749" y="1110"/>
                      <a:pt x="748" y="1110"/>
                    </a:cubicBezTo>
                    <a:cubicBezTo>
                      <a:pt x="748" y="1110"/>
                      <a:pt x="748" y="1110"/>
                      <a:pt x="747" y="1109"/>
                    </a:cubicBezTo>
                    <a:cubicBezTo>
                      <a:pt x="747" y="1109"/>
                      <a:pt x="747" y="1109"/>
                      <a:pt x="747" y="1108"/>
                    </a:cubicBezTo>
                    <a:cubicBezTo>
                      <a:pt x="747" y="1108"/>
                      <a:pt x="747" y="1108"/>
                      <a:pt x="748" y="1107"/>
                    </a:cubicBezTo>
                    <a:cubicBezTo>
                      <a:pt x="748" y="1107"/>
                      <a:pt x="748" y="1107"/>
                      <a:pt x="748" y="1106"/>
                    </a:cubicBezTo>
                    <a:cubicBezTo>
                      <a:pt x="748" y="1106"/>
                      <a:pt x="748" y="1106"/>
                      <a:pt x="749" y="1105"/>
                    </a:cubicBezTo>
                    <a:cubicBezTo>
                      <a:pt x="749" y="1105"/>
                      <a:pt x="749" y="1105"/>
                      <a:pt x="747" y="1104"/>
                    </a:cubicBezTo>
                    <a:cubicBezTo>
                      <a:pt x="747" y="1104"/>
                      <a:pt x="747" y="1104"/>
                      <a:pt x="747" y="1103"/>
                    </a:cubicBezTo>
                    <a:cubicBezTo>
                      <a:pt x="747" y="1103"/>
                      <a:pt x="747" y="1103"/>
                      <a:pt x="748" y="1102"/>
                    </a:cubicBezTo>
                    <a:cubicBezTo>
                      <a:pt x="748" y="1102"/>
                      <a:pt x="748" y="1102"/>
                      <a:pt x="748" y="1101"/>
                    </a:cubicBezTo>
                    <a:cubicBezTo>
                      <a:pt x="748" y="1101"/>
                      <a:pt x="748" y="1101"/>
                      <a:pt x="749" y="1100"/>
                    </a:cubicBezTo>
                    <a:cubicBezTo>
                      <a:pt x="749" y="1100"/>
                      <a:pt x="749" y="1100"/>
                      <a:pt x="748" y="1099"/>
                    </a:cubicBezTo>
                    <a:cubicBezTo>
                      <a:pt x="748" y="1099"/>
                      <a:pt x="748" y="1099"/>
                      <a:pt x="748" y="1097"/>
                    </a:cubicBezTo>
                    <a:cubicBezTo>
                      <a:pt x="748" y="1097"/>
                      <a:pt x="748" y="1097"/>
                      <a:pt x="749" y="1097"/>
                    </a:cubicBezTo>
                    <a:cubicBezTo>
                      <a:pt x="749" y="1097"/>
                      <a:pt x="749" y="1097"/>
                      <a:pt x="749" y="1096"/>
                    </a:cubicBezTo>
                    <a:cubicBezTo>
                      <a:pt x="749" y="1096"/>
                      <a:pt x="749" y="1096"/>
                      <a:pt x="747" y="1095"/>
                    </a:cubicBezTo>
                    <a:cubicBezTo>
                      <a:pt x="747" y="1095"/>
                      <a:pt x="747" y="1095"/>
                      <a:pt x="747" y="1094"/>
                    </a:cubicBezTo>
                    <a:cubicBezTo>
                      <a:pt x="747" y="1094"/>
                      <a:pt x="747" y="1094"/>
                      <a:pt x="748" y="1094"/>
                    </a:cubicBezTo>
                    <a:cubicBezTo>
                      <a:pt x="748" y="1094"/>
                      <a:pt x="748" y="1094"/>
                      <a:pt x="749" y="1095"/>
                    </a:cubicBezTo>
                    <a:cubicBezTo>
                      <a:pt x="749" y="1095"/>
                      <a:pt x="749" y="1095"/>
                      <a:pt x="749" y="1093"/>
                    </a:cubicBezTo>
                    <a:cubicBezTo>
                      <a:pt x="749" y="1093"/>
                      <a:pt x="749" y="1093"/>
                      <a:pt x="749" y="1092"/>
                    </a:cubicBezTo>
                    <a:cubicBezTo>
                      <a:pt x="749" y="1092"/>
                      <a:pt x="749" y="1092"/>
                      <a:pt x="748" y="1092"/>
                    </a:cubicBezTo>
                    <a:cubicBezTo>
                      <a:pt x="748" y="1092"/>
                      <a:pt x="748" y="1092"/>
                      <a:pt x="747" y="1092"/>
                    </a:cubicBezTo>
                    <a:cubicBezTo>
                      <a:pt x="747" y="1092"/>
                      <a:pt x="747" y="1092"/>
                      <a:pt x="747" y="1091"/>
                    </a:cubicBezTo>
                    <a:cubicBezTo>
                      <a:pt x="747" y="1091"/>
                      <a:pt x="747" y="1091"/>
                      <a:pt x="749" y="1090"/>
                    </a:cubicBezTo>
                    <a:cubicBezTo>
                      <a:pt x="749" y="1090"/>
                      <a:pt x="749" y="1090"/>
                      <a:pt x="749" y="1089"/>
                    </a:cubicBezTo>
                    <a:cubicBezTo>
                      <a:pt x="749" y="1089"/>
                      <a:pt x="749" y="1089"/>
                      <a:pt x="748" y="1089"/>
                    </a:cubicBezTo>
                    <a:cubicBezTo>
                      <a:pt x="748" y="1089"/>
                      <a:pt x="748" y="1089"/>
                      <a:pt x="747" y="1088"/>
                    </a:cubicBezTo>
                    <a:cubicBezTo>
                      <a:pt x="747" y="1088"/>
                      <a:pt x="747" y="1088"/>
                      <a:pt x="746" y="1088"/>
                    </a:cubicBezTo>
                    <a:cubicBezTo>
                      <a:pt x="746" y="1088"/>
                      <a:pt x="746" y="1088"/>
                      <a:pt x="746" y="1090"/>
                    </a:cubicBezTo>
                    <a:cubicBezTo>
                      <a:pt x="746" y="1090"/>
                      <a:pt x="746" y="1090"/>
                      <a:pt x="744" y="1090"/>
                    </a:cubicBezTo>
                    <a:cubicBezTo>
                      <a:pt x="744" y="1090"/>
                      <a:pt x="744" y="1090"/>
                      <a:pt x="742" y="1090"/>
                    </a:cubicBezTo>
                    <a:cubicBezTo>
                      <a:pt x="742" y="1090"/>
                      <a:pt x="742" y="1090"/>
                      <a:pt x="742" y="1089"/>
                    </a:cubicBezTo>
                    <a:cubicBezTo>
                      <a:pt x="742" y="1089"/>
                      <a:pt x="742" y="1089"/>
                      <a:pt x="741" y="1088"/>
                    </a:cubicBezTo>
                    <a:cubicBezTo>
                      <a:pt x="741" y="1088"/>
                      <a:pt x="741" y="1088"/>
                      <a:pt x="739" y="1085"/>
                    </a:cubicBezTo>
                    <a:cubicBezTo>
                      <a:pt x="739" y="1085"/>
                      <a:pt x="739" y="1085"/>
                      <a:pt x="739" y="1084"/>
                    </a:cubicBezTo>
                    <a:cubicBezTo>
                      <a:pt x="739" y="1084"/>
                      <a:pt x="739" y="1084"/>
                      <a:pt x="739" y="1083"/>
                    </a:cubicBezTo>
                    <a:cubicBezTo>
                      <a:pt x="739" y="1083"/>
                      <a:pt x="739" y="1083"/>
                      <a:pt x="738" y="1083"/>
                    </a:cubicBezTo>
                    <a:cubicBezTo>
                      <a:pt x="738" y="1083"/>
                      <a:pt x="738" y="1083"/>
                      <a:pt x="739" y="1082"/>
                    </a:cubicBezTo>
                    <a:cubicBezTo>
                      <a:pt x="739" y="1082"/>
                      <a:pt x="739" y="1082"/>
                      <a:pt x="739" y="1081"/>
                    </a:cubicBezTo>
                    <a:cubicBezTo>
                      <a:pt x="739" y="1081"/>
                      <a:pt x="739" y="1081"/>
                      <a:pt x="739" y="1078"/>
                    </a:cubicBezTo>
                    <a:cubicBezTo>
                      <a:pt x="739" y="1078"/>
                      <a:pt x="739" y="1078"/>
                      <a:pt x="738" y="1076"/>
                    </a:cubicBezTo>
                    <a:cubicBezTo>
                      <a:pt x="738" y="1076"/>
                      <a:pt x="738" y="1076"/>
                      <a:pt x="739" y="1075"/>
                    </a:cubicBezTo>
                    <a:cubicBezTo>
                      <a:pt x="739" y="1075"/>
                      <a:pt x="739" y="1075"/>
                      <a:pt x="740" y="1075"/>
                    </a:cubicBezTo>
                    <a:cubicBezTo>
                      <a:pt x="740" y="1075"/>
                      <a:pt x="740" y="1075"/>
                      <a:pt x="740" y="1074"/>
                    </a:cubicBezTo>
                    <a:cubicBezTo>
                      <a:pt x="740" y="1074"/>
                      <a:pt x="740" y="1074"/>
                      <a:pt x="740" y="1073"/>
                    </a:cubicBezTo>
                    <a:cubicBezTo>
                      <a:pt x="740" y="1073"/>
                      <a:pt x="740" y="1073"/>
                      <a:pt x="741" y="1071"/>
                    </a:cubicBezTo>
                    <a:cubicBezTo>
                      <a:pt x="741" y="1071"/>
                      <a:pt x="741" y="1071"/>
                      <a:pt x="741" y="1068"/>
                    </a:cubicBezTo>
                    <a:cubicBezTo>
                      <a:pt x="741" y="1068"/>
                      <a:pt x="741" y="1068"/>
                      <a:pt x="740" y="1068"/>
                    </a:cubicBezTo>
                    <a:cubicBezTo>
                      <a:pt x="740" y="1068"/>
                      <a:pt x="740" y="1068"/>
                      <a:pt x="740" y="1067"/>
                    </a:cubicBezTo>
                    <a:cubicBezTo>
                      <a:pt x="740" y="1067"/>
                      <a:pt x="740" y="1067"/>
                      <a:pt x="738" y="1064"/>
                    </a:cubicBezTo>
                    <a:cubicBezTo>
                      <a:pt x="738" y="1064"/>
                      <a:pt x="738" y="1064"/>
                      <a:pt x="738" y="1062"/>
                    </a:cubicBezTo>
                    <a:cubicBezTo>
                      <a:pt x="738" y="1062"/>
                      <a:pt x="738" y="1062"/>
                      <a:pt x="738" y="1061"/>
                    </a:cubicBezTo>
                    <a:cubicBezTo>
                      <a:pt x="738" y="1061"/>
                      <a:pt x="738" y="1061"/>
                      <a:pt x="737" y="1059"/>
                    </a:cubicBezTo>
                    <a:cubicBezTo>
                      <a:pt x="737" y="1059"/>
                      <a:pt x="737" y="1059"/>
                      <a:pt x="736" y="1058"/>
                    </a:cubicBezTo>
                    <a:cubicBezTo>
                      <a:pt x="736" y="1058"/>
                      <a:pt x="736" y="1058"/>
                      <a:pt x="736" y="1056"/>
                    </a:cubicBezTo>
                    <a:cubicBezTo>
                      <a:pt x="736" y="1056"/>
                      <a:pt x="736" y="1056"/>
                      <a:pt x="735" y="1055"/>
                    </a:cubicBezTo>
                    <a:cubicBezTo>
                      <a:pt x="735" y="1055"/>
                      <a:pt x="735" y="1055"/>
                      <a:pt x="736" y="1054"/>
                    </a:cubicBezTo>
                    <a:cubicBezTo>
                      <a:pt x="736" y="1054"/>
                      <a:pt x="736" y="1054"/>
                      <a:pt x="737" y="1054"/>
                    </a:cubicBezTo>
                    <a:cubicBezTo>
                      <a:pt x="737" y="1054"/>
                      <a:pt x="737" y="1054"/>
                      <a:pt x="738" y="1054"/>
                    </a:cubicBezTo>
                    <a:cubicBezTo>
                      <a:pt x="738" y="1054"/>
                      <a:pt x="738" y="1054"/>
                      <a:pt x="739" y="1053"/>
                    </a:cubicBezTo>
                    <a:cubicBezTo>
                      <a:pt x="739" y="1053"/>
                      <a:pt x="739" y="1053"/>
                      <a:pt x="739" y="1052"/>
                    </a:cubicBezTo>
                    <a:cubicBezTo>
                      <a:pt x="739" y="1052"/>
                      <a:pt x="739" y="1052"/>
                      <a:pt x="738" y="1051"/>
                    </a:cubicBezTo>
                    <a:cubicBezTo>
                      <a:pt x="738" y="1051"/>
                      <a:pt x="738" y="1051"/>
                      <a:pt x="738" y="1050"/>
                    </a:cubicBezTo>
                    <a:cubicBezTo>
                      <a:pt x="738" y="1050"/>
                      <a:pt x="738" y="1050"/>
                      <a:pt x="739" y="1049"/>
                    </a:cubicBezTo>
                    <a:cubicBezTo>
                      <a:pt x="739" y="1049"/>
                      <a:pt x="739" y="1049"/>
                      <a:pt x="739" y="1048"/>
                    </a:cubicBezTo>
                    <a:cubicBezTo>
                      <a:pt x="739" y="1048"/>
                      <a:pt x="739" y="1048"/>
                      <a:pt x="740" y="1048"/>
                    </a:cubicBezTo>
                    <a:cubicBezTo>
                      <a:pt x="740" y="1048"/>
                      <a:pt x="740" y="1048"/>
                      <a:pt x="740" y="1047"/>
                    </a:cubicBezTo>
                    <a:cubicBezTo>
                      <a:pt x="740" y="1047"/>
                      <a:pt x="740" y="1047"/>
                      <a:pt x="740" y="1045"/>
                    </a:cubicBezTo>
                    <a:cubicBezTo>
                      <a:pt x="740" y="1045"/>
                      <a:pt x="740" y="1045"/>
                      <a:pt x="741" y="1044"/>
                    </a:cubicBezTo>
                    <a:cubicBezTo>
                      <a:pt x="741" y="1044"/>
                      <a:pt x="741" y="1044"/>
                      <a:pt x="740" y="1043"/>
                    </a:cubicBezTo>
                    <a:cubicBezTo>
                      <a:pt x="740" y="1043"/>
                      <a:pt x="740" y="1043"/>
                      <a:pt x="740" y="1042"/>
                    </a:cubicBezTo>
                    <a:cubicBezTo>
                      <a:pt x="740" y="1042"/>
                      <a:pt x="740" y="1042"/>
                      <a:pt x="741" y="1042"/>
                    </a:cubicBezTo>
                    <a:cubicBezTo>
                      <a:pt x="741" y="1042"/>
                      <a:pt x="741" y="1042"/>
                      <a:pt x="741" y="1040"/>
                    </a:cubicBezTo>
                    <a:cubicBezTo>
                      <a:pt x="741" y="1040"/>
                      <a:pt x="741" y="1040"/>
                      <a:pt x="741" y="1039"/>
                    </a:cubicBezTo>
                    <a:cubicBezTo>
                      <a:pt x="741" y="1039"/>
                      <a:pt x="741" y="1039"/>
                      <a:pt x="741" y="1038"/>
                    </a:cubicBezTo>
                    <a:cubicBezTo>
                      <a:pt x="741" y="1038"/>
                      <a:pt x="741" y="1038"/>
                      <a:pt x="742" y="1037"/>
                    </a:cubicBezTo>
                    <a:cubicBezTo>
                      <a:pt x="742" y="1037"/>
                      <a:pt x="742" y="1037"/>
                      <a:pt x="742" y="1035"/>
                    </a:cubicBezTo>
                    <a:cubicBezTo>
                      <a:pt x="742" y="1035"/>
                      <a:pt x="742" y="1035"/>
                      <a:pt x="742" y="1034"/>
                    </a:cubicBezTo>
                    <a:cubicBezTo>
                      <a:pt x="742" y="1034"/>
                      <a:pt x="742" y="1034"/>
                      <a:pt x="743" y="1034"/>
                    </a:cubicBezTo>
                    <a:cubicBezTo>
                      <a:pt x="743" y="1034"/>
                      <a:pt x="743" y="1034"/>
                      <a:pt x="743" y="1032"/>
                    </a:cubicBezTo>
                    <a:cubicBezTo>
                      <a:pt x="743" y="1032"/>
                      <a:pt x="743" y="1032"/>
                      <a:pt x="743" y="1031"/>
                    </a:cubicBezTo>
                    <a:cubicBezTo>
                      <a:pt x="743" y="1031"/>
                      <a:pt x="743" y="1031"/>
                      <a:pt x="743" y="1029"/>
                    </a:cubicBezTo>
                    <a:cubicBezTo>
                      <a:pt x="743" y="1029"/>
                      <a:pt x="743" y="1029"/>
                      <a:pt x="744" y="1029"/>
                    </a:cubicBezTo>
                    <a:cubicBezTo>
                      <a:pt x="744" y="1029"/>
                      <a:pt x="744" y="1029"/>
                      <a:pt x="745" y="1027"/>
                    </a:cubicBezTo>
                    <a:cubicBezTo>
                      <a:pt x="745" y="1027"/>
                      <a:pt x="745" y="1027"/>
                      <a:pt x="745" y="1026"/>
                    </a:cubicBezTo>
                    <a:cubicBezTo>
                      <a:pt x="745" y="1026"/>
                      <a:pt x="745" y="1026"/>
                      <a:pt x="743" y="1024"/>
                    </a:cubicBezTo>
                    <a:cubicBezTo>
                      <a:pt x="743" y="1024"/>
                      <a:pt x="743" y="1024"/>
                      <a:pt x="743" y="1023"/>
                    </a:cubicBezTo>
                    <a:cubicBezTo>
                      <a:pt x="743" y="1023"/>
                      <a:pt x="743" y="1023"/>
                      <a:pt x="744" y="1022"/>
                    </a:cubicBezTo>
                    <a:cubicBezTo>
                      <a:pt x="744" y="1022"/>
                      <a:pt x="744" y="1022"/>
                      <a:pt x="743" y="1021"/>
                    </a:cubicBezTo>
                    <a:cubicBezTo>
                      <a:pt x="743" y="1021"/>
                      <a:pt x="743" y="1021"/>
                      <a:pt x="743" y="1020"/>
                    </a:cubicBezTo>
                    <a:cubicBezTo>
                      <a:pt x="743" y="1020"/>
                      <a:pt x="743" y="1020"/>
                      <a:pt x="744" y="1019"/>
                    </a:cubicBezTo>
                    <a:cubicBezTo>
                      <a:pt x="744" y="1019"/>
                      <a:pt x="744" y="1019"/>
                      <a:pt x="743" y="1016"/>
                    </a:cubicBezTo>
                    <a:cubicBezTo>
                      <a:pt x="743" y="1016"/>
                      <a:pt x="743" y="1016"/>
                      <a:pt x="742" y="1014"/>
                    </a:cubicBezTo>
                    <a:cubicBezTo>
                      <a:pt x="742" y="1014"/>
                      <a:pt x="742" y="1014"/>
                      <a:pt x="742" y="1013"/>
                    </a:cubicBezTo>
                    <a:cubicBezTo>
                      <a:pt x="742" y="1013"/>
                      <a:pt x="742" y="1013"/>
                      <a:pt x="743" y="1013"/>
                    </a:cubicBezTo>
                    <a:cubicBezTo>
                      <a:pt x="743" y="1013"/>
                      <a:pt x="743" y="1013"/>
                      <a:pt x="743" y="1011"/>
                    </a:cubicBezTo>
                    <a:cubicBezTo>
                      <a:pt x="743" y="1011"/>
                      <a:pt x="743" y="1011"/>
                      <a:pt x="741" y="1007"/>
                    </a:cubicBezTo>
                    <a:cubicBezTo>
                      <a:pt x="741" y="1007"/>
                      <a:pt x="741" y="1007"/>
                      <a:pt x="741" y="1005"/>
                    </a:cubicBezTo>
                    <a:cubicBezTo>
                      <a:pt x="741" y="1005"/>
                      <a:pt x="741" y="1005"/>
                      <a:pt x="741" y="1004"/>
                    </a:cubicBezTo>
                    <a:cubicBezTo>
                      <a:pt x="741" y="1004"/>
                      <a:pt x="741" y="1004"/>
                      <a:pt x="741" y="1002"/>
                    </a:cubicBezTo>
                    <a:cubicBezTo>
                      <a:pt x="741" y="1002"/>
                      <a:pt x="741" y="1002"/>
                      <a:pt x="742" y="1002"/>
                    </a:cubicBezTo>
                    <a:cubicBezTo>
                      <a:pt x="742" y="1002"/>
                      <a:pt x="742" y="1002"/>
                      <a:pt x="743" y="1001"/>
                    </a:cubicBezTo>
                    <a:cubicBezTo>
                      <a:pt x="743" y="1001"/>
                      <a:pt x="743" y="1001"/>
                      <a:pt x="742" y="1000"/>
                    </a:cubicBezTo>
                    <a:cubicBezTo>
                      <a:pt x="742" y="1000"/>
                      <a:pt x="742" y="1000"/>
                      <a:pt x="742" y="998"/>
                    </a:cubicBezTo>
                    <a:cubicBezTo>
                      <a:pt x="742" y="998"/>
                      <a:pt x="742" y="998"/>
                      <a:pt x="743" y="998"/>
                    </a:cubicBezTo>
                    <a:cubicBezTo>
                      <a:pt x="743" y="998"/>
                      <a:pt x="743" y="998"/>
                      <a:pt x="742" y="997"/>
                    </a:cubicBezTo>
                    <a:cubicBezTo>
                      <a:pt x="742" y="997"/>
                      <a:pt x="742" y="997"/>
                      <a:pt x="742" y="995"/>
                    </a:cubicBezTo>
                    <a:cubicBezTo>
                      <a:pt x="742" y="995"/>
                      <a:pt x="742" y="995"/>
                      <a:pt x="741" y="993"/>
                    </a:cubicBezTo>
                    <a:cubicBezTo>
                      <a:pt x="741" y="993"/>
                      <a:pt x="741" y="993"/>
                      <a:pt x="741" y="992"/>
                    </a:cubicBezTo>
                    <a:cubicBezTo>
                      <a:pt x="741" y="992"/>
                      <a:pt x="741" y="992"/>
                      <a:pt x="742" y="990"/>
                    </a:cubicBezTo>
                    <a:cubicBezTo>
                      <a:pt x="742" y="990"/>
                      <a:pt x="742" y="990"/>
                      <a:pt x="742" y="989"/>
                    </a:cubicBezTo>
                    <a:cubicBezTo>
                      <a:pt x="742" y="989"/>
                      <a:pt x="742" y="989"/>
                      <a:pt x="742" y="987"/>
                    </a:cubicBezTo>
                    <a:cubicBezTo>
                      <a:pt x="742" y="987"/>
                      <a:pt x="742" y="987"/>
                      <a:pt x="743" y="986"/>
                    </a:cubicBezTo>
                    <a:cubicBezTo>
                      <a:pt x="743" y="986"/>
                      <a:pt x="743" y="986"/>
                      <a:pt x="743" y="984"/>
                    </a:cubicBezTo>
                    <a:cubicBezTo>
                      <a:pt x="743" y="984"/>
                      <a:pt x="743" y="984"/>
                      <a:pt x="744" y="983"/>
                    </a:cubicBezTo>
                    <a:cubicBezTo>
                      <a:pt x="744" y="983"/>
                      <a:pt x="744" y="983"/>
                      <a:pt x="744" y="982"/>
                    </a:cubicBezTo>
                    <a:cubicBezTo>
                      <a:pt x="744" y="982"/>
                      <a:pt x="744" y="982"/>
                      <a:pt x="743" y="981"/>
                    </a:cubicBezTo>
                    <a:cubicBezTo>
                      <a:pt x="743" y="981"/>
                      <a:pt x="743" y="981"/>
                      <a:pt x="743" y="979"/>
                    </a:cubicBezTo>
                    <a:cubicBezTo>
                      <a:pt x="743" y="979"/>
                      <a:pt x="743" y="979"/>
                      <a:pt x="744" y="978"/>
                    </a:cubicBezTo>
                    <a:cubicBezTo>
                      <a:pt x="744" y="978"/>
                      <a:pt x="744" y="978"/>
                      <a:pt x="744" y="975"/>
                    </a:cubicBezTo>
                    <a:cubicBezTo>
                      <a:pt x="744" y="975"/>
                      <a:pt x="744" y="975"/>
                      <a:pt x="745" y="974"/>
                    </a:cubicBezTo>
                    <a:cubicBezTo>
                      <a:pt x="745" y="974"/>
                      <a:pt x="745" y="974"/>
                      <a:pt x="743" y="972"/>
                    </a:cubicBezTo>
                    <a:cubicBezTo>
                      <a:pt x="743" y="972"/>
                      <a:pt x="743" y="972"/>
                      <a:pt x="743" y="970"/>
                    </a:cubicBezTo>
                    <a:cubicBezTo>
                      <a:pt x="743" y="970"/>
                      <a:pt x="743" y="970"/>
                      <a:pt x="744" y="968"/>
                    </a:cubicBezTo>
                    <a:cubicBezTo>
                      <a:pt x="744" y="968"/>
                      <a:pt x="744" y="968"/>
                      <a:pt x="745" y="967"/>
                    </a:cubicBezTo>
                    <a:cubicBezTo>
                      <a:pt x="745" y="967"/>
                      <a:pt x="745" y="967"/>
                      <a:pt x="744" y="965"/>
                    </a:cubicBezTo>
                    <a:cubicBezTo>
                      <a:pt x="744" y="965"/>
                      <a:pt x="744" y="965"/>
                      <a:pt x="744" y="962"/>
                    </a:cubicBezTo>
                    <a:cubicBezTo>
                      <a:pt x="744" y="962"/>
                      <a:pt x="744" y="962"/>
                      <a:pt x="743" y="956"/>
                    </a:cubicBezTo>
                    <a:cubicBezTo>
                      <a:pt x="743" y="956"/>
                      <a:pt x="743" y="956"/>
                      <a:pt x="744" y="955"/>
                    </a:cubicBezTo>
                    <a:cubicBezTo>
                      <a:pt x="744" y="955"/>
                      <a:pt x="744" y="955"/>
                      <a:pt x="744" y="954"/>
                    </a:cubicBezTo>
                    <a:cubicBezTo>
                      <a:pt x="744" y="954"/>
                      <a:pt x="744" y="954"/>
                      <a:pt x="743" y="955"/>
                    </a:cubicBezTo>
                    <a:cubicBezTo>
                      <a:pt x="743" y="955"/>
                      <a:pt x="743" y="955"/>
                      <a:pt x="743" y="954"/>
                    </a:cubicBezTo>
                    <a:cubicBezTo>
                      <a:pt x="743" y="954"/>
                      <a:pt x="743" y="954"/>
                      <a:pt x="742" y="952"/>
                    </a:cubicBezTo>
                    <a:cubicBezTo>
                      <a:pt x="742" y="952"/>
                      <a:pt x="742" y="952"/>
                      <a:pt x="743" y="951"/>
                    </a:cubicBezTo>
                    <a:cubicBezTo>
                      <a:pt x="743" y="951"/>
                      <a:pt x="743" y="951"/>
                      <a:pt x="744" y="951"/>
                    </a:cubicBezTo>
                    <a:cubicBezTo>
                      <a:pt x="744" y="951"/>
                      <a:pt x="744" y="951"/>
                      <a:pt x="744" y="950"/>
                    </a:cubicBezTo>
                    <a:cubicBezTo>
                      <a:pt x="744" y="950"/>
                      <a:pt x="744" y="950"/>
                      <a:pt x="744" y="945"/>
                    </a:cubicBezTo>
                    <a:cubicBezTo>
                      <a:pt x="744" y="945"/>
                      <a:pt x="744" y="945"/>
                      <a:pt x="745" y="944"/>
                    </a:cubicBezTo>
                    <a:cubicBezTo>
                      <a:pt x="745" y="944"/>
                      <a:pt x="745" y="944"/>
                      <a:pt x="745" y="940"/>
                    </a:cubicBezTo>
                    <a:cubicBezTo>
                      <a:pt x="745" y="940"/>
                      <a:pt x="745" y="940"/>
                      <a:pt x="744" y="938"/>
                    </a:cubicBezTo>
                    <a:cubicBezTo>
                      <a:pt x="744" y="938"/>
                      <a:pt x="744" y="938"/>
                      <a:pt x="743" y="936"/>
                    </a:cubicBezTo>
                    <a:cubicBezTo>
                      <a:pt x="743" y="936"/>
                      <a:pt x="743" y="936"/>
                      <a:pt x="743" y="934"/>
                    </a:cubicBezTo>
                    <a:cubicBezTo>
                      <a:pt x="743" y="934"/>
                      <a:pt x="743" y="934"/>
                      <a:pt x="743" y="933"/>
                    </a:cubicBezTo>
                    <a:cubicBezTo>
                      <a:pt x="743" y="933"/>
                      <a:pt x="743" y="933"/>
                      <a:pt x="744" y="932"/>
                    </a:cubicBezTo>
                    <a:cubicBezTo>
                      <a:pt x="744" y="932"/>
                      <a:pt x="744" y="932"/>
                      <a:pt x="744" y="930"/>
                    </a:cubicBezTo>
                    <a:cubicBezTo>
                      <a:pt x="744" y="930"/>
                      <a:pt x="744" y="930"/>
                      <a:pt x="743" y="925"/>
                    </a:cubicBezTo>
                    <a:cubicBezTo>
                      <a:pt x="743" y="925"/>
                      <a:pt x="743" y="925"/>
                      <a:pt x="742" y="924"/>
                    </a:cubicBezTo>
                    <a:cubicBezTo>
                      <a:pt x="742" y="924"/>
                      <a:pt x="742" y="924"/>
                      <a:pt x="742" y="922"/>
                    </a:cubicBezTo>
                    <a:cubicBezTo>
                      <a:pt x="742" y="922"/>
                      <a:pt x="742" y="922"/>
                      <a:pt x="742" y="920"/>
                    </a:cubicBezTo>
                    <a:cubicBezTo>
                      <a:pt x="742" y="920"/>
                      <a:pt x="742" y="920"/>
                      <a:pt x="741" y="920"/>
                    </a:cubicBezTo>
                    <a:cubicBezTo>
                      <a:pt x="741" y="920"/>
                      <a:pt x="741" y="920"/>
                      <a:pt x="740" y="919"/>
                    </a:cubicBezTo>
                    <a:cubicBezTo>
                      <a:pt x="740" y="919"/>
                      <a:pt x="740" y="919"/>
                      <a:pt x="739" y="918"/>
                    </a:cubicBezTo>
                    <a:cubicBezTo>
                      <a:pt x="739" y="918"/>
                      <a:pt x="739" y="918"/>
                      <a:pt x="737" y="916"/>
                    </a:cubicBezTo>
                    <a:cubicBezTo>
                      <a:pt x="737" y="916"/>
                      <a:pt x="737" y="916"/>
                      <a:pt x="736" y="916"/>
                    </a:cubicBezTo>
                    <a:cubicBezTo>
                      <a:pt x="736" y="916"/>
                      <a:pt x="736" y="916"/>
                      <a:pt x="734" y="915"/>
                    </a:cubicBezTo>
                    <a:cubicBezTo>
                      <a:pt x="734" y="915"/>
                      <a:pt x="734" y="915"/>
                      <a:pt x="734" y="914"/>
                    </a:cubicBezTo>
                    <a:cubicBezTo>
                      <a:pt x="734" y="914"/>
                      <a:pt x="734" y="914"/>
                      <a:pt x="734" y="913"/>
                    </a:cubicBezTo>
                    <a:cubicBezTo>
                      <a:pt x="734" y="913"/>
                      <a:pt x="734" y="913"/>
                      <a:pt x="733" y="913"/>
                    </a:cubicBezTo>
                    <a:cubicBezTo>
                      <a:pt x="733" y="913"/>
                      <a:pt x="733" y="913"/>
                      <a:pt x="732" y="911"/>
                    </a:cubicBezTo>
                    <a:cubicBezTo>
                      <a:pt x="732" y="911"/>
                      <a:pt x="732" y="911"/>
                      <a:pt x="731" y="911"/>
                    </a:cubicBezTo>
                    <a:cubicBezTo>
                      <a:pt x="731" y="911"/>
                      <a:pt x="731" y="911"/>
                      <a:pt x="729" y="909"/>
                    </a:cubicBezTo>
                    <a:cubicBezTo>
                      <a:pt x="729" y="909"/>
                      <a:pt x="729" y="909"/>
                      <a:pt x="728" y="908"/>
                    </a:cubicBezTo>
                    <a:cubicBezTo>
                      <a:pt x="728" y="908"/>
                      <a:pt x="728" y="908"/>
                      <a:pt x="727" y="908"/>
                    </a:cubicBezTo>
                    <a:cubicBezTo>
                      <a:pt x="727" y="908"/>
                      <a:pt x="727" y="908"/>
                      <a:pt x="725" y="908"/>
                    </a:cubicBezTo>
                    <a:cubicBezTo>
                      <a:pt x="725" y="908"/>
                      <a:pt x="725" y="908"/>
                      <a:pt x="723" y="906"/>
                    </a:cubicBezTo>
                    <a:cubicBezTo>
                      <a:pt x="723" y="906"/>
                      <a:pt x="723" y="906"/>
                      <a:pt x="722" y="906"/>
                    </a:cubicBezTo>
                    <a:cubicBezTo>
                      <a:pt x="722" y="906"/>
                      <a:pt x="722" y="906"/>
                      <a:pt x="721" y="906"/>
                    </a:cubicBezTo>
                    <a:cubicBezTo>
                      <a:pt x="721" y="906"/>
                      <a:pt x="721" y="906"/>
                      <a:pt x="720" y="905"/>
                    </a:cubicBezTo>
                    <a:cubicBezTo>
                      <a:pt x="720" y="905"/>
                      <a:pt x="720" y="905"/>
                      <a:pt x="719" y="905"/>
                    </a:cubicBezTo>
                    <a:cubicBezTo>
                      <a:pt x="719" y="905"/>
                      <a:pt x="719" y="905"/>
                      <a:pt x="719" y="904"/>
                    </a:cubicBezTo>
                    <a:cubicBezTo>
                      <a:pt x="719" y="904"/>
                      <a:pt x="719" y="904"/>
                      <a:pt x="718" y="903"/>
                    </a:cubicBezTo>
                    <a:cubicBezTo>
                      <a:pt x="718" y="903"/>
                      <a:pt x="718" y="903"/>
                      <a:pt x="716" y="902"/>
                    </a:cubicBezTo>
                    <a:cubicBezTo>
                      <a:pt x="716" y="902"/>
                      <a:pt x="716" y="902"/>
                      <a:pt x="715" y="901"/>
                    </a:cubicBezTo>
                    <a:cubicBezTo>
                      <a:pt x="715" y="901"/>
                      <a:pt x="715" y="901"/>
                      <a:pt x="715" y="900"/>
                    </a:cubicBezTo>
                    <a:cubicBezTo>
                      <a:pt x="715" y="900"/>
                      <a:pt x="715" y="900"/>
                      <a:pt x="714" y="900"/>
                    </a:cubicBezTo>
                    <a:cubicBezTo>
                      <a:pt x="714" y="900"/>
                      <a:pt x="714" y="900"/>
                      <a:pt x="712" y="901"/>
                    </a:cubicBezTo>
                    <a:cubicBezTo>
                      <a:pt x="712" y="901"/>
                      <a:pt x="712" y="901"/>
                      <a:pt x="712" y="900"/>
                    </a:cubicBezTo>
                    <a:cubicBezTo>
                      <a:pt x="712" y="900"/>
                      <a:pt x="712" y="900"/>
                      <a:pt x="711" y="899"/>
                    </a:cubicBezTo>
                    <a:cubicBezTo>
                      <a:pt x="711" y="899"/>
                      <a:pt x="711" y="899"/>
                      <a:pt x="711" y="898"/>
                    </a:cubicBezTo>
                    <a:cubicBezTo>
                      <a:pt x="711" y="898"/>
                      <a:pt x="711" y="898"/>
                      <a:pt x="710" y="898"/>
                    </a:cubicBezTo>
                    <a:cubicBezTo>
                      <a:pt x="710" y="898"/>
                      <a:pt x="710" y="898"/>
                      <a:pt x="709" y="897"/>
                    </a:cubicBezTo>
                    <a:cubicBezTo>
                      <a:pt x="709" y="897"/>
                      <a:pt x="709" y="897"/>
                      <a:pt x="709" y="896"/>
                    </a:cubicBezTo>
                    <a:cubicBezTo>
                      <a:pt x="709" y="896"/>
                      <a:pt x="709" y="896"/>
                      <a:pt x="707" y="895"/>
                    </a:cubicBezTo>
                    <a:cubicBezTo>
                      <a:pt x="707" y="895"/>
                      <a:pt x="707" y="895"/>
                      <a:pt x="704" y="894"/>
                    </a:cubicBezTo>
                    <a:cubicBezTo>
                      <a:pt x="704" y="894"/>
                      <a:pt x="704" y="894"/>
                      <a:pt x="705" y="893"/>
                    </a:cubicBezTo>
                    <a:cubicBezTo>
                      <a:pt x="705" y="893"/>
                      <a:pt x="705" y="893"/>
                      <a:pt x="705" y="892"/>
                    </a:cubicBezTo>
                    <a:cubicBezTo>
                      <a:pt x="705" y="892"/>
                      <a:pt x="705" y="892"/>
                      <a:pt x="704" y="892"/>
                    </a:cubicBezTo>
                    <a:cubicBezTo>
                      <a:pt x="704" y="892"/>
                      <a:pt x="704" y="892"/>
                      <a:pt x="703" y="892"/>
                    </a:cubicBezTo>
                    <a:cubicBezTo>
                      <a:pt x="703" y="892"/>
                      <a:pt x="703" y="892"/>
                      <a:pt x="703" y="891"/>
                    </a:cubicBezTo>
                    <a:cubicBezTo>
                      <a:pt x="703" y="891"/>
                      <a:pt x="703" y="891"/>
                      <a:pt x="703" y="890"/>
                    </a:cubicBezTo>
                    <a:cubicBezTo>
                      <a:pt x="703" y="890"/>
                      <a:pt x="703" y="890"/>
                      <a:pt x="704" y="889"/>
                    </a:cubicBezTo>
                    <a:cubicBezTo>
                      <a:pt x="704" y="889"/>
                      <a:pt x="704" y="889"/>
                      <a:pt x="704" y="888"/>
                    </a:cubicBezTo>
                    <a:cubicBezTo>
                      <a:pt x="704" y="888"/>
                      <a:pt x="704" y="888"/>
                      <a:pt x="702" y="885"/>
                    </a:cubicBezTo>
                    <a:cubicBezTo>
                      <a:pt x="702" y="885"/>
                      <a:pt x="702" y="885"/>
                      <a:pt x="701" y="884"/>
                    </a:cubicBezTo>
                    <a:cubicBezTo>
                      <a:pt x="701" y="884"/>
                      <a:pt x="701" y="884"/>
                      <a:pt x="700" y="881"/>
                    </a:cubicBezTo>
                    <a:cubicBezTo>
                      <a:pt x="700" y="881"/>
                      <a:pt x="700" y="881"/>
                      <a:pt x="699" y="880"/>
                    </a:cubicBezTo>
                    <a:cubicBezTo>
                      <a:pt x="699" y="880"/>
                      <a:pt x="699" y="880"/>
                      <a:pt x="698" y="879"/>
                    </a:cubicBezTo>
                    <a:cubicBezTo>
                      <a:pt x="698" y="879"/>
                      <a:pt x="698" y="879"/>
                      <a:pt x="697" y="878"/>
                    </a:cubicBezTo>
                    <a:cubicBezTo>
                      <a:pt x="697" y="878"/>
                      <a:pt x="697" y="878"/>
                      <a:pt x="697" y="876"/>
                    </a:cubicBezTo>
                    <a:cubicBezTo>
                      <a:pt x="697" y="876"/>
                      <a:pt x="697" y="876"/>
                      <a:pt x="696" y="875"/>
                    </a:cubicBezTo>
                    <a:cubicBezTo>
                      <a:pt x="696" y="875"/>
                      <a:pt x="696" y="875"/>
                      <a:pt x="694" y="873"/>
                    </a:cubicBezTo>
                    <a:cubicBezTo>
                      <a:pt x="694" y="873"/>
                      <a:pt x="694" y="873"/>
                      <a:pt x="693" y="873"/>
                    </a:cubicBezTo>
                    <a:cubicBezTo>
                      <a:pt x="693" y="873"/>
                      <a:pt x="693" y="873"/>
                      <a:pt x="693" y="872"/>
                    </a:cubicBezTo>
                    <a:cubicBezTo>
                      <a:pt x="693" y="872"/>
                      <a:pt x="693" y="872"/>
                      <a:pt x="693" y="871"/>
                    </a:cubicBezTo>
                    <a:cubicBezTo>
                      <a:pt x="693" y="871"/>
                      <a:pt x="693" y="871"/>
                      <a:pt x="693" y="870"/>
                    </a:cubicBezTo>
                    <a:cubicBezTo>
                      <a:pt x="693" y="870"/>
                      <a:pt x="693" y="870"/>
                      <a:pt x="691" y="867"/>
                    </a:cubicBezTo>
                    <a:cubicBezTo>
                      <a:pt x="691" y="867"/>
                      <a:pt x="691" y="867"/>
                      <a:pt x="690" y="865"/>
                    </a:cubicBezTo>
                    <a:cubicBezTo>
                      <a:pt x="690" y="865"/>
                      <a:pt x="690" y="865"/>
                      <a:pt x="690" y="863"/>
                    </a:cubicBezTo>
                    <a:cubicBezTo>
                      <a:pt x="690" y="863"/>
                      <a:pt x="690" y="863"/>
                      <a:pt x="689" y="861"/>
                    </a:cubicBezTo>
                    <a:cubicBezTo>
                      <a:pt x="689" y="861"/>
                      <a:pt x="689" y="861"/>
                      <a:pt x="688" y="861"/>
                    </a:cubicBezTo>
                    <a:cubicBezTo>
                      <a:pt x="688" y="861"/>
                      <a:pt x="688" y="861"/>
                      <a:pt x="687" y="859"/>
                    </a:cubicBezTo>
                    <a:cubicBezTo>
                      <a:pt x="687" y="859"/>
                      <a:pt x="687" y="859"/>
                      <a:pt x="687" y="857"/>
                    </a:cubicBezTo>
                    <a:cubicBezTo>
                      <a:pt x="687" y="857"/>
                      <a:pt x="687" y="857"/>
                      <a:pt x="686" y="856"/>
                    </a:cubicBezTo>
                    <a:cubicBezTo>
                      <a:pt x="686" y="856"/>
                      <a:pt x="686" y="856"/>
                      <a:pt x="686" y="854"/>
                    </a:cubicBezTo>
                    <a:cubicBezTo>
                      <a:pt x="686" y="854"/>
                      <a:pt x="686" y="854"/>
                      <a:pt x="684" y="852"/>
                    </a:cubicBezTo>
                    <a:cubicBezTo>
                      <a:pt x="684" y="852"/>
                      <a:pt x="684" y="852"/>
                      <a:pt x="682" y="851"/>
                    </a:cubicBezTo>
                    <a:cubicBezTo>
                      <a:pt x="682" y="851"/>
                      <a:pt x="682" y="851"/>
                      <a:pt x="681" y="850"/>
                    </a:cubicBezTo>
                    <a:cubicBezTo>
                      <a:pt x="681" y="850"/>
                      <a:pt x="681" y="850"/>
                      <a:pt x="681" y="848"/>
                    </a:cubicBezTo>
                    <a:cubicBezTo>
                      <a:pt x="681" y="848"/>
                      <a:pt x="681" y="848"/>
                      <a:pt x="680" y="846"/>
                    </a:cubicBezTo>
                    <a:cubicBezTo>
                      <a:pt x="680" y="846"/>
                      <a:pt x="680" y="846"/>
                      <a:pt x="679" y="845"/>
                    </a:cubicBezTo>
                    <a:cubicBezTo>
                      <a:pt x="679" y="845"/>
                      <a:pt x="679" y="845"/>
                      <a:pt x="678" y="845"/>
                    </a:cubicBezTo>
                    <a:cubicBezTo>
                      <a:pt x="678" y="845"/>
                      <a:pt x="678" y="845"/>
                      <a:pt x="675" y="843"/>
                    </a:cubicBezTo>
                    <a:cubicBezTo>
                      <a:pt x="675" y="843"/>
                      <a:pt x="675" y="843"/>
                      <a:pt x="674" y="843"/>
                    </a:cubicBezTo>
                    <a:cubicBezTo>
                      <a:pt x="674" y="843"/>
                      <a:pt x="674" y="843"/>
                      <a:pt x="672" y="841"/>
                    </a:cubicBezTo>
                    <a:cubicBezTo>
                      <a:pt x="672" y="841"/>
                      <a:pt x="672" y="841"/>
                      <a:pt x="671" y="841"/>
                    </a:cubicBezTo>
                    <a:cubicBezTo>
                      <a:pt x="671" y="841"/>
                      <a:pt x="671" y="841"/>
                      <a:pt x="669" y="840"/>
                    </a:cubicBezTo>
                    <a:cubicBezTo>
                      <a:pt x="669" y="840"/>
                      <a:pt x="669" y="840"/>
                      <a:pt x="670" y="839"/>
                    </a:cubicBezTo>
                    <a:cubicBezTo>
                      <a:pt x="670" y="839"/>
                      <a:pt x="670" y="839"/>
                      <a:pt x="671" y="838"/>
                    </a:cubicBezTo>
                    <a:cubicBezTo>
                      <a:pt x="671" y="838"/>
                      <a:pt x="671" y="838"/>
                      <a:pt x="672" y="838"/>
                    </a:cubicBezTo>
                    <a:cubicBezTo>
                      <a:pt x="672" y="838"/>
                      <a:pt x="672" y="838"/>
                      <a:pt x="672" y="837"/>
                    </a:cubicBezTo>
                    <a:cubicBezTo>
                      <a:pt x="672" y="837"/>
                      <a:pt x="672" y="837"/>
                      <a:pt x="671" y="835"/>
                    </a:cubicBezTo>
                    <a:cubicBezTo>
                      <a:pt x="671" y="835"/>
                      <a:pt x="671" y="835"/>
                      <a:pt x="670" y="834"/>
                    </a:cubicBezTo>
                    <a:cubicBezTo>
                      <a:pt x="670" y="834"/>
                      <a:pt x="670" y="834"/>
                      <a:pt x="670" y="833"/>
                    </a:cubicBezTo>
                    <a:cubicBezTo>
                      <a:pt x="670" y="833"/>
                      <a:pt x="670" y="833"/>
                      <a:pt x="671" y="833"/>
                    </a:cubicBezTo>
                    <a:cubicBezTo>
                      <a:pt x="671" y="833"/>
                      <a:pt x="671" y="833"/>
                      <a:pt x="670" y="832"/>
                    </a:cubicBezTo>
                    <a:cubicBezTo>
                      <a:pt x="670" y="832"/>
                      <a:pt x="670" y="832"/>
                      <a:pt x="669" y="831"/>
                    </a:cubicBezTo>
                    <a:cubicBezTo>
                      <a:pt x="669" y="831"/>
                      <a:pt x="669" y="831"/>
                      <a:pt x="670" y="829"/>
                    </a:cubicBezTo>
                    <a:cubicBezTo>
                      <a:pt x="670" y="829"/>
                      <a:pt x="670" y="829"/>
                      <a:pt x="670" y="828"/>
                    </a:cubicBezTo>
                    <a:cubicBezTo>
                      <a:pt x="670" y="828"/>
                      <a:pt x="670" y="828"/>
                      <a:pt x="672" y="826"/>
                    </a:cubicBezTo>
                    <a:cubicBezTo>
                      <a:pt x="672" y="826"/>
                      <a:pt x="672" y="826"/>
                      <a:pt x="674" y="825"/>
                    </a:cubicBezTo>
                    <a:cubicBezTo>
                      <a:pt x="674" y="825"/>
                      <a:pt x="674" y="825"/>
                      <a:pt x="677" y="823"/>
                    </a:cubicBezTo>
                    <a:cubicBezTo>
                      <a:pt x="677" y="823"/>
                      <a:pt x="677" y="823"/>
                      <a:pt x="678" y="822"/>
                    </a:cubicBezTo>
                    <a:cubicBezTo>
                      <a:pt x="678" y="822"/>
                      <a:pt x="678" y="822"/>
                      <a:pt x="679" y="820"/>
                    </a:cubicBezTo>
                    <a:cubicBezTo>
                      <a:pt x="679" y="820"/>
                      <a:pt x="679" y="820"/>
                      <a:pt x="679" y="819"/>
                    </a:cubicBezTo>
                    <a:cubicBezTo>
                      <a:pt x="679" y="819"/>
                      <a:pt x="679" y="819"/>
                      <a:pt x="679" y="817"/>
                    </a:cubicBezTo>
                    <a:cubicBezTo>
                      <a:pt x="679" y="817"/>
                      <a:pt x="679" y="817"/>
                      <a:pt x="679" y="816"/>
                    </a:cubicBezTo>
                    <a:cubicBezTo>
                      <a:pt x="679" y="816"/>
                      <a:pt x="679" y="816"/>
                      <a:pt x="678" y="816"/>
                    </a:cubicBezTo>
                    <a:cubicBezTo>
                      <a:pt x="678" y="816"/>
                      <a:pt x="678" y="816"/>
                      <a:pt x="678" y="815"/>
                    </a:cubicBezTo>
                    <a:cubicBezTo>
                      <a:pt x="678" y="815"/>
                      <a:pt x="678" y="815"/>
                      <a:pt x="677" y="816"/>
                    </a:cubicBezTo>
                    <a:cubicBezTo>
                      <a:pt x="677" y="816"/>
                      <a:pt x="677" y="816"/>
                      <a:pt x="677" y="817"/>
                    </a:cubicBezTo>
                    <a:cubicBezTo>
                      <a:pt x="677" y="817"/>
                      <a:pt x="677" y="817"/>
                      <a:pt x="676" y="818"/>
                    </a:cubicBezTo>
                    <a:cubicBezTo>
                      <a:pt x="676" y="818"/>
                      <a:pt x="676" y="818"/>
                      <a:pt x="676" y="819"/>
                    </a:cubicBezTo>
                    <a:cubicBezTo>
                      <a:pt x="676" y="819"/>
                      <a:pt x="676" y="819"/>
                      <a:pt x="675" y="818"/>
                    </a:cubicBezTo>
                    <a:cubicBezTo>
                      <a:pt x="675" y="818"/>
                      <a:pt x="675" y="818"/>
                      <a:pt x="673" y="817"/>
                    </a:cubicBezTo>
                    <a:cubicBezTo>
                      <a:pt x="673" y="817"/>
                      <a:pt x="673" y="817"/>
                      <a:pt x="672" y="816"/>
                    </a:cubicBezTo>
                    <a:cubicBezTo>
                      <a:pt x="672" y="816"/>
                      <a:pt x="672" y="816"/>
                      <a:pt x="671" y="815"/>
                    </a:cubicBezTo>
                    <a:cubicBezTo>
                      <a:pt x="671" y="815"/>
                      <a:pt x="671" y="815"/>
                      <a:pt x="672" y="815"/>
                    </a:cubicBezTo>
                    <a:cubicBezTo>
                      <a:pt x="672" y="815"/>
                      <a:pt x="672" y="815"/>
                      <a:pt x="673" y="814"/>
                    </a:cubicBezTo>
                    <a:cubicBezTo>
                      <a:pt x="673" y="814"/>
                      <a:pt x="673" y="814"/>
                      <a:pt x="672" y="812"/>
                    </a:cubicBezTo>
                    <a:cubicBezTo>
                      <a:pt x="672" y="812"/>
                      <a:pt x="672" y="812"/>
                      <a:pt x="672" y="811"/>
                    </a:cubicBezTo>
                    <a:cubicBezTo>
                      <a:pt x="672" y="811"/>
                      <a:pt x="672" y="811"/>
                      <a:pt x="672" y="809"/>
                    </a:cubicBezTo>
                    <a:cubicBezTo>
                      <a:pt x="672" y="809"/>
                      <a:pt x="672" y="809"/>
                      <a:pt x="672" y="808"/>
                    </a:cubicBezTo>
                    <a:cubicBezTo>
                      <a:pt x="672" y="808"/>
                      <a:pt x="672" y="808"/>
                      <a:pt x="673" y="807"/>
                    </a:cubicBezTo>
                    <a:cubicBezTo>
                      <a:pt x="673" y="807"/>
                      <a:pt x="673" y="807"/>
                      <a:pt x="674" y="807"/>
                    </a:cubicBezTo>
                    <a:cubicBezTo>
                      <a:pt x="674" y="807"/>
                      <a:pt x="674" y="807"/>
                      <a:pt x="675" y="805"/>
                    </a:cubicBezTo>
                    <a:cubicBezTo>
                      <a:pt x="675" y="805"/>
                      <a:pt x="675" y="805"/>
                      <a:pt x="675" y="804"/>
                    </a:cubicBezTo>
                    <a:cubicBezTo>
                      <a:pt x="675" y="804"/>
                      <a:pt x="675" y="804"/>
                      <a:pt x="675" y="803"/>
                    </a:cubicBezTo>
                    <a:cubicBezTo>
                      <a:pt x="675" y="803"/>
                      <a:pt x="675" y="803"/>
                      <a:pt x="677" y="801"/>
                    </a:cubicBezTo>
                    <a:cubicBezTo>
                      <a:pt x="677" y="801"/>
                      <a:pt x="677" y="801"/>
                      <a:pt x="677" y="799"/>
                    </a:cubicBezTo>
                    <a:cubicBezTo>
                      <a:pt x="677" y="799"/>
                      <a:pt x="677" y="799"/>
                      <a:pt x="677" y="798"/>
                    </a:cubicBezTo>
                    <a:cubicBezTo>
                      <a:pt x="677" y="798"/>
                      <a:pt x="677" y="798"/>
                      <a:pt x="677" y="797"/>
                    </a:cubicBezTo>
                    <a:cubicBezTo>
                      <a:pt x="677" y="797"/>
                      <a:pt x="677" y="797"/>
                      <a:pt x="676" y="796"/>
                    </a:cubicBezTo>
                    <a:cubicBezTo>
                      <a:pt x="676" y="796"/>
                      <a:pt x="676" y="796"/>
                      <a:pt x="678" y="795"/>
                    </a:cubicBezTo>
                    <a:cubicBezTo>
                      <a:pt x="678" y="795"/>
                      <a:pt x="678" y="795"/>
                      <a:pt x="679" y="795"/>
                    </a:cubicBezTo>
                    <a:cubicBezTo>
                      <a:pt x="679" y="795"/>
                      <a:pt x="679" y="795"/>
                      <a:pt x="682" y="793"/>
                    </a:cubicBezTo>
                    <a:cubicBezTo>
                      <a:pt x="682" y="793"/>
                      <a:pt x="682" y="793"/>
                      <a:pt x="684" y="793"/>
                    </a:cubicBezTo>
                    <a:cubicBezTo>
                      <a:pt x="684" y="793"/>
                      <a:pt x="684" y="793"/>
                      <a:pt x="684" y="791"/>
                    </a:cubicBezTo>
                    <a:cubicBezTo>
                      <a:pt x="684" y="791"/>
                      <a:pt x="684" y="791"/>
                      <a:pt x="685" y="790"/>
                    </a:cubicBezTo>
                    <a:cubicBezTo>
                      <a:pt x="685" y="790"/>
                      <a:pt x="685" y="790"/>
                      <a:pt x="685" y="788"/>
                    </a:cubicBezTo>
                    <a:cubicBezTo>
                      <a:pt x="685" y="788"/>
                      <a:pt x="685" y="788"/>
                      <a:pt x="687" y="785"/>
                    </a:cubicBezTo>
                    <a:cubicBezTo>
                      <a:pt x="687" y="785"/>
                      <a:pt x="687" y="785"/>
                      <a:pt x="688" y="784"/>
                    </a:cubicBezTo>
                    <a:cubicBezTo>
                      <a:pt x="688" y="784"/>
                      <a:pt x="688" y="784"/>
                      <a:pt x="691" y="783"/>
                    </a:cubicBezTo>
                    <a:cubicBezTo>
                      <a:pt x="691" y="783"/>
                      <a:pt x="691" y="783"/>
                      <a:pt x="693" y="782"/>
                    </a:cubicBezTo>
                    <a:cubicBezTo>
                      <a:pt x="693" y="782"/>
                      <a:pt x="693" y="782"/>
                      <a:pt x="693" y="780"/>
                    </a:cubicBezTo>
                    <a:cubicBezTo>
                      <a:pt x="693" y="780"/>
                      <a:pt x="693" y="780"/>
                      <a:pt x="696" y="778"/>
                    </a:cubicBezTo>
                    <a:cubicBezTo>
                      <a:pt x="696" y="778"/>
                      <a:pt x="696" y="778"/>
                      <a:pt x="696" y="777"/>
                    </a:cubicBezTo>
                    <a:cubicBezTo>
                      <a:pt x="696" y="777"/>
                      <a:pt x="696" y="777"/>
                      <a:pt x="697" y="776"/>
                    </a:cubicBezTo>
                    <a:cubicBezTo>
                      <a:pt x="697" y="776"/>
                      <a:pt x="697" y="776"/>
                      <a:pt x="697" y="775"/>
                    </a:cubicBezTo>
                    <a:cubicBezTo>
                      <a:pt x="697" y="775"/>
                      <a:pt x="697" y="775"/>
                      <a:pt x="696" y="775"/>
                    </a:cubicBezTo>
                    <a:cubicBezTo>
                      <a:pt x="696" y="775"/>
                      <a:pt x="696" y="775"/>
                      <a:pt x="695" y="774"/>
                    </a:cubicBezTo>
                    <a:cubicBezTo>
                      <a:pt x="695" y="774"/>
                      <a:pt x="695" y="774"/>
                      <a:pt x="694" y="774"/>
                    </a:cubicBezTo>
                    <a:cubicBezTo>
                      <a:pt x="694" y="774"/>
                      <a:pt x="694" y="774"/>
                      <a:pt x="694" y="773"/>
                    </a:cubicBezTo>
                    <a:cubicBezTo>
                      <a:pt x="694" y="773"/>
                      <a:pt x="694" y="773"/>
                      <a:pt x="694" y="772"/>
                    </a:cubicBezTo>
                    <a:cubicBezTo>
                      <a:pt x="694" y="772"/>
                      <a:pt x="694" y="772"/>
                      <a:pt x="695" y="771"/>
                    </a:cubicBezTo>
                    <a:cubicBezTo>
                      <a:pt x="695" y="771"/>
                      <a:pt x="695" y="771"/>
                      <a:pt x="695" y="768"/>
                    </a:cubicBezTo>
                    <a:cubicBezTo>
                      <a:pt x="695" y="768"/>
                      <a:pt x="695" y="768"/>
                      <a:pt x="695" y="766"/>
                    </a:cubicBezTo>
                    <a:cubicBezTo>
                      <a:pt x="695" y="766"/>
                      <a:pt x="695" y="766"/>
                      <a:pt x="694" y="765"/>
                    </a:cubicBezTo>
                    <a:cubicBezTo>
                      <a:pt x="694" y="765"/>
                      <a:pt x="694" y="765"/>
                      <a:pt x="694" y="764"/>
                    </a:cubicBezTo>
                    <a:cubicBezTo>
                      <a:pt x="694" y="764"/>
                      <a:pt x="694" y="764"/>
                      <a:pt x="695" y="763"/>
                    </a:cubicBezTo>
                    <a:cubicBezTo>
                      <a:pt x="695" y="763"/>
                      <a:pt x="695" y="763"/>
                      <a:pt x="695" y="762"/>
                    </a:cubicBezTo>
                    <a:cubicBezTo>
                      <a:pt x="695" y="762"/>
                      <a:pt x="695" y="762"/>
                      <a:pt x="694" y="761"/>
                    </a:cubicBezTo>
                    <a:cubicBezTo>
                      <a:pt x="694" y="761"/>
                      <a:pt x="694" y="761"/>
                      <a:pt x="694" y="760"/>
                    </a:cubicBezTo>
                    <a:cubicBezTo>
                      <a:pt x="694" y="760"/>
                      <a:pt x="694" y="760"/>
                      <a:pt x="695" y="759"/>
                    </a:cubicBezTo>
                    <a:cubicBezTo>
                      <a:pt x="695" y="759"/>
                      <a:pt x="695" y="759"/>
                      <a:pt x="695" y="758"/>
                    </a:cubicBezTo>
                    <a:cubicBezTo>
                      <a:pt x="695" y="758"/>
                      <a:pt x="695" y="758"/>
                      <a:pt x="695" y="757"/>
                    </a:cubicBezTo>
                    <a:cubicBezTo>
                      <a:pt x="695" y="757"/>
                      <a:pt x="695" y="757"/>
                      <a:pt x="694" y="758"/>
                    </a:cubicBezTo>
                    <a:cubicBezTo>
                      <a:pt x="694" y="758"/>
                      <a:pt x="694" y="758"/>
                      <a:pt x="692" y="756"/>
                    </a:cubicBezTo>
                    <a:cubicBezTo>
                      <a:pt x="692" y="756"/>
                      <a:pt x="692" y="756"/>
                      <a:pt x="692" y="755"/>
                    </a:cubicBezTo>
                    <a:cubicBezTo>
                      <a:pt x="692" y="755"/>
                      <a:pt x="692" y="755"/>
                      <a:pt x="692" y="753"/>
                    </a:cubicBezTo>
                    <a:cubicBezTo>
                      <a:pt x="692" y="753"/>
                      <a:pt x="692" y="753"/>
                      <a:pt x="690" y="752"/>
                    </a:cubicBezTo>
                    <a:cubicBezTo>
                      <a:pt x="690" y="752"/>
                      <a:pt x="690" y="752"/>
                      <a:pt x="689" y="750"/>
                    </a:cubicBezTo>
                    <a:cubicBezTo>
                      <a:pt x="689" y="750"/>
                      <a:pt x="689" y="750"/>
                      <a:pt x="688" y="748"/>
                    </a:cubicBezTo>
                    <a:cubicBezTo>
                      <a:pt x="688" y="748"/>
                      <a:pt x="688" y="748"/>
                      <a:pt x="689" y="748"/>
                    </a:cubicBezTo>
                    <a:cubicBezTo>
                      <a:pt x="689" y="748"/>
                      <a:pt x="689" y="748"/>
                      <a:pt x="690" y="746"/>
                    </a:cubicBezTo>
                    <a:cubicBezTo>
                      <a:pt x="690" y="746"/>
                      <a:pt x="690" y="746"/>
                      <a:pt x="691" y="746"/>
                    </a:cubicBezTo>
                    <a:cubicBezTo>
                      <a:pt x="691" y="746"/>
                      <a:pt x="691" y="746"/>
                      <a:pt x="691" y="745"/>
                    </a:cubicBezTo>
                    <a:cubicBezTo>
                      <a:pt x="691" y="745"/>
                      <a:pt x="691" y="745"/>
                      <a:pt x="690" y="745"/>
                    </a:cubicBezTo>
                    <a:cubicBezTo>
                      <a:pt x="690" y="745"/>
                      <a:pt x="690" y="745"/>
                      <a:pt x="689" y="746"/>
                    </a:cubicBezTo>
                    <a:cubicBezTo>
                      <a:pt x="689" y="746"/>
                      <a:pt x="689" y="746"/>
                      <a:pt x="688" y="746"/>
                    </a:cubicBezTo>
                    <a:cubicBezTo>
                      <a:pt x="688" y="746"/>
                      <a:pt x="688" y="746"/>
                      <a:pt x="688" y="744"/>
                    </a:cubicBezTo>
                    <a:cubicBezTo>
                      <a:pt x="688" y="744"/>
                      <a:pt x="688" y="744"/>
                      <a:pt x="687" y="743"/>
                    </a:cubicBezTo>
                    <a:cubicBezTo>
                      <a:pt x="687" y="743"/>
                      <a:pt x="687" y="743"/>
                      <a:pt x="686" y="743"/>
                    </a:cubicBezTo>
                    <a:cubicBezTo>
                      <a:pt x="686" y="743"/>
                      <a:pt x="686" y="743"/>
                      <a:pt x="685" y="742"/>
                    </a:cubicBezTo>
                    <a:cubicBezTo>
                      <a:pt x="685" y="742"/>
                      <a:pt x="685" y="742"/>
                      <a:pt x="684" y="741"/>
                    </a:cubicBezTo>
                    <a:cubicBezTo>
                      <a:pt x="684" y="741"/>
                      <a:pt x="684" y="741"/>
                      <a:pt x="682" y="741"/>
                    </a:cubicBezTo>
                    <a:cubicBezTo>
                      <a:pt x="682" y="741"/>
                      <a:pt x="682" y="741"/>
                      <a:pt x="681" y="742"/>
                    </a:cubicBezTo>
                    <a:cubicBezTo>
                      <a:pt x="681" y="742"/>
                      <a:pt x="681" y="742"/>
                      <a:pt x="680" y="744"/>
                    </a:cubicBezTo>
                    <a:cubicBezTo>
                      <a:pt x="680" y="744"/>
                      <a:pt x="680" y="744"/>
                      <a:pt x="681" y="744"/>
                    </a:cubicBezTo>
                    <a:cubicBezTo>
                      <a:pt x="681" y="744"/>
                      <a:pt x="681" y="744"/>
                      <a:pt x="679" y="746"/>
                    </a:cubicBezTo>
                    <a:cubicBezTo>
                      <a:pt x="679" y="746"/>
                      <a:pt x="679" y="746"/>
                      <a:pt x="677" y="746"/>
                    </a:cubicBezTo>
                    <a:cubicBezTo>
                      <a:pt x="677" y="746"/>
                      <a:pt x="677" y="746"/>
                      <a:pt x="676" y="747"/>
                    </a:cubicBezTo>
                    <a:cubicBezTo>
                      <a:pt x="676" y="747"/>
                      <a:pt x="676" y="747"/>
                      <a:pt x="676" y="748"/>
                    </a:cubicBezTo>
                    <a:cubicBezTo>
                      <a:pt x="676" y="748"/>
                      <a:pt x="676" y="748"/>
                      <a:pt x="676" y="749"/>
                    </a:cubicBezTo>
                    <a:cubicBezTo>
                      <a:pt x="676" y="749"/>
                      <a:pt x="676" y="749"/>
                      <a:pt x="677" y="749"/>
                    </a:cubicBezTo>
                    <a:cubicBezTo>
                      <a:pt x="677" y="749"/>
                      <a:pt x="677" y="749"/>
                      <a:pt x="678" y="750"/>
                    </a:cubicBezTo>
                    <a:cubicBezTo>
                      <a:pt x="678" y="750"/>
                      <a:pt x="678" y="750"/>
                      <a:pt x="678" y="752"/>
                    </a:cubicBezTo>
                    <a:cubicBezTo>
                      <a:pt x="678" y="752"/>
                      <a:pt x="678" y="752"/>
                      <a:pt x="677" y="752"/>
                    </a:cubicBezTo>
                    <a:cubicBezTo>
                      <a:pt x="677" y="752"/>
                      <a:pt x="677" y="752"/>
                      <a:pt x="676" y="753"/>
                    </a:cubicBezTo>
                    <a:cubicBezTo>
                      <a:pt x="676" y="753"/>
                      <a:pt x="676" y="753"/>
                      <a:pt x="675" y="754"/>
                    </a:cubicBezTo>
                    <a:cubicBezTo>
                      <a:pt x="675" y="754"/>
                      <a:pt x="675" y="754"/>
                      <a:pt x="673" y="753"/>
                    </a:cubicBezTo>
                    <a:cubicBezTo>
                      <a:pt x="673" y="753"/>
                      <a:pt x="673" y="753"/>
                      <a:pt x="673" y="752"/>
                    </a:cubicBezTo>
                    <a:cubicBezTo>
                      <a:pt x="673" y="752"/>
                      <a:pt x="673" y="752"/>
                      <a:pt x="673" y="751"/>
                    </a:cubicBezTo>
                    <a:cubicBezTo>
                      <a:pt x="673" y="751"/>
                      <a:pt x="673" y="751"/>
                      <a:pt x="673" y="750"/>
                    </a:cubicBezTo>
                    <a:cubicBezTo>
                      <a:pt x="673" y="750"/>
                      <a:pt x="673" y="750"/>
                      <a:pt x="672" y="749"/>
                    </a:cubicBezTo>
                    <a:cubicBezTo>
                      <a:pt x="672" y="749"/>
                      <a:pt x="672" y="749"/>
                      <a:pt x="671" y="750"/>
                    </a:cubicBezTo>
                    <a:cubicBezTo>
                      <a:pt x="671" y="750"/>
                      <a:pt x="671" y="750"/>
                      <a:pt x="672" y="750"/>
                    </a:cubicBezTo>
                    <a:cubicBezTo>
                      <a:pt x="672" y="750"/>
                      <a:pt x="672" y="750"/>
                      <a:pt x="671" y="751"/>
                    </a:cubicBezTo>
                    <a:cubicBezTo>
                      <a:pt x="671" y="751"/>
                      <a:pt x="671" y="751"/>
                      <a:pt x="670" y="751"/>
                    </a:cubicBezTo>
                    <a:cubicBezTo>
                      <a:pt x="670" y="751"/>
                      <a:pt x="670" y="751"/>
                      <a:pt x="669" y="751"/>
                    </a:cubicBezTo>
                    <a:cubicBezTo>
                      <a:pt x="669" y="751"/>
                      <a:pt x="669" y="751"/>
                      <a:pt x="668" y="749"/>
                    </a:cubicBezTo>
                    <a:cubicBezTo>
                      <a:pt x="668" y="749"/>
                      <a:pt x="668" y="749"/>
                      <a:pt x="668" y="747"/>
                    </a:cubicBezTo>
                    <a:cubicBezTo>
                      <a:pt x="668" y="747"/>
                      <a:pt x="668" y="747"/>
                      <a:pt x="666" y="747"/>
                    </a:cubicBezTo>
                    <a:cubicBezTo>
                      <a:pt x="666" y="747"/>
                      <a:pt x="666" y="747"/>
                      <a:pt x="665" y="747"/>
                    </a:cubicBezTo>
                    <a:cubicBezTo>
                      <a:pt x="665" y="747"/>
                      <a:pt x="665" y="747"/>
                      <a:pt x="665" y="746"/>
                    </a:cubicBezTo>
                    <a:cubicBezTo>
                      <a:pt x="665" y="746"/>
                      <a:pt x="665" y="746"/>
                      <a:pt x="664" y="746"/>
                    </a:cubicBezTo>
                    <a:cubicBezTo>
                      <a:pt x="664" y="746"/>
                      <a:pt x="664" y="746"/>
                      <a:pt x="663" y="746"/>
                    </a:cubicBezTo>
                    <a:cubicBezTo>
                      <a:pt x="663" y="746"/>
                      <a:pt x="663" y="746"/>
                      <a:pt x="662" y="746"/>
                    </a:cubicBezTo>
                    <a:cubicBezTo>
                      <a:pt x="662" y="746"/>
                      <a:pt x="662" y="746"/>
                      <a:pt x="661" y="746"/>
                    </a:cubicBezTo>
                    <a:cubicBezTo>
                      <a:pt x="661" y="746"/>
                      <a:pt x="661" y="746"/>
                      <a:pt x="661" y="747"/>
                    </a:cubicBezTo>
                    <a:cubicBezTo>
                      <a:pt x="661" y="747"/>
                      <a:pt x="661" y="747"/>
                      <a:pt x="661" y="748"/>
                    </a:cubicBezTo>
                    <a:cubicBezTo>
                      <a:pt x="661" y="748"/>
                      <a:pt x="661" y="748"/>
                      <a:pt x="660" y="748"/>
                    </a:cubicBezTo>
                    <a:cubicBezTo>
                      <a:pt x="660" y="748"/>
                      <a:pt x="660" y="748"/>
                      <a:pt x="659" y="747"/>
                    </a:cubicBezTo>
                    <a:cubicBezTo>
                      <a:pt x="659" y="747"/>
                      <a:pt x="659" y="747"/>
                      <a:pt x="659" y="746"/>
                    </a:cubicBezTo>
                    <a:cubicBezTo>
                      <a:pt x="659" y="746"/>
                      <a:pt x="659" y="746"/>
                      <a:pt x="658" y="744"/>
                    </a:cubicBezTo>
                    <a:cubicBezTo>
                      <a:pt x="658" y="744"/>
                      <a:pt x="658" y="744"/>
                      <a:pt x="657" y="744"/>
                    </a:cubicBezTo>
                    <a:cubicBezTo>
                      <a:pt x="657" y="744"/>
                      <a:pt x="657" y="744"/>
                      <a:pt x="658" y="745"/>
                    </a:cubicBezTo>
                    <a:cubicBezTo>
                      <a:pt x="658" y="745"/>
                      <a:pt x="658" y="745"/>
                      <a:pt x="658" y="746"/>
                    </a:cubicBezTo>
                    <a:cubicBezTo>
                      <a:pt x="658" y="746"/>
                      <a:pt x="658" y="746"/>
                      <a:pt x="658" y="747"/>
                    </a:cubicBezTo>
                    <a:cubicBezTo>
                      <a:pt x="658" y="747"/>
                      <a:pt x="658" y="747"/>
                      <a:pt x="657" y="746"/>
                    </a:cubicBezTo>
                    <a:cubicBezTo>
                      <a:pt x="657" y="746"/>
                      <a:pt x="657" y="746"/>
                      <a:pt x="655" y="746"/>
                    </a:cubicBezTo>
                    <a:cubicBezTo>
                      <a:pt x="655" y="746"/>
                      <a:pt x="655" y="746"/>
                      <a:pt x="655" y="745"/>
                    </a:cubicBezTo>
                    <a:cubicBezTo>
                      <a:pt x="655" y="745"/>
                      <a:pt x="655" y="745"/>
                      <a:pt x="655" y="744"/>
                    </a:cubicBezTo>
                    <a:cubicBezTo>
                      <a:pt x="655" y="744"/>
                      <a:pt x="655" y="744"/>
                      <a:pt x="655" y="743"/>
                    </a:cubicBezTo>
                    <a:cubicBezTo>
                      <a:pt x="655" y="743"/>
                      <a:pt x="655" y="743"/>
                      <a:pt x="655" y="742"/>
                    </a:cubicBezTo>
                    <a:cubicBezTo>
                      <a:pt x="655" y="742"/>
                      <a:pt x="655" y="742"/>
                      <a:pt x="654" y="741"/>
                    </a:cubicBezTo>
                    <a:cubicBezTo>
                      <a:pt x="654" y="741"/>
                      <a:pt x="654" y="741"/>
                      <a:pt x="653" y="740"/>
                    </a:cubicBezTo>
                    <a:cubicBezTo>
                      <a:pt x="653" y="740"/>
                      <a:pt x="653" y="740"/>
                      <a:pt x="652" y="739"/>
                    </a:cubicBezTo>
                    <a:cubicBezTo>
                      <a:pt x="652" y="739"/>
                      <a:pt x="652" y="739"/>
                      <a:pt x="650" y="738"/>
                    </a:cubicBezTo>
                    <a:cubicBezTo>
                      <a:pt x="650" y="738"/>
                      <a:pt x="650" y="738"/>
                      <a:pt x="650" y="737"/>
                    </a:cubicBezTo>
                    <a:cubicBezTo>
                      <a:pt x="650" y="737"/>
                      <a:pt x="650" y="737"/>
                      <a:pt x="649" y="736"/>
                    </a:cubicBezTo>
                    <a:cubicBezTo>
                      <a:pt x="649" y="736"/>
                      <a:pt x="649" y="736"/>
                      <a:pt x="649" y="735"/>
                    </a:cubicBezTo>
                    <a:cubicBezTo>
                      <a:pt x="649" y="735"/>
                      <a:pt x="649" y="735"/>
                      <a:pt x="648" y="735"/>
                    </a:cubicBezTo>
                    <a:cubicBezTo>
                      <a:pt x="648" y="735"/>
                      <a:pt x="648" y="735"/>
                      <a:pt x="646" y="734"/>
                    </a:cubicBezTo>
                    <a:cubicBezTo>
                      <a:pt x="646" y="734"/>
                      <a:pt x="646" y="734"/>
                      <a:pt x="646" y="735"/>
                    </a:cubicBezTo>
                    <a:cubicBezTo>
                      <a:pt x="646" y="735"/>
                      <a:pt x="646" y="735"/>
                      <a:pt x="648" y="736"/>
                    </a:cubicBezTo>
                    <a:cubicBezTo>
                      <a:pt x="648" y="736"/>
                      <a:pt x="648" y="736"/>
                      <a:pt x="648" y="737"/>
                    </a:cubicBezTo>
                    <a:cubicBezTo>
                      <a:pt x="648" y="737"/>
                      <a:pt x="648" y="737"/>
                      <a:pt x="648" y="739"/>
                    </a:cubicBezTo>
                    <a:cubicBezTo>
                      <a:pt x="648" y="739"/>
                      <a:pt x="648" y="739"/>
                      <a:pt x="647" y="739"/>
                    </a:cubicBezTo>
                    <a:cubicBezTo>
                      <a:pt x="647" y="739"/>
                      <a:pt x="647" y="739"/>
                      <a:pt x="646" y="738"/>
                    </a:cubicBezTo>
                    <a:cubicBezTo>
                      <a:pt x="646" y="738"/>
                      <a:pt x="646" y="738"/>
                      <a:pt x="645" y="737"/>
                    </a:cubicBezTo>
                    <a:cubicBezTo>
                      <a:pt x="645" y="737"/>
                      <a:pt x="645" y="737"/>
                      <a:pt x="644" y="737"/>
                    </a:cubicBezTo>
                    <a:cubicBezTo>
                      <a:pt x="644" y="737"/>
                      <a:pt x="644" y="737"/>
                      <a:pt x="642" y="735"/>
                    </a:cubicBezTo>
                    <a:cubicBezTo>
                      <a:pt x="642" y="735"/>
                      <a:pt x="642" y="735"/>
                      <a:pt x="642" y="734"/>
                    </a:cubicBezTo>
                    <a:cubicBezTo>
                      <a:pt x="642" y="734"/>
                      <a:pt x="642" y="734"/>
                      <a:pt x="642" y="733"/>
                    </a:cubicBezTo>
                    <a:cubicBezTo>
                      <a:pt x="642" y="733"/>
                      <a:pt x="642" y="733"/>
                      <a:pt x="643" y="732"/>
                    </a:cubicBezTo>
                    <a:cubicBezTo>
                      <a:pt x="643" y="732"/>
                      <a:pt x="643" y="732"/>
                      <a:pt x="643" y="731"/>
                    </a:cubicBezTo>
                    <a:cubicBezTo>
                      <a:pt x="643" y="731"/>
                      <a:pt x="643" y="731"/>
                      <a:pt x="642" y="731"/>
                    </a:cubicBezTo>
                    <a:cubicBezTo>
                      <a:pt x="642" y="731"/>
                      <a:pt x="642" y="731"/>
                      <a:pt x="642" y="730"/>
                    </a:cubicBezTo>
                    <a:cubicBezTo>
                      <a:pt x="642" y="730"/>
                      <a:pt x="642" y="730"/>
                      <a:pt x="643" y="729"/>
                    </a:cubicBezTo>
                    <a:cubicBezTo>
                      <a:pt x="643" y="729"/>
                      <a:pt x="643" y="729"/>
                      <a:pt x="642" y="728"/>
                    </a:cubicBezTo>
                    <a:cubicBezTo>
                      <a:pt x="642" y="728"/>
                      <a:pt x="642" y="728"/>
                      <a:pt x="641" y="728"/>
                    </a:cubicBezTo>
                    <a:cubicBezTo>
                      <a:pt x="641" y="728"/>
                      <a:pt x="641" y="728"/>
                      <a:pt x="638" y="725"/>
                    </a:cubicBezTo>
                    <a:cubicBezTo>
                      <a:pt x="638" y="725"/>
                      <a:pt x="638" y="725"/>
                      <a:pt x="637" y="723"/>
                    </a:cubicBezTo>
                    <a:cubicBezTo>
                      <a:pt x="637" y="723"/>
                      <a:pt x="637" y="723"/>
                      <a:pt x="635" y="721"/>
                    </a:cubicBezTo>
                    <a:cubicBezTo>
                      <a:pt x="635" y="721"/>
                      <a:pt x="635" y="721"/>
                      <a:pt x="635" y="720"/>
                    </a:cubicBezTo>
                    <a:cubicBezTo>
                      <a:pt x="635" y="720"/>
                      <a:pt x="635" y="720"/>
                      <a:pt x="634" y="720"/>
                    </a:cubicBezTo>
                    <a:cubicBezTo>
                      <a:pt x="634" y="720"/>
                      <a:pt x="634" y="720"/>
                      <a:pt x="632" y="717"/>
                    </a:cubicBezTo>
                    <a:cubicBezTo>
                      <a:pt x="632" y="717"/>
                      <a:pt x="632" y="717"/>
                      <a:pt x="632" y="716"/>
                    </a:cubicBezTo>
                    <a:cubicBezTo>
                      <a:pt x="632" y="716"/>
                      <a:pt x="632" y="716"/>
                      <a:pt x="633" y="717"/>
                    </a:cubicBezTo>
                    <a:cubicBezTo>
                      <a:pt x="633" y="717"/>
                      <a:pt x="633" y="717"/>
                      <a:pt x="634" y="716"/>
                    </a:cubicBezTo>
                    <a:cubicBezTo>
                      <a:pt x="634" y="716"/>
                      <a:pt x="634" y="716"/>
                      <a:pt x="633" y="715"/>
                    </a:cubicBezTo>
                    <a:cubicBezTo>
                      <a:pt x="633" y="715"/>
                      <a:pt x="633" y="715"/>
                      <a:pt x="633" y="714"/>
                    </a:cubicBezTo>
                    <a:cubicBezTo>
                      <a:pt x="633" y="714"/>
                      <a:pt x="633" y="714"/>
                      <a:pt x="632" y="715"/>
                    </a:cubicBezTo>
                    <a:cubicBezTo>
                      <a:pt x="632" y="715"/>
                      <a:pt x="632" y="715"/>
                      <a:pt x="632" y="714"/>
                    </a:cubicBezTo>
                    <a:cubicBezTo>
                      <a:pt x="632" y="714"/>
                      <a:pt x="632" y="714"/>
                      <a:pt x="631" y="714"/>
                    </a:cubicBezTo>
                    <a:cubicBezTo>
                      <a:pt x="631" y="714"/>
                      <a:pt x="631" y="714"/>
                      <a:pt x="631" y="715"/>
                    </a:cubicBezTo>
                    <a:cubicBezTo>
                      <a:pt x="631" y="715"/>
                      <a:pt x="631" y="715"/>
                      <a:pt x="630" y="716"/>
                    </a:cubicBezTo>
                    <a:cubicBezTo>
                      <a:pt x="630" y="716"/>
                      <a:pt x="630" y="716"/>
                      <a:pt x="627" y="716"/>
                    </a:cubicBezTo>
                    <a:cubicBezTo>
                      <a:pt x="627" y="716"/>
                      <a:pt x="627" y="716"/>
                      <a:pt x="627" y="715"/>
                    </a:cubicBezTo>
                    <a:cubicBezTo>
                      <a:pt x="627" y="715"/>
                      <a:pt x="627" y="715"/>
                      <a:pt x="626" y="714"/>
                    </a:cubicBezTo>
                    <a:cubicBezTo>
                      <a:pt x="626" y="714"/>
                      <a:pt x="626" y="714"/>
                      <a:pt x="624" y="714"/>
                    </a:cubicBezTo>
                    <a:cubicBezTo>
                      <a:pt x="624" y="714"/>
                      <a:pt x="624" y="714"/>
                      <a:pt x="625" y="715"/>
                    </a:cubicBezTo>
                    <a:cubicBezTo>
                      <a:pt x="625" y="715"/>
                      <a:pt x="625" y="715"/>
                      <a:pt x="623" y="714"/>
                    </a:cubicBezTo>
                    <a:cubicBezTo>
                      <a:pt x="623" y="714"/>
                      <a:pt x="623" y="714"/>
                      <a:pt x="620" y="713"/>
                    </a:cubicBezTo>
                    <a:cubicBezTo>
                      <a:pt x="620" y="713"/>
                      <a:pt x="620" y="713"/>
                      <a:pt x="618" y="713"/>
                    </a:cubicBezTo>
                    <a:cubicBezTo>
                      <a:pt x="618" y="713"/>
                      <a:pt x="618" y="713"/>
                      <a:pt x="617" y="712"/>
                    </a:cubicBezTo>
                    <a:cubicBezTo>
                      <a:pt x="617" y="712"/>
                      <a:pt x="617" y="712"/>
                      <a:pt x="616" y="712"/>
                    </a:cubicBezTo>
                    <a:cubicBezTo>
                      <a:pt x="616" y="712"/>
                      <a:pt x="616" y="712"/>
                      <a:pt x="613" y="711"/>
                    </a:cubicBezTo>
                    <a:cubicBezTo>
                      <a:pt x="613" y="711"/>
                      <a:pt x="613" y="711"/>
                      <a:pt x="612" y="711"/>
                    </a:cubicBezTo>
                    <a:cubicBezTo>
                      <a:pt x="612" y="711"/>
                      <a:pt x="612" y="711"/>
                      <a:pt x="610" y="711"/>
                    </a:cubicBezTo>
                    <a:cubicBezTo>
                      <a:pt x="610" y="711"/>
                      <a:pt x="610" y="711"/>
                      <a:pt x="606" y="710"/>
                    </a:cubicBezTo>
                    <a:cubicBezTo>
                      <a:pt x="606" y="710"/>
                      <a:pt x="606" y="710"/>
                      <a:pt x="606" y="709"/>
                    </a:cubicBezTo>
                    <a:cubicBezTo>
                      <a:pt x="606" y="709"/>
                      <a:pt x="606" y="709"/>
                      <a:pt x="605" y="709"/>
                    </a:cubicBezTo>
                    <a:cubicBezTo>
                      <a:pt x="605" y="709"/>
                      <a:pt x="605" y="709"/>
                      <a:pt x="604" y="708"/>
                    </a:cubicBezTo>
                    <a:cubicBezTo>
                      <a:pt x="604" y="708"/>
                      <a:pt x="604" y="708"/>
                      <a:pt x="603" y="706"/>
                    </a:cubicBezTo>
                    <a:cubicBezTo>
                      <a:pt x="603" y="706"/>
                      <a:pt x="603" y="706"/>
                      <a:pt x="602" y="705"/>
                    </a:cubicBezTo>
                    <a:cubicBezTo>
                      <a:pt x="602" y="705"/>
                      <a:pt x="602" y="705"/>
                      <a:pt x="600" y="704"/>
                    </a:cubicBezTo>
                    <a:cubicBezTo>
                      <a:pt x="600" y="704"/>
                      <a:pt x="600" y="704"/>
                      <a:pt x="600" y="703"/>
                    </a:cubicBezTo>
                    <a:cubicBezTo>
                      <a:pt x="600" y="703"/>
                      <a:pt x="600" y="703"/>
                      <a:pt x="599" y="703"/>
                    </a:cubicBezTo>
                    <a:cubicBezTo>
                      <a:pt x="599" y="703"/>
                      <a:pt x="599" y="703"/>
                      <a:pt x="594" y="699"/>
                    </a:cubicBezTo>
                    <a:cubicBezTo>
                      <a:pt x="594" y="699"/>
                      <a:pt x="594" y="699"/>
                      <a:pt x="594" y="698"/>
                    </a:cubicBezTo>
                    <a:cubicBezTo>
                      <a:pt x="594" y="698"/>
                      <a:pt x="594" y="698"/>
                      <a:pt x="593" y="696"/>
                    </a:cubicBezTo>
                    <a:cubicBezTo>
                      <a:pt x="593" y="696"/>
                      <a:pt x="593" y="696"/>
                      <a:pt x="591" y="695"/>
                    </a:cubicBezTo>
                    <a:cubicBezTo>
                      <a:pt x="591" y="695"/>
                      <a:pt x="591" y="695"/>
                      <a:pt x="590" y="695"/>
                    </a:cubicBezTo>
                    <a:cubicBezTo>
                      <a:pt x="590" y="695"/>
                      <a:pt x="590" y="695"/>
                      <a:pt x="592" y="696"/>
                    </a:cubicBezTo>
                    <a:cubicBezTo>
                      <a:pt x="592" y="696"/>
                      <a:pt x="592" y="696"/>
                      <a:pt x="593" y="698"/>
                    </a:cubicBezTo>
                    <a:cubicBezTo>
                      <a:pt x="593" y="698"/>
                      <a:pt x="593" y="698"/>
                      <a:pt x="592" y="697"/>
                    </a:cubicBezTo>
                    <a:cubicBezTo>
                      <a:pt x="592" y="697"/>
                      <a:pt x="592" y="697"/>
                      <a:pt x="590" y="696"/>
                    </a:cubicBezTo>
                    <a:cubicBezTo>
                      <a:pt x="590" y="696"/>
                      <a:pt x="590" y="696"/>
                      <a:pt x="589" y="696"/>
                    </a:cubicBezTo>
                    <a:cubicBezTo>
                      <a:pt x="589" y="696"/>
                      <a:pt x="589" y="696"/>
                      <a:pt x="588" y="696"/>
                    </a:cubicBezTo>
                    <a:cubicBezTo>
                      <a:pt x="588" y="696"/>
                      <a:pt x="588" y="696"/>
                      <a:pt x="588" y="695"/>
                    </a:cubicBezTo>
                    <a:cubicBezTo>
                      <a:pt x="588" y="695"/>
                      <a:pt x="588" y="695"/>
                      <a:pt x="587" y="695"/>
                    </a:cubicBezTo>
                    <a:cubicBezTo>
                      <a:pt x="587" y="695"/>
                      <a:pt x="587" y="695"/>
                      <a:pt x="587" y="694"/>
                    </a:cubicBezTo>
                    <a:cubicBezTo>
                      <a:pt x="587" y="694"/>
                      <a:pt x="587" y="694"/>
                      <a:pt x="585" y="695"/>
                    </a:cubicBezTo>
                    <a:cubicBezTo>
                      <a:pt x="585" y="695"/>
                      <a:pt x="585" y="695"/>
                      <a:pt x="585" y="696"/>
                    </a:cubicBezTo>
                    <a:cubicBezTo>
                      <a:pt x="585" y="696"/>
                      <a:pt x="585" y="696"/>
                      <a:pt x="584" y="696"/>
                    </a:cubicBezTo>
                    <a:cubicBezTo>
                      <a:pt x="584" y="696"/>
                      <a:pt x="584" y="696"/>
                      <a:pt x="582" y="698"/>
                    </a:cubicBezTo>
                    <a:cubicBezTo>
                      <a:pt x="582" y="698"/>
                      <a:pt x="582" y="698"/>
                      <a:pt x="581" y="698"/>
                    </a:cubicBezTo>
                    <a:cubicBezTo>
                      <a:pt x="581" y="698"/>
                      <a:pt x="581" y="698"/>
                      <a:pt x="578" y="699"/>
                    </a:cubicBezTo>
                    <a:cubicBezTo>
                      <a:pt x="578" y="699"/>
                      <a:pt x="578" y="699"/>
                      <a:pt x="577" y="699"/>
                    </a:cubicBezTo>
                    <a:cubicBezTo>
                      <a:pt x="577" y="699"/>
                      <a:pt x="577" y="699"/>
                      <a:pt x="573" y="698"/>
                    </a:cubicBezTo>
                    <a:cubicBezTo>
                      <a:pt x="573" y="698"/>
                      <a:pt x="573" y="698"/>
                      <a:pt x="572" y="697"/>
                    </a:cubicBezTo>
                    <a:cubicBezTo>
                      <a:pt x="572" y="697"/>
                      <a:pt x="572" y="697"/>
                      <a:pt x="570" y="697"/>
                    </a:cubicBezTo>
                    <a:cubicBezTo>
                      <a:pt x="570" y="697"/>
                      <a:pt x="570" y="697"/>
                      <a:pt x="567" y="696"/>
                    </a:cubicBezTo>
                    <a:cubicBezTo>
                      <a:pt x="567" y="696"/>
                      <a:pt x="567" y="696"/>
                      <a:pt x="566" y="695"/>
                    </a:cubicBezTo>
                    <a:cubicBezTo>
                      <a:pt x="566" y="695"/>
                      <a:pt x="566" y="695"/>
                      <a:pt x="566" y="696"/>
                    </a:cubicBezTo>
                    <a:cubicBezTo>
                      <a:pt x="566" y="696"/>
                      <a:pt x="566" y="696"/>
                      <a:pt x="565" y="695"/>
                    </a:cubicBezTo>
                    <a:cubicBezTo>
                      <a:pt x="565" y="695"/>
                      <a:pt x="565" y="695"/>
                      <a:pt x="563" y="695"/>
                    </a:cubicBezTo>
                    <a:cubicBezTo>
                      <a:pt x="563" y="695"/>
                      <a:pt x="563" y="695"/>
                      <a:pt x="562" y="693"/>
                    </a:cubicBezTo>
                    <a:cubicBezTo>
                      <a:pt x="562" y="693"/>
                      <a:pt x="562" y="693"/>
                      <a:pt x="561" y="693"/>
                    </a:cubicBezTo>
                    <a:cubicBezTo>
                      <a:pt x="561" y="693"/>
                      <a:pt x="561" y="693"/>
                      <a:pt x="559" y="693"/>
                    </a:cubicBezTo>
                    <a:cubicBezTo>
                      <a:pt x="559" y="693"/>
                      <a:pt x="559" y="693"/>
                      <a:pt x="557" y="693"/>
                    </a:cubicBezTo>
                    <a:cubicBezTo>
                      <a:pt x="557" y="693"/>
                      <a:pt x="557" y="693"/>
                      <a:pt x="557" y="691"/>
                    </a:cubicBezTo>
                    <a:cubicBezTo>
                      <a:pt x="557" y="691"/>
                      <a:pt x="557" y="691"/>
                      <a:pt x="555" y="690"/>
                    </a:cubicBezTo>
                    <a:cubicBezTo>
                      <a:pt x="555" y="690"/>
                      <a:pt x="555" y="690"/>
                      <a:pt x="552" y="690"/>
                    </a:cubicBezTo>
                    <a:cubicBezTo>
                      <a:pt x="552" y="690"/>
                      <a:pt x="552" y="690"/>
                      <a:pt x="549" y="689"/>
                    </a:cubicBezTo>
                    <a:cubicBezTo>
                      <a:pt x="549" y="689"/>
                      <a:pt x="549" y="689"/>
                      <a:pt x="548" y="687"/>
                    </a:cubicBezTo>
                    <a:cubicBezTo>
                      <a:pt x="548" y="687"/>
                      <a:pt x="548" y="687"/>
                      <a:pt x="547" y="687"/>
                    </a:cubicBezTo>
                    <a:cubicBezTo>
                      <a:pt x="547" y="687"/>
                      <a:pt x="547" y="687"/>
                      <a:pt x="544" y="684"/>
                    </a:cubicBezTo>
                    <a:cubicBezTo>
                      <a:pt x="544" y="684"/>
                      <a:pt x="544" y="684"/>
                      <a:pt x="543" y="683"/>
                    </a:cubicBezTo>
                    <a:cubicBezTo>
                      <a:pt x="543" y="683"/>
                      <a:pt x="543" y="683"/>
                      <a:pt x="542" y="683"/>
                    </a:cubicBezTo>
                    <a:cubicBezTo>
                      <a:pt x="542" y="683"/>
                      <a:pt x="542" y="683"/>
                      <a:pt x="542" y="684"/>
                    </a:cubicBezTo>
                    <a:cubicBezTo>
                      <a:pt x="542" y="684"/>
                      <a:pt x="542" y="684"/>
                      <a:pt x="541" y="684"/>
                    </a:cubicBezTo>
                    <a:cubicBezTo>
                      <a:pt x="541" y="684"/>
                      <a:pt x="541" y="684"/>
                      <a:pt x="539" y="683"/>
                    </a:cubicBezTo>
                    <a:cubicBezTo>
                      <a:pt x="539" y="683"/>
                      <a:pt x="539" y="683"/>
                      <a:pt x="538" y="683"/>
                    </a:cubicBezTo>
                    <a:cubicBezTo>
                      <a:pt x="538" y="683"/>
                      <a:pt x="538" y="683"/>
                      <a:pt x="537" y="682"/>
                    </a:cubicBezTo>
                    <a:cubicBezTo>
                      <a:pt x="537" y="682"/>
                      <a:pt x="537" y="682"/>
                      <a:pt x="536" y="682"/>
                    </a:cubicBezTo>
                    <a:cubicBezTo>
                      <a:pt x="536" y="682"/>
                      <a:pt x="536" y="682"/>
                      <a:pt x="535" y="682"/>
                    </a:cubicBezTo>
                    <a:cubicBezTo>
                      <a:pt x="535" y="682"/>
                      <a:pt x="535" y="682"/>
                      <a:pt x="534" y="680"/>
                    </a:cubicBezTo>
                    <a:cubicBezTo>
                      <a:pt x="534" y="680"/>
                      <a:pt x="534" y="680"/>
                      <a:pt x="533" y="679"/>
                    </a:cubicBezTo>
                    <a:cubicBezTo>
                      <a:pt x="533" y="679"/>
                      <a:pt x="533" y="679"/>
                      <a:pt x="531" y="677"/>
                    </a:cubicBezTo>
                    <a:cubicBezTo>
                      <a:pt x="531" y="677"/>
                      <a:pt x="531" y="677"/>
                      <a:pt x="530" y="677"/>
                    </a:cubicBezTo>
                    <a:cubicBezTo>
                      <a:pt x="530" y="677"/>
                      <a:pt x="530" y="677"/>
                      <a:pt x="530" y="676"/>
                    </a:cubicBezTo>
                    <a:cubicBezTo>
                      <a:pt x="530" y="676"/>
                      <a:pt x="530" y="676"/>
                      <a:pt x="530" y="675"/>
                    </a:cubicBezTo>
                    <a:cubicBezTo>
                      <a:pt x="530" y="675"/>
                      <a:pt x="530" y="675"/>
                      <a:pt x="528" y="676"/>
                    </a:cubicBezTo>
                    <a:cubicBezTo>
                      <a:pt x="528" y="676"/>
                      <a:pt x="528" y="676"/>
                      <a:pt x="526" y="675"/>
                    </a:cubicBezTo>
                    <a:cubicBezTo>
                      <a:pt x="526" y="675"/>
                      <a:pt x="526" y="675"/>
                      <a:pt x="526" y="674"/>
                    </a:cubicBezTo>
                    <a:cubicBezTo>
                      <a:pt x="526" y="674"/>
                      <a:pt x="526" y="674"/>
                      <a:pt x="525" y="674"/>
                    </a:cubicBezTo>
                    <a:cubicBezTo>
                      <a:pt x="525" y="674"/>
                      <a:pt x="525" y="674"/>
                      <a:pt x="524" y="674"/>
                    </a:cubicBezTo>
                    <a:cubicBezTo>
                      <a:pt x="524" y="674"/>
                      <a:pt x="524" y="674"/>
                      <a:pt x="524" y="672"/>
                    </a:cubicBezTo>
                    <a:cubicBezTo>
                      <a:pt x="524" y="672"/>
                      <a:pt x="524" y="672"/>
                      <a:pt x="523" y="671"/>
                    </a:cubicBezTo>
                    <a:cubicBezTo>
                      <a:pt x="523" y="671"/>
                      <a:pt x="523" y="671"/>
                      <a:pt x="523" y="670"/>
                    </a:cubicBezTo>
                    <a:cubicBezTo>
                      <a:pt x="523" y="670"/>
                      <a:pt x="523" y="670"/>
                      <a:pt x="522" y="669"/>
                    </a:cubicBezTo>
                    <a:cubicBezTo>
                      <a:pt x="522" y="669"/>
                      <a:pt x="522" y="669"/>
                      <a:pt x="521" y="667"/>
                    </a:cubicBezTo>
                    <a:cubicBezTo>
                      <a:pt x="521" y="667"/>
                      <a:pt x="521" y="667"/>
                      <a:pt x="521" y="666"/>
                    </a:cubicBezTo>
                    <a:cubicBezTo>
                      <a:pt x="521" y="666"/>
                      <a:pt x="521" y="666"/>
                      <a:pt x="522" y="666"/>
                    </a:cubicBezTo>
                    <a:cubicBezTo>
                      <a:pt x="522" y="666"/>
                      <a:pt x="522" y="666"/>
                      <a:pt x="523" y="666"/>
                    </a:cubicBezTo>
                    <a:cubicBezTo>
                      <a:pt x="523" y="666"/>
                      <a:pt x="523" y="666"/>
                      <a:pt x="524" y="665"/>
                    </a:cubicBezTo>
                    <a:cubicBezTo>
                      <a:pt x="524" y="665"/>
                      <a:pt x="524" y="665"/>
                      <a:pt x="523" y="665"/>
                    </a:cubicBezTo>
                    <a:cubicBezTo>
                      <a:pt x="523" y="665"/>
                      <a:pt x="523" y="665"/>
                      <a:pt x="522" y="664"/>
                    </a:cubicBezTo>
                    <a:cubicBezTo>
                      <a:pt x="522" y="664"/>
                      <a:pt x="522" y="664"/>
                      <a:pt x="523" y="664"/>
                    </a:cubicBezTo>
                    <a:cubicBezTo>
                      <a:pt x="523" y="664"/>
                      <a:pt x="523" y="664"/>
                      <a:pt x="524" y="662"/>
                    </a:cubicBezTo>
                    <a:cubicBezTo>
                      <a:pt x="524" y="662"/>
                      <a:pt x="524" y="662"/>
                      <a:pt x="525" y="661"/>
                    </a:cubicBezTo>
                    <a:cubicBezTo>
                      <a:pt x="525" y="661"/>
                      <a:pt x="525" y="661"/>
                      <a:pt x="525" y="660"/>
                    </a:cubicBezTo>
                    <a:cubicBezTo>
                      <a:pt x="525" y="660"/>
                      <a:pt x="525" y="660"/>
                      <a:pt x="523" y="656"/>
                    </a:cubicBezTo>
                    <a:cubicBezTo>
                      <a:pt x="523" y="656"/>
                      <a:pt x="523" y="656"/>
                      <a:pt x="523" y="655"/>
                    </a:cubicBezTo>
                    <a:cubicBezTo>
                      <a:pt x="523" y="655"/>
                      <a:pt x="523" y="655"/>
                      <a:pt x="522" y="654"/>
                    </a:cubicBezTo>
                    <a:cubicBezTo>
                      <a:pt x="522" y="654"/>
                      <a:pt x="522" y="654"/>
                      <a:pt x="523" y="653"/>
                    </a:cubicBezTo>
                    <a:cubicBezTo>
                      <a:pt x="523" y="653"/>
                      <a:pt x="523" y="653"/>
                      <a:pt x="522" y="651"/>
                    </a:cubicBezTo>
                    <a:cubicBezTo>
                      <a:pt x="522" y="651"/>
                      <a:pt x="522" y="651"/>
                      <a:pt x="520" y="649"/>
                    </a:cubicBezTo>
                    <a:cubicBezTo>
                      <a:pt x="520" y="649"/>
                      <a:pt x="520" y="649"/>
                      <a:pt x="520" y="647"/>
                    </a:cubicBezTo>
                    <a:cubicBezTo>
                      <a:pt x="520" y="647"/>
                      <a:pt x="520" y="647"/>
                      <a:pt x="518" y="645"/>
                    </a:cubicBezTo>
                    <a:cubicBezTo>
                      <a:pt x="518" y="645"/>
                      <a:pt x="518" y="645"/>
                      <a:pt x="517" y="643"/>
                    </a:cubicBezTo>
                    <a:cubicBezTo>
                      <a:pt x="517" y="643"/>
                      <a:pt x="517" y="643"/>
                      <a:pt x="515" y="640"/>
                    </a:cubicBezTo>
                    <a:cubicBezTo>
                      <a:pt x="515" y="640"/>
                      <a:pt x="515" y="640"/>
                      <a:pt x="513" y="639"/>
                    </a:cubicBezTo>
                    <a:cubicBezTo>
                      <a:pt x="513" y="639"/>
                      <a:pt x="513" y="639"/>
                      <a:pt x="512" y="638"/>
                    </a:cubicBezTo>
                    <a:cubicBezTo>
                      <a:pt x="512" y="638"/>
                      <a:pt x="512" y="638"/>
                      <a:pt x="512" y="637"/>
                    </a:cubicBezTo>
                    <a:cubicBezTo>
                      <a:pt x="512" y="637"/>
                      <a:pt x="512" y="637"/>
                      <a:pt x="510" y="637"/>
                    </a:cubicBezTo>
                    <a:cubicBezTo>
                      <a:pt x="510" y="637"/>
                      <a:pt x="510" y="637"/>
                      <a:pt x="509" y="636"/>
                    </a:cubicBezTo>
                    <a:cubicBezTo>
                      <a:pt x="509" y="636"/>
                      <a:pt x="509" y="636"/>
                      <a:pt x="510" y="635"/>
                    </a:cubicBezTo>
                    <a:cubicBezTo>
                      <a:pt x="510" y="635"/>
                      <a:pt x="510" y="635"/>
                      <a:pt x="511" y="634"/>
                    </a:cubicBezTo>
                    <a:cubicBezTo>
                      <a:pt x="511" y="634"/>
                      <a:pt x="511" y="634"/>
                      <a:pt x="510" y="633"/>
                    </a:cubicBezTo>
                    <a:cubicBezTo>
                      <a:pt x="510" y="633"/>
                      <a:pt x="510" y="633"/>
                      <a:pt x="510" y="632"/>
                    </a:cubicBezTo>
                    <a:cubicBezTo>
                      <a:pt x="510" y="632"/>
                      <a:pt x="510" y="632"/>
                      <a:pt x="509" y="632"/>
                    </a:cubicBezTo>
                    <a:cubicBezTo>
                      <a:pt x="509" y="632"/>
                      <a:pt x="509" y="632"/>
                      <a:pt x="507" y="631"/>
                    </a:cubicBezTo>
                    <a:cubicBezTo>
                      <a:pt x="507" y="631"/>
                      <a:pt x="507" y="631"/>
                      <a:pt x="505" y="629"/>
                    </a:cubicBezTo>
                    <a:cubicBezTo>
                      <a:pt x="505" y="629"/>
                      <a:pt x="505" y="629"/>
                      <a:pt x="504" y="629"/>
                    </a:cubicBezTo>
                    <a:cubicBezTo>
                      <a:pt x="504" y="629"/>
                      <a:pt x="504" y="629"/>
                      <a:pt x="503" y="629"/>
                    </a:cubicBezTo>
                    <a:cubicBezTo>
                      <a:pt x="503" y="629"/>
                      <a:pt x="503" y="629"/>
                      <a:pt x="502" y="628"/>
                    </a:cubicBezTo>
                    <a:cubicBezTo>
                      <a:pt x="502" y="628"/>
                      <a:pt x="502" y="628"/>
                      <a:pt x="502" y="627"/>
                    </a:cubicBezTo>
                    <a:cubicBezTo>
                      <a:pt x="502" y="627"/>
                      <a:pt x="502" y="627"/>
                      <a:pt x="502" y="625"/>
                    </a:cubicBezTo>
                    <a:cubicBezTo>
                      <a:pt x="502" y="625"/>
                      <a:pt x="502" y="625"/>
                      <a:pt x="503" y="624"/>
                    </a:cubicBezTo>
                    <a:cubicBezTo>
                      <a:pt x="503" y="624"/>
                      <a:pt x="503" y="624"/>
                      <a:pt x="504" y="623"/>
                    </a:cubicBezTo>
                    <a:cubicBezTo>
                      <a:pt x="504" y="623"/>
                      <a:pt x="504" y="623"/>
                      <a:pt x="505" y="624"/>
                    </a:cubicBezTo>
                    <a:cubicBezTo>
                      <a:pt x="505" y="624"/>
                      <a:pt x="505" y="624"/>
                      <a:pt x="505" y="623"/>
                    </a:cubicBezTo>
                    <a:cubicBezTo>
                      <a:pt x="505" y="623"/>
                      <a:pt x="505" y="623"/>
                      <a:pt x="505" y="622"/>
                    </a:cubicBezTo>
                    <a:cubicBezTo>
                      <a:pt x="505" y="622"/>
                      <a:pt x="505" y="622"/>
                      <a:pt x="504" y="623"/>
                    </a:cubicBezTo>
                    <a:cubicBezTo>
                      <a:pt x="504" y="623"/>
                      <a:pt x="504" y="623"/>
                      <a:pt x="503" y="622"/>
                    </a:cubicBezTo>
                    <a:cubicBezTo>
                      <a:pt x="503" y="622"/>
                      <a:pt x="503" y="622"/>
                      <a:pt x="503" y="621"/>
                    </a:cubicBezTo>
                    <a:cubicBezTo>
                      <a:pt x="503" y="621"/>
                      <a:pt x="503" y="621"/>
                      <a:pt x="502" y="620"/>
                    </a:cubicBezTo>
                    <a:cubicBezTo>
                      <a:pt x="502" y="620"/>
                      <a:pt x="502" y="620"/>
                      <a:pt x="501" y="620"/>
                    </a:cubicBezTo>
                    <a:cubicBezTo>
                      <a:pt x="501" y="620"/>
                      <a:pt x="501" y="620"/>
                      <a:pt x="500" y="620"/>
                    </a:cubicBezTo>
                    <a:cubicBezTo>
                      <a:pt x="500" y="620"/>
                      <a:pt x="500" y="620"/>
                      <a:pt x="500" y="619"/>
                    </a:cubicBezTo>
                    <a:cubicBezTo>
                      <a:pt x="500" y="619"/>
                      <a:pt x="500" y="619"/>
                      <a:pt x="500" y="618"/>
                    </a:cubicBezTo>
                    <a:cubicBezTo>
                      <a:pt x="500" y="618"/>
                      <a:pt x="500" y="618"/>
                      <a:pt x="499" y="617"/>
                    </a:cubicBezTo>
                    <a:cubicBezTo>
                      <a:pt x="499" y="617"/>
                      <a:pt x="499" y="617"/>
                      <a:pt x="498" y="617"/>
                    </a:cubicBezTo>
                    <a:cubicBezTo>
                      <a:pt x="498" y="617"/>
                      <a:pt x="498" y="617"/>
                      <a:pt x="496" y="615"/>
                    </a:cubicBezTo>
                    <a:cubicBezTo>
                      <a:pt x="496" y="615"/>
                      <a:pt x="496" y="615"/>
                      <a:pt x="496" y="614"/>
                    </a:cubicBezTo>
                    <a:cubicBezTo>
                      <a:pt x="496" y="614"/>
                      <a:pt x="496" y="614"/>
                      <a:pt x="496" y="613"/>
                    </a:cubicBezTo>
                    <a:cubicBezTo>
                      <a:pt x="496" y="613"/>
                      <a:pt x="496" y="613"/>
                      <a:pt x="496" y="612"/>
                    </a:cubicBezTo>
                    <a:cubicBezTo>
                      <a:pt x="496" y="612"/>
                      <a:pt x="496" y="612"/>
                      <a:pt x="496" y="611"/>
                    </a:cubicBezTo>
                    <a:cubicBezTo>
                      <a:pt x="496" y="611"/>
                      <a:pt x="496" y="611"/>
                      <a:pt x="495" y="611"/>
                    </a:cubicBezTo>
                    <a:cubicBezTo>
                      <a:pt x="495" y="611"/>
                      <a:pt x="495" y="611"/>
                      <a:pt x="494" y="611"/>
                    </a:cubicBezTo>
                    <a:cubicBezTo>
                      <a:pt x="494" y="611"/>
                      <a:pt x="494" y="611"/>
                      <a:pt x="493" y="610"/>
                    </a:cubicBezTo>
                    <a:cubicBezTo>
                      <a:pt x="493" y="610"/>
                      <a:pt x="493" y="610"/>
                      <a:pt x="492" y="609"/>
                    </a:cubicBezTo>
                    <a:cubicBezTo>
                      <a:pt x="492" y="609"/>
                      <a:pt x="492" y="609"/>
                      <a:pt x="492" y="607"/>
                    </a:cubicBezTo>
                    <a:cubicBezTo>
                      <a:pt x="492" y="607"/>
                      <a:pt x="492" y="607"/>
                      <a:pt x="491" y="607"/>
                    </a:cubicBezTo>
                    <a:cubicBezTo>
                      <a:pt x="491" y="607"/>
                      <a:pt x="491" y="607"/>
                      <a:pt x="490" y="606"/>
                    </a:cubicBezTo>
                    <a:cubicBezTo>
                      <a:pt x="490" y="606"/>
                      <a:pt x="490" y="606"/>
                      <a:pt x="490" y="605"/>
                    </a:cubicBezTo>
                    <a:cubicBezTo>
                      <a:pt x="490" y="605"/>
                      <a:pt x="490" y="605"/>
                      <a:pt x="490" y="604"/>
                    </a:cubicBezTo>
                    <a:cubicBezTo>
                      <a:pt x="490" y="604"/>
                      <a:pt x="490" y="604"/>
                      <a:pt x="489" y="604"/>
                    </a:cubicBezTo>
                    <a:cubicBezTo>
                      <a:pt x="489" y="604"/>
                      <a:pt x="489" y="604"/>
                      <a:pt x="488" y="601"/>
                    </a:cubicBezTo>
                    <a:cubicBezTo>
                      <a:pt x="488" y="601"/>
                      <a:pt x="488" y="601"/>
                      <a:pt x="487" y="601"/>
                    </a:cubicBezTo>
                    <a:cubicBezTo>
                      <a:pt x="487" y="601"/>
                      <a:pt x="487" y="601"/>
                      <a:pt x="487" y="600"/>
                    </a:cubicBezTo>
                    <a:cubicBezTo>
                      <a:pt x="487" y="600"/>
                      <a:pt x="487" y="600"/>
                      <a:pt x="487" y="599"/>
                    </a:cubicBezTo>
                    <a:cubicBezTo>
                      <a:pt x="487" y="599"/>
                      <a:pt x="487" y="599"/>
                      <a:pt x="486" y="597"/>
                    </a:cubicBezTo>
                    <a:cubicBezTo>
                      <a:pt x="486" y="597"/>
                      <a:pt x="486" y="597"/>
                      <a:pt x="485" y="595"/>
                    </a:cubicBezTo>
                    <a:cubicBezTo>
                      <a:pt x="485" y="595"/>
                      <a:pt x="485" y="595"/>
                      <a:pt x="486" y="595"/>
                    </a:cubicBezTo>
                    <a:cubicBezTo>
                      <a:pt x="486" y="595"/>
                      <a:pt x="486" y="595"/>
                      <a:pt x="485" y="593"/>
                    </a:cubicBezTo>
                    <a:cubicBezTo>
                      <a:pt x="485" y="593"/>
                      <a:pt x="485" y="593"/>
                      <a:pt x="485" y="592"/>
                    </a:cubicBezTo>
                    <a:cubicBezTo>
                      <a:pt x="485" y="592"/>
                      <a:pt x="485" y="592"/>
                      <a:pt x="485" y="590"/>
                    </a:cubicBezTo>
                    <a:cubicBezTo>
                      <a:pt x="485" y="590"/>
                      <a:pt x="485" y="590"/>
                      <a:pt x="484" y="588"/>
                    </a:cubicBezTo>
                    <a:cubicBezTo>
                      <a:pt x="484" y="588"/>
                      <a:pt x="484" y="588"/>
                      <a:pt x="484" y="587"/>
                    </a:cubicBezTo>
                    <a:cubicBezTo>
                      <a:pt x="484" y="587"/>
                      <a:pt x="484" y="587"/>
                      <a:pt x="485" y="586"/>
                    </a:cubicBezTo>
                    <a:cubicBezTo>
                      <a:pt x="485" y="586"/>
                      <a:pt x="485" y="586"/>
                      <a:pt x="483" y="585"/>
                    </a:cubicBezTo>
                    <a:cubicBezTo>
                      <a:pt x="483" y="585"/>
                      <a:pt x="483" y="585"/>
                      <a:pt x="482" y="585"/>
                    </a:cubicBezTo>
                    <a:cubicBezTo>
                      <a:pt x="482" y="585"/>
                      <a:pt x="482" y="585"/>
                      <a:pt x="482" y="584"/>
                    </a:cubicBezTo>
                    <a:cubicBezTo>
                      <a:pt x="482" y="584"/>
                      <a:pt x="482" y="584"/>
                      <a:pt x="481" y="583"/>
                    </a:cubicBezTo>
                    <a:cubicBezTo>
                      <a:pt x="481" y="583"/>
                      <a:pt x="481" y="583"/>
                      <a:pt x="480" y="584"/>
                    </a:cubicBezTo>
                    <a:cubicBezTo>
                      <a:pt x="480" y="584"/>
                      <a:pt x="480" y="584"/>
                      <a:pt x="479" y="584"/>
                    </a:cubicBezTo>
                    <a:cubicBezTo>
                      <a:pt x="479" y="584"/>
                      <a:pt x="479" y="584"/>
                      <a:pt x="478" y="583"/>
                    </a:cubicBezTo>
                    <a:cubicBezTo>
                      <a:pt x="478" y="583"/>
                      <a:pt x="478" y="583"/>
                      <a:pt x="477" y="582"/>
                    </a:cubicBezTo>
                    <a:cubicBezTo>
                      <a:pt x="477" y="582"/>
                      <a:pt x="477" y="582"/>
                      <a:pt x="476" y="581"/>
                    </a:cubicBezTo>
                    <a:cubicBezTo>
                      <a:pt x="476" y="581"/>
                      <a:pt x="476" y="581"/>
                      <a:pt x="475" y="579"/>
                    </a:cubicBezTo>
                    <a:cubicBezTo>
                      <a:pt x="475" y="579"/>
                      <a:pt x="475" y="579"/>
                      <a:pt x="475" y="581"/>
                    </a:cubicBezTo>
                    <a:cubicBezTo>
                      <a:pt x="475" y="581"/>
                      <a:pt x="475" y="581"/>
                      <a:pt x="475" y="582"/>
                    </a:cubicBezTo>
                    <a:cubicBezTo>
                      <a:pt x="475" y="582"/>
                      <a:pt x="475" y="582"/>
                      <a:pt x="475" y="584"/>
                    </a:cubicBezTo>
                    <a:cubicBezTo>
                      <a:pt x="475" y="584"/>
                      <a:pt x="475" y="584"/>
                      <a:pt x="474" y="585"/>
                    </a:cubicBezTo>
                    <a:cubicBezTo>
                      <a:pt x="474" y="585"/>
                      <a:pt x="474" y="585"/>
                      <a:pt x="475" y="588"/>
                    </a:cubicBezTo>
                    <a:cubicBezTo>
                      <a:pt x="475" y="588"/>
                      <a:pt x="475" y="588"/>
                      <a:pt x="475" y="593"/>
                    </a:cubicBezTo>
                    <a:cubicBezTo>
                      <a:pt x="475" y="593"/>
                      <a:pt x="475" y="593"/>
                      <a:pt x="474" y="594"/>
                    </a:cubicBezTo>
                    <a:cubicBezTo>
                      <a:pt x="474" y="594"/>
                      <a:pt x="474" y="594"/>
                      <a:pt x="475" y="594"/>
                    </a:cubicBezTo>
                    <a:cubicBezTo>
                      <a:pt x="475" y="594"/>
                      <a:pt x="475" y="594"/>
                      <a:pt x="476" y="596"/>
                    </a:cubicBezTo>
                    <a:cubicBezTo>
                      <a:pt x="476" y="596"/>
                      <a:pt x="476" y="596"/>
                      <a:pt x="476" y="597"/>
                    </a:cubicBezTo>
                    <a:cubicBezTo>
                      <a:pt x="476" y="597"/>
                      <a:pt x="476" y="597"/>
                      <a:pt x="477" y="598"/>
                    </a:cubicBezTo>
                    <a:cubicBezTo>
                      <a:pt x="477" y="598"/>
                      <a:pt x="477" y="598"/>
                      <a:pt x="479" y="599"/>
                    </a:cubicBezTo>
                    <a:cubicBezTo>
                      <a:pt x="479" y="599"/>
                      <a:pt x="479" y="599"/>
                      <a:pt x="479" y="601"/>
                    </a:cubicBezTo>
                    <a:cubicBezTo>
                      <a:pt x="479" y="601"/>
                      <a:pt x="479" y="601"/>
                      <a:pt x="479" y="602"/>
                    </a:cubicBezTo>
                    <a:cubicBezTo>
                      <a:pt x="479" y="602"/>
                      <a:pt x="479" y="602"/>
                      <a:pt x="479" y="603"/>
                    </a:cubicBezTo>
                    <a:cubicBezTo>
                      <a:pt x="479" y="603"/>
                      <a:pt x="479" y="603"/>
                      <a:pt x="480" y="604"/>
                    </a:cubicBezTo>
                    <a:cubicBezTo>
                      <a:pt x="480" y="604"/>
                      <a:pt x="480" y="604"/>
                      <a:pt x="481" y="604"/>
                    </a:cubicBezTo>
                    <a:cubicBezTo>
                      <a:pt x="481" y="604"/>
                      <a:pt x="481" y="604"/>
                      <a:pt x="481" y="606"/>
                    </a:cubicBezTo>
                    <a:cubicBezTo>
                      <a:pt x="481" y="606"/>
                      <a:pt x="481" y="606"/>
                      <a:pt x="482" y="606"/>
                    </a:cubicBezTo>
                    <a:cubicBezTo>
                      <a:pt x="482" y="606"/>
                      <a:pt x="482" y="606"/>
                      <a:pt x="482" y="607"/>
                    </a:cubicBezTo>
                    <a:cubicBezTo>
                      <a:pt x="482" y="607"/>
                      <a:pt x="482" y="607"/>
                      <a:pt x="484" y="608"/>
                    </a:cubicBezTo>
                    <a:cubicBezTo>
                      <a:pt x="484" y="608"/>
                      <a:pt x="484" y="608"/>
                      <a:pt x="483" y="609"/>
                    </a:cubicBezTo>
                    <a:cubicBezTo>
                      <a:pt x="483" y="609"/>
                      <a:pt x="483" y="609"/>
                      <a:pt x="483" y="611"/>
                    </a:cubicBezTo>
                    <a:cubicBezTo>
                      <a:pt x="483" y="611"/>
                      <a:pt x="483" y="611"/>
                      <a:pt x="485" y="612"/>
                    </a:cubicBezTo>
                    <a:cubicBezTo>
                      <a:pt x="485" y="612"/>
                      <a:pt x="485" y="612"/>
                      <a:pt x="486" y="614"/>
                    </a:cubicBezTo>
                    <a:cubicBezTo>
                      <a:pt x="486" y="614"/>
                      <a:pt x="486" y="614"/>
                      <a:pt x="486" y="616"/>
                    </a:cubicBezTo>
                    <a:cubicBezTo>
                      <a:pt x="486" y="616"/>
                      <a:pt x="486" y="616"/>
                      <a:pt x="487" y="616"/>
                    </a:cubicBezTo>
                    <a:cubicBezTo>
                      <a:pt x="487" y="616"/>
                      <a:pt x="487" y="616"/>
                      <a:pt x="487" y="617"/>
                    </a:cubicBezTo>
                    <a:cubicBezTo>
                      <a:pt x="487" y="617"/>
                      <a:pt x="487" y="617"/>
                      <a:pt x="487" y="618"/>
                    </a:cubicBezTo>
                    <a:cubicBezTo>
                      <a:pt x="487" y="618"/>
                      <a:pt x="487" y="618"/>
                      <a:pt x="487" y="619"/>
                    </a:cubicBezTo>
                    <a:cubicBezTo>
                      <a:pt x="487" y="619"/>
                      <a:pt x="487" y="619"/>
                      <a:pt x="488" y="621"/>
                    </a:cubicBezTo>
                    <a:cubicBezTo>
                      <a:pt x="488" y="621"/>
                      <a:pt x="488" y="621"/>
                      <a:pt x="489" y="620"/>
                    </a:cubicBezTo>
                    <a:cubicBezTo>
                      <a:pt x="489" y="620"/>
                      <a:pt x="489" y="620"/>
                      <a:pt x="490" y="621"/>
                    </a:cubicBezTo>
                    <a:cubicBezTo>
                      <a:pt x="490" y="621"/>
                      <a:pt x="490" y="621"/>
                      <a:pt x="491" y="623"/>
                    </a:cubicBezTo>
                    <a:cubicBezTo>
                      <a:pt x="491" y="623"/>
                      <a:pt x="491" y="623"/>
                      <a:pt x="490" y="624"/>
                    </a:cubicBezTo>
                    <a:cubicBezTo>
                      <a:pt x="490" y="624"/>
                      <a:pt x="490" y="624"/>
                      <a:pt x="490" y="626"/>
                    </a:cubicBezTo>
                    <a:cubicBezTo>
                      <a:pt x="490" y="626"/>
                      <a:pt x="490" y="626"/>
                      <a:pt x="491" y="627"/>
                    </a:cubicBezTo>
                    <a:cubicBezTo>
                      <a:pt x="491" y="627"/>
                      <a:pt x="491" y="627"/>
                      <a:pt x="491" y="628"/>
                    </a:cubicBezTo>
                    <a:cubicBezTo>
                      <a:pt x="491" y="628"/>
                      <a:pt x="491" y="628"/>
                      <a:pt x="492" y="629"/>
                    </a:cubicBezTo>
                    <a:cubicBezTo>
                      <a:pt x="492" y="629"/>
                      <a:pt x="492" y="629"/>
                      <a:pt x="492" y="630"/>
                    </a:cubicBezTo>
                    <a:cubicBezTo>
                      <a:pt x="492" y="630"/>
                      <a:pt x="492" y="630"/>
                      <a:pt x="492" y="631"/>
                    </a:cubicBezTo>
                    <a:cubicBezTo>
                      <a:pt x="492" y="631"/>
                      <a:pt x="492" y="631"/>
                      <a:pt x="492" y="632"/>
                    </a:cubicBezTo>
                    <a:cubicBezTo>
                      <a:pt x="492" y="632"/>
                      <a:pt x="492" y="632"/>
                      <a:pt x="493" y="633"/>
                    </a:cubicBezTo>
                    <a:cubicBezTo>
                      <a:pt x="493" y="633"/>
                      <a:pt x="493" y="633"/>
                      <a:pt x="493" y="634"/>
                    </a:cubicBezTo>
                    <a:cubicBezTo>
                      <a:pt x="493" y="634"/>
                      <a:pt x="493" y="634"/>
                      <a:pt x="492" y="636"/>
                    </a:cubicBezTo>
                    <a:cubicBezTo>
                      <a:pt x="492" y="636"/>
                      <a:pt x="492" y="636"/>
                      <a:pt x="492" y="637"/>
                    </a:cubicBezTo>
                    <a:cubicBezTo>
                      <a:pt x="492" y="637"/>
                      <a:pt x="492" y="637"/>
                      <a:pt x="493" y="638"/>
                    </a:cubicBezTo>
                    <a:cubicBezTo>
                      <a:pt x="493" y="638"/>
                      <a:pt x="493" y="638"/>
                      <a:pt x="494" y="639"/>
                    </a:cubicBezTo>
                    <a:cubicBezTo>
                      <a:pt x="494" y="639"/>
                      <a:pt x="494" y="639"/>
                      <a:pt x="495" y="639"/>
                    </a:cubicBezTo>
                    <a:cubicBezTo>
                      <a:pt x="495" y="639"/>
                      <a:pt x="495" y="639"/>
                      <a:pt x="495" y="638"/>
                    </a:cubicBezTo>
                    <a:cubicBezTo>
                      <a:pt x="495" y="638"/>
                      <a:pt x="495" y="638"/>
                      <a:pt x="496" y="638"/>
                    </a:cubicBezTo>
                    <a:cubicBezTo>
                      <a:pt x="496" y="638"/>
                      <a:pt x="496" y="638"/>
                      <a:pt x="497" y="639"/>
                    </a:cubicBezTo>
                    <a:cubicBezTo>
                      <a:pt x="497" y="639"/>
                      <a:pt x="497" y="639"/>
                      <a:pt x="497" y="640"/>
                    </a:cubicBezTo>
                    <a:cubicBezTo>
                      <a:pt x="497" y="640"/>
                      <a:pt x="497" y="640"/>
                      <a:pt x="498" y="640"/>
                    </a:cubicBezTo>
                    <a:cubicBezTo>
                      <a:pt x="498" y="640"/>
                      <a:pt x="498" y="640"/>
                      <a:pt x="498" y="642"/>
                    </a:cubicBezTo>
                    <a:cubicBezTo>
                      <a:pt x="498" y="642"/>
                      <a:pt x="498" y="642"/>
                      <a:pt x="499" y="642"/>
                    </a:cubicBezTo>
                    <a:cubicBezTo>
                      <a:pt x="499" y="642"/>
                      <a:pt x="499" y="642"/>
                      <a:pt x="499" y="643"/>
                    </a:cubicBezTo>
                    <a:cubicBezTo>
                      <a:pt x="499" y="643"/>
                      <a:pt x="499" y="643"/>
                      <a:pt x="500" y="644"/>
                    </a:cubicBezTo>
                    <a:cubicBezTo>
                      <a:pt x="500" y="644"/>
                      <a:pt x="500" y="644"/>
                      <a:pt x="500" y="645"/>
                    </a:cubicBezTo>
                    <a:cubicBezTo>
                      <a:pt x="500" y="645"/>
                      <a:pt x="500" y="645"/>
                      <a:pt x="499" y="647"/>
                    </a:cubicBezTo>
                    <a:cubicBezTo>
                      <a:pt x="499" y="647"/>
                      <a:pt x="499" y="647"/>
                      <a:pt x="497" y="648"/>
                    </a:cubicBezTo>
                    <a:cubicBezTo>
                      <a:pt x="497" y="648"/>
                      <a:pt x="497" y="648"/>
                      <a:pt x="496" y="648"/>
                    </a:cubicBezTo>
                    <a:cubicBezTo>
                      <a:pt x="496" y="648"/>
                      <a:pt x="496" y="648"/>
                      <a:pt x="496" y="646"/>
                    </a:cubicBezTo>
                    <a:cubicBezTo>
                      <a:pt x="496" y="646"/>
                      <a:pt x="496" y="646"/>
                      <a:pt x="495" y="645"/>
                    </a:cubicBezTo>
                    <a:cubicBezTo>
                      <a:pt x="495" y="645"/>
                      <a:pt x="495" y="645"/>
                      <a:pt x="495" y="643"/>
                    </a:cubicBezTo>
                    <a:cubicBezTo>
                      <a:pt x="495" y="643"/>
                      <a:pt x="495" y="643"/>
                      <a:pt x="494" y="642"/>
                    </a:cubicBezTo>
                    <a:cubicBezTo>
                      <a:pt x="494" y="642"/>
                      <a:pt x="494" y="642"/>
                      <a:pt x="493" y="642"/>
                    </a:cubicBezTo>
                    <a:cubicBezTo>
                      <a:pt x="493" y="642"/>
                      <a:pt x="493" y="642"/>
                      <a:pt x="492" y="641"/>
                    </a:cubicBezTo>
                    <a:cubicBezTo>
                      <a:pt x="492" y="641"/>
                      <a:pt x="492" y="641"/>
                      <a:pt x="491" y="640"/>
                    </a:cubicBezTo>
                    <a:cubicBezTo>
                      <a:pt x="491" y="640"/>
                      <a:pt x="491" y="640"/>
                      <a:pt x="490" y="640"/>
                    </a:cubicBezTo>
                    <a:cubicBezTo>
                      <a:pt x="490" y="640"/>
                      <a:pt x="490" y="640"/>
                      <a:pt x="488" y="637"/>
                    </a:cubicBezTo>
                    <a:cubicBezTo>
                      <a:pt x="488" y="637"/>
                      <a:pt x="488" y="637"/>
                      <a:pt x="487" y="636"/>
                    </a:cubicBezTo>
                    <a:cubicBezTo>
                      <a:pt x="487" y="636"/>
                      <a:pt x="487" y="636"/>
                      <a:pt x="486" y="636"/>
                    </a:cubicBezTo>
                    <a:cubicBezTo>
                      <a:pt x="486" y="636"/>
                      <a:pt x="486" y="636"/>
                      <a:pt x="486" y="635"/>
                    </a:cubicBezTo>
                    <a:cubicBezTo>
                      <a:pt x="486" y="635"/>
                      <a:pt x="486" y="635"/>
                      <a:pt x="485" y="635"/>
                    </a:cubicBezTo>
                    <a:cubicBezTo>
                      <a:pt x="485" y="635"/>
                      <a:pt x="485" y="635"/>
                      <a:pt x="484" y="634"/>
                    </a:cubicBezTo>
                    <a:cubicBezTo>
                      <a:pt x="484" y="634"/>
                      <a:pt x="484" y="634"/>
                      <a:pt x="484" y="633"/>
                    </a:cubicBezTo>
                    <a:cubicBezTo>
                      <a:pt x="484" y="633"/>
                      <a:pt x="484" y="633"/>
                      <a:pt x="485" y="631"/>
                    </a:cubicBezTo>
                    <a:cubicBezTo>
                      <a:pt x="485" y="631"/>
                      <a:pt x="485" y="631"/>
                      <a:pt x="485" y="629"/>
                    </a:cubicBezTo>
                    <a:cubicBezTo>
                      <a:pt x="485" y="629"/>
                      <a:pt x="485" y="629"/>
                      <a:pt x="485" y="626"/>
                    </a:cubicBezTo>
                    <a:cubicBezTo>
                      <a:pt x="485" y="626"/>
                      <a:pt x="485" y="626"/>
                      <a:pt x="484" y="624"/>
                    </a:cubicBezTo>
                    <a:cubicBezTo>
                      <a:pt x="484" y="624"/>
                      <a:pt x="484" y="624"/>
                      <a:pt x="484" y="623"/>
                    </a:cubicBezTo>
                    <a:cubicBezTo>
                      <a:pt x="484" y="623"/>
                      <a:pt x="484" y="623"/>
                      <a:pt x="483" y="623"/>
                    </a:cubicBezTo>
                    <a:cubicBezTo>
                      <a:pt x="483" y="623"/>
                      <a:pt x="483" y="623"/>
                      <a:pt x="482" y="623"/>
                    </a:cubicBezTo>
                    <a:cubicBezTo>
                      <a:pt x="482" y="623"/>
                      <a:pt x="482" y="623"/>
                      <a:pt x="480" y="621"/>
                    </a:cubicBezTo>
                    <a:cubicBezTo>
                      <a:pt x="480" y="621"/>
                      <a:pt x="480" y="621"/>
                      <a:pt x="480" y="619"/>
                    </a:cubicBezTo>
                    <a:cubicBezTo>
                      <a:pt x="480" y="619"/>
                      <a:pt x="480" y="619"/>
                      <a:pt x="480" y="618"/>
                    </a:cubicBezTo>
                    <a:cubicBezTo>
                      <a:pt x="480" y="618"/>
                      <a:pt x="480" y="618"/>
                      <a:pt x="479" y="618"/>
                    </a:cubicBezTo>
                    <a:cubicBezTo>
                      <a:pt x="479" y="618"/>
                      <a:pt x="479" y="618"/>
                      <a:pt x="478" y="619"/>
                    </a:cubicBezTo>
                    <a:cubicBezTo>
                      <a:pt x="478" y="619"/>
                      <a:pt x="478" y="619"/>
                      <a:pt x="477" y="619"/>
                    </a:cubicBezTo>
                    <a:cubicBezTo>
                      <a:pt x="477" y="619"/>
                      <a:pt x="477" y="619"/>
                      <a:pt x="476" y="618"/>
                    </a:cubicBezTo>
                    <a:cubicBezTo>
                      <a:pt x="476" y="618"/>
                      <a:pt x="476" y="618"/>
                      <a:pt x="475" y="618"/>
                    </a:cubicBezTo>
                    <a:cubicBezTo>
                      <a:pt x="475" y="618"/>
                      <a:pt x="475" y="618"/>
                      <a:pt x="475" y="617"/>
                    </a:cubicBezTo>
                    <a:cubicBezTo>
                      <a:pt x="475" y="617"/>
                      <a:pt x="475" y="617"/>
                      <a:pt x="473" y="616"/>
                    </a:cubicBezTo>
                    <a:cubicBezTo>
                      <a:pt x="473" y="616"/>
                      <a:pt x="473" y="616"/>
                      <a:pt x="472" y="616"/>
                    </a:cubicBezTo>
                    <a:cubicBezTo>
                      <a:pt x="472" y="616"/>
                      <a:pt x="472" y="616"/>
                      <a:pt x="472" y="615"/>
                    </a:cubicBezTo>
                    <a:cubicBezTo>
                      <a:pt x="472" y="615"/>
                      <a:pt x="472" y="615"/>
                      <a:pt x="472" y="614"/>
                    </a:cubicBezTo>
                    <a:cubicBezTo>
                      <a:pt x="472" y="614"/>
                      <a:pt x="472" y="614"/>
                      <a:pt x="470" y="613"/>
                    </a:cubicBezTo>
                    <a:cubicBezTo>
                      <a:pt x="470" y="613"/>
                      <a:pt x="470" y="613"/>
                      <a:pt x="469" y="611"/>
                    </a:cubicBezTo>
                    <a:cubicBezTo>
                      <a:pt x="469" y="611"/>
                      <a:pt x="469" y="611"/>
                      <a:pt x="470" y="611"/>
                    </a:cubicBezTo>
                    <a:cubicBezTo>
                      <a:pt x="470" y="611"/>
                      <a:pt x="470" y="611"/>
                      <a:pt x="471" y="611"/>
                    </a:cubicBezTo>
                    <a:cubicBezTo>
                      <a:pt x="471" y="611"/>
                      <a:pt x="471" y="611"/>
                      <a:pt x="472" y="611"/>
                    </a:cubicBezTo>
                    <a:cubicBezTo>
                      <a:pt x="472" y="611"/>
                      <a:pt x="472" y="611"/>
                      <a:pt x="474" y="612"/>
                    </a:cubicBezTo>
                    <a:cubicBezTo>
                      <a:pt x="474" y="612"/>
                      <a:pt x="474" y="612"/>
                      <a:pt x="475" y="612"/>
                    </a:cubicBezTo>
                    <a:cubicBezTo>
                      <a:pt x="475" y="612"/>
                      <a:pt x="475" y="612"/>
                      <a:pt x="475" y="611"/>
                    </a:cubicBezTo>
                    <a:cubicBezTo>
                      <a:pt x="475" y="611"/>
                      <a:pt x="475" y="611"/>
                      <a:pt x="474" y="611"/>
                    </a:cubicBezTo>
                    <a:cubicBezTo>
                      <a:pt x="474" y="611"/>
                      <a:pt x="474" y="611"/>
                      <a:pt x="474" y="610"/>
                    </a:cubicBezTo>
                    <a:cubicBezTo>
                      <a:pt x="474" y="610"/>
                      <a:pt x="474" y="610"/>
                      <a:pt x="475" y="610"/>
                    </a:cubicBezTo>
                    <a:cubicBezTo>
                      <a:pt x="475" y="610"/>
                      <a:pt x="475" y="610"/>
                      <a:pt x="476" y="609"/>
                    </a:cubicBezTo>
                    <a:cubicBezTo>
                      <a:pt x="476" y="609"/>
                      <a:pt x="476" y="609"/>
                      <a:pt x="475" y="608"/>
                    </a:cubicBezTo>
                    <a:cubicBezTo>
                      <a:pt x="475" y="608"/>
                      <a:pt x="475" y="608"/>
                      <a:pt x="475" y="607"/>
                    </a:cubicBezTo>
                    <a:cubicBezTo>
                      <a:pt x="475" y="607"/>
                      <a:pt x="475" y="607"/>
                      <a:pt x="476" y="607"/>
                    </a:cubicBezTo>
                    <a:cubicBezTo>
                      <a:pt x="476" y="607"/>
                      <a:pt x="476" y="607"/>
                      <a:pt x="475" y="605"/>
                    </a:cubicBezTo>
                    <a:cubicBezTo>
                      <a:pt x="475" y="605"/>
                      <a:pt x="475" y="605"/>
                      <a:pt x="474" y="603"/>
                    </a:cubicBezTo>
                    <a:cubicBezTo>
                      <a:pt x="474" y="603"/>
                      <a:pt x="474" y="603"/>
                      <a:pt x="472" y="602"/>
                    </a:cubicBezTo>
                    <a:cubicBezTo>
                      <a:pt x="472" y="602"/>
                      <a:pt x="472" y="602"/>
                      <a:pt x="472" y="601"/>
                    </a:cubicBezTo>
                    <a:cubicBezTo>
                      <a:pt x="472" y="601"/>
                      <a:pt x="472" y="601"/>
                      <a:pt x="471" y="599"/>
                    </a:cubicBezTo>
                    <a:cubicBezTo>
                      <a:pt x="471" y="599"/>
                      <a:pt x="471" y="599"/>
                      <a:pt x="469" y="597"/>
                    </a:cubicBezTo>
                    <a:cubicBezTo>
                      <a:pt x="469" y="597"/>
                      <a:pt x="469" y="597"/>
                      <a:pt x="469" y="598"/>
                    </a:cubicBezTo>
                    <a:cubicBezTo>
                      <a:pt x="469" y="598"/>
                      <a:pt x="469" y="598"/>
                      <a:pt x="468" y="596"/>
                    </a:cubicBezTo>
                    <a:cubicBezTo>
                      <a:pt x="468" y="596"/>
                      <a:pt x="468" y="596"/>
                      <a:pt x="467" y="595"/>
                    </a:cubicBezTo>
                    <a:cubicBezTo>
                      <a:pt x="467" y="595"/>
                      <a:pt x="467" y="595"/>
                      <a:pt x="467" y="593"/>
                    </a:cubicBezTo>
                    <a:cubicBezTo>
                      <a:pt x="467" y="593"/>
                      <a:pt x="467" y="593"/>
                      <a:pt x="467" y="592"/>
                    </a:cubicBezTo>
                    <a:cubicBezTo>
                      <a:pt x="467" y="592"/>
                      <a:pt x="467" y="592"/>
                      <a:pt x="466" y="591"/>
                    </a:cubicBezTo>
                    <a:cubicBezTo>
                      <a:pt x="466" y="591"/>
                      <a:pt x="466" y="591"/>
                      <a:pt x="466" y="590"/>
                    </a:cubicBezTo>
                    <a:cubicBezTo>
                      <a:pt x="466" y="590"/>
                      <a:pt x="466" y="590"/>
                      <a:pt x="466" y="589"/>
                    </a:cubicBezTo>
                    <a:cubicBezTo>
                      <a:pt x="466" y="589"/>
                      <a:pt x="466" y="589"/>
                      <a:pt x="466" y="588"/>
                    </a:cubicBezTo>
                    <a:cubicBezTo>
                      <a:pt x="466" y="588"/>
                      <a:pt x="466" y="588"/>
                      <a:pt x="465" y="587"/>
                    </a:cubicBezTo>
                    <a:cubicBezTo>
                      <a:pt x="465" y="587"/>
                      <a:pt x="465" y="587"/>
                      <a:pt x="465" y="586"/>
                    </a:cubicBezTo>
                    <a:cubicBezTo>
                      <a:pt x="465" y="586"/>
                      <a:pt x="465" y="586"/>
                      <a:pt x="465" y="585"/>
                    </a:cubicBezTo>
                    <a:cubicBezTo>
                      <a:pt x="465" y="585"/>
                      <a:pt x="465" y="585"/>
                      <a:pt x="463" y="583"/>
                    </a:cubicBezTo>
                    <a:cubicBezTo>
                      <a:pt x="463" y="583"/>
                      <a:pt x="463" y="583"/>
                      <a:pt x="463" y="582"/>
                    </a:cubicBezTo>
                    <a:cubicBezTo>
                      <a:pt x="463" y="582"/>
                      <a:pt x="463" y="582"/>
                      <a:pt x="463" y="581"/>
                    </a:cubicBezTo>
                    <a:cubicBezTo>
                      <a:pt x="463" y="581"/>
                      <a:pt x="463" y="581"/>
                      <a:pt x="464" y="581"/>
                    </a:cubicBezTo>
                    <a:cubicBezTo>
                      <a:pt x="464" y="581"/>
                      <a:pt x="464" y="581"/>
                      <a:pt x="463" y="580"/>
                    </a:cubicBezTo>
                    <a:cubicBezTo>
                      <a:pt x="463" y="580"/>
                      <a:pt x="463" y="580"/>
                      <a:pt x="462" y="578"/>
                    </a:cubicBezTo>
                    <a:cubicBezTo>
                      <a:pt x="462" y="578"/>
                      <a:pt x="462" y="578"/>
                      <a:pt x="461" y="575"/>
                    </a:cubicBezTo>
                    <a:cubicBezTo>
                      <a:pt x="461" y="575"/>
                      <a:pt x="461" y="575"/>
                      <a:pt x="461" y="574"/>
                    </a:cubicBezTo>
                    <a:cubicBezTo>
                      <a:pt x="461" y="573"/>
                      <a:pt x="461" y="573"/>
                      <a:pt x="461" y="573"/>
                    </a:cubicBezTo>
                    <a:cubicBezTo>
                      <a:pt x="461" y="571"/>
                      <a:pt x="461" y="571"/>
                      <a:pt x="461" y="571"/>
                    </a:cubicBezTo>
                    <a:cubicBezTo>
                      <a:pt x="461" y="569"/>
                      <a:pt x="461" y="569"/>
                      <a:pt x="461" y="569"/>
                    </a:cubicBezTo>
                    <a:cubicBezTo>
                      <a:pt x="459" y="566"/>
                      <a:pt x="459" y="566"/>
                      <a:pt x="459" y="566"/>
                    </a:cubicBezTo>
                    <a:cubicBezTo>
                      <a:pt x="458" y="564"/>
                      <a:pt x="458" y="564"/>
                      <a:pt x="458" y="564"/>
                    </a:cubicBezTo>
                    <a:cubicBezTo>
                      <a:pt x="457" y="565"/>
                      <a:pt x="457" y="565"/>
                      <a:pt x="457" y="565"/>
                    </a:cubicBezTo>
                    <a:cubicBezTo>
                      <a:pt x="456" y="565"/>
                      <a:pt x="456" y="565"/>
                      <a:pt x="456" y="565"/>
                    </a:cubicBezTo>
                    <a:cubicBezTo>
                      <a:pt x="456" y="564"/>
                      <a:pt x="456" y="564"/>
                      <a:pt x="456" y="564"/>
                    </a:cubicBezTo>
                    <a:cubicBezTo>
                      <a:pt x="456" y="563"/>
                      <a:pt x="456" y="563"/>
                      <a:pt x="456" y="563"/>
                    </a:cubicBezTo>
                    <a:cubicBezTo>
                      <a:pt x="454" y="562"/>
                      <a:pt x="454" y="562"/>
                      <a:pt x="454" y="562"/>
                    </a:cubicBezTo>
                    <a:cubicBezTo>
                      <a:pt x="453" y="562"/>
                      <a:pt x="453" y="562"/>
                      <a:pt x="453" y="562"/>
                    </a:cubicBezTo>
                    <a:cubicBezTo>
                      <a:pt x="451" y="561"/>
                      <a:pt x="451" y="561"/>
                      <a:pt x="451" y="561"/>
                    </a:cubicBezTo>
                    <a:cubicBezTo>
                      <a:pt x="451" y="560"/>
                      <a:pt x="451" y="560"/>
                      <a:pt x="451" y="560"/>
                    </a:cubicBezTo>
                    <a:cubicBezTo>
                      <a:pt x="450" y="559"/>
                      <a:pt x="450" y="559"/>
                      <a:pt x="450" y="559"/>
                    </a:cubicBezTo>
                    <a:cubicBezTo>
                      <a:pt x="449" y="559"/>
                      <a:pt x="449" y="559"/>
                      <a:pt x="449" y="559"/>
                    </a:cubicBezTo>
                    <a:cubicBezTo>
                      <a:pt x="448" y="559"/>
                      <a:pt x="448" y="559"/>
                      <a:pt x="448" y="559"/>
                    </a:cubicBezTo>
                    <a:cubicBezTo>
                      <a:pt x="447" y="558"/>
                      <a:pt x="447" y="558"/>
                      <a:pt x="447" y="558"/>
                    </a:cubicBezTo>
                    <a:cubicBezTo>
                      <a:pt x="446" y="558"/>
                      <a:pt x="446" y="558"/>
                      <a:pt x="446" y="558"/>
                    </a:cubicBezTo>
                    <a:cubicBezTo>
                      <a:pt x="443" y="558"/>
                      <a:pt x="443" y="558"/>
                      <a:pt x="443" y="558"/>
                    </a:cubicBezTo>
                    <a:cubicBezTo>
                      <a:pt x="442" y="557"/>
                      <a:pt x="442" y="557"/>
                      <a:pt x="442" y="557"/>
                    </a:cubicBezTo>
                    <a:cubicBezTo>
                      <a:pt x="443" y="556"/>
                      <a:pt x="443" y="556"/>
                      <a:pt x="443" y="556"/>
                    </a:cubicBezTo>
                    <a:cubicBezTo>
                      <a:pt x="443" y="555"/>
                      <a:pt x="443" y="555"/>
                      <a:pt x="443" y="555"/>
                    </a:cubicBezTo>
                    <a:cubicBezTo>
                      <a:pt x="444" y="554"/>
                      <a:pt x="444" y="554"/>
                      <a:pt x="444" y="554"/>
                    </a:cubicBezTo>
                    <a:cubicBezTo>
                      <a:pt x="443" y="552"/>
                      <a:pt x="443" y="552"/>
                      <a:pt x="443" y="552"/>
                    </a:cubicBezTo>
                    <a:cubicBezTo>
                      <a:pt x="442" y="551"/>
                      <a:pt x="442" y="551"/>
                      <a:pt x="442" y="551"/>
                    </a:cubicBezTo>
                    <a:cubicBezTo>
                      <a:pt x="442" y="550"/>
                      <a:pt x="442" y="550"/>
                      <a:pt x="442" y="550"/>
                    </a:cubicBezTo>
                    <a:cubicBezTo>
                      <a:pt x="441" y="549"/>
                      <a:pt x="441" y="549"/>
                      <a:pt x="441" y="549"/>
                    </a:cubicBezTo>
                    <a:cubicBezTo>
                      <a:pt x="439" y="546"/>
                      <a:pt x="439" y="546"/>
                      <a:pt x="439" y="546"/>
                    </a:cubicBezTo>
                    <a:cubicBezTo>
                      <a:pt x="439" y="544"/>
                      <a:pt x="439" y="544"/>
                      <a:pt x="439" y="544"/>
                    </a:cubicBezTo>
                    <a:cubicBezTo>
                      <a:pt x="438" y="543"/>
                      <a:pt x="438" y="543"/>
                      <a:pt x="438" y="543"/>
                    </a:cubicBezTo>
                    <a:cubicBezTo>
                      <a:pt x="438" y="542"/>
                      <a:pt x="438" y="542"/>
                      <a:pt x="438" y="542"/>
                    </a:cubicBezTo>
                    <a:cubicBezTo>
                      <a:pt x="438" y="541"/>
                      <a:pt x="438" y="541"/>
                      <a:pt x="438" y="541"/>
                    </a:cubicBezTo>
                    <a:cubicBezTo>
                      <a:pt x="438" y="540"/>
                      <a:pt x="438" y="540"/>
                      <a:pt x="438" y="540"/>
                    </a:cubicBezTo>
                    <a:cubicBezTo>
                      <a:pt x="438" y="539"/>
                      <a:pt x="438" y="539"/>
                      <a:pt x="438" y="539"/>
                    </a:cubicBezTo>
                    <a:cubicBezTo>
                      <a:pt x="439" y="538"/>
                      <a:pt x="439" y="538"/>
                      <a:pt x="439" y="538"/>
                    </a:cubicBezTo>
                    <a:cubicBezTo>
                      <a:pt x="439" y="537"/>
                      <a:pt x="439" y="537"/>
                      <a:pt x="439" y="537"/>
                    </a:cubicBezTo>
                    <a:cubicBezTo>
                      <a:pt x="438" y="537"/>
                      <a:pt x="438" y="537"/>
                      <a:pt x="438" y="537"/>
                    </a:cubicBezTo>
                    <a:cubicBezTo>
                      <a:pt x="438" y="536"/>
                      <a:pt x="438" y="536"/>
                      <a:pt x="438" y="536"/>
                    </a:cubicBezTo>
                    <a:cubicBezTo>
                      <a:pt x="437" y="535"/>
                      <a:pt x="437" y="535"/>
                      <a:pt x="437" y="535"/>
                    </a:cubicBezTo>
                    <a:cubicBezTo>
                      <a:pt x="437" y="534"/>
                      <a:pt x="437" y="534"/>
                      <a:pt x="437" y="534"/>
                    </a:cubicBezTo>
                    <a:cubicBezTo>
                      <a:pt x="437" y="533"/>
                      <a:pt x="437" y="533"/>
                      <a:pt x="437" y="533"/>
                    </a:cubicBezTo>
                    <a:cubicBezTo>
                      <a:pt x="437" y="532"/>
                      <a:pt x="437" y="532"/>
                      <a:pt x="437" y="532"/>
                    </a:cubicBezTo>
                    <a:cubicBezTo>
                      <a:pt x="437" y="531"/>
                      <a:pt x="437" y="531"/>
                      <a:pt x="437" y="531"/>
                    </a:cubicBezTo>
                    <a:cubicBezTo>
                      <a:pt x="437" y="530"/>
                      <a:pt x="437" y="530"/>
                      <a:pt x="437" y="530"/>
                    </a:cubicBezTo>
                    <a:cubicBezTo>
                      <a:pt x="438" y="530"/>
                      <a:pt x="438" y="530"/>
                      <a:pt x="438" y="530"/>
                    </a:cubicBezTo>
                    <a:cubicBezTo>
                      <a:pt x="439" y="531"/>
                      <a:pt x="439" y="531"/>
                      <a:pt x="439" y="531"/>
                    </a:cubicBezTo>
                    <a:cubicBezTo>
                      <a:pt x="439" y="530"/>
                      <a:pt x="439" y="530"/>
                      <a:pt x="439" y="530"/>
                    </a:cubicBezTo>
                    <a:cubicBezTo>
                      <a:pt x="439" y="529"/>
                      <a:pt x="439" y="529"/>
                      <a:pt x="439" y="529"/>
                    </a:cubicBezTo>
                    <a:cubicBezTo>
                      <a:pt x="438" y="528"/>
                      <a:pt x="438" y="528"/>
                      <a:pt x="438" y="528"/>
                    </a:cubicBezTo>
                    <a:cubicBezTo>
                      <a:pt x="438" y="527"/>
                      <a:pt x="438" y="527"/>
                      <a:pt x="438" y="527"/>
                    </a:cubicBezTo>
                    <a:cubicBezTo>
                      <a:pt x="439" y="527"/>
                      <a:pt x="439" y="527"/>
                      <a:pt x="439" y="527"/>
                    </a:cubicBezTo>
                    <a:cubicBezTo>
                      <a:pt x="439" y="528"/>
                      <a:pt x="439" y="528"/>
                      <a:pt x="439" y="528"/>
                    </a:cubicBezTo>
                    <a:cubicBezTo>
                      <a:pt x="440" y="528"/>
                      <a:pt x="440" y="528"/>
                      <a:pt x="440" y="528"/>
                    </a:cubicBezTo>
                    <a:cubicBezTo>
                      <a:pt x="442" y="527"/>
                      <a:pt x="442" y="527"/>
                      <a:pt x="442" y="527"/>
                    </a:cubicBezTo>
                    <a:cubicBezTo>
                      <a:pt x="440" y="527"/>
                      <a:pt x="440" y="527"/>
                      <a:pt x="440" y="527"/>
                    </a:cubicBezTo>
                    <a:cubicBezTo>
                      <a:pt x="439" y="527"/>
                      <a:pt x="439" y="527"/>
                      <a:pt x="439" y="527"/>
                    </a:cubicBezTo>
                    <a:cubicBezTo>
                      <a:pt x="439" y="526"/>
                      <a:pt x="439" y="526"/>
                      <a:pt x="439" y="526"/>
                    </a:cubicBezTo>
                    <a:cubicBezTo>
                      <a:pt x="438" y="526"/>
                      <a:pt x="438" y="526"/>
                      <a:pt x="438" y="526"/>
                    </a:cubicBezTo>
                    <a:cubicBezTo>
                      <a:pt x="437" y="526"/>
                      <a:pt x="437" y="526"/>
                      <a:pt x="437" y="526"/>
                    </a:cubicBezTo>
                    <a:cubicBezTo>
                      <a:pt x="437" y="527"/>
                      <a:pt x="437" y="527"/>
                      <a:pt x="437" y="527"/>
                    </a:cubicBezTo>
                    <a:cubicBezTo>
                      <a:pt x="437" y="528"/>
                      <a:pt x="437" y="528"/>
                      <a:pt x="437" y="528"/>
                    </a:cubicBezTo>
                    <a:cubicBezTo>
                      <a:pt x="436" y="528"/>
                      <a:pt x="436" y="528"/>
                      <a:pt x="436" y="528"/>
                    </a:cubicBezTo>
                    <a:cubicBezTo>
                      <a:pt x="435" y="527"/>
                      <a:pt x="435" y="527"/>
                      <a:pt x="435" y="527"/>
                    </a:cubicBezTo>
                    <a:cubicBezTo>
                      <a:pt x="435" y="526"/>
                      <a:pt x="435" y="526"/>
                      <a:pt x="435" y="526"/>
                    </a:cubicBezTo>
                    <a:cubicBezTo>
                      <a:pt x="435" y="525"/>
                      <a:pt x="435" y="525"/>
                      <a:pt x="435" y="525"/>
                    </a:cubicBezTo>
                    <a:cubicBezTo>
                      <a:pt x="435" y="524"/>
                      <a:pt x="435" y="524"/>
                      <a:pt x="435" y="524"/>
                    </a:cubicBezTo>
                    <a:cubicBezTo>
                      <a:pt x="432" y="520"/>
                      <a:pt x="432" y="520"/>
                      <a:pt x="432" y="520"/>
                    </a:cubicBezTo>
                    <a:cubicBezTo>
                      <a:pt x="432" y="519"/>
                      <a:pt x="432" y="519"/>
                      <a:pt x="432" y="519"/>
                    </a:cubicBezTo>
                    <a:cubicBezTo>
                      <a:pt x="432" y="518"/>
                      <a:pt x="432" y="518"/>
                      <a:pt x="432" y="518"/>
                    </a:cubicBezTo>
                    <a:cubicBezTo>
                      <a:pt x="433" y="517"/>
                      <a:pt x="433" y="517"/>
                      <a:pt x="433" y="517"/>
                    </a:cubicBezTo>
                    <a:cubicBezTo>
                      <a:pt x="432" y="516"/>
                      <a:pt x="432" y="516"/>
                      <a:pt x="432" y="516"/>
                    </a:cubicBezTo>
                    <a:cubicBezTo>
                      <a:pt x="432" y="515"/>
                      <a:pt x="432" y="515"/>
                      <a:pt x="432" y="515"/>
                    </a:cubicBezTo>
                    <a:cubicBezTo>
                      <a:pt x="432" y="514"/>
                      <a:pt x="432" y="514"/>
                      <a:pt x="432" y="514"/>
                    </a:cubicBezTo>
                    <a:cubicBezTo>
                      <a:pt x="433" y="513"/>
                      <a:pt x="433" y="513"/>
                      <a:pt x="433" y="513"/>
                    </a:cubicBezTo>
                    <a:cubicBezTo>
                      <a:pt x="433" y="512"/>
                      <a:pt x="433" y="512"/>
                      <a:pt x="433" y="512"/>
                    </a:cubicBezTo>
                    <a:cubicBezTo>
                      <a:pt x="433" y="509"/>
                      <a:pt x="433" y="509"/>
                      <a:pt x="433" y="509"/>
                    </a:cubicBezTo>
                    <a:cubicBezTo>
                      <a:pt x="432" y="507"/>
                      <a:pt x="432" y="507"/>
                      <a:pt x="432" y="507"/>
                    </a:cubicBezTo>
                    <a:cubicBezTo>
                      <a:pt x="431" y="505"/>
                      <a:pt x="431" y="505"/>
                      <a:pt x="431" y="505"/>
                    </a:cubicBezTo>
                    <a:cubicBezTo>
                      <a:pt x="431" y="504"/>
                      <a:pt x="431" y="504"/>
                      <a:pt x="431" y="504"/>
                    </a:cubicBezTo>
                    <a:cubicBezTo>
                      <a:pt x="431" y="502"/>
                      <a:pt x="431" y="502"/>
                      <a:pt x="431" y="502"/>
                    </a:cubicBezTo>
                    <a:cubicBezTo>
                      <a:pt x="433" y="501"/>
                      <a:pt x="433" y="501"/>
                      <a:pt x="433" y="501"/>
                    </a:cubicBezTo>
                    <a:cubicBezTo>
                      <a:pt x="434" y="499"/>
                      <a:pt x="434" y="499"/>
                      <a:pt x="434" y="499"/>
                    </a:cubicBezTo>
                    <a:cubicBezTo>
                      <a:pt x="433" y="499"/>
                      <a:pt x="433" y="499"/>
                      <a:pt x="433" y="499"/>
                    </a:cubicBezTo>
                    <a:cubicBezTo>
                      <a:pt x="433" y="498"/>
                      <a:pt x="433" y="498"/>
                      <a:pt x="433" y="498"/>
                    </a:cubicBezTo>
                    <a:cubicBezTo>
                      <a:pt x="434" y="498"/>
                      <a:pt x="434" y="498"/>
                      <a:pt x="434" y="498"/>
                    </a:cubicBezTo>
                    <a:cubicBezTo>
                      <a:pt x="435" y="496"/>
                      <a:pt x="435" y="496"/>
                      <a:pt x="435" y="496"/>
                    </a:cubicBezTo>
                    <a:cubicBezTo>
                      <a:pt x="435" y="494"/>
                      <a:pt x="435" y="494"/>
                      <a:pt x="435" y="494"/>
                    </a:cubicBezTo>
                    <a:cubicBezTo>
                      <a:pt x="434" y="492"/>
                      <a:pt x="434" y="492"/>
                      <a:pt x="434" y="492"/>
                    </a:cubicBezTo>
                    <a:cubicBezTo>
                      <a:pt x="435" y="491"/>
                      <a:pt x="435" y="491"/>
                      <a:pt x="435" y="491"/>
                    </a:cubicBezTo>
                    <a:cubicBezTo>
                      <a:pt x="435" y="490"/>
                      <a:pt x="435" y="490"/>
                      <a:pt x="435" y="490"/>
                    </a:cubicBezTo>
                    <a:cubicBezTo>
                      <a:pt x="434" y="489"/>
                      <a:pt x="434" y="489"/>
                      <a:pt x="434" y="489"/>
                    </a:cubicBezTo>
                    <a:cubicBezTo>
                      <a:pt x="434" y="488"/>
                      <a:pt x="434" y="488"/>
                      <a:pt x="434" y="488"/>
                    </a:cubicBezTo>
                    <a:cubicBezTo>
                      <a:pt x="435" y="485"/>
                      <a:pt x="435" y="485"/>
                      <a:pt x="435" y="485"/>
                    </a:cubicBezTo>
                    <a:cubicBezTo>
                      <a:pt x="435" y="483"/>
                      <a:pt x="435" y="483"/>
                      <a:pt x="435" y="483"/>
                    </a:cubicBezTo>
                    <a:cubicBezTo>
                      <a:pt x="435" y="482"/>
                      <a:pt x="435" y="482"/>
                      <a:pt x="435" y="482"/>
                    </a:cubicBezTo>
                    <a:cubicBezTo>
                      <a:pt x="437" y="480"/>
                      <a:pt x="437" y="480"/>
                      <a:pt x="437" y="480"/>
                    </a:cubicBezTo>
                    <a:cubicBezTo>
                      <a:pt x="437" y="478"/>
                      <a:pt x="437" y="478"/>
                      <a:pt x="437" y="478"/>
                    </a:cubicBezTo>
                    <a:cubicBezTo>
                      <a:pt x="438" y="478"/>
                      <a:pt x="438" y="478"/>
                      <a:pt x="438" y="478"/>
                    </a:cubicBezTo>
                    <a:cubicBezTo>
                      <a:pt x="439" y="476"/>
                      <a:pt x="439" y="476"/>
                      <a:pt x="439" y="476"/>
                    </a:cubicBezTo>
                    <a:cubicBezTo>
                      <a:pt x="440" y="474"/>
                      <a:pt x="440" y="474"/>
                      <a:pt x="440" y="474"/>
                    </a:cubicBezTo>
                    <a:cubicBezTo>
                      <a:pt x="441" y="473"/>
                      <a:pt x="441" y="473"/>
                      <a:pt x="441" y="473"/>
                    </a:cubicBezTo>
                    <a:cubicBezTo>
                      <a:pt x="441" y="469"/>
                      <a:pt x="441" y="469"/>
                      <a:pt x="441" y="469"/>
                    </a:cubicBezTo>
                    <a:cubicBezTo>
                      <a:pt x="443" y="466"/>
                      <a:pt x="443" y="466"/>
                      <a:pt x="443" y="466"/>
                    </a:cubicBezTo>
                    <a:cubicBezTo>
                      <a:pt x="443" y="463"/>
                      <a:pt x="443" y="463"/>
                      <a:pt x="443" y="463"/>
                    </a:cubicBezTo>
                    <a:cubicBezTo>
                      <a:pt x="445" y="460"/>
                      <a:pt x="445" y="460"/>
                      <a:pt x="445" y="460"/>
                    </a:cubicBezTo>
                    <a:cubicBezTo>
                      <a:pt x="445" y="458"/>
                      <a:pt x="445" y="458"/>
                      <a:pt x="445" y="458"/>
                    </a:cubicBezTo>
                    <a:cubicBezTo>
                      <a:pt x="446" y="457"/>
                      <a:pt x="446" y="457"/>
                      <a:pt x="446" y="457"/>
                    </a:cubicBezTo>
                    <a:cubicBezTo>
                      <a:pt x="446" y="456"/>
                      <a:pt x="446" y="456"/>
                      <a:pt x="446" y="456"/>
                    </a:cubicBezTo>
                    <a:cubicBezTo>
                      <a:pt x="446" y="455"/>
                      <a:pt x="446" y="455"/>
                      <a:pt x="446" y="455"/>
                    </a:cubicBezTo>
                    <a:cubicBezTo>
                      <a:pt x="447" y="453"/>
                      <a:pt x="447" y="453"/>
                      <a:pt x="447" y="453"/>
                    </a:cubicBezTo>
                    <a:cubicBezTo>
                      <a:pt x="447" y="452"/>
                      <a:pt x="447" y="452"/>
                      <a:pt x="447" y="452"/>
                    </a:cubicBezTo>
                    <a:cubicBezTo>
                      <a:pt x="448" y="452"/>
                      <a:pt x="448" y="452"/>
                      <a:pt x="448" y="452"/>
                    </a:cubicBezTo>
                    <a:cubicBezTo>
                      <a:pt x="450" y="452"/>
                      <a:pt x="450" y="452"/>
                      <a:pt x="450" y="452"/>
                    </a:cubicBezTo>
                    <a:cubicBezTo>
                      <a:pt x="451" y="453"/>
                      <a:pt x="451" y="453"/>
                      <a:pt x="451" y="453"/>
                    </a:cubicBezTo>
                    <a:cubicBezTo>
                      <a:pt x="452" y="453"/>
                      <a:pt x="452" y="453"/>
                      <a:pt x="452" y="453"/>
                    </a:cubicBezTo>
                    <a:cubicBezTo>
                      <a:pt x="453" y="454"/>
                      <a:pt x="453" y="454"/>
                      <a:pt x="453" y="454"/>
                    </a:cubicBezTo>
                    <a:cubicBezTo>
                      <a:pt x="454" y="455"/>
                      <a:pt x="454" y="455"/>
                      <a:pt x="454" y="455"/>
                    </a:cubicBezTo>
                    <a:cubicBezTo>
                      <a:pt x="454" y="453"/>
                      <a:pt x="454" y="453"/>
                      <a:pt x="454" y="453"/>
                    </a:cubicBezTo>
                    <a:cubicBezTo>
                      <a:pt x="453" y="453"/>
                      <a:pt x="453" y="453"/>
                      <a:pt x="453" y="453"/>
                    </a:cubicBezTo>
                    <a:cubicBezTo>
                      <a:pt x="452" y="452"/>
                      <a:pt x="452" y="452"/>
                      <a:pt x="452" y="452"/>
                    </a:cubicBezTo>
                    <a:cubicBezTo>
                      <a:pt x="451" y="451"/>
                      <a:pt x="451" y="451"/>
                      <a:pt x="451" y="451"/>
                    </a:cubicBezTo>
                    <a:cubicBezTo>
                      <a:pt x="449" y="451"/>
                      <a:pt x="449" y="451"/>
                      <a:pt x="449" y="451"/>
                    </a:cubicBezTo>
                    <a:cubicBezTo>
                      <a:pt x="447" y="451"/>
                      <a:pt x="447" y="451"/>
                      <a:pt x="447" y="451"/>
                    </a:cubicBezTo>
                    <a:cubicBezTo>
                      <a:pt x="447" y="450"/>
                      <a:pt x="447" y="450"/>
                      <a:pt x="447" y="450"/>
                    </a:cubicBezTo>
                    <a:cubicBezTo>
                      <a:pt x="448" y="450"/>
                      <a:pt x="448" y="450"/>
                      <a:pt x="448" y="450"/>
                    </a:cubicBezTo>
                    <a:cubicBezTo>
                      <a:pt x="449" y="449"/>
                      <a:pt x="449" y="449"/>
                      <a:pt x="449" y="449"/>
                    </a:cubicBezTo>
                    <a:cubicBezTo>
                      <a:pt x="449" y="448"/>
                      <a:pt x="449" y="448"/>
                      <a:pt x="449" y="448"/>
                    </a:cubicBezTo>
                    <a:cubicBezTo>
                      <a:pt x="449" y="447"/>
                      <a:pt x="449" y="447"/>
                      <a:pt x="449" y="447"/>
                    </a:cubicBezTo>
                    <a:cubicBezTo>
                      <a:pt x="448" y="446"/>
                      <a:pt x="448" y="446"/>
                      <a:pt x="448" y="446"/>
                    </a:cubicBezTo>
                    <a:cubicBezTo>
                      <a:pt x="448" y="445"/>
                      <a:pt x="448" y="445"/>
                      <a:pt x="448" y="445"/>
                    </a:cubicBezTo>
                    <a:cubicBezTo>
                      <a:pt x="449" y="445"/>
                      <a:pt x="449" y="445"/>
                      <a:pt x="449" y="445"/>
                    </a:cubicBezTo>
                    <a:cubicBezTo>
                      <a:pt x="449" y="444"/>
                      <a:pt x="449" y="444"/>
                      <a:pt x="449" y="444"/>
                    </a:cubicBezTo>
                    <a:cubicBezTo>
                      <a:pt x="448" y="444"/>
                      <a:pt x="448" y="444"/>
                      <a:pt x="448" y="444"/>
                    </a:cubicBezTo>
                    <a:cubicBezTo>
                      <a:pt x="448" y="443"/>
                      <a:pt x="448" y="443"/>
                      <a:pt x="448" y="443"/>
                    </a:cubicBezTo>
                    <a:cubicBezTo>
                      <a:pt x="448" y="441"/>
                      <a:pt x="448" y="441"/>
                      <a:pt x="448" y="441"/>
                    </a:cubicBezTo>
                    <a:cubicBezTo>
                      <a:pt x="448" y="440"/>
                      <a:pt x="448" y="440"/>
                      <a:pt x="448" y="440"/>
                    </a:cubicBezTo>
                    <a:cubicBezTo>
                      <a:pt x="449" y="436"/>
                      <a:pt x="449" y="436"/>
                      <a:pt x="449" y="436"/>
                    </a:cubicBezTo>
                    <a:cubicBezTo>
                      <a:pt x="448" y="434"/>
                      <a:pt x="448" y="434"/>
                      <a:pt x="448" y="434"/>
                    </a:cubicBezTo>
                    <a:cubicBezTo>
                      <a:pt x="448" y="433"/>
                      <a:pt x="448" y="433"/>
                      <a:pt x="448" y="433"/>
                    </a:cubicBezTo>
                    <a:cubicBezTo>
                      <a:pt x="449" y="431"/>
                      <a:pt x="449" y="431"/>
                      <a:pt x="449" y="431"/>
                    </a:cubicBezTo>
                    <a:cubicBezTo>
                      <a:pt x="449" y="429"/>
                      <a:pt x="449" y="429"/>
                      <a:pt x="449" y="429"/>
                    </a:cubicBezTo>
                    <a:cubicBezTo>
                      <a:pt x="450" y="429"/>
                      <a:pt x="450" y="429"/>
                      <a:pt x="450" y="429"/>
                    </a:cubicBezTo>
                    <a:cubicBezTo>
                      <a:pt x="452" y="432"/>
                      <a:pt x="452" y="432"/>
                      <a:pt x="452" y="432"/>
                    </a:cubicBezTo>
                    <a:cubicBezTo>
                      <a:pt x="454" y="433"/>
                      <a:pt x="454" y="433"/>
                      <a:pt x="454" y="433"/>
                    </a:cubicBezTo>
                    <a:cubicBezTo>
                      <a:pt x="457" y="433"/>
                      <a:pt x="457" y="433"/>
                      <a:pt x="457" y="433"/>
                    </a:cubicBezTo>
                    <a:cubicBezTo>
                      <a:pt x="458" y="433"/>
                      <a:pt x="458" y="433"/>
                      <a:pt x="458" y="433"/>
                    </a:cubicBezTo>
                    <a:cubicBezTo>
                      <a:pt x="458" y="434"/>
                      <a:pt x="458" y="434"/>
                      <a:pt x="458" y="434"/>
                    </a:cubicBezTo>
                    <a:cubicBezTo>
                      <a:pt x="459" y="434"/>
                      <a:pt x="459" y="434"/>
                      <a:pt x="459" y="434"/>
                    </a:cubicBezTo>
                    <a:cubicBezTo>
                      <a:pt x="460" y="434"/>
                      <a:pt x="460" y="434"/>
                      <a:pt x="460" y="434"/>
                    </a:cubicBezTo>
                    <a:cubicBezTo>
                      <a:pt x="460" y="435"/>
                      <a:pt x="460" y="435"/>
                      <a:pt x="460" y="435"/>
                    </a:cubicBezTo>
                    <a:cubicBezTo>
                      <a:pt x="460" y="436"/>
                      <a:pt x="460" y="436"/>
                      <a:pt x="460" y="436"/>
                    </a:cubicBezTo>
                    <a:cubicBezTo>
                      <a:pt x="458" y="436"/>
                      <a:pt x="458" y="436"/>
                      <a:pt x="458" y="436"/>
                    </a:cubicBezTo>
                    <a:cubicBezTo>
                      <a:pt x="457" y="437"/>
                      <a:pt x="457" y="437"/>
                      <a:pt x="457" y="437"/>
                    </a:cubicBezTo>
                    <a:cubicBezTo>
                      <a:pt x="457" y="438"/>
                      <a:pt x="457" y="438"/>
                      <a:pt x="457" y="438"/>
                    </a:cubicBezTo>
                    <a:cubicBezTo>
                      <a:pt x="458" y="438"/>
                      <a:pt x="458" y="438"/>
                      <a:pt x="458" y="438"/>
                    </a:cubicBezTo>
                    <a:cubicBezTo>
                      <a:pt x="459" y="437"/>
                      <a:pt x="459" y="437"/>
                      <a:pt x="459" y="437"/>
                    </a:cubicBezTo>
                    <a:cubicBezTo>
                      <a:pt x="460" y="436"/>
                      <a:pt x="460" y="436"/>
                      <a:pt x="460" y="436"/>
                    </a:cubicBezTo>
                    <a:cubicBezTo>
                      <a:pt x="461" y="437"/>
                      <a:pt x="461" y="437"/>
                      <a:pt x="461" y="437"/>
                    </a:cubicBezTo>
                    <a:cubicBezTo>
                      <a:pt x="460" y="438"/>
                      <a:pt x="460" y="438"/>
                      <a:pt x="460" y="438"/>
                    </a:cubicBezTo>
                    <a:cubicBezTo>
                      <a:pt x="459" y="439"/>
                      <a:pt x="459" y="439"/>
                      <a:pt x="459" y="439"/>
                    </a:cubicBezTo>
                    <a:cubicBezTo>
                      <a:pt x="459" y="441"/>
                      <a:pt x="459" y="441"/>
                      <a:pt x="459" y="441"/>
                    </a:cubicBezTo>
                    <a:cubicBezTo>
                      <a:pt x="458" y="441"/>
                      <a:pt x="458" y="441"/>
                      <a:pt x="458" y="441"/>
                    </a:cubicBezTo>
                    <a:cubicBezTo>
                      <a:pt x="458" y="440"/>
                      <a:pt x="458" y="440"/>
                      <a:pt x="458" y="440"/>
                    </a:cubicBezTo>
                    <a:cubicBezTo>
                      <a:pt x="457" y="441"/>
                      <a:pt x="457" y="441"/>
                      <a:pt x="457" y="441"/>
                    </a:cubicBezTo>
                    <a:cubicBezTo>
                      <a:pt x="456" y="442"/>
                      <a:pt x="456" y="442"/>
                      <a:pt x="456" y="442"/>
                    </a:cubicBezTo>
                    <a:cubicBezTo>
                      <a:pt x="457" y="442"/>
                      <a:pt x="457" y="442"/>
                      <a:pt x="457" y="442"/>
                    </a:cubicBezTo>
                    <a:cubicBezTo>
                      <a:pt x="458" y="443"/>
                      <a:pt x="458" y="443"/>
                      <a:pt x="458" y="443"/>
                    </a:cubicBezTo>
                    <a:cubicBezTo>
                      <a:pt x="459" y="442"/>
                      <a:pt x="459" y="442"/>
                      <a:pt x="459" y="442"/>
                    </a:cubicBezTo>
                    <a:cubicBezTo>
                      <a:pt x="459" y="441"/>
                      <a:pt x="459" y="441"/>
                      <a:pt x="459" y="441"/>
                    </a:cubicBezTo>
                    <a:cubicBezTo>
                      <a:pt x="460" y="440"/>
                      <a:pt x="460" y="440"/>
                      <a:pt x="460" y="440"/>
                    </a:cubicBezTo>
                    <a:cubicBezTo>
                      <a:pt x="460" y="439"/>
                      <a:pt x="460" y="439"/>
                      <a:pt x="460" y="439"/>
                    </a:cubicBezTo>
                    <a:cubicBezTo>
                      <a:pt x="461" y="438"/>
                      <a:pt x="461" y="438"/>
                      <a:pt x="461" y="438"/>
                    </a:cubicBezTo>
                    <a:cubicBezTo>
                      <a:pt x="461" y="437"/>
                      <a:pt x="461" y="437"/>
                      <a:pt x="461" y="437"/>
                    </a:cubicBezTo>
                    <a:cubicBezTo>
                      <a:pt x="462" y="436"/>
                      <a:pt x="462" y="436"/>
                      <a:pt x="462" y="436"/>
                    </a:cubicBezTo>
                    <a:cubicBezTo>
                      <a:pt x="463" y="435"/>
                      <a:pt x="463" y="435"/>
                      <a:pt x="463" y="435"/>
                    </a:cubicBezTo>
                    <a:cubicBezTo>
                      <a:pt x="463" y="434"/>
                      <a:pt x="463" y="434"/>
                      <a:pt x="463" y="434"/>
                    </a:cubicBezTo>
                    <a:cubicBezTo>
                      <a:pt x="463" y="433"/>
                      <a:pt x="463" y="433"/>
                      <a:pt x="463" y="433"/>
                    </a:cubicBezTo>
                    <a:cubicBezTo>
                      <a:pt x="462" y="433"/>
                      <a:pt x="462" y="433"/>
                      <a:pt x="462" y="433"/>
                    </a:cubicBezTo>
                    <a:cubicBezTo>
                      <a:pt x="463" y="432"/>
                      <a:pt x="463" y="432"/>
                      <a:pt x="463" y="432"/>
                    </a:cubicBezTo>
                    <a:cubicBezTo>
                      <a:pt x="463" y="431"/>
                      <a:pt x="463" y="431"/>
                      <a:pt x="463" y="431"/>
                    </a:cubicBezTo>
                    <a:cubicBezTo>
                      <a:pt x="462" y="429"/>
                      <a:pt x="462" y="429"/>
                      <a:pt x="462" y="429"/>
                    </a:cubicBezTo>
                    <a:cubicBezTo>
                      <a:pt x="463" y="429"/>
                      <a:pt x="463" y="429"/>
                      <a:pt x="463" y="429"/>
                    </a:cubicBezTo>
                    <a:cubicBezTo>
                      <a:pt x="464" y="428"/>
                      <a:pt x="464" y="428"/>
                      <a:pt x="464" y="428"/>
                    </a:cubicBezTo>
                    <a:cubicBezTo>
                      <a:pt x="462" y="427"/>
                      <a:pt x="462" y="427"/>
                      <a:pt x="462" y="427"/>
                    </a:cubicBezTo>
                    <a:cubicBezTo>
                      <a:pt x="462" y="425"/>
                      <a:pt x="462" y="425"/>
                      <a:pt x="462" y="425"/>
                    </a:cubicBezTo>
                    <a:cubicBezTo>
                      <a:pt x="461" y="424"/>
                      <a:pt x="461" y="424"/>
                      <a:pt x="461" y="424"/>
                    </a:cubicBezTo>
                    <a:cubicBezTo>
                      <a:pt x="460" y="422"/>
                      <a:pt x="460" y="422"/>
                      <a:pt x="460" y="422"/>
                    </a:cubicBezTo>
                    <a:cubicBezTo>
                      <a:pt x="462" y="420"/>
                      <a:pt x="462" y="420"/>
                      <a:pt x="462" y="420"/>
                    </a:cubicBezTo>
                    <a:cubicBezTo>
                      <a:pt x="462" y="418"/>
                      <a:pt x="462" y="418"/>
                      <a:pt x="462" y="418"/>
                    </a:cubicBezTo>
                    <a:cubicBezTo>
                      <a:pt x="461" y="419"/>
                      <a:pt x="461" y="419"/>
                      <a:pt x="461" y="419"/>
                    </a:cubicBezTo>
                    <a:cubicBezTo>
                      <a:pt x="460" y="419"/>
                      <a:pt x="460" y="419"/>
                      <a:pt x="460" y="419"/>
                    </a:cubicBezTo>
                    <a:cubicBezTo>
                      <a:pt x="458" y="420"/>
                      <a:pt x="458" y="420"/>
                      <a:pt x="458" y="420"/>
                    </a:cubicBezTo>
                    <a:cubicBezTo>
                      <a:pt x="457" y="419"/>
                      <a:pt x="457" y="419"/>
                      <a:pt x="457" y="419"/>
                    </a:cubicBezTo>
                    <a:cubicBezTo>
                      <a:pt x="457" y="417"/>
                      <a:pt x="457" y="417"/>
                      <a:pt x="457" y="417"/>
                    </a:cubicBezTo>
                    <a:cubicBezTo>
                      <a:pt x="458" y="417"/>
                      <a:pt x="458" y="417"/>
                      <a:pt x="458" y="417"/>
                    </a:cubicBezTo>
                    <a:cubicBezTo>
                      <a:pt x="458" y="418"/>
                      <a:pt x="458" y="418"/>
                      <a:pt x="458" y="418"/>
                    </a:cubicBezTo>
                    <a:cubicBezTo>
                      <a:pt x="459" y="419"/>
                      <a:pt x="459" y="419"/>
                      <a:pt x="459" y="419"/>
                    </a:cubicBezTo>
                    <a:cubicBezTo>
                      <a:pt x="459" y="418"/>
                      <a:pt x="459" y="418"/>
                      <a:pt x="459" y="418"/>
                    </a:cubicBezTo>
                    <a:cubicBezTo>
                      <a:pt x="458" y="417"/>
                      <a:pt x="458" y="417"/>
                      <a:pt x="458" y="417"/>
                    </a:cubicBezTo>
                    <a:cubicBezTo>
                      <a:pt x="458" y="416"/>
                      <a:pt x="458" y="416"/>
                      <a:pt x="458" y="416"/>
                    </a:cubicBezTo>
                    <a:cubicBezTo>
                      <a:pt x="457" y="416"/>
                      <a:pt x="457" y="416"/>
                      <a:pt x="457" y="416"/>
                    </a:cubicBezTo>
                    <a:cubicBezTo>
                      <a:pt x="456" y="416"/>
                      <a:pt x="456" y="416"/>
                      <a:pt x="456" y="416"/>
                    </a:cubicBezTo>
                    <a:cubicBezTo>
                      <a:pt x="455" y="416"/>
                      <a:pt x="455" y="416"/>
                      <a:pt x="455" y="416"/>
                    </a:cubicBezTo>
                    <a:cubicBezTo>
                      <a:pt x="454" y="414"/>
                      <a:pt x="454" y="414"/>
                      <a:pt x="454" y="414"/>
                    </a:cubicBezTo>
                    <a:cubicBezTo>
                      <a:pt x="454" y="413"/>
                      <a:pt x="454" y="413"/>
                      <a:pt x="454" y="413"/>
                    </a:cubicBezTo>
                    <a:cubicBezTo>
                      <a:pt x="456" y="412"/>
                      <a:pt x="456" y="412"/>
                      <a:pt x="456" y="412"/>
                    </a:cubicBezTo>
                    <a:cubicBezTo>
                      <a:pt x="456" y="411"/>
                      <a:pt x="456" y="411"/>
                      <a:pt x="456" y="411"/>
                    </a:cubicBezTo>
                    <a:cubicBezTo>
                      <a:pt x="457" y="410"/>
                      <a:pt x="457" y="410"/>
                      <a:pt x="457" y="410"/>
                    </a:cubicBezTo>
                    <a:cubicBezTo>
                      <a:pt x="456" y="410"/>
                      <a:pt x="456" y="410"/>
                      <a:pt x="456" y="410"/>
                    </a:cubicBezTo>
                    <a:cubicBezTo>
                      <a:pt x="454" y="410"/>
                      <a:pt x="454" y="410"/>
                      <a:pt x="454" y="410"/>
                    </a:cubicBezTo>
                    <a:cubicBezTo>
                      <a:pt x="455" y="409"/>
                      <a:pt x="455" y="409"/>
                      <a:pt x="455" y="409"/>
                    </a:cubicBezTo>
                    <a:cubicBezTo>
                      <a:pt x="456" y="407"/>
                      <a:pt x="456" y="407"/>
                      <a:pt x="456" y="407"/>
                    </a:cubicBezTo>
                    <a:cubicBezTo>
                      <a:pt x="456" y="405"/>
                      <a:pt x="456" y="405"/>
                      <a:pt x="456" y="405"/>
                    </a:cubicBezTo>
                    <a:cubicBezTo>
                      <a:pt x="456" y="404"/>
                      <a:pt x="456" y="404"/>
                      <a:pt x="456" y="404"/>
                    </a:cubicBezTo>
                    <a:cubicBezTo>
                      <a:pt x="455" y="405"/>
                      <a:pt x="455" y="405"/>
                      <a:pt x="455" y="405"/>
                    </a:cubicBezTo>
                    <a:cubicBezTo>
                      <a:pt x="455" y="407"/>
                      <a:pt x="455" y="407"/>
                      <a:pt x="455" y="407"/>
                    </a:cubicBezTo>
                    <a:cubicBezTo>
                      <a:pt x="454" y="409"/>
                      <a:pt x="454" y="409"/>
                      <a:pt x="454" y="409"/>
                    </a:cubicBezTo>
                    <a:cubicBezTo>
                      <a:pt x="453" y="409"/>
                      <a:pt x="453" y="409"/>
                      <a:pt x="453" y="409"/>
                    </a:cubicBezTo>
                    <a:cubicBezTo>
                      <a:pt x="452" y="409"/>
                      <a:pt x="452" y="409"/>
                      <a:pt x="452" y="409"/>
                    </a:cubicBezTo>
                    <a:cubicBezTo>
                      <a:pt x="451" y="409"/>
                      <a:pt x="451" y="409"/>
                      <a:pt x="451" y="409"/>
                    </a:cubicBezTo>
                    <a:cubicBezTo>
                      <a:pt x="451" y="408"/>
                      <a:pt x="451" y="408"/>
                      <a:pt x="451" y="408"/>
                    </a:cubicBezTo>
                    <a:cubicBezTo>
                      <a:pt x="452" y="407"/>
                      <a:pt x="452" y="407"/>
                      <a:pt x="452" y="407"/>
                    </a:cubicBezTo>
                    <a:cubicBezTo>
                      <a:pt x="451" y="407"/>
                      <a:pt x="451" y="407"/>
                      <a:pt x="451" y="407"/>
                    </a:cubicBezTo>
                    <a:cubicBezTo>
                      <a:pt x="450" y="408"/>
                      <a:pt x="450" y="408"/>
                      <a:pt x="450" y="408"/>
                    </a:cubicBezTo>
                    <a:cubicBezTo>
                      <a:pt x="449" y="408"/>
                      <a:pt x="449" y="408"/>
                      <a:pt x="449" y="408"/>
                    </a:cubicBezTo>
                    <a:cubicBezTo>
                      <a:pt x="448" y="408"/>
                      <a:pt x="448" y="408"/>
                      <a:pt x="448" y="408"/>
                    </a:cubicBezTo>
                    <a:cubicBezTo>
                      <a:pt x="447" y="408"/>
                      <a:pt x="447" y="408"/>
                      <a:pt x="447" y="408"/>
                    </a:cubicBezTo>
                    <a:cubicBezTo>
                      <a:pt x="447" y="408"/>
                      <a:pt x="447" y="408"/>
                      <a:pt x="445" y="407"/>
                    </a:cubicBezTo>
                    <a:cubicBezTo>
                      <a:pt x="445" y="407"/>
                      <a:pt x="445" y="407"/>
                      <a:pt x="447" y="407"/>
                    </a:cubicBezTo>
                    <a:cubicBezTo>
                      <a:pt x="448" y="406"/>
                      <a:pt x="448" y="406"/>
                      <a:pt x="448" y="406"/>
                    </a:cubicBezTo>
                    <a:cubicBezTo>
                      <a:pt x="449" y="406"/>
                      <a:pt x="449" y="406"/>
                      <a:pt x="449" y="406"/>
                    </a:cubicBezTo>
                    <a:cubicBezTo>
                      <a:pt x="450" y="406"/>
                      <a:pt x="450" y="406"/>
                      <a:pt x="450" y="406"/>
                    </a:cubicBezTo>
                    <a:cubicBezTo>
                      <a:pt x="451" y="406"/>
                      <a:pt x="451" y="406"/>
                      <a:pt x="451" y="406"/>
                    </a:cubicBezTo>
                    <a:cubicBezTo>
                      <a:pt x="452" y="405"/>
                      <a:pt x="452" y="405"/>
                      <a:pt x="452" y="405"/>
                    </a:cubicBezTo>
                    <a:cubicBezTo>
                      <a:pt x="453" y="404"/>
                      <a:pt x="453" y="404"/>
                      <a:pt x="453" y="404"/>
                    </a:cubicBezTo>
                    <a:cubicBezTo>
                      <a:pt x="453" y="403"/>
                      <a:pt x="453" y="403"/>
                      <a:pt x="453" y="403"/>
                    </a:cubicBezTo>
                    <a:cubicBezTo>
                      <a:pt x="452" y="404"/>
                      <a:pt x="452" y="404"/>
                      <a:pt x="452" y="404"/>
                    </a:cubicBezTo>
                    <a:cubicBezTo>
                      <a:pt x="451" y="405"/>
                      <a:pt x="451" y="405"/>
                      <a:pt x="451" y="405"/>
                    </a:cubicBezTo>
                    <a:cubicBezTo>
                      <a:pt x="450" y="406"/>
                      <a:pt x="450" y="406"/>
                      <a:pt x="450" y="406"/>
                    </a:cubicBezTo>
                    <a:cubicBezTo>
                      <a:pt x="448" y="405"/>
                      <a:pt x="448" y="405"/>
                      <a:pt x="448" y="405"/>
                    </a:cubicBezTo>
                    <a:cubicBezTo>
                      <a:pt x="448" y="404"/>
                      <a:pt x="448" y="404"/>
                      <a:pt x="448" y="404"/>
                    </a:cubicBezTo>
                    <a:cubicBezTo>
                      <a:pt x="447" y="404"/>
                      <a:pt x="447" y="404"/>
                      <a:pt x="447" y="404"/>
                    </a:cubicBezTo>
                    <a:cubicBezTo>
                      <a:pt x="448" y="403"/>
                      <a:pt x="448" y="403"/>
                      <a:pt x="448" y="403"/>
                    </a:cubicBezTo>
                    <a:cubicBezTo>
                      <a:pt x="447" y="403"/>
                      <a:pt x="447" y="403"/>
                      <a:pt x="447" y="403"/>
                    </a:cubicBezTo>
                    <a:cubicBezTo>
                      <a:pt x="446" y="403"/>
                      <a:pt x="446" y="403"/>
                      <a:pt x="446" y="403"/>
                    </a:cubicBezTo>
                    <a:cubicBezTo>
                      <a:pt x="445" y="403"/>
                      <a:pt x="445" y="403"/>
                      <a:pt x="445" y="403"/>
                    </a:cubicBezTo>
                    <a:cubicBezTo>
                      <a:pt x="444" y="403"/>
                      <a:pt x="444" y="403"/>
                      <a:pt x="444" y="403"/>
                    </a:cubicBezTo>
                    <a:cubicBezTo>
                      <a:pt x="444" y="404"/>
                      <a:pt x="444" y="404"/>
                      <a:pt x="444" y="404"/>
                    </a:cubicBezTo>
                    <a:cubicBezTo>
                      <a:pt x="442" y="403"/>
                      <a:pt x="442" y="403"/>
                      <a:pt x="442" y="403"/>
                    </a:cubicBezTo>
                    <a:cubicBezTo>
                      <a:pt x="442" y="402"/>
                      <a:pt x="442" y="402"/>
                      <a:pt x="442" y="402"/>
                    </a:cubicBezTo>
                    <a:cubicBezTo>
                      <a:pt x="442" y="401"/>
                      <a:pt x="442" y="401"/>
                      <a:pt x="442" y="401"/>
                    </a:cubicBezTo>
                    <a:cubicBezTo>
                      <a:pt x="443" y="402"/>
                      <a:pt x="443" y="402"/>
                      <a:pt x="443" y="402"/>
                    </a:cubicBezTo>
                    <a:cubicBezTo>
                      <a:pt x="444" y="402"/>
                      <a:pt x="444" y="402"/>
                      <a:pt x="444" y="402"/>
                    </a:cubicBezTo>
                    <a:cubicBezTo>
                      <a:pt x="446" y="402"/>
                      <a:pt x="446" y="402"/>
                      <a:pt x="446" y="402"/>
                    </a:cubicBezTo>
                    <a:cubicBezTo>
                      <a:pt x="446" y="401"/>
                      <a:pt x="446" y="401"/>
                      <a:pt x="446" y="401"/>
                    </a:cubicBezTo>
                    <a:cubicBezTo>
                      <a:pt x="446" y="400"/>
                      <a:pt x="446" y="400"/>
                      <a:pt x="446" y="400"/>
                    </a:cubicBezTo>
                    <a:cubicBezTo>
                      <a:pt x="444" y="400"/>
                      <a:pt x="444" y="400"/>
                      <a:pt x="444" y="400"/>
                    </a:cubicBezTo>
                    <a:cubicBezTo>
                      <a:pt x="442" y="400"/>
                      <a:pt x="442" y="400"/>
                      <a:pt x="442" y="400"/>
                    </a:cubicBezTo>
                    <a:cubicBezTo>
                      <a:pt x="441" y="400"/>
                      <a:pt x="441" y="400"/>
                      <a:pt x="441" y="400"/>
                    </a:cubicBezTo>
                    <a:cubicBezTo>
                      <a:pt x="441" y="399"/>
                      <a:pt x="441" y="399"/>
                      <a:pt x="441" y="399"/>
                    </a:cubicBezTo>
                    <a:cubicBezTo>
                      <a:pt x="441" y="398"/>
                      <a:pt x="441" y="398"/>
                      <a:pt x="441" y="398"/>
                    </a:cubicBezTo>
                    <a:cubicBezTo>
                      <a:pt x="442" y="398"/>
                      <a:pt x="442" y="398"/>
                      <a:pt x="442" y="398"/>
                    </a:cubicBezTo>
                    <a:cubicBezTo>
                      <a:pt x="443" y="399"/>
                      <a:pt x="443" y="399"/>
                      <a:pt x="443" y="399"/>
                    </a:cubicBezTo>
                    <a:cubicBezTo>
                      <a:pt x="444" y="399"/>
                      <a:pt x="444" y="399"/>
                      <a:pt x="444" y="399"/>
                    </a:cubicBezTo>
                    <a:cubicBezTo>
                      <a:pt x="445" y="398"/>
                      <a:pt x="445" y="398"/>
                      <a:pt x="445" y="398"/>
                    </a:cubicBezTo>
                    <a:cubicBezTo>
                      <a:pt x="444" y="398"/>
                      <a:pt x="444" y="398"/>
                      <a:pt x="444" y="398"/>
                    </a:cubicBezTo>
                    <a:cubicBezTo>
                      <a:pt x="443" y="398"/>
                      <a:pt x="443" y="398"/>
                      <a:pt x="443" y="398"/>
                    </a:cubicBezTo>
                    <a:cubicBezTo>
                      <a:pt x="441" y="397"/>
                      <a:pt x="441" y="397"/>
                      <a:pt x="441" y="397"/>
                    </a:cubicBezTo>
                    <a:cubicBezTo>
                      <a:pt x="443" y="397"/>
                      <a:pt x="443" y="397"/>
                      <a:pt x="443" y="397"/>
                    </a:cubicBezTo>
                    <a:cubicBezTo>
                      <a:pt x="444" y="397"/>
                      <a:pt x="444" y="397"/>
                      <a:pt x="444" y="397"/>
                    </a:cubicBezTo>
                    <a:cubicBezTo>
                      <a:pt x="445" y="397"/>
                      <a:pt x="445" y="397"/>
                      <a:pt x="445" y="397"/>
                    </a:cubicBezTo>
                    <a:cubicBezTo>
                      <a:pt x="444" y="396"/>
                      <a:pt x="444" y="396"/>
                      <a:pt x="444" y="396"/>
                    </a:cubicBezTo>
                    <a:cubicBezTo>
                      <a:pt x="444" y="395"/>
                      <a:pt x="444" y="395"/>
                      <a:pt x="444" y="395"/>
                    </a:cubicBezTo>
                    <a:cubicBezTo>
                      <a:pt x="445" y="395"/>
                      <a:pt x="445" y="395"/>
                      <a:pt x="445" y="395"/>
                    </a:cubicBezTo>
                    <a:cubicBezTo>
                      <a:pt x="447" y="395"/>
                      <a:pt x="447" y="395"/>
                      <a:pt x="447" y="395"/>
                    </a:cubicBezTo>
                    <a:cubicBezTo>
                      <a:pt x="448" y="395"/>
                      <a:pt x="448" y="395"/>
                      <a:pt x="448" y="395"/>
                    </a:cubicBezTo>
                    <a:cubicBezTo>
                      <a:pt x="446" y="394"/>
                      <a:pt x="446" y="394"/>
                      <a:pt x="446" y="394"/>
                    </a:cubicBezTo>
                    <a:cubicBezTo>
                      <a:pt x="445" y="394"/>
                      <a:pt x="445" y="394"/>
                      <a:pt x="445" y="394"/>
                    </a:cubicBezTo>
                    <a:cubicBezTo>
                      <a:pt x="444" y="395"/>
                      <a:pt x="444" y="395"/>
                      <a:pt x="444" y="395"/>
                    </a:cubicBezTo>
                    <a:cubicBezTo>
                      <a:pt x="443" y="395"/>
                      <a:pt x="443" y="395"/>
                      <a:pt x="443" y="395"/>
                    </a:cubicBezTo>
                    <a:cubicBezTo>
                      <a:pt x="442" y="396"/>
                      <a:pt x="442" y="396"/>
                      <a:pt x="442" y="396"/>
                    </a:cubicBezTo>
                    <a:cubicBezTo>
                      <a:pt x="442" y="395"/>
                      <a:pt x="442" y="395"/>
                      <a:pt x="442" y="395"/>
                    </a:cubicBezTo>
                    <a:cubicBezTo>
                      <a:pt x="442" y="394"/>
                      <a:pt x="442" y="394"/>
                      <a:pt x="442" y="394"/>
                    </a:cubicBezTo>
                    <a:cubicBezTo>
                      <a:pt x="442" y="393"/>
                      <a:pt x="442" y="393"/>
                      <a:pt x="442" y="393"/>
                    </a:cubicBezTo>
                    <a:cubicBezTo>
                      <a:pt x="444" y="392"/>
                      <a:pt x="444" y="392"/>
                      <a:pt x="444" y="392"/>
                    </a:cubicBezTo>
                    <a:cubicBezTo>
                      <a:pt x="445" y="391"/>
                      <a:pt x="445" y="391"/>
                      <a:pt x="445" y="391"/>
                    </a:cubicBezTo>
                    <a:cubicBezTo>
                      <a:pt x="448" y="389"/>
                      <a:pt x="448" y="389"/>
                      <a:pt x="448" y="389"/>
                    </a:cubicBezTo>
                    <a:cubicBezTo>
                      <a:pt x="448" y="388"/>
                      <a:pt x="448" y="388"/>
                      <a:pt x="448" y="388"/>
                    </a:cubicBezTo>
                    <a:cubicBezTo>
                      <a:pt x="449" y="389"/>
                      <a:pt x="449" y="389"/>
                      <a:pt x="449" y="389"/>
                    </a:cubicBezTo>
                    <a:cubicBezTo>
                      <a:pt x="449" y="391"/>
                      <a:pt x="449" y="391"/>
                      <a:pt x="449" y="391"/>
                    </a:cubicBezTo>
                    <a:cubicBezTo>
                      <a:pt x="450" y="392"/>
                      <a:pt x="450" y="392"/>
                      <a:pt x="450" y="392"/>
                    </a:cubicBezTo>
                    <a:cubicBezTo>
                      <a:pt x="450" y="391"/>
                      <a:pt x="450" y="391"/>
                      <a:pt x="450" y="391"/>
                    </a:cubicBezTo>
                    <a:cubicBezTo>
                      <a:pt x="450" y="390"/>
                      <a:pt x="450" y="390"/>
                      <a:pt x="450" y="390"/>
                    </a:cubicBezTo>
                    <a:cubicBezTo>
                      <a:pt x="450" y="388"/>
                      <a:pt x="450" y="388"/>
                      <a:pt x="450" y="388"/>
                    </a:cubicBezTo>
                    <a:cubicBezTo>
                      <a:pt x="451" y="388"/>
                      <a:pt x="451" y="388"/>
                      <a:pt x="451" y="388"/>
                    </a:cubicBezTo>
                    <a:cubicBezTo>
                      <a:pt x="452" y="388"/>
                      <a:pt x="452" y="388"/>
                      <a:pt x="452" y="388"/>
                    </a:cubicBezTo>
                    <a:cubicBezTo>
                      <a:pt x="451" y="387"/>
                      <a:pt x="451" y="387"/>
                      <a:pt x="451" y="387"/>
                    </a:cubicBezTo>
                    <a:cubicBezTo>
                      <a:pt x="450" y="387"/>
                      <a:pt x="450" y="387"/>
                      <a:pt x="450" y="387"/>
                    </a:cubicBezTo>
                    <a:cubicBezTo>
                      <a:pt x="449" y="388"/>
                      <a:pt x="449" y="388"/>
                      <a:pt x="449" y="388"/>
                    </a:cubicBezTo>
                    <a:cubicBezTo>
                      <a:pt x="448" y="387"/>
                      <a:pt x="448" y="387"/>
                      <a:pt x="448" y="387"/>
                    </a:cubicBezTo>
                    <a:cubicBezTo>
                      <a:pt x="448" y="386"/>
                      <a:pt x="448" y="386"/>
                      <a:pt x="448" y="386"/>
                    </a:cubicBezTo>
                    <a:cubicBezTo>
                      <a:pt x="450" y="385"/>
                      <a:pt x="450" y="385"/>
                      <a:pt x="450" y="385"/>
                    </a:cubicBezTo>
                    <a:cubicBezTo>
                      <a:pt x="451" y="385"/>
                      <a:pt x="451" y="385"/>
                      <a:pt x="451" y="385"/>
                    </a:cubicBezTo>
                    <a:cubicBezTo>
                      <a:pt x="452" y="383"/>
                      <a:pt x="452" y="383"/>
                      <a:pt x="452" y="383"/>
                    </a:cubicBezTo>
                    <a:cubicBezTo>
                      <a:pt x="452" y="382"/>
                      <a:pt x="452" y="382"/>
                      <a:pt x="452" y="382"/>
                    </a:cubicBezTo>
                    <a:cubicBezTo>
                      <a:pt x="451" y="382"/>
                      <a:pt x="451" y="382"/>
                      <a:pt x="451" y="382"/>
                    </a:cubicBezTo>
                    <a:cubicBezTo>
                      <a:pt x="451" y="383"/>
                      <a:pt x="451" y="383"/>
                      <a:pt x="451" y="383"/>
                    </a:cubicBezTo>
                    <a:cubicBezTo>
                      <a:pt x="450" y="384"/>
                      <a:pt x="450" y="384"/>
                      <a:pt x="450" y="384"/>
                    </a:cubicBezTo>
                    <a:cubicBezTo>
                      <a:pt x="449" y="384"/>
                      <a:pt x="449" y="384"/>
                      <a:pt x="449" y="384"/>
                    </a:cubicBezTo>
                    <a:cubicBezTo>
                      <a:pt x="447" y="386"/>
                      <a:pt x="447" y="386"/>
                      <a:pt x="447" y="386"/>
                    </a:cubicBezTo>
                    <a:cubicBezTo>
                      <a:pt x="446" y="387"/>
                      <a:pt x="446" y="387"/>
                      <a:pt x="446" y="387"/>
                    </a:cubicBezTo>
                    <a:cubicBezTo>
                      <a:pt x="444" y="388"/>
                      <a:pt x="444" y="388"/>
                      <a:pt x="444" y="388"/>
                    </a:cubicBezTo>
                    <a:cubicBezTo>
                      <a:pt x="443" y="387"/>
                      <a:pt x="443" y="387"/>
                      <a:pt x="443" y="387"/>
                    </a:cubicBezTo>
                    <a:cubicBezTo>
                      <a:pt x="443" y="386"/>
                      <a:pt x="443" y="386"/>
                      <a:pt x="443" y="386"/>
                    </a:cubicBezTo>
                    <a:cubicBezTo>
                      <a:pt x="442" y="386"/>
                      <a:pt x="442" y="386"/>
                      <a:pt x="442" y="386"/>
                    </a:cubicBezTo>
                    <a:cubicBezTo>
                      <a:pt x="441" y="386"/>
                      <a:pt x="441" y="386"/>
                      <a:pt x="441" y="386"/>
                    </a:cubicBezTo>
                    <a:cubicBezTo>
                      <a:pt x="441" y="385"/>
                      <a:pt x="441" y="385"/>
                      <a:pt x="441" y="385"/>
                    </a:cubicBezTo>
                    <a:cubicBezTo>
                      <a:pt x="443" y="384"/>
                      <a:pt x="443" y="384"/>
                      <a:pt x="443" y="384"/>
                    </a:cubicBezTo>
                    <a:cubicBezTo>
                      <a:pt x="444" y="384"/>
                      <a:pt x="444" y="384"/>
                      <a:pt x="444" y="384"/>
                    </a:cubicBezTo>
                    <a:cubicBezTo>
                      <a:pt x="445" y="384"/>
                      <a:pt x="445" y="384"/>
                      <a:pt x="445" y="384"/>
                    </a:cubicBezTo>
                    <a:cubicBezTo>
                      <a:pt x="445" y="383"/>
                      <a:pt x="445" y="383"/>
                      <a:pt x="445" y="383"/>
                    </a:cubicBezTo>
                    <a:cubicBezTo>
                      <a:pt x="445" y="382"/>
                      <a:pt x="445" y="382"/>
                      <a:pt x="445" y="382"/>
                    </a:cubicBezTo>
                    <a:cubicBezTo>
                      <a:pt x="445" y="381"/>
                      <a:pt x="445" y="381"/>
                      <a:pt x="445" y="381"/>
                    </a:cubicBezTo>
                    <a:cubicBezTo>
                      <a:pt x="444" y="381"/>
                      <a:pt x="444" y="381"/>
                      <a:pt x="444" y="381"/>
                    </a:cubicBezTo>
                    <a:cubicBezTo>
                      <a:pt x="443" y="381"/>
                      <a:pt x="443" y="381"/>
                      <a:pt x="443" y="381"/>
                    </a:cubicBezTo>
                    <a:cubicBezTo>
                      <a:pt x="443" y="380"/>
                      <a:pt x="443" y="380"/>
                      <a:pt x="443" y="380"/>
                    </a:cubicBezTo>
                    <a:cubicBezTo>
                      <a:pt x="443" y="378"/>
                      <a:pt x="443" y="378"/>
                      <a:pt x="443" y="378"/>
                    </a:cubicBezTo>
                    <a:cubicBezTo>
                      <a:pt x="442" y="377"/>
                      <a:pt x="442" y="377"/>
                      <a:pt x="442" y="377"/>
                    </a:cubicBezTo>
                    <a:cubicBezTo>
                      <a:pt x="442" y="376"/>
                      <a:pt x="442" y="376"/>
                      <a:pt x="442" y="376"/>
                    </a:cubicBezTo>
                    <a:cubicBezTo>
                      <a:pt x="442" y="375"/>
                      <a:pt x="442" y="375"/>
                      <a:pt x="442" y="375"/>
                    </a:cubicBezTo>
                    <a:cubicBezTo>
                      <a:pt x="444" y="375"/>
                      <a:pt x="444" y="375"/>
                      <a:pt x="444" y="375"/>
                    </a:cubicBezTo>
                    <a:cubicBezTo>
                      <a:pt x="445" y="376"/>
                      <a:pt x="445" y="376"/>
                      <a:pt x="445" y="376"/>
                    </a:cubicBezTo>
                    <a:cubicBezTo>
                      <a:pt x="447" y="375"/>
                      <a:pt x="447" y="375"/>
                      <a:pt x="447" y="375"/>
                    </a:cubicBezTo>
                    <a:cubicBezTo>
                      <a:pt x="448" y="376"/>
                      <a:pt x="448" y="376"/>
                      <a:pt x="448" y="376"/>
                    </a:cubicBezTo>
                    <a:cubicBezTo>
                      <a:pt x="448" y="375"/>
                      <a:pt x="448" y="375"/>
                      <a:pt x="448" y="375"/>
                    </a:cubicBezTo>
                    <a:cubicBezTo>
                      <a:pt x="447" y="375"/>
                      <a:pt x="447" y="375"/>
                      <a:pt x="447" y="375"/>
                    </a:cubicBezTo>
                    <a:cubicBezTo>
                      <a:pt x="446" y="375"/>
                      <a:pt x="446" y="375"/>
                      <a:pt x="446" y="375"/>
                    </a:cubicBezTo>
                    <a:cubicBezTo>
                      <a:pt x="445" y="374"/>
                      <a:pt x="445" y="374"/>
                      <a:pt x="445" y="374"/>
                    </a:cubicBezTo>
                    <a:cubicBezTo>
                      <a:pt x="444" y="373"/>
                      <a:pt x="444" y="373"/>
                      <a:pt x="444" y="373"/>
                    </a:cubicBezTo>
                    <a:cubicBezTo>
                      <a:pt x="444" y="372"/>
                      <a:pt x="444" y="372"/>
                      <a:pt x="444" y="372"/>
                    </a:cubicBezTo>
                    <a:cubicBezTo>
                      <a:pt x="445" y="371"/>
                      <a:pt x="445" y="371"/>
                      <a:pt x="445" y="371"/>
                    </a:cubicBezTo>
                    <a:cubicBezTo>
                      <a:pt x="446" y="370"/>
                      <a:pt x="446" y="370"/>
                      <a:pt x="446" y="370"/>
                    </a:cubicBezTo>
                    <a:cubicBezTo>
                      <a:pt x="446" y="369"/>
                      <a:pt x="446" y="369"/>
                      <a:pt x="446" y="369"/>
                    </a:cubicBezTo>
                    <a:cubicBezTo>
                      <a:pt x="445" y="369"/>
                      <a:pt x="445" y="369"/>
                      <a:pt x="445" y="369"/>
                    </a:cubicBezTo>
                    <a:cubicBezTo>
                      <a:pt x="444" y="370"/>
                      <a:pt x="444" y="370"/>
                      <a:pt x="444" y="370"/>
                    </a:cubicBezTo>
                    <a:cubicBezTo>
                      <a:pt x="443" y="371"/>
                      <a:pt x="443" y="371"/>
                      <a:pt x="443" y="371"/>
                    </a:cubicBezTo>
                    <a:cubicBezTo>
                      <a:pt x="441" y="372"/>
                      <a:pt x="441" y="372"/>
                      <a:pt x="441" y="372"/>
                    </a:cubicBezTo>
                    <a:cubicBezTo>
                      <a:pt x="440" y="373"/>
                      <a:pt x="440" y="373"/>
                      <a:pt x="440" y="373"/>
                    </a:cubicBezTo>
                    <a:cubicBezTo>
                      <a:pt x="440" y="374"/>
                      <a:pt x="440" y="374"/>
                      <a:pt x="440" y="374"/>
                    </a:cubicBezTo>
                    <a:cubicBezTo>
                      <a:pt x="439" y="374"/>
                      <a:pt x="439" y="374"/>
                      <a:pt x="439" y="374"/>
                    </a:cubicBezTo>
                    <a:cubicBezTo>
                      <a:pt x="438" y="372"/>
                      <a:pt x="438" y="372"/>
                      <a:pt x="438" y="372"/>
                    </a:cubicBezTo>
                    <a:cubicBezTo>
                      <a:pt x="438" y="370"/>
                      <a:pt x="438" y="370"/>
                      <a:pt x="438" y="370"/>
                    </a:cubicBezTo>
                    <a:cubicBezTo>
                      <a:pt x="438" y="367"/>
                      <a:pt x="438" y="367"/>
                      <a:pt x="438" y="367"/>
                    </a:cubicBezTo>
                    <a:cubicBezTo>
                      <a:pt x="438" y="365"/>
                      <a:pt x="438" y="365"/>
                      <a:pt x="438" y="365"/>
                    </a:cubicBezTo>
                    <a:cubicBezTo>
                      <a:pt x="438" y="364"/>
                      <a:pt x="438" y="364"/>
                      <a:pt x="438" y="364"/>
                    </a:cubicBezTo>
                    <a:cubicBezTo>
                      <a:pt x="437" y="364"/>
                      <a:pt x="437" y="364"/>
                      <a:pt x="437" y="364"/>
                    </a:cubicBezTo>
                    <a:cubicBezTo>
                      <a:pt x="437" y="362"/>
                      <a:pt x="437" y="362"/>
                      <a:pt x="437" y="362"/>
                    </a:cubicBezTo>
                    <a:cubicBezTo>
                      <a:pt x="438" y="361"/>
                      <a:pt x="438" y="361"/>
                      <a:pt x="438" y="361"/>
                    </a:cubicBezTo>
                    <a:cubicBezTo>
                      <a:pt x="438" y="362"/>
                      <a:pt x="438" y="362"/>
                      <a:pt x="438" y="362"/>
                    </a:cubicBezTo>
                    <a:cubicBezTo>
                      <a:pt x="439" y="362"/>
                      <a:pt x="439" y="362"/>
                      <a:pt x="439" y="362"/>
                    </a:cubicBezTo>
                    <a:cubicBezTo>
                      <a:pt x="439" y="361"/>
                      <a:pt x="439" y="361"/>
                      <a:pt x="439" y="361"/>
                    </a:cubicBezTo>
                    <a:cubicBezTo>
                      <a:pt x="440" y="360"/>
                      <a:pt x="440" y="360"/>
                      <a:pt x="440" y="360"/>
                    </a:cubicBezTo>
                    <a:cubicBezTo>
                      <a:pt x="441" y="358"/>
                      <a:pt x="441" y="358"/>
                      <a:pt x="441" y="358"/>
                    </a:cubicBezTo>
                    <a:cubicBezTo>
                      <a:pt x="442" y="358"/>
                      <a:pt x="442" y="358"/>
                      <a:pt x="442" y="358"/>
                    </a:cubicBezTo>
                    <a:cubicBezTo>
                      <a:pt x="443" y="358"/>
                      <a:pt x="443" y="358"/>
                      <a:pt x="443" y="358"/>
                    </a:cubicBezTo>
                    <a:cubicBezTo>
                      <a:pt x="444" y="358"/>
                      <a:pt x="444" y="358"/>
                      <a:pt x="444" y="358"/>
                    </a:cubicBezTo>
                    <a:cubicBezTo>
                      <a:pt x="443" y="357"/>
                      <a:pt x="443" y="357"/>
                      <a:pt x="443" y="357"/>
                    </a:cubicBezTo>
                    <a:cubicBezTo>
                      <a:pt x="445" y="355"/>
                      <a:pt x="445" y="355"/>
                      <a:pt x="445" y="355"/>
                    </a:cubicBezTo>
                    <a:cubicBezTo>
                      <a:pt x="445" y="354"/>
                      <a:pt x="445" y="354"/>
                      <a:pt x="445" y="354"/>
                    </a:cubicBezTo>
                    <a:cubicBezTo>
                      <a:pt x="447" y="353"/>
                      <a:pt x="447" y="353"/>
                      <a:pt x="447" y="353"/>
                    </a:cubicBezTo>
                    <a:cubicBezTo>
                      <a:pt x="447" y="352"/>
                      <a:pt x="447" y="352"/>
                      <a:pt x="447" y="352"/>
                    </a:cubicBezTo>
                    <a:cubicBezTo>
                      <a:pt x="446" y="352"/>
                      <a:pt x="446" y="352"/>
                      <a:pt x="446" y="352"/>
                    </a:cubicBezTo>
                    <a:cubicBezTo>
                      <a:pt x="444" y="353"/>
                      <a:pt x="444" y="353"/>
                      <a:pt x="444" y="353"/>
                    </a:cubicBezTo>
                    <a:cubicBezTo>
                      <a:pt x="444" y="354"/>
                      <a:pt x="444" y="354"/>
                      <a:pt x="444" y="354"/>
                    </a:cubicBezTo>
                    <a:cubicBezTo>
                      <a:pt x="442" y="357"/>
                      <a:pt x="442" y="357"/>
                      <a:pt x="442" y="357"/>
                    </a:cubicBezTo>
                    <a:cubicBezTo>
                      <a:pt x="442" y="356"/>
                      <a:pt x="442" y="356"/>
                      <a:pt x="442" y="356"/>
                    </a:cubicBezTo>
                    <a:cubicBezTo>
                      <a:pt x="443" y="354"/>
                      <a:pt x="443" y="354"/>
                      <a:pt x="443" y="354"/>
                    </a:cubicBezTo>
                    <a:cubicBezTo>
                      <a:pt x="443" y="353"/>
                      <a:pt x="443" y="353"/>
                      <a:pt x="443" y="353"/>
                    </a:cubicBezTo>
                    <a:cubicBezTo>
                      <a:pt x="443" y="353"/>
                      <a:pt x="443" y="353"/>
                      <a:pt x="442" y="355"/>
                    </a:cubicBezTo>
                    <a:cubicBezTo>
                      <a:pt x="442" y="355"/>
                      <a:pt x="442" y="355"/>
                      <a:pt x="440" y="357"/>
                    </a:cubicBezTo>
                    <a:cubicBezTo>
                      <a:pt x="440" y="357"/>
                      <a:pt x="440" y="357"/>
                      <a:pt x="439" y="357"/>
                    </a:cubicBezTo>
                    <a:cubicBezTo>
                      <a:pt x="439" y="357"/>
                      <a:pt x="439" y="357"/>
                      <a:pt x="438" y="357"/>
                    </a:cubicBezTo>
                    <a:cubicBezTo>
                      <a:pt x="438" y="357"/>
                      <a:pt x="438" y="357"/>
                      <a:pt x="438" y="358"/>
                    </a:cubicBezTo>
                    <a:cubicBezTo>
                      <a:pt x="438" y="358"/>
                      <a:pt x="438" y="358"/>
                      <a:pt x="437" y="359"/>
                    </a:cubicBezTo>
                    <a:cubicBezTo>
                      <a:pt x="437" y="359"/>
                      <a:pt x="437" y="359"/>
                      <a:pt x="436" y="357"/>
                    </a:cubicBezTo>
                    <a:cubicBezTo>
                      <a:pt x="436" y="357"/>
                      <a:pt x="436" y="357"/>
                      <a:pt x="437" y="356"/>
                    </a:cubicBezTo>
                    <a:cubicBezTo>
                      <a:pt x="437" y="356"/>
                      <a:pt x="437" y="356"/>
                      <a:pt x="437" y="355"/>
                    </a:cubicBezTo>
                    <a:cubicBezTo>
                      <a:pt x="437" y="355"/>
                      <a:pt x="437" y="355"/>
                      <a:pt x="438" y="355"/>
                    </a:cubicBezTo>
                    <a:cubicBezTo>
                      <a:pt x="438" y="355"/>
                      <a:pt x="438" y="355"/>
                      <a:pt x="439" y="355"/>
                    </a:cubicBezTo>
                    <a:cubicBezTo>
                      <a:pt x="439" y="355"/>
                      <a:pt x="439" y="355"/>
                      <a:pt x="440" y="355"/>
                    </a:cubicBezTo>
                    <a:cubicBezTo>
                      <a:pt x="440" y="355"/>
                      <a:pt x="440" y="355"/>
                      <a:pt x="440" y="354"/>
                    </a:cubicBezTo>
                    <a:cubicBezTo>
                      <a:pt x="440" y="354"/>
                      <a:pt x="440" y="354"/>
                      <a:pt x="439" y="354"/>
                    </a:cubicBezTo>
                    <a:cubicBezTo>
                      <a:pt x="439" y="354"/>
                      <a:pt x="439" y="354"/>
                      <a:pt x="438" y="354"/>
                    </a:cubicBezTo>
                    <a:cubicBezTo>
                      <a:pt x="438" y="354"/>
                      <a:pt x="438" y="354"/>
                      <a:pt x="437" y="354"/>
                    </a:cubicBezTo>
                    <a:cubicBezTo>
                      <a:pt x="437" y="354"/>
                      <a:pt x="437" y="354"/>
                      <a:pt x="438" y="353"/>
                    </a:cubicBezTo>
                    <a:cubicBezTo>
                      <a:pt x="438" y="353"/>
                      <a:pt x="438" y="353"/>
                      <a:pt x="439" y="353"/>
                    </a:cubicBezTo>
                    <a:cubicBezTo>
                      <a:pt x="439" y="353"/>
                      <a:pt x="439" y="353"/>
                      <a:pt x="440" y="353"/>
                    </a:cubicBezTo>
                    <a:cubicBezTo>
                      <a:pt x="440" y="353"/>
                      <a:pt x="440" y="353"/>
                      <a:pt x="440" y="352"/>
                    </a:cubicBezTo>
                    <a:cubicBezTo>
                      <a:pt x="440" y="352"/>
                      <a:pt x="440" y="352"/>
                      <a:pt x="439" y="352"/>
                    </a:cubicBezTo>
                    <a:cubicBezTo>
                      <a:pt x="439" y="352"/>
                      <a:pt x="439" y="352"/>
                      <a:pt x="440" y="351"/>
                    </a:cubicBezTo>
                    <a:cubicBezTo>
                      <a:pt x="440" y="351"/>
                      <a:pt x="440" y="351"/>
                      <a:pt x="441" y="349"/>
                    </a:cubicBezTo>
                    <a:cubicBezTo>
                      <a:pt x="441" y="349"/>
                      <a:pt x="441" y="349"/>
                      <a:pt x="440" y="348"/>
                    </a:cubicBezTo>
                    <a:cubicBezTo>
                      <a:pt x="440" y="348"/>
                      <a:pt x="440" y="348"/>
                      <a:pt x="440" y="347"/>
                    </a:cubicBezTo>
                    <a:cubicBezTo>
                      <a:pt x="440" y="347"/>
                      <a:pt x="440" y="347"/>
                      <a:pt x="442" y="346"/>
                    </a:cubicBezTo>
                    <a:cubicBezTo>
                      <a:pt x="442" y="346"/>
                      <a:pt x="442" y="346"/>
                      <a:pt x="440" y="346"/>
                    </a:cubicBezTo>
                    <a:cubicBezTo>
                      <a:pt x="440" y="346"/>
                      <a:pt x="440" y="346"/>
                      <a:pt x="440" y="345"/>
                    </a:cubicBezTo>
                    <a:cubicBezTo>
                      <a:pt x="440" y="345"/>
                      <a:pt x="440" y="345"/>
                      <a:pt x="441" y="344"/>
                    </a:cubicBezTo>
                    <a:cubicBezTo>
                      <a:pt x="441" y="344"/>
                      <a:pt x="441" y="344"/>
                      <a:pt x="439" y="344"/>
                    </a:cubicBezTo>
                    <a:cubicBezTo>
                      <a:pt x="439" y="344"/>
                      <a:pt x="439" y="344"/>
                      <a:pt x="438" y="344"/>
                    </a:cubicBezTo>
                    <a:cubicBezTo>
                      <a:pt x="438" y="344"/>
                      <a:pt x="438" y="344"/>
                      <a:pt x="437" y="345"/>
                    </a:cubicBezTo>
                    <a:cubicBezTo>
                      <a:pt x="437" y="345"/>
                      <a:pt x="437" y="345"/>
                      <a:pt x="436" y="346"/>
                    </a:cubicBezTo>
                    <a:cubicBezTo>
                      <a:pt x="436" y="346"/>
                      <a:pt x="436" y="346"/>
                      <a:pt x="435" y="348"/>
                    </a:cubicBezTo>
                    <a:cubicBezTo>
                      <a:pt x="435" y="348"/>
                      <a:pt x="435" y="348"/>
                      <a:pt x="434" y="349"/>
                    </a:cubicBezTo>
                    <a:cubicBezTo>
                      <a:pt x="434" y="349"/>
                      <a:pt x="434" y="349"/>
                      <a:pt x="433" y="348"/>
                    </a:cubicBezTo>
                    <a:cubicBezTo>
                      <a:pt x="433" y="348"/>
                      <a:pt x="433" y="348"/>
                      <a:pt x="433" y="347"/>
                    </a:cubicBezTo>
                    <a:cubicBezTo>
                      <a:pt x="433" y="347"/>
                      <a:pt x="433" y="347"/>
                      <a:pt x="434" y="346"/>
                    </a:cubicBezTo>
                    <a:cubicBezTo>
                      <a:pt x="434" y="346"/>
                      <a:pt x="434" y="346"/>
                      <a:pt x="436" y="343"/>
                    </a:cubicBezTo>
                    <a:cubicBezTo>
                      <a:pt x="435" y="342"/>
                      <a:pt x="435" y="342"/>
                      <a:pt x="435" y="342"/>
                    </a:cubicBezTo>
                    <a:cubicBezTo>
                      <a:pt x="436" y="341"/>
                      <a:pt x="436" y="341"/>
                      <a:pt x="436" y="341"/>
                    </a:cubicBezTo>
                    <a:cubicBezTo>
                      <a:pt x="436" y="340"/>
                      <a:pt x="436" y="340"/>
                      <a:pt x="436" y="340"/>
                    </a:cubicBezTo>
                    <a:cubicBezTo>
                      <a:pt x="437" y="340"/>
                      <a:pt x="437" y="340"/>
                      <a:pt x="437" y="340"/>
                    </a:cubicBezTo>
                    <a:cubicBezTo>
                      <a:pt x="437" y="342"/>
                      <a:pt x="437" y="342"/>
                      <a:pt x="437" y="342"/>
                    </a:cubicBezTo>
                    <a:cubicBezTo>
                      <a:pt x="437" y="342"/>
                      <a:pt x="437" y="342"/>
                      <a:pt x="438" y="342"/>
                    </a:cubicBezTo>
                    <a:cubicBezTo>
                      <a:pt x="438" y="342"/>
                      <a:pt x="438" y="342"/>
                      <a:pt x="439" y="342"/>
                    </a:cubicBezTo>
                    <a:cubicBezTo>
                      <a:pt x="439" y="342"/>
                      <a:pt x="439" y="342"/>
                      <a:pt x="441" y="341"/>
                    </a:cubicBezTo>
                    <a:cubicBezTo>
                      <a:pt x="441" y="341"/>
                      <a:pt x="441" y="341"/>
                      <a:pt x="440" y="341"/>
                    </a:cubicBezTo>
                    <a:cubicBezTo>
                      <a:pt x="440" y="341"/>
                      <a:pt x="440" y="341"/>
                      <a:pt x="439" y="341"/>
                    </a:cubicBezTo>
                    <a:cubicBezTo>
                      <a:pt x="439" y="341"/>
                      <a:pt x="439" y="341"/>
                      <a:pt x="438" y="340"/>
                    </a:cubicBezTo>
                    <a:cubicBezTo>
                      <a:pt x="438" y="340"/>
                      <a:pt x="438" y="340"/>
                      <a:pt x="437" y="338"/>
                    </a:cubicBezTo>
                    <a:cubicBezTo>
                      <a:pt x="437" y="338"/>
                      <a:pt x="437" y="338"/>
                      <a:pt x="436" y="337"/>
                    </a:cubicBezTo>
                    <a:cubicBezTo>
                      <a:pt x="436" y="337"/>
                      <a:pt x="436" y="337"/>
                      <a:pt x="437" y="336"/>
                    </a:cubicBezTo>
                    <a:cubicBezTo>
                      <a:pt x="437" y="336"/>
                      <a:pt x="437" y="336"/>
                      <a:pt x="438" y="336"/>
                    </a:cubicBezTo>
                    <a:cubicBezTo>
                      <a:pt x="438" y="336"/>
                      <a:pt x="438" y="336"/>
                      <a:pt x="437" y="335"/>
                    </a:cubicBezTo>
                    <a:cubicBezTo>
                      <a:pt x="437" y="335"/>
                      <a:pt x="437" y="335"/>
                      <a:pt x="437" y="334"/>
                    </a:cubicBezTo>
                    <a:cubicBezTo>
                      <a:pt x="437" y="334"/>
                      <a:pt x="437" y="334"/>
                      <a:pt x="436" y="333"/>
                    </a:cubicBezTo>
                    <a:cubicBezTo>
                      <a:pt x="436" y="333"/>
                      <a:pt x="436" y="333"/>
                      <a:pt x="435" y="332"/>
                    </a:cubicBezTo>
                    <a:cubicBezTo>
                      <a:pt x="435" y="332"/>
                      <a:pt x="435" y="332"/>
                      <a:pt x="436" y="332"/>
                    </a:cubicBezTo>
                    <a:cubicBezTo>
                      <a:pt x="436" y="332"/>
                      <a:pt x="436" y="332"/>
                      <a:pt x="437" y="332"/>
                    </a:cubicBezTo>
                    <a:cubicBezTo>
                      <a:pt x="437" y="332"/>
                      <a:pt x="437" y="332"/>
                      <a:pt x="436" y="331"/>
                    </a:cubicBezTo>
                    <a:cubicBezTo>
                      <a:pt x="436" y="331"/>
                      <a:pt x="436" y="331"/>
                      <a:pt x="435" y="331"/>
                    </a:cubicBezTo>
                    <a:cubicBezTo>
                      <a:pt x="435" y="331"/>
                      <a:pt x="435" y="331"/>
                      <a:pt x="434" y="330"/>
                    </a:cubicBezTo>
                    <a:cubicBezTo>
                      <a:pt x="434" y="330"/>
                      <a:pt x="434" y="330"/>
                      <a:pt x="433" y="330"/>
                    </a:cubicBezTo>
                    <a:cubicBezTo>
                      <a:pt x="433" y="330"/>
                      <a:pt x="433" y="330"/>
                      <a:pt x="433" y="329"/>
                    </a:cubicBezTo>
                    <a:cubicBezTo>
                      <a:pt x="433" y="329"/>
                      <a:pt x="433" y="329"/>
                      <a:pt x="433" y="328"/>
                    </a:cubicBezTo>
                    <a:cubicBezTo>
                      <a:pt x="433" y="328"/>
                      <a:pt x="433" y="328"/>
                      <a:pt x="434" y="328"/>
                    </a:cubicBezTo>
                    <a:cubicBezTo>
                      <a:pt x="434" y="328"/>
                      <a:pt x="434" y="328"/>
                      <a:pt x="435" y="327"/>
                    </a:cubicBezTo>
                    <a:cubicBezTo>
                      <a:pt x="435" y="327"/>
                      <a:pt x="435" y="327"/>
                      <a:pt x="434" y="327"/>
                    </a:cubicBezTo>
                    <a:cubicBezTo>
                      <a:pt x="434" y="327"/>
                      <a:pt x="434" y="327"/>
                      <a:pt x="434" y="326"/>
                    </a:cubicBezTo>
                    <a:cubicBezTo>
                      <a:pt x="434" y="326"/>
                      <a:pt x="434" y="326"/>
                      <a:pt x="435" y="325"/>
                    </a:cubicBezTo>
                    <a:cubicBezTo>
                      <a:pt x="435" y="325"/>
                      <a:pt x="435" y="325"/>
                      <a:pt x="434" y="324"/>
                    </a:cubicBezTo>
                    <a:cubicBezTo>
                      <a:pt x="434" y="324"/>
                      <a:pt x="434" y="324"/>
                      <a:pt x="435" y="323"/>
                    </a:cubicBezTo>
                    <a:cubicBezTo>
                      <a:pt x="435" y="323"/>
                      <a:pt x="435" y="323"/>
                      <a:pt x="435" y="324"/>
                    </a:cubicBezTo>
                    <a:cubicBezTo>
                      <a:pt x="435" y="324"/>
                      <a:pt x="435" y="324"/>
                      <a:pt x="436" y="325"/>
                    </a:cubicBezTo>
                    <a:cubicBezTo>
                      <a:pt x="436" y="325"/>
                      <a:pt x="436" y="325"/>
                      <a:pt x="437" y="325"/>
                    </a:cubicBezTo>
                    <a:cubicBezTo>
                      <a:pt x="437" y="325"/>
                      <a:pt x="437" y="325"/>
                      <a:pt x="437" y="324"/>
                    </a:cubicBezTo>
                    <a:cubicBezTo>
                      <a:pt x="437" y="324"/>
                      <a:pt x="437" y="324"/>
                      <a:pt x="436" y="322"/>
                    </a:cubicBezTo>
                    <a:cubicBezTo>
                      <a:pt x="436" y="322"/>
                      <a:pt x="436" y="322"/>
                      <a:pt x="437" y="321"/>
                    </a:cubicBezTo>
                    <a:cubicBezTo>
                      <a:pt x="437" y="321"/>
                      <a:pt x="437" y="321"/>
                      <a:pt x="436" y="320"/>
                    </a:cubicBezTo>
                    <a:cubicBezTo>
                      <a:pt x="436" y="320"/>
                      <a:pt x="436" y="320"/>
                      <a:pt x="437" y="319"/>
                    </a:cubicBezTo>
                    <a:cubicBezTo>
                      <a:pt x="437" y="319"/>
                      <a:pt x="437" y="319"/>
                      <a:pt x="439" y="318"/>
                    </a:cubicBezTo>
                    <a:cubicBezTo>
                      <a:pt x="439" y="318"/>
                      <a:pt x="439" y="318"/>
                      <a:pt x="437" y="318"/>
                    </a:cubicBezTo>
                    <a:cubicBezTo>
                      <a:pt x="437" y="318"/>
                      <a:pt x="437" y="318"/>
                      <a:pt x="436" y="319"/>
                    </a:cubicBezTo>
                    <a:cubicBezTo>
                      <a:pt x="436" y="319"/>
                      <a:pt x="436" y="319"/>
                      <a:pt x="436" y="318"/>
                    </a:cubicBezTo>
                    <a:cubicBezTo>
                      <a:pt x="436" y="318"/>
                      <a:pt x="436" y="318"/>
                      <a:pt x="435" y="319"/>
                    </a:cubicBezTo>
                    <a:cubicBezTo>
                      <a:pt x="435" y="319"/>
                      <a:pt x="435" y="319"/>
                      <a:pt x="434" y="318"/>
                    </a:cubicBezTo>
                    <a:cubicBezTo>
                      <a:pt x="434" y="318"/>
                      <a:pt x="434" y="318"/>
                      <a:pt x="434" y="317"/>
                    </a:cubicBezTo>
                    <a:cubicBezTo>
                      <a:pt x="434" y="317"/>
                      <a:pt x="434" y="317"/>
                      <a:pt x="433" y="317"/>
                    </a:cubicBezTo>
                    <a:cubicBezTo>
                      <a:pt x="433" y="317"/>
                      <a:pt x="433" y="317"/>
                      <a:pt x="433" y="315"/>
                    </a:cubicBezTo>
                    <a:cubicBezTo>
                      <a:pt x="433" y="315"/>
                      <a:pt x="433" y="315"/>
                      <a:pt x="432" y="314"/>
                    </a:cubicBezTo>
                    <a:cubicBezTo>
                      <a:pt x="432" y="314"/>
                      <a:pt x="432" y="314"/>
                      <a:pt x="432" y="313"/>
                    </a:cubicBezTo>
                    <a:cubicBezTo>
                      <a:pt x="432" y="313"/>
                      <a:pt x="432" y="313"/>
                      <a:pt x="431" y="312"/>
                    </a:cubicBezTo>
                    <a:cubicBezTo>
                      <a:pt x="431" y="312"/>
                      <a:pt x="431" y="312"/>
                      <a:pt x="432" y="310"/>
                    </a:cubicBezTo>
                    <a:cubicBezTo>
                      <a:pt x="432" y="310"/>
                      <a:pt x="432" y="310"/>
                      <a:pt x="432" y="309"/>
                    </a:cubicBezTo>
                    <a:cubicBezTo>
                      <a:pt x="432" y="309"/>
                      <a:pt x="432" y="309"/>
                      <a:pt x="432" y="308"/>
                    </a:cubicBezTo>
                    <a:cubicBezTo>
                      <a:pt x="432" y="308"/>
                      <a:pt x="432" y="308"/>
                      <a:pt x="432" y="307"/>
                    </a:cubicBezTo>
                    <a:cubicBezTo>
                      <a:pt x="432" y="307"/>
                      <a:pt x="432" y="307"/>
                      <a:pt x="433" y="305"/>
                    </a:cubicBezTo>
                    <a:cubicBezTo>
                      <a:pt x="433" y="305"/>
                      <a:pt x="433" y="305"/>
                      <a:pt x="433" y="303"/>
                    </a:cubicBezTo>
                    <a:cubicBezTo>
                      <a:pt x="433" y="303"/>
                      <a:pt x="433" y="303"/>
                      <a:pt x="433" y="301"/>
                    </a:cubicBezTo>
                    <a:cubicBezTo>
                      <a:pt x="433" y="301"/>
                      <a:pt x="433" y="301"/>
                      <a:pt x="434" y="299"/>
                    </a:cubicBezTo>
                    <a:cubicBezTo>
                      <a:pt x="434" y="299"/>
                      <a:pt x="434" y="299"/>
                      <a:pt x="433" y="300"/>
                    </a:cubicBezTo>
                    <a:cubicBezTo>
                      <a:pt x="433" y="300"/>
                      <a:pt x="433" y="300"/>
                      <a:pt x="432" y="301"/>
                    </a:cubicBezTo>
                    <a:cubicBezTo>
                      <a:pt x="432" y="301"/>
                      <a:pt x="432" y="301"/>
                      <a:pt x="431" y="300"/>
                    </a:cubicBezTo>
                    <a:cubicBezTo>
                      <a:pt x="431" y="300"/>
                      <a:pt x="431" y="300"/>
                      <a:pt x="431" y="301"/>
                    </a:cubicBezTo>
                    <a:cubicBezTo>
                      <a:pt x="431" y="301"/>
                      <a:pt x="431" y="301"/>
                      <a:pt x="431" y="302"/>
                    </a:cubicBezTo>
                    <a:cubicBezTo>
                      <a:pt x="431" y="302"/>
                      <a:pt x="431" y="302"/>
                      <a:pt x="431" y="305"/>
                    </a:cubicBezTo>
                    <a:cubicBezTo>
                      <a:pt x="431" y="305"/>
                      <a:pt x="431" y="305"/>
                      <a:pt x="430" y="308"/>
                    </a:cubicBezTo>
                    <a:cubicBezTo>
                      <a:pt x="430" y="308"/>
                      <a:pt x="430" y="308"/>
                      <a:pt x="430" y="311"/>
                    </a:cubicBezTo>
                    <a:cubicBezTo>
                      <a:pt x="430" y="311"/>
                      <a:pt x="430" y="311"/>
                      <a:pt x="430" y="312"/>
                    </a:cubicBezTo>
                    <a:cubicBezTo>
                      <a:pt x="430" y="312"/>
                      <a:pt x="430" y="312"/>
                      <a:pt x="430" y="313"/>
                    </a:cubicBezTo>
                    <a:cubicBezTo>
                      <a:pt x="430" y="313"/>
                      <a:pt x="430" y="313"/>
                      <a:pt x="428" y="315"/>
                    </a:cubicBezTo>
                    <a:cubicBezTo>
                      <a:pt x="428" y="315"/>
                      <a:pt x="428" y="315"/>
                      <a:pt x="427" y="313"/>
                    </a:cubicBezTo>
                    <a:cubicBezTo>
                      <a:pt x="427" y="313"/>
                      <a:pt x="427" y="313"/>
                      <a:pt x="428" y="313"/>
                    </a:cubicBezTo>
                    <a:cubicBezTo>
                      <a:pt x="428" y="313"/>
                      <a:pt x="428" y="313"/>
                      <a:pt x="428" y="312"/>
                    </a:cubicBezTo>
                    <a:cubicBezTo>
                      <a:pt x="428" y="312"/>
                      <a:pt x="428" y="312"/>
                      <a:pt x="427" y="313"/>
                    </a:cubicBezTo>
                    <a:cubicBezTo>
                      <a:pt x="427" y="313"/>
                      <a:pt x="427" y="313"/>
                      <a:pt x="425" y="313"/>
                    </a:cubicBezTo>
                    <a:cubicBezTo>
                      <a:pt x="425" y="313"/>
                      <a:pt x="425" y="313"/>
                      <a:pt x="425" y="312"/>
                    </a:cubicBezTo>
                    <a:cubicBezTo>
                      <a:pt x="425" y="312"/>
                      <a:pt x="425" y="312"/>
                      <a:pt x="425" y="311"/>
                    </a:cubicBezTo>
                    <a:cubicBezTo>
                      <a:pt x="425" y="311"/>
                      <a:pt x="425" y="311"/>
                      <a:pt x="425" y="310"/>
                    </a:cubicBezTo>
                    <a:cubicBezTo>
                      <a:pt x="425" y="310"/>
                      <a:pt x="425" y="310"/>
                      <a:pt x="425" y="309"/>
                    </a:cubicBezTo>
                    <a:cubicBezTo>
                      <a:pt x="425" y="309"/>
                      <a:pt x="425" y="309"/>
                      <a:pt x="426" y="308"/>
                    </a:cubicBezTo>
                    <a:cubicBezTo>
                      <a:pt x="426" y="308"/>
                      <a:pt x="426" y="308"/>
                      <a:pt x="426" y="307"/>
                    </a:cubicBezTo>
                    <a:cubicBezTo>
                      <a:pt x="426" y="307"/>
                      <a:pt x="426" y="307"/>
                      <a:pt x="425" y="308"/>
                    </a:cubicBezTo>
                    <a:cubicBezTo>
                      <a:pt x="425" y="308"/>
                      <a:pt x="425" y="308"/>
                      <a:pt x="424" y="308"/>
                    </a:cubicBezTo>
                    <a:cubicBezTo>
                      <a:pt x="424" y="308"/>
                      <a:pt x="424" y="308"/>
                      <a:pt x="424" y="307"/>
                    </a:cubicBezTo>
                    <a:cubicBezTo>
                      <a:pt x="424" y="307"/>
                      <a:pt x="424" y="307"/>
                      <a:pt x="424" y="306"/>
                    </a:cubicBezTo>
                    <a:cubicBezTo>
                      <a:pt x="424" y="306"/>
                      <a:pt x="424" y="306"/>
                      <a:pt x="424" y="305"/>
                    </a:cubicBezTo>
                    <a:cubicBezTo>
                      <a:pt x="424" y="305"/>
                      <a:pt x="424" y="305"/>
                      <a:pt x="423" y="304"/>
                    </a:cubicBezTo>
                    <a:cubicBezTo>
                      <a:pt x="423" y="304"/>
                      <a:pt x="423" y="304"/>
                      <a:pt x="423" y="305"/>
                    </a:cubicBezTo>
                    <a:cubicBezTo>
                      <a:pt x="423" y="305"/>
                      <a:pt x="423" y="305"/>
                      <a:pt x="422" y="305"/>
                    </a:cubicBezTo>
                    <a:cubicBezTo>
                      <a:pt x="422" y="305"/>
                      <a:pt x="422" y="305"/>
                      <a:pt x="422" y="303"/>
                    </a:cubicBezTo>
                    <a:cubicBezTo>
                      <a:pt x="422" y="303"/>
                      <a:pt x="422" y="303"/>
                      <a:pt x="421" y="303"/>
                    </a:cubicBezTo>
                    <a:cubicBezTo>
                      <a:pt x="421" y="303"/>
                      <a:pt x="421" y="303"/>
                      <a:pt x="421" y="305"/>
                    </a:cubicBezTo>
                    <a:cubicBezTo>
                      <a:pt x="421" y="305"/>
                      <a:pt x="421" y="305"/>
                      <a:pt x="421" y="306"/>
                    </a:cubicBezTo>
                    <a:cubicBezTo>
                      <a:pt x="421" y="306"/>
                      <a:pt x="421" y="306"/>
                      <a:pt x="422" y="306"/>
                    </a:cubicBezTo>
                    <a:cubicBezTo>
                      <a:pt x="422" y="306"/>
                      <a:pt x="422" y="306"/>
                      <a:pt x="422" y="307"/>
                    </a:cubicBezTo>
                    <a:cubicBezTo>
                      <a:pt x="422" y="307"/>
                      <a:pt x="422" y="307"/>
                      <a:pt x="422" y="308"/>
                    </a:cubicBezTo>
                    <a:cubicBezTo>
                      <a:pt x="422" y="308"/>
                      <a:pt x="422" y="308"/>
                      <a:pt x="421" y="309"/>
                    </a:cubicBezTo>
                    <a:cubicBezTo>
                      <a:pt x="421" y="309"/>
                      <a:pt x="421" y="309"/>
                      <a:pt x="422" y="309"/>
                    </a:cubicBezTo>
                    <a:cubicBezTo>
                      <a:pt x="422" y="309"/>
                      <a:pt x="422" y="309"/>
                      <a:pt x="423" y="309"/>
                    </a:cubicBezTo>
                    <a:cubicBezTo>
                      <a:pt x="423" y="309"/>
                      <a:pt x="423" y="309"/>
                      <a:pt x="424" y="311"/>
                    </a:cubicBezTo>
                    <a:cubicBezTo>
                      <a:pt x="424" y="311"/>
                      <a:pt x="424" y="311"/>
                      <a:pt x="423" y="312"/>
                    </a:cubicBezTo>
                    <a:cubicBezTo>
                      <a:pt x="423" y="312"/>
                      <a:pt x="423" y="312"/>
                      <a:pt x="422" y="312"/>
                    </a:cubicBezTo>
                    <a:cubicBezTo>
                      <a:pt x="422" y="312"/>
                      <a:pt x="422" y="312"/>
                      <a:pt x="421" y="313"/>
                    </a:cubicBezTo>
                    <a:cubicBezTo>
                      <a:pt x="421" y="313"/>
                      <a:pt x="421" y="313"/>
                      <a:pt x="420" y="312"/>
                    </a:cubicBezTo>
                    <a:cubicBezTo>
                      <a:pt x="420" y="312"/>
                      <a:pt x="420" y="312"/>
                      <a:pt x="419" y="311"/>
                    </a:cubicBezTo>
                    <a:cubicBezTo>
                      <a:pt x="419" y="311"/>
                      <a:pt x="419" y="311"/>
                      <a:pt x="417" y="309"/>
                    </a:cubicBezTo>
                    <a:cubicBezTo>
                      <a:pt x="417" y="309"/>
                      <a:pt x="417" y="309"/>
                      <a:pt x="417" y="308"/>
                    </a:cubicBezTo>
                    <a:cubicBezTo>
                      <a:pt x="417" y="308"/>
                      <a:pt x="417" y="308"/>
                      <a:pt x="417" y="307"/>
                    </a:cubicBezTo>
                    <a:cubicBezTo>
                      <a:pt x="417" y="307"/>
                      <a:pt x="417" y="307"/>
                      <a:pt x="416" y="307"/>
                    </a:cubicBezTo>
                    <a:cubicBezTo>
                      <a:pt x="416" y="307"/>
                      <a:pt x="416" y="307"/>
                      <a:pt x="416" y="306"/>
                    </a:cubicBezTo>
                    <a:cubicBezTo>
                      <a:pt x="416" y="306"/>
                      <a:pt x="416" y="306"/>
                      <a:pt x="416" y="303"/>
                    </a:cubicBezTo>
                    <a:cubicBezTo>
                      <a:pt x="416" y="303"/>
                      <a:pt x="416" y="303"/>
                      <a:pt x="415" y="302"/>
                    </a:cubicBezTo>
                    <a:cubicBezTo>
                      <a:pt x="415" y="302"/>
                      <a:pt x="415" y="302"/>
                      <a:pt x="415" y="301"/>
                    </a:cubicBezTo>
                    <a:cubicBezTo>
                      <a:pt x="415" y="301"/>
                      <a:pt x="415" y="301"/>
                      <a:pt x="416" y="300"/>
                    </a:cubicBezTo>
                    <a:cubicBezTo>
                      <a:pt x="416" y="300"/>
                      <a:pt x="416" y="300"/>
                      <a:pt x="417" y="299"/>
                    </a:cubicBezTo>
                    <a:cubicBezTo>
                      <a:pt x="417" y="299"/>
                      <a:pt x="417" y="299"/>
                      <a:pt x="417" y="298"/>
                    </a:cubicBezTo>
                    <a:cubicBezTo>
                      <a:pt x="417" y="298"/>
                      <a:pt x="417" y="298"/>
                      <a:pt x="417" y="296"/>
                    </a:cubicBezTo>
                    <a:cubicBezTo>
                      <a:pt x="417" y="296"/>
                      <a:pt x="417" y="296"/>
                      <a:pt x="416" y="298"/>
                    </a:cubicBezTo>
                    <a:cubicBezTo>
                      <a:pt x="416" y="298"/>
                      <a:pt x="416" y="298"/>
                      <a:pt x="415" y="300"/>
                    </a:cubicBezTo>
                    <a:cubicBezTo>
                      <a:pt x="415" y="300"/>
                      <a:pt x="415" y="300"/>
                      <a:pt x="414" y="299"/>
                    </a:cubicBezTo>
                    <a:cubicBezTo>
                      <a:pt x="414" y="299"/>
                      <a:pt x="414" y="299"/>
                      <a:pt x="413" y="300"/>
                    </a:cubicBezTo>
                    <a:cubicBezTo>
                      <a:pt x="413" y="300"/>
                      <a:pt x="413" y="300"/>
                      <a:pt x="412" y="298"/>
                    </a:cubicBezTo>
                    <a:cubicBezTo>
                      <a:pt x="412" y="298"/>
                      <a:pt x="412" y="298"/>
                      <a:pt x="413" y="297"/>
                    </a:cubicBezTo>
                    <a:cubicBezTo>
                      <a:pt x="413" y="297"/>
                      <a:pt x="413" y="297"/>
                      <a:pt x="412" y="296"/>
                    </a:cubicBezTo>
                    <a:cubicBezTo>
                      <a:pt x="412" y="296"/>
                      <a:pt x="412" y="296"/>
                      <a:pt x="411" y="297"/>
                    </a:cubicBezTo>
                    <a:cubicBezTo>
                      <a:pt x="411" y="297"/>
                      <a:pt x="411" y="297"/>
                      <a:pt x="410" y="296"/>
                    </a:cubicBezTo>
                    <a:cubicBezTo>
                      <a:pt x="410" y="296"/>
                      <a:pt x="410" y="296"/>
                      <a:pt x="410" y="295"/>
                    </a:cubicBezTo>
                    <a:cubicBezTo>
                      <a:pt x="410" y="295"/>
                      <a:pt x="410" y="295"/>
                      <a:pt x="409" y="293"/>
                    </a:cubicBezTo>
                    <a:cubicBezTo>
                      <a:pt x="409" y="293"/>
                      <a:pt x="409" y="293"/>
                      <a:pt x="411" y="294"/>
                    </a:cubicBezTo>
                    <a:cubicBezTo>
                      <a:pt x="411" y="294"/>
                      <a:pt x="411" y="294"/>
                      <a:pt x="412" y="294"/>
                    </a:cubicBezTo>
                    <a:cubicBezTo>
                      <a:pt x="412" y="294"/>
                      <a:pt x="412" y="294"/>
                      <a:pt x="412" y="292"/>
                    </a:cubicBezTo>
                    <a:cubicBezTo>
                      <a:pt x="412" y="292"/>
                      <a:pt x="412" y="292"/>
                      <a:pt x="412" y="290"/>
                    </a:cubicBezTo>
                    <a:cubicBezTo>
                      <a:pt x="412" y="290"/>
                      <a:pt x="412" y="290"/>
                      <a:pt x="411" y="291"/>
                    </a:cubicBezTo>
                    <a:cubicBezTo>
                      <a:pt x="411" y="291"/>
                      <a:pt x="411" y="291"/>
                      <a:pt x="411" y="290"/>
                    </a:cubicBezTo>
                    <a:cubicBezTo>
                      <a:pt x="411" y="290"/>
                      <a:pt x="411" y="290"/>
                      <a:pt x="410" y="290"/>
                    </a:cubicBezTo>
                    <a:cubicBezTo>
                      <a:pt x="410" y="290"/>
                      <a:pt x="410" y="290"/>
                      <a:pt x="407" y="291"/>
                    </a:cubicBezTo>
                    <a:cubicBezTo>
                      <a:pt x="407" y="291"/>
                      <a:pt x="407" y="291"/>
                      <a:pt x="406" y="290"/>
                    </a:cubicBezTo>
                    <a:cubicBezTo>
                      <a:pt x="406" y="290"/>
                      <a:pt x="406" y="290"/>
                      <a:pt x="405" y="290"/>
                    </a:cubicBezTo>
                    <a:cubicBezTo>
                      <a:pt x="405" y="290"/>
                      <a:pt x="405" y="290"/>
                      <a:pt x="404" y="289"/>
                    </a:cubicBezTo>
                    <a:cubicBezTo>
                      <a:pt x="404" y="289"/>
                      <a:pt x="404" y="289"/>
                      <a:pt x="403" y="288"/>
                    </a:cubicBezTo>
                    <a:cubicBezTo>
                      <a:pt x="403" y="288"/>
                      <a:pt x="403" y="288"/>
                      <a:pt x="402" y="287"/>
                    </a:cubicBezTo>
                    <a:cubicBezTo>
                      <a:pt x="402" y="287"/>
                      <a:pt x="402" y="287"/>
                      <a:pt x="404" y="287"/>
                    </a:cubicBezTo>
                    <a:cubicBezTo>
                      <a:pt x="404" y="287"/>
                      <a:pt x="404" y="287"/>
                      <a:pt x="404" y="286"/>
                    </a:cubicBezTo>
                    <a:cubicBezTo>
                      <a:pt x="404" y="286"/>
                      <a:pt x="404" y="286"/>
                      <a:pt x="405" y="285"/>
                    </a:cubicBezTo>
                    <a:cubicBezTo>
                      <a:pt x="405" y="285"/>
                      <a:pt x="405" y="285"/>
                      <a:pt x="404" y="285"/>
                    </a:cubicBezTo>
                    <a:cubicBezTo>
                      <a:pt x="404" y="285"/>
                      <a:pt x="404" y="285"/>
                      <a:pt x="404" y="286"/>
                    </a:cubicBezTo>
                    <a:cubicBezTo>
                      <a:pt x="404" y="286"/>
                      <a:pt x="404" y="286"/>
                      <a:pt x="402" y="286"/>
                    </a:cubicBezTo>
                    <a:cubicBezTo>
                      <a:pt x="402" y="286"/>
                      <a:pt x="402" y="286"/>
                      <a:pt x="401" y="286"/>
                    </a:cubicBezTo>
                    <a:cubicBezTo>
                      <a:pt x="401" y="286"/>
                      <a:pt x="401" y="286"/>
                      <a:pt x="400" y="286"/>
                    </a:cubicBezTo>
                    <a:cubicBezTo>
                      <a:pt x="400" y="286"/>
                      <a:pt x="400" y="286"/>
                      <a:pt x="400" y="285"/>
                    </a:cubicBezTo>
                    <a:cubicBezTo>
                      <a:pt x="400" y="285"/>
                      <a:pt x="400" y="285"/>
                      <a:pt x="399" y="284"/>
                    </a:cubicBezTo>
                    <a:cubicBezTo>
                      <a:pt x="399" y="284"/>
                      <a:pt x="399" y="284"/>
                      <a:pt x="398" y="284"/>
                    </a:cubicBezTo>
                    <a:cubicBezTo>
                      <a:pt x="398" y="284"/>
                      <a:pt x="398" y="284"/>
                      <a:pt x="398" y="283"/>
                    </a:cubicBezTo>
                    <a:cubicBezTo>
                      <a:pt x="398" y="283"/>
                      <a:pt x="398" y="283"/>
                      <a:pt x="397" y="283"/>
                    </a:cubicBezTo>
                    <a:cubicBezTo>
                      <a:pt x="397" y="283"/>
                      <a:pt x="397" y="283"/>
                      <a:pt x="396" y="283"/>
                    </a:cubicBezTo>
                    <a:cubicBezTo>
                      <a:pt x="396" y="283"/>
                      <a:pt x="396" y="283"/>
                      <a:pt x="394" y="283"/>
                    </a:cubicBezTo>
                    <a:cubicBezTo>
                      <a:pt x="394" y="283"/>
                      <a:pt x="394" y="283"/>
                      <a:pt x="393" y="283"/>
                    </a:cubicBezTo>
                    <a:cubicBezTo>
                      <a:pt x="393" y="283"/>
                      <a:pt x="393" y="283"/>
                      <a:pt x="392" y="283"/>
                    </a:cubicBezTo>
                    <a:cubicBezTo>
                      <a:pt x="392" y="283"/>
                      <a:pt x="392" y="283"/>
                      <a:pt x="391" y="283"/>
                    </a:cubicBezTo>
                    <a:cubicBezTo>
                      <a:pt x="391" y="283"/>
                      <a:pt x="391" y="283"/>
                      <a:pt x="388" y="283"/>
                    </a:cubicBezTo>
                    <a:cubicBezTo>
                      <a:pt x="388" y="283"/>
                      <a:pt x="388" y="283"/>
                      <a:pt x="388" y="282"/>
                    </a:cubicBezTo>
                    <a:cubicBezTo>
                      <a:pt x="388" y="282"/>
                      <a:pt x="388" y="282"/>
                      <a:pt x="389" y="282"/>
                    </a:cubicBezTo>
                    <a:cubicBezTo>
                      <a:pt x="389" y="282"/>
                      <a:pt x="389" y="282"/>
                      <a:pt x="390" y="282"/>
                    </a:cubicBezTo>
                    <a:cubicBezTo>
                      <a:pt x="390" y="282"/>
                      <a:pt x="390" y="282"/>
                      <a:pt x="389" y="280"/>
                    </a:cubicBezTo>
                    <a:cubicBezTo>
                      <a:pt x="389" y="280"/>
                      <a:pt x="389" y="280"/>
                      <a:pt x="390" y="279"/>
                    </a:cubicBezTo>
                    <a:cubicBezTo>
                      <a:pt x="390" y="279"/>
                      <a:pt x="390" y="279"/>
                      <a:pt x="390" y="278"/>
                    </a:cubicBezTo>
                    <a:cubicBezTo>
                      <a:pt x="390" y="278"/>
                      <a:pt x="390" y="278"/>
                      <a:pt x="391" y="277"/>
                    </a:cubicBezTo>
                    <a:cubicBezTo>
                      <a:pt x="391" y="277"/>
                      <a:pt x="391" y="277"/>
                      <a:pt x="390" y="277"/>
                    </a:cubicBezTo>
                    <a:cubicBezTo>
                      <a:pt x="390" y="277"/>
                      <a:pt x="390" y="277"/>
                      <a:pt x="389" y="277"/>
                    </a:cubicBezTo>
                    <a:cubicBezTo>
                      <a:pt x="389" y="277"/>
                      <a:pt x="389" y="277"/>
                      <a:pt x="390" y="278"/>
                    </a:cubicBezTo>
                    <a:cubicBezTo>
                      <a:pt x="390" y="278"/>
                      <a:pt x="390" y="278"/>
                      <a:pt x="389" y="279"/>
                    </a:cubicBezTo>
                    <a:cubicBezTo>
                      <a:pt x="389" y="279"/>
                      <a:pt x="389" y="279"/>
                      <a:pt x="388" y="279"/>
                    </a:cubicBezTo>
                    <a:cubicBezTo>
                      <a:pt x="388" y="279"/>
                      <a:pt x="388" y="279"/>
                      <a:pt x="388" y="278"/>
                    </a:cubicBezTo>
                    <a:cubicBezTo>
                      <a:pt x="388" y="278"/>
                      <a:pt x="388" y="278"/>
                      <a:pt x="387" y="278"/>
                    </a:cubicBezTo>
                    <a:cubicBezTo>
                      <a:pt x="387" y="278"/>
                      <a:pt x="387" y="278"/>
                      <a:pt x="387" y="277"/>
                    </a:cubicBezTo>
                    <a:cubicBezTo>
                      <a:pt x="387" y="277"/>
                      <a:pt x="387" y="277"/>
                      <a:pt x="388" y="277"/>
                    </a:cubicBezTo>
                    <a:cubicBezTo>
                      <a:pt x="388" y="277"/>
                      <a:pt x="388" y="277"/>
                      <a:pt x="388" y="276"/>
                    </a:cubicBezTo>
                    <a:cubicBezTo>
                      <a:pt x="388" y="276"/>
                      <a:pt x="388" y="276"/>
                      <a:pt x="387" y="275"/>
                    </a:cubicBezTo>
                    <a:cubicBezTo>
                      <a:pt x="387" y="275"/>
                      <a:pt x="387" y="275"/>
                      <a:pt x="385" y="276"/>
                    </a:cubicBezTo>
                    <a:cubicBezTo>
                      <a:pt x="385" y="276"/>
                      <a:pt x="385" y="276"/>
                      <a:pt x="384" y="275"/>
                    </a:cubicBezTo>
                    <a:cubicBezTo>
                      <a:pt x="384" y="275"/>
                      <a:pt x="384" y="275"/>
                      <a:pt x="383" y="274"/>
                    </a:cubicBezTo>
                    <a:cubicBezTo>
                      <a:pt x="383" y="274"/>
                      <a:pt x="383" y="274"/>
                      <a:pt x="382" y="275"/>
                    </a:cubicBezTo>
                    <a:cubicBezTo>
                      <a:pt x="382" y="275"/>
                      <a:pt x="382" y="275"/>
                      <a:pt x="381" y="275"/>
                    </a:cubicBezTo>
                    <a:cubicBezTo>
                      <a:pt x="381" y="275"/>
                      <a:pt x="381" y="275"/>
                      <a:pt x="381" y="274"/>
                    </a:cubicBezTo>
                    <a:cubicBezTo>
                      <a:pt x="381" y="274"/>
                      <a:pt x="381" y="274"/>
                      <a:pt x="382" y="274"/>
                    </a:cubicBezTo>
                    <a:cubicBezTo>
                      <a:pt x="382" y="274"/>
                      <a:pt x="382" y="274"/>
                      <a:pt x="382" y="273"/>
                    </a:cubicBezTo>
                    <a:cubicBezTo>
                      <a:pt x="382" y="273"/>
                      <a:pt x="382" y="273"/>
                      <a:pt x="380" y="272"/>
                    </a:cubicBezTo>
                    <a:cubicBezTo>
                      <a:pt x="380" y="272"/>
                      <a:pt x="380" y="272"/>
                      <a:pt x="380" y="271"/>
                    </a:cubicBezTo>
                    <a:cubicBezTo>
                      <a:pt x="380" y="271"/>
                      <a:pt x="380" y="271"/>
                      <a:pt x="381" y="271"/>
                    </a:cubicBezTo>
                    <a:cubicBezTo>
                      <a:pt x="381" y="271"/>
                      <a:pt x="381" y="271"/>
                      <a:pt x="382" y="271"/>
                    </a:cubicBezTo>
                    <a:cubicBezTo>
                      <a:pt x="382" y="271"/>
                      <a:pt x="382" y="271"/>
                      <a:pt x="381" y="270"/>
                    </a:cubicBezTo>
                    <a:cubicBezTo>
                      <a:pt x="381" y="270"/>
                      <a:pt x="381" y="270"/>
                      <a:pt x="380" y="271"/>
                    </a:cubicBezTo>
                    <a:cubicBezTo>
                      <a:pt x="380" y="271"/>
                      <a:pt x="380" y="271"/>
                      <a:pt x="379" y="271"/>
                    </a:cubicBezTo>
                    <a:cubicBezTo>
                      <a:pt x="379" y="271"/>
                      <a:pt x="379" y="271"/>
                      <a:pt x="379" y="270"/>
                    </a:cubicBezTo>
                    <a:cubicBezTo>
                      <a:pt x="379" y="270"/>
                      <a:pt x="379" y="270"/>
                      <a:pt x="380" y="269"/>
                    </a:cubicBezTo>
                    <a:cubicBezTo>
                      <a:pt x="380" y="269"/>
                      <a:pt x="380" y="269"/>
                      <a:pt x="380" y="268"/>
                    </a:cubicBezTo>
                    <a:cubicBezTo>
                      <a:pt x="380" y="268"/>
                      <a:pt x="380" y="268"/>
                      <a:pt x="380" y="267"/>
                    </a:cubicBezTo>
                    <a:cubicBezTo>
                      <a:pt x="380" y="267"/>
                      <a:pt x="380" y="267"/>
                      <a:pt x="381" y="267"/>
                    </a:cubicBezTo>
                    <a:cubicBezTo>
                      <a:pt x="381" y="267"/>
                      <a:pt x="381" y="267"/>
                      <a:pt x="382" y="266"/>
                    </a:cubicBezTo>
                    <a:cubicBezTo>
                      <a:pt x="382" y="266"/>
                      <a:pt x="382" y="266"/>
                      <a:pt x="384" y="266"/>
                    </a:cubicBezTo>
                    <a:cubicBezTo>
                      <a:pt x="384" y="266"/>
                      <a:pt x="384" y="266"/>
                      <a:pt x="384" y="265"/>
                    </a:cubicBezTo>
                    <a:cubicBezTo>
                      <a:pt x="384" y="265"/>
                      <a:pt x="384" y="265"/>
                      <a:pt x="383" y="265"/>
                    </a:cubicBezTo>
                    <a:cubicBezTo>
                      <a:pt x="383" y="265"/>
                      <a:pt x="383" y="265"/>
                      <a:pt x="382" y="265"/>
                    </a:cubicBezTo>
                    <a:cubicBezTo>
                      <a:pt x="382" y="265"/>
                      <a:pt x="382" y="265"/>
                      <a:pt x="380" y="266"/>
                    </a:cubicBezTo>
                    <a:cubicBezTo>
                      <a:pt x="380" y="266"/>
                      <a:pt x="380" y="266"/>
                      <a:pt x="379" y="267"/>
                    </a:cubicBezTo>
                    <a:cubicBezTo>
                      <a:pt x="379" y="267"/>
                      <a:pt x="379" y="267"/>
                      <a:pt x="378" y="266"/>
                    </a:cubicBezTo>
                    <a:cubicBezTo>
                      <a:pt x="378" y="266"/>
                      <a:pt x="378" y="266"/>
                      <a:pt x="377" y="267"/>
                    </a:cubicBezTo>
                    <a:cubicBezTo>
                      <a:pt x="377" y="267"/>
                      <a:pt x="377" y="267"/>
                      <a:pt x="376" y="268"/>
                    </a:cubicBezTo>
                    <a:cubicBezTo>
                      <a:pt x="376" y="268"/>
                      <a:pt x="376" y="268"/>
                      <a:pt x="376" y="267"/>
                    </a:cubicBezTo>
                    <a:cubicBezTo>
                      <a:pt x="376" y="267"/>
                      <a:pt x="376" y="267"/>
                      <a:pt x="376" y="266"/>
                    </a:cubicBezTo>
                    <a:cubicBezTo>
                      <a:pt x="376" y="266"/>
                      <a:pt x="376" y="266"/>
                      <a:pt x="377" y="265"/>
                    </a:cubicBezTo>
                    <a:cubicBezTo>
                      <a:pt x="377" y="265"/>
                      <a:pt x="377" y="265"/>
                      <a:pt x="376" y="265"/>
                    </a:cubicBezTo>
                    <a:cubicBezTo>
                      <a:pt x="376" y="265"/>
                      <a:pt x="376" y="265"/>
                      <a:pt x="375" y="266"/>
                    </a:cubicBezTo>
                    <a:cubicBezTo>
                      <a:pt x="375" y="266"/>
                      <a:pt x="375" y="266"/>
                      <a:pt x="374" y="268"/>
                    </a:cubicBezTo>
                    <a:cubicBezTo>
                      <a:pt x="374" y="268"/>
                      <a:pt x="374" y="268"/>
                      <a:pt x="374" y="269"/>
                    </a:cubicBezTo>
                    <a:cubicBezTo>
                      <a:pt x="374" y="269"/>
                      <a:pt x="374" y="269"/>
                      <a:pt x="373" y="266"/>
                    </a:cubicBezTo>
                    <a:cubicBezTo>
                      <a:pt x="373" y="266"/>
                      <a:pt x="373" y="266"/>
                      <a:pt x="373" y="265"/>
                    </a:cubicBezTo>
                    <a:cubicBezTo>
                      <a:pt x="373" y="265"/>
                      <a:pt x="373" y="265"/>
                      <a:pt x="376" y="264"/>
                    </a:cubicBezTo>
                    <a:cubicBezTo>
                      <a:pt x="376" y="264"/>
                      <a:pt x="376" y="264"/>
                      <a:pt x="374" y="264"/>
                    </a:cubicBezTo>
                    <a:cubicBezTo>
                      <a:pt x="374" y="264"/>
                      <a:pt x="374" y="264"/>
                      <a:pt x="373" y="264"/>
                    </a:cubicBezTo>
                    <a:cubicBezTo>
                      <a:pt x="373" y="264"/>
                      <a:pt x="373" y="264"/>
                      <a:pt x="372" y="263"/>
                    </a:cubicBezTo>
                    <a:cubicBezTo>
                      <a:pt x="372" y="263"/>
                      <a:pt x="372" y="263"/>
                      <a:pt x="370" y="264"/>
                    </a:cubicBezTo>
                    <a:cubicBezTo>
                      <a:pt x="370" y="264"/>
                      <a:pt x="370" y="264"/>
                      <a:pt x="370" y="266"/>
                    </a:cubicBezTo>
                    <a:cubicBezTo>
                      <a:pt x="370" y="266"/>
                      <a:pt x="370" y="266"/>
                      <a:pt x="369" y="266"/>
                    </a:cubicBezTo>
                    <a:cubicBezTo>
                      <a:pt x="369" y="266"/>
                      <a:pt x="369" y="266"/>
                      <a:pt x="367" y="266"/>
                    </a:cubicBezTo>
                    <a:cubicBezTo>
                      <a:pt x="367" y="266"/>
                      <a:pt x="367" y="266"/>
                      <a:pt x="367" y="267"/>
                    </a:cubicBezTo>
                    <a:cubicBezTo>
                      <a:pt x="367" y="267"/>
                      <a:pt x="367" y="267"/>
                      <a:pt x="369" y="268"/>
                    </a:cubicBezTo>
                    <a:cubicBezTo>
                      <a:pt x="369" y="268"/>
                      <a:pt x="369" y="268"/>
                      <a:pt x="370" y="268"/>
                    </a:cubicBezTo>
                    <a:cubicBezTo>
                      <a:pt x="370" y="268"/>
                      <a:pt x="370" y="268"/>
                      <a:pt x="370" y="269"/>
                    </a:cubicBezTo>
                    <a:cubicBezTo>
                      <a:pt x="370" y="269"/>
                      <a:pt x="370" y="269"/>
                      <a:pt x="369" y="270"/>
                    </a:cubicBezTo>
                    <a:cubicBezTo>
                      <a:pt x="369" y="270"/>
                      <a:pt x="369" y="270"/>
                      <a:pt x="368" y="269"/>
                    </a:cubicBezTo>
                    <a:cubicBezTo>
                      <a:pt x="368" y="269"/>
                      <a:pt x="368" y="269"/>
                      <a:pt x="367" y="269"/>
                    </a:cubicBezTo>
                    <a:cubicBezTo>
                      <a:pt x="367" y="269"/>
                      <a:pt x="367" y="269"/>
                      <a:pt x="367" y="270"/>
                    </a:cubicBezTo>
                    <a:cubicBezTo>
                      <a:pt x="367" y="270"/>
                      <a:pt x="367" y="270"/>
                      <a:pt x="368" y="270"/>
                    </a:cubicBezTo>
                    <a:cubicBezTo>
                      <a:pt x="368" y="270"/>
                      <a:pt x="368" y="270"/>
                      <a:pt x="369" y="271"/>
                    </a:cubicBezTo>
                    <a:cubicBezTo>
                      <a:pt x="369" y="271"/>
                      <a:pt x="369" y="271"/>
                      <a:pt x="370" y="271"/>
                    </a:cubicBezTo>
                    <a:cubicBezTo>
                      <a:pt x="370" y="271"/>
                      <a:pt x="370" y="271"/>
                      <a:pt x="370" y="272"/>
                    </a:cubicBezTo>
                    <a:cubicBezTo>
                      <a:pt x="370" y="272"/>
                      <a:pt x="370" y="272"/>
                      <a:pt x="370" y="273"/>
                    </a:cubicBezTo>
                    <a:cubicBezTo>
                      <a:pt x="370" y="273"/>
                      <a:pt x="370" y="273"/>
                      <a:pt x="367" y="274"/>
                    </a:cubicBezTo>
                    <a:cubicBezTo>
                      <a:pt x="367" y="274"/>
                      <a:pt x="367" y="274"/>
                      <a:pt x="367" y="275"/>
                    </a:cubicBezTo>
                    <a:cubicBezTo>
                      <a:pt x="367" y="275"/>
                      <a:pt x="367" y="275"/>
                      <a:pt x="368" y="275"/>
                    </a:cubicBezTo>
                    <a:cubicBezTo>
                      <a:pt x="368" y="275"/>
                      <a:pt x="368" y="275"/>
                      <a:pt x="367" y="276"/>
                    </a:cubicBezTo>
                    <a:cubicBezTo>
                      <a:pt x="367" y="276"/>
                      <a:pt x="367" y="276"/>
                      <a:pt x="365" y="276"/>
                    </a:cubicBezTo>
                    <a:cubicBezTo>
                      <a:pt x="365" y="276"/>
                      <a:pt x="365" y="276"/>
                      <a:pt x="364" y="278"/>
                    </a:cubicBezTo>
                    <a:cubicBezTo>
                      <a:pt x="364" y="278"/>
                      <a:pt x="364" y="278"/>
                      <a:pt x="363" y="278"/>
                    </a:cubicBezTo>
                    <a:cubicBezTo>
                      <a:pt x="363" y="278"/>
                      <a:pt x="363" y="278"/>
                      <a:pt x="362" y="278"/>
                    </a:cubicBezTo>
                    <a:cubicBezTo>
                      <a:pt x="362" y="278"/>
                      <a:pt x="362" y="278"/>
                      <a:pt x="362" y="277"/>
                    </a:cubicBezTo>
                    <a:cubicBezTo>
                      <a:pt x="362" y="277"/>
                      <a:pt x="362" y="277"/>
                      <a:pt x="361" y="276"/>
                    </a:cubicBezTo>
                    <a:cubicBezTo>
                      <a:pt x="361" y="276"/>
                      <a:pt x="361" y="276"/>
                      <a:pt x="360" y="278"/>
                    </a:cubicBezTo>
                    <a:cubicBezTo>
                      <a:pt x="360" y="278"/>
                      <a:pt x="360" y="278"/>
                      <a:pt x="359" y="277"/>
                    </a:cubicBezTo>
                    <a:cubicBezTo>
                      <a:pt x="359" y="277"/>
                      <a:pt x="359" y="277"/>
                      <a:pt x="360" y="276"/>
                    </a:cubicBezTo>
                    <a:cubicBezTo>
                      <a:pt x="360" y="276"/>
                      <a:pt x="360" y="276"/>
                      <a:pt x="360" y="275"/>
                    </a:cubicBezTo>
                    <a:cubicBezTo>
                      <a:pt x="360" y="275"/>
                      <a:pt x="360" y="275"/>
                      <a:pt x="359" y="275"/>
                    </a:cubicBezTo>
                    <a:cubicBezTo>
                      <a:pt x="359" y="275"/>
                      <a:pt x="359" y="275"/>
                      <a:pt x="359" y="277"/>
                    </a:cubicBezTo>
                    <a:cubicBezTo>
                      <a:pt x="359" y="277"/>
                      <a:pt x="359" y="277"/>
                      <a:pt x="357" y="279"/>
                    </a:cubicBezTo>
                    <a:cubicBezTo>
                      <a:pt x="357" y="279"/>
                      <a:pt x="357" y="279"/>
                      <a:pt x="358" y="277"/>
                    </a:cubicBezTo>
                    <a:cubicBezTo>
                      <a:pt x="358" y="277"/>
                      <a:pt x="358" y="277"/>
                      <a:pt x="357" y="277"/>
                    </a:cubicBezTo>
                    <a:cubicBezTo>
                      <a:pt x="357" y="277"/>
                      <a:pt x="357" y="277"/>
                      <a:pt x="356" y="278"/>
                    </a:cubicBezTo>
                    <a:cubicBezTo>
                      <a:pt x="356" y="278"/>
                      <a:pt x="356" y="278"/>
                      <a:pt x="355" y="280"/>
                    </a:cubicBezTo>
                    <a:cubicBezTo>
                      <a:pt x="355" y="280"/>
                      <a:pt x="355" y="280"/>
                      <a:pt x="355" y="281"/>
                    </a:cubicBezTo>
                    <a:cubicBezTo>
                      <a:pt x="355" y="281"/>
                      <a:pt x="355" y="281"/>
                      <a:pt x="354" y="280"/>
                    </a:cubicBezTo>
                    <a:cubicBezTo>
                      <a:pt x="354" y="280"/>
                      <a:pt x="354" y="280"/>
                      <a:pt x="353" y="280"/>
                    </a:cubicBezTo>
                    <a:cubicBezTo>
                      <a:pt x="353" y="280"/>
                      <a:pt x="353" y="280"/>
                      <a:pt x="351" y="282"/>
                    </a:cubicBezTo>
                    <a:cubicBezTo>
                      <a:pt x="351" y="282"/>
                      <a:pt x="351" y="282"/>
                      <a:pt x="350" y="282"/>
                    </a:cubicBezTo>
                    <a:cubicBezTo>
                      <a:pt x="350" y="282"/>
                      <a:pt x="350" y="282"/>
                      <a:pt x="349" y="281"/>
                    </a:cubicBezTo>
                    <a:cubicBezTo>
                      <a:pt x="349" y="281"/>
                      <a:pt x="349" y="281"/>
                      <a:pt x="350" y="280"/>
                    </a:cubicBezTo>
                    <a:cubicBezTo>
                      <a:pt x="350" y="280"/>
                      <a:pt x="350" y="280"/>
                      <a:pt x="349" y="280"/>
                    </a:cubicBezTo>
                    <a:cubicBezTo>
                      <a:pt x="349" y="280"/>
                      <a:pt x="349" y="280"/>
                      <a:pt x="349" y="281"/>
                    </a:cubicBezTo>
                    <a:cubicBezTo>
                      <a:pt x="349" y="282"/>
                      <a:pt x="349" y="282"/>
                      <a:pt x="349" y="282"/>
                    </a:cubicBezTo>
                    <a:cubicBezTo>
                      <a:pt x="349" y="282"/>
                      <a:pt x="349" y="282"/>
                      <a:pt x="347" y="283"/>
                    </a:cubicBezTo>
                    <a:cubicBezTo>
                      <a:pt x="347" y="283"/>
                      <a:pt x="347" y="283"/>
                      <a:pt x="346" y="283"/>
                    </a:cubicBezTo>
                    <a:cubicBezTo>
                      <a:pt x="346" y="283"/>
                      <a:pt x="346" y="283"/>
                      <a:pt x="346" y="284"/>
                    </a:cubicBezTo>
                    <a:cubicBezTo>
                      <a:pt x="346" y="284"/>
                      <a:pt x="346" y="284"/>
                      <a:pt x="345" y="284"/>
                    </a:cubicBezTo>
                    <a:cubicBezTo>
                      <a:pt x="345" y="284"/>
                      <a:pt x="345" y="284"/>
                      <a:pt x="345" y="283"/>
                    </a:cubicBezTo>
                    <a:cubicBezTo>
                      <a:pt x="345" y="283"/>
                      <a:pt x="345" y="283"/>
                      <a:pt x="344" y="283"/>
                    </a:cubicBezTo>
                    <a:cubicBezTo>
                      <a:pt x="344" y="283"/>
                      <a:pt x="344" y="283"/>
                      <a:pt x="344" y="285"/>
                    </a:cubicBezTo>
                    <a:cubicBezTo>
                      <a:pt x="344" y="285"/>
                      <a:pt x="344" y="285"/>
                      <a:pt x="343" y="284"/>
                    </a:cubicBezTo>
                    <a:cubicBezTo>
                      <a:pt x="343" y="284"/>
                      <a:pt x="343" y="284"/>
                      <a:pt x="343" y="285"/>
                    </a:cubicBezTo>
                    <a:cubicBezTo>
                      <a:pt x="343" y="285"/>
                      <a:pt x="343" y="285"/>
                      <a:pt x="342" y="285"/>
                    </a:cubicBezTo>
                    <a:cubicBezTo>
                      <a:pt x="342" y="285"/>
                      <a:pt x="342" y="285"/>
                      <a:pt x="341" y="283"/>
                    </a:cubicBezTo>
                    <a:cubicBezTo>
                      <a:pt x="341" y="283"/>
                      <a:pt x="341" y="283"/>
                      <a:pt x="340" y="282"/>
                    </a:cubicBezTo>
                    <a:cubicBezTo>
                      <a:pt x="340" y="282"/>
                      <a:pt x="340" y="282"/>
                      <a:pt x="341" y="281"/>
                    </a:cubicBezTo>
                    <a:cubicBezTo>
                      <a:pt x="341" y="281"/>
                      <a:pt x="341" y="281"/>
                      <a:pt x="342" y="282"/>
                    </a:cubicBezTo>
                    <a:cubicBezTo>
                      <a:pt x="342" y="282"/>
                      <a:pt x="342" y="282"/>
                      <a:pt x="342" y="281"/>
                    </a:cubicBezTo>
                    <a:cubicBezTo>
                      <a:pt x="342" y="281"/>
                      <a:pt x="342" y="281"/>
                      <a:pt x="343" y="280"/>
                    </a:cubicBezTo>
                    <a:cubicBezTo>
                      <a:pt x="343" y="280"/>
                      <a:pt x="343" y="280"/>
                      <a:pt x="344" y="280"/>
                    </a:cubicBezTo>
                    <a:cubicBezTo>
                      <a:pt x="344" y="280"/>
                      <a:pt x="344" y="280"/>
                      <a:pt x="345" y="281"/>
                    </a:cubicBezTo>
                    <a:cubicBezTo>
                      <a:pt x="345" y="281"/>
                      <a:pt x="345" y="281"/>
                      <a:pt x="346" y="280"/>
                    </a:cubicBezTo>
                    <a:cubicBezTo>
                      <a:pt x="346" y="280"/>
                      <a:pt x="346" y="280"/>
                      <a:pt x="347" y="279"/>
                    </a:cubicBezTo>
                    <a:cubicBezTo>
                      <a:pt x="347" y="279"/>
                      <a:pt x="347" y="279"/>
                      <a:pt x="349" y="278"/>
                    </a:cubicBezTo>
                    <a:cubicBezTo>
                      <a:pt x="349" y="278"/>
                      <a:pt x="349" y="278"/>
                      <a:pt x="349" y="277"/>
                    </a:cubicBezTo>
                    <a:cubicBezTo>
                      <a:pt x="349" y="277"/>
                      <a:pt x="349" y="277"/>
                      <a:pt x="348" y="277"/>
                    </a:cubicBezTo>
                    <a:cubicBezTo>
                      <a:pt x="348" y="277"/>
                      <a:pt x="348" y="277"/>
                      <a:pt x="347" y="278"/>
                    </a:cubicBezTo>
                    <a:cubicBezTo>
                      <a:pt x="347" y="278"/>
                      <a:pt x="347" y="278"/>
                      <a:pt x="346" y="278"/>
                    </a:cubicBezTo>
                    <a:cubicBezTo>
                      <a:pt x="346" y="278"/>
                      <a:pt x="346" y="278"/>
                      <a:pt x="346" y="279"/>
                    </a:cubicBezTo>
                    <a:cubicBezTo>
                      <a:pt x="346" y="279"/>
                      <a:pt x="346" y="279"/>
                      <a:pt x="344" y="277"/>
                    </a:cubicBezTo>
                    <a:cubicBezTo>
                      <a:pt x="344" y="277"/>
                      <a:pt x="344" y="277"/>
                      <a:pt x="344" y="276"/>
                    </a:cubicBezTo>
                    <a:cubicBezTo>
                      <a:pt x="344" y="276"/>
                      <a:pt x="344" y="276"/>
                      <a:pt x="345" y="275"/>
                    </a:cubicBezTo>
                    <a:cubicBezTo>
                      <a:pt x="345" y="275"/>
                      <a:pt x="345" y="275"/>
                      <a:pt x="349" y="272"/>
                    </a:cubicBezTo>
                    <a:cubicBezTo>
                      <a:pt x="349" y="272"/>
                      <a:pt x="349" y="272"/>
                      <a:pt x="350" y="270"/>
                    </a:cubicBezTo>
                    <a:cubicBezTo>
                      <a:pt x="350" y="270"/>
                      <a:pt x="350" y="270"/>
                      <a:pt x="351" y="269"/>
                    </a:cubicBezTo>
                    <a:cubicBezTo>
                      <a:pt x="351" y="269"/>
                      <a:pt x="351" y="269"/>
                      <a:pt x="352" y="267"/>
                    </a:cubicBezTo>
                    <a:cubicBezTo>
                      <a:pt x="352" y="267"/>
                      <a:pt x="352" y="267"/>
                      <a:pt x="352" y="265"/>
                    </a:cubicBezTo>
                    <a:cubicBezTo>
                      <a:pt x="352" y="265"/>
                      <a:pt x="352" y="265"/>
                      <a:pt x="353" y="264"/>
                    </a:cubicBezTo>
                    <a:cubicBezTo>
                      <a:pt x="353" y="264"/>
                      <a:pt x="353" y="264"/>
                      <a:pt x="355" y="264"/>
                    </a:cubicBezTo>
                    <a:cubicBezTo>
                      <a:pt x="355" y="264"/>
                      <a:pt x="355" y="264"/>
                      <a:pt x="357" y="263"/>
                    </a:cubicBezTo>
                    <a:cubicBezTo>
                      <a:pt x="357" y="263"/>
                      <a:pt x="357" y="263"/>
                      <a:pt x="358" y="263"/>
                    </a:cubicBezTo>
                    <a:cubicBezTo>
                      <a:pt x="358" y="263"/>
                      <a:pt x="358" y="263"/>
                      <a:pt x="360" y="262"/>
                    </a:cubicBezTo>
                    <a:cubicBezTo>
                      <a:pt x="360" y="262"/>
                      <a:pt x="360" y="262"/>
                      <a:pt x="360" y="263"/>
                    </a:cubicBezTo>
                    <a:cubicBezTo>
                      <a:pt x="360" y="263"/>
                      <a:pt x="360" y="263"/>
                      <a:pt x="361" y="264"/>
                    </a:cubicBezTo>
                    <a:cubicBezTo>
                      <a:pt x="361" y="264"/>
                      <a:pt x="361" y="264"/>
                      <a:pt x="362" y="264"/>
                    </a:cubicBezTo>
                    <a:cubicBezTo>
                      <a:pt x="362" y="264"/>
                      <a:pt x="362" y="264"/>
                      <a:pt x="363" y="264"/>
                    </a:cubicBezTo>
                    <a:cubicBezTo>
                      <a:pt x="363" y="264"/>
                      <a:pt x="363" y="264"/>
                      <a:pt x="364" y="264"/>
                    </a:cubicBezTo>
                    <a:cubicBezTo>
                      <a:pt x="364" y="264"/>
                      <a:pt x="364" y="264"/>
                      <a:pt x="365" y="265"/>
                    </a:cubicBezTo>
                    <a:cubicBezTo>
                      <a:pt x="365" y="265"/>
                      <a:pt x="365" y="265"/>
                      <a:pt x="365" y="264"/>
                    </a:cubicBezTo>
                    <a:cubicBezTo>
                      <a:pt x="365" y="264"/>
                      <a:pt x="365" y="264"/>
                      <a:pt x="363" y="262"/>
                    </a:cubicBezTo>
                    <a:cubicBezTo>
                      <a:pt x="363" y="262"/>
                      <a:pt x="363" y="262"/>
                      <a:pt x="363" y="261"/>
                    </a:cubicBezTo>
                    <a:cubicBezTo>
                      <a:pt x="363" y="261"/>
                      <a:pt x="363" y="261"/>
                      <a:pt x="366" y="258"/>
                    </a:cubicBezTo>
                    <a:cubicBezTo>
                      <a:pt x="366" y="258"/>
                      <a:pt x="366" y="258"/>
                      <a:pt x="368" y="258"/>
                    </a:cubicBezTo>
                    <a:cubicBezTo>
                      <a:pt x="368" y="258"/>
                      <a:pt x="368" y="258"/>
                      <a:pt x="370" y="257"/>
                    </a:cubicBezTo>
                    <a:cubicBezTo>
                      <a:pt x="370" y="257"/>
                      <a:pt x="370" y="257"/>
                      <a:pt x="370" y="255"/>
                    </a:cubicBezTo>
                    <a:cubicBezTo>
                      <a:pt x="370" y="255"/>
                      <a:pt x="370" y="255"/>
                      <a:pt x="369" y="256"/>
                    </a:cubicBezTo>
                    <a:cubicBezTo>
                      <a:pt x="369" y="256"/>
                      <a:pt x="369" y="256"/>
                      <a:pt x="367" y="257"/>
                    </a:cubicBezTo>
                    <a:cubicBezTo>
                      <a:pt x="367" y="257"/>
                      <a:pt x="367" y="257"/>
                      <a:pt x="366" y="257"/>
                    </a:cubicBezTo>
                    <a:cubicBezTo>
                      <a:pt x="366" y="257"/>
                      <a:pt x="366" y="257"/>
                      <a:pt x="364" y="259"/>
                    </a:cubicBezTo>
                    <a:cubicBezTo>
                      <a:pt x="364" y="259"/>
                      <a:pt x="364" y="259"/>
                      <a:pt x="363" y="258"/>
                    </a:cubicBezTo>
                    <a:cubicBezTo>
                      <a:pt x="363" y="258"/>
                      <a:pt x="363" y="258"/>
                      <a:pt x="362" y="258"/>
                    </a:cubicBezTo>
                    <a:cubicBezTo>
                      <a:pt x="362" y="258"/>
                      <a:pt x="362" y="258"/>
                      <a:pt x="362" y="257"/>
                    </a:cubicBezTo>
                    <a:cubicBezTo>
                      <a:pt x="362" y="257"/>
                      <a:pt x="362" y="257"/>
                      <a:pt x="363" y="255"/>
                    </a:cubicBezTo>
                    <a:cubicBezTo>
                      <a:pt x="363" y="255"/>
                      <a:pt x="363" y="255"/>
                      <a:pt x="361" y="258"/>
                    </a:cubicBezTo>
                    <a:cubicBezTo>
                      <a:pt x="361" y="258"/>
                      <a:pt x="361" y="258"/>
                      <a:pt x="359" y="258"/>
                    </a:cubicBezTo>
                    <a:cubicBezTo>
                      <a:pt x="359" y="258"/>
                      <a:pt x="359" y="258"/>
                      <a:pt x="356" y="260"/>
                    </a:cubicBezTo>
                    <a:cubicBezTo>
                      <a:pt x="356" y="260"/>
                      <a:pt x="356" y="260"/>
                      <a:pt x="354" y="260"/>
                    </a:cubicBezTo>
                    <a:cubicBezTo>
                      <a:pt x="354" y="260"/>
                      <a:pt x="354" y="260"/>
                      <a:pt x="351" y="262"/>
                    </a:cubicBezTo>
                    <a:cubicBezTo>
                      <a:pt x="351" y="262"/>
                      <a:pt x="351" y="262"/>
                      <a:pt x="351" y="263"/>
                    </a:cubicBezTo>
                    <a:cubicBezTo>
                      <a:pt x="351" y="263"/>
                      <a:pt x="351" y="263"/>
                      <a:pt x="351" y="264"/>
                    </a:cubicBezTo>
                    <a:cubicBezTo>
                      <a:pt x="351" y="264"/>
                      <a:pt x="351" y="264"/>
                      <a:pt x="349" y="264"/>
                    </a:cubicBezTo>
                    <a:cubicBezTo>
                      <a:pt x="349" y="264"/>
                      <a:pt x="349" y="264"/>
                      <a:pt x="348" y="265"/>
                    </a:cubicBezTo>
                    <a:cubicBezTo>
                      <a:pt x="348" y="265"/>
                      <a:pt x="348" y="265"/>
                      <a:pt x="345" y="267"/>
                    </a:cubicBezTo>
                    <a:cubicBezTo>
                      <a:pt x="345" y="267"/>
                      <a:pt x="345" y="267"/>
                      <a:pt x="344" y="268"/>
                    </a:cubicBezTo>
                    <a:cubicBezTo>
                      <a:pt x="344" y="268"/>
                      <a:pt x="344" y="268"/>
                      <a:pt x="342" y="269"/>
                    </a:cubicBezTo>
                    <a:cubicBezTo>
                      <a:pt x="342" y="269"/>
                      <a:pt x="342" y="269"/>
                      <a:pt x="341" y="268"/>
                    </a:cubicBezTo>
                    <a:cubicBezTo>
                      <a:pt x="341" y="268"/>
                      <a:pt x="341" y="268"/>
                      <a:pt x="340" y="268"/>
                    </a:cubicBezTo>
                    <a:cubicBezTo>
                      <a:pt x="339" y="268"/>
                      <a:pt x="339" y="268"/>
                      <a:pt x="339" y="268"/>
                    </a:cubicBezTo>
                    <a:cubicBezTo>
                      <a:pt x="339" y="269"/>
                      <a:pt x="339" y="269"/>
                      <a:pt x="339" y="269"/>
                    </a:cubicBezTo>
                    <a:cubicBezTo>
                      <a:pt x="340" y="268"/>
                      <a:pt x="340" y="268"/>
                      <a:pt x="340" y="268"/>
                    </a:cubicBezTo>
                    <a:cubicBezTo>
                      <a:pt x="340" y="268"/>
                      <a:pt x="340" y="268"/>
                      <a:pt x="342" y="269"/>
                    </a:cubicBezTo>
                    <a:cubicBezTo>
                      <a:pt x="342" y="269"/>
                      <a:pt x="342" y="269"/>
                      <a:pt x="342" y="271"/>
                    </a:cubicBezTo>
                    <a:cubicBezTo>
                      <a:pt x="342" y="271"/>
                      <a:pt x="342" y="271"/>
                      <a:pt x="342" y="273"/>
                    </a:cubicBezTo>
                    <a:cubicBezTo>
                      <a:pt x="342" y="273"/>
                      <a:pt x="342" y="273"/>
                      <a:pt x="340" y="273"/>
                    </a:cubicBezTo>
                    <a:cubicBezTo>
                      <a:pt x="340" y="273"/>
                      <a:pt x="340" y="273"/>
                      <a:pt x="339" y="273"/>
                    </a:cubicBezTo>
                    <a:cubicBezTo>
                      <a:pt x="339" y="273"/>
                      <a:pt x="339" y="273"/>
                      <a:pt x="338" y="273"/>
                    </a:cubicBezTo>
                    <a:cubicBezTo>
                      <a:pt x="338" y="273"/>
                      <a:pt x="338" y="273"/>
                      <a:pt x="338" y="274"/>
                    </a:cubicBezTo>
                    <a:cubicBezTo>
                      <a:pt x="338" y="274"/>
                      <a:pt x="338" y="274"/>
                      <a:pt x="339" y="274"/>
                    </a:cubicBezTo>
                    <a:cubicBezTo>
                      <a:pt x="339" y="274"/>
                      <a:pt x="339" y="274"/>
                      <a:pt x="338" y="276"/>
                    </a:cubicBezTo>
                    <a:cubicBezTo>
                      <a:pt x="338" y="276"/>
                      <a:pt x="338" y="276"/>
                      <a:pt x="337" y="276"/>
                    </a:cubicBezTo>
                    <a:cubicBezTo>
                      <a:pt x="337" y="276"/>
                      <a:pt x="337" y="276"/>
                      <a:pt x="337" y="275"/>
                    </a:cubicBezTo>
                    <a:cubicBezTo>
                      <a:pt x="337" y="275"/>
                      <a:pt x="337" y="275"/>
                      <a:pt x="337" y="274"/>
                    </a:cubicBezTo>
                    <a:cubicBezTo>
                      <a:pt x="337" y="274"/>
                      <a:pt x="337" y="274"/>
                      <a:pt x="335" y="275"/>
                    </a:cubicBezTo>
                    <a:cubicBezTo>
                      <a:pt x="335" y="275"/>
                      <a:pt x="335" y="275"/>
                      <a:pt x="334" y="274"/>
                    </a:cubicBezTo>
                    <a:cubicBezTo>
                      <a:pt x="334" y="274"/>
                      <a:pt x="334" y="274"/>
                      <a:pt x="333" y="275"/>
                    </a:cubicBezTo>
                    <a:cubicBezTo>
                      <a:pt x="333" y="275"/>
                      <a:pt x="333" y="275"/>
                      <a:pt x="331" y="275"/>
                    </a:cubicBezTo>
                    <a:cubicBezTo>
                      <a:pt x="331" y="275"/>
                      <a:pt x="331" y="275"/>
                      <a:pt x="331" y="276"/>
                    </a:cubicBezTo>
                    <a:cubicBezTo>
                      <a:pt x="331" y="276"/>
                      <a:pt x="331" y="276"/>
                      <a:pt x="330" y="277"/>
                    </a:cubicBezTo>
                    <a:cubicBezTo>
                      <a:pt x="330" y="277"/>
                      <a:pt x="330" y="277"/>
                      <a:pt x="328" y="278"/>
                    </a:cubicBezTo>
                    <a:cubicBezTo>
                      <a:pt x="328" y="278"/>
                      <a:pt x="328" y="278"/>
                      <a:pt x="328" y="279"/>
                    </a:cubicBezTo>
                    <a:cubicBezTo>
                      <a:pt x="328" y="279"/>
                      <a:pt x="328" y="279"/>
                      <a:pt x="328" y="280"/>
                    </a:cubicBezTo>
                    <a:cubicBezTo>
                      <a:pt x="328" y="280"/>
                      <a:pt x="328" y="280"/>
                      <a:pt x="329" y="280"/>
                    </a:cubicBezTo>
                    <a:cubicBezTo>
                      <a:pt x="329" y="280"/>
                      <a:pt x="329" y="280"/>
                      <a:pt x="330" y="281"/>
                    </a:cubicBezTo>
                    <a:cubicBezTo>
                      <a:pt x="330" y="281"/>
                      <a:pt x="330" y="281"/>
                      <a:pt x="331" y="282"/>
                    </a:cubicBezTo>
                    <a:cubicBezTo>
                      <a:pt x="331" y="282"/>
                      <a:pt x="331" y="282"/>
                      <a:pt x="331" y="284"/>
                    </a:cubicBezTo>
                    <a:cubicBezTo>
                      <a:pt x="331" y="284"/>
                      <a:pt x="331" y="284"/>
                      <a:pt x="330" y="286"/>
                    </a:cubicBezTo>
                    <a:cubicBezTo>
                      <a:pt x="330" y="286"/>
                      <a:pt x="330" y="286"/>
                      <a:pt x="329" y="286"/>
                    </a:cubicBezTo>
                    <a:cubicBezTo>
                      <a:pt x="329" y="286"/>
                      <a:pt x="329" y="286"/>
                      <a:pt x="328" y="287"/>
                    </a:cubicBezTo>
                    <a:cubicBezTo>
                      <a:pt x="328" y="287"/>
                      <a:pt x="328" y="287"/>
                      <a:pt x="326" y="287"/>
                    </a:cubicBezTo>
                    <a:cubicBezTo>
                      <a:pt x="326" y="287"/>
                      <a:pt x="326" y="287"/>
                      <a:pt x="325" y="288"/>
                    </a:cubicBezTo>
                    <a:cubicBezTo>
                      <a:pt x="325" y="288"/>
                      <a:pt x="325" y="288"/>
                      <a:pt x="324" y="288"/>
                    </a:cubicBezTo>
                    <a:cubicBezTo>
                      <a:pt x="324" y="288"/>
                      <a:pt x="324" y="288"/>
                      <a:pt x="323" y="288"/>
                    </a:cubicBezTo>
                    <a:cubicBezTo>
                      <a:pt x="323" y="288"/>
                      <a:pt x="323" y="288"/>
                      <a:pt x="324" y="289"/>
                    </a:cubicBezTo>
                    <a:cubicBezTo>
                      <a:pt x="324" y="289"/>
                      <a:pt x="324" y="289"/>
                      <a:pt x="323" y="289"/>
                    </a:cubicBezTo>
                    <a:cubicBezTo>
                      <a:pt x="323" y="289"/>
                      <a:pt x="323" y="289"/>
                      <a:pt x="322" y="290"/>
                    </a:cubicBezTo>
                    <a:cubicBezTo>
                      <a:pt x="322" y="290"/>
                      <a:pt x="322" y="290"/>
                      <a:pt x="321" y="291"/>
                    </a:cubicBezTo>
                    <a:cubicBezTo>
                      <a:pt x="321" y="291"/>
                      <a:pt x="321" y="291"/>
                      <a:pt x="322" y="291"/>
                    </a:cubicBezTo>
                    <a:cubicBezTo>
                      <a:pt x="322" y="291"/>
                      <a:pt x="322" y="291"/>
                      <a:pt x="323" y="291"/>
                    </a:cubicBezTo>
                    <a:cubicBezTo>
                      <a:pt x="323" y="291"/>
                      <a:pt x="323" y="291"/>
                      <a:pt x="322" y="293"/>
                    </a:cubicBezTo>
                    <a:cubicBezTo>
                      <a:pt x="322" y="293"/>
                      <a:pt x="322" y="293"/>
                      <a:pt x="321" y="292"/>
                    </a:cubicBezTo>
                    <a:cubicBezTo>
                      <a:pt x="321" y="292"/>
                      <a:pt x="321" y="292"/>
                      <a:pt x="320" y="293"/>
                    </a:cubicBezTo>
                    <a:cubicBezTo>
                      <a:pt x="320" y="293"/>
                      <a:pt x="320" y="293"/>
                      <a:pt x="320" y="292"/>
                    </a:cubicBezTo>
                    <a:cubicBezTo>
                      <a:pt x="320" y="292"/>
                      <a:pt x="320" y="292"/>
                      <a:pt x="319" y="292"/>
                    </a:cubicBezTo>
                    <a:cubicBezTo>
                      <a:pt x="319" y="292"/>
                      <a:pt x="319" y="292"/>
                      <a:pt x="319" y="294"/>
                    </a:cubicBezTo>
                    <a:cubicBezTo>
                      <a:pt x="319" y="294"/>
                      <a:pt x="319" y="294"/>
                      <a:pt x="317" y="293"/>
                    </a:cubicBezTo>
                    <a:cubicBezTo>
                      <a:pt x="317" y="293"/>
                      <a:pt x="317" y="293"/>
                      <a:pt x="316" y="294"/>
                    </a:cubicBezTo>
                    <a:cubicBezTo>
                      <a:pt x="316" y="294"/>
                      <a:pt x="316" y="294"/>
                      <a:pt x="315" y="294"/>
                    </a:cubicBezTo>
                    <a:cubicBezTo>
                      <a:pt x="315" y="294"/>
                      <a:pt x="315" y="294"/>
                      <a:pt x="315" y="295"/>
                    </a:cubicBezTo>
                    <a:cubicBezTo>
                      <a:pt x="315" y="295"/>
                      <a:pt x="315" y="295"/>
                      <a:pt x="314" y="295"/>
                    </a:cubicBezTo>
                    <a:cubicBezTo>
                      <a:pt x="314" y="295"/>
                      <a:pt x="314" y="295"/>
                      <a:pt x="314" y="296"/>
                    </a:cubicBezTo>
                    <a:cubicBezTo>
                      <a:pt x="314" y="296"/>
                      <a:pt x="314" y="296"/>
                      <a:pt x="313" y="296"/>
                    </a:cubicBezTo>
                    <a:cubicBezTo>
                      <a:pt x="313" y="296"/>
                      <a:pt x="313" y="296"/>
                      <a:pt x="313" y="295"/>
                    </a:cubicBezTo>
                    <a:cubicBezTo>
                      <a:pt x="313" y="295"/>
                      <a:pt x="313" y="295"/>
                      <a:pt x="312" y="295"/>
                    </a:cubicBezTo>
                    <a:cubicBezTo>
                      <a:pt x="312" y="295"/>
                      <a:pt x="312" y="295"/>
                      <a:pt x="311" y="296"/>
                    </a:cubicBezTo>
                    <a:cubicBezTo>
                      <a:pt x="311" y="296"/>
                      <a:pt x="311" y="296"/>
                      <a:pt x="310" y="297"/>
                    </a:cubicBezTo>
                    <a:cubicBezTo>
                      <a:pt x="310" y="297"/>
                      <a:pt x="310" y="297"/>
                      <a:pt x="309" y="297"/>
                    </a:cubicBezTo>
                    <a:cubicBezTo>
                      <a:pt x="309" y="297"/>
                      <a:pt x="309" y="297"/>
                      <a:pt x="308" y="299"/>
                    </a:cubicBezTo>
                    <a:cubicBezTo>
                      <a:pt x="308" y="299"/>
                      <a:pt x="308" y="299"/>
                      <a:pt x="307" y="298"/>
                    </a:cubicBezTo>
                    <a:cubicBezTo>
                      <a:pt x="307" y="298"/>
                      <a:pt x="307" y="298"/>
                      <a:pt x="306" y="299"/>
                    </a:cubicBezTo>
                    <a:cubicBezTo>
                      <a:pt x="306" y="299"/>
                      <a:pt x="306" y="299"/>
                      <a:pt x="305" y="300"/>
                    </a:cubicBezTo>
                    <a:cubicBezTo>
                      <a:pt x="305" y="300"/>
                      <a:pt x="305" y="300"/>
                      <a:pt x="303" y="301"/>
                    </a:cubicBezTo>
                    <a:cubicBezTo>
                      <a:pt x="303" y="301"/>
                      <a:pt x="303" y="301"/>
                      <a:pt x="304" y="301"/>
                    </a:cubicBezTo>
                    <a:cubicBezTo>
                      <a:pt x="304" y="301"/>
                      <a:pt x="304" y="301"/>
                      <a:pt x="305" y="301"/>
                    </a:cubicBezTo>
                    <a:cubicBezTo>
                      <a:pt x="305" y="301"/>
                      <a:pt x="305" y="301"/>
                      <a:pt x="305" y="302"/>
                    </a:cubicBezTo>
                    <a:cubicBezTo>
                      <a:pt x="305" y="302"/>
                      <a:pt x="305" y="302"/>
                      <a:pt x="303" y="304"/>
                    </a:cubicBezTo>
                    <a:cubicBezTo>
                      <a:pt x="303" y="304"/>
                      <a:pt x="303" y="304"/>
                      <a:pt x="302" y="304"/>
                    </a:cubicBezTo>
                    <a:cubicBezTo>
                      <a:pt x="302" y="304"/>
                      <a:pt x="302" y="304"/>
                      <a:pt x="302" y="303"/>
                    </a:cubicBezTo>
                    <a:cubicBezTo>
                      <a:pt x="302" y="303"/>
                      <a:pt x="302" y="303"/>
                      <a:pt x="301" y="303"/>
                    </a:cubicBezTo>
                    <a:cubicBezTo>
                      <a:pt x="301" y="303"/>
                      <a:pt x="301" y="303"/>
                      <a:pt x="301" y="305"/>
                    </a:cubicBezTo>
                    <a:cubicBezTo>
                      <a:pt x="301" y="305"/>
                      <a:pt x="301" y="305"/>
                      <a:pt x="300" y="304"/>
                    </a:cubicBezTo>
                    <a:cubicBezTo>
                      <a:pt x="300" y="304"/>
                      <a:pt x="300" y="304"/>
                      <a:pt x="299" y="305"/>
                    </a:cubicBezTo>
                    <a:cubicBezTo>
                      <a:pt x="299" y="305"/>
                      <a:pt x="299" y="305"/>
                      <a:pt x="298" y="306"/>
                    </a:cubicBezTo>
                    <a:cubicBezTo>
                      <a:pt x="298" y="306"/>
                      <a:pt x="298" y="306"/>
                      <a:pt x="297" y="306"/>
                    </a:cubicBezTo>
                    <a:cubicBezTo>
                      <a:pt x="297" y="306"/>
                      <a:pt x="297" y="306"/>
                      <a:pt x="297" y="305"/>
                    </a:cubicBezTo>
                    <a:cubicBezTo>
                      <a:pt x="297" y="305"/>
                      <a:pt x="297" y="305"/>
                      <a:pt x="296" y="305"/>
                    </a:cubicBezTo>
                    <a:cubicBezTo>
                      <a:pt x="296" y="305"/>
                      <a:pt x="296" y="305"/>
                      <a:pt x="296" y="306"/>
                    </a:cubicBezTo>
                    <a:cubicBezTo>
                      <a:pt x="296" y="306"/>
                      <a:pt x="296" y="306"/>
                      <a:pt x="295" y="307"/>
                    </a:cubicBezTo>
                    <a:cubicBezTo>
                      <a:pt x="295" y="307"/>
                      <a:pt x="295" y="307"/>
                      <a:pt x="295" y="308"/>
                    </a:cubicBezTo>
                    <a:cubicBezTo>
                      <a:pt x="295" y="308"/>
                      <a:pt x="295" y="308"/>
                      <a:pt x="294" y="308"/>
                    </a:cubicBezTo>
                    <a:cubicBezTo>
                      <a:pt x="294" y="308"/>
                      <a:pt x="294" y="308"/>
                      <a:pt x="294" y="307"/>
                    </a:cubicBezTo>
                    <a:cubicBezTo>
                      <a:pt x="294" y="307"/>
                      <a:pt x="294" y="307"/>
                      <a:pt x="293" y="307"/>
                    </a:cubicBezTo>
                    <a:cubicBezTo>
                      <a:pt x="293" y="307"/>
                      <a:pt x="293" y="307"/>
                      <a:pt x="292" y="308"/>
                    </a:cubicBezTo>
                    <a:cubicBezTo>
                      <a:pt x="292" y="308"/>
                      <a:pt x="292" y="308"/>
                      <a:pt x="291" y="308"/>
                    </a:cubicBezTo>
                    <a:cubicBezTo>
                      <a:pt x="291" y="308"/>
                      <a:pt x="291" y="308"/>
                      <a:pt x="292" y="309"/>
                    </a:cubicBezTo>
                    <a:cubicBezTo>
                      <a:pt x="292" y="309"/>
                      <a:pt x="292" y="309"/>
                      <a:pt x="291" y="310"/>
                    </a:cubicBezTo>
                    <a:cubicBezTo>
                      <a:pt x="291" y="310"/>
                      <a:pt x="291" y="310"/>
                      <a:pt x="289" y="310"/>
                    </a:cubicBezTo>
                    <a:cubicBezTo>
                      <a:pt x="289" y="310"/>
                      <a:pt x="289" y="310"/>
                      <a:pt x="287" y="311"/>
                    </a:cubicBezTo>
                    <a:cubicBezTo>
                      <a:pt x="287" y="311"/>
                      <a:pt x="287" y="311"/>
                      <a:pt x="287" y="312"/>
                    </a:cubicBezTo>
                    <a:cubicBezTo>
                      <a:pt x="287" y="312"/>
                      <a:pt x="287" y="312"/>
                      <a:pt x="286" y="313"/>
                    </a:cubicBezTo>
                    <a:cubicBezTo>
                      <a:pt x="286" y="313"/>
                      <a:pt x="286" y="313"/>
                      <a:pt x="287" y="313"/>
                    </a:cubicBezTo>
                    <a:cubicBezTo>
                      <a:pt x="287" y="313"/>
                      <a:pt x="287" y="313"/>
                      <a:pt x="286" y="314"/>
                    </a:cubicBezTo>
                    <a:cubicBezTo>
                      <a:pt x="286" y="314"/>
                      <a:pt x="286" y="314"/>
                      <a:pt x="285" y="314"/>
                    </a:cubicBezTo>
                    <a:cubicBezTo>
                      <a:pt x="285" y="314"/>
                      <a:pt x="285" y="314"/>
                      <a:pt x="285" y="313"/>
                    </a:cubicBezTo>
                    <a:cubicBezTo>
                      <a:pt x="285" y="313"/>
                      <a:pt x="285" y="313"/>
                      <a:pt x="284" y="314"/>
                    </a:cubicBezTo>
                    <a:cubicBezTo>
                      <a:pt x="284" y="314"/>
                      <a:pt x="284" y="314"/>
                      <a:pt x="283" y="314"/>
                    </a:cubicBezTo>
                    <a:cubicBezTo>
                      <a:pt x="283" y="314"/>
                      <a:pt x="283" y="314"/>
                      <a:pt x="282" y="315"/>
                    </a:cubicBezTo>
                    <a:cubicBezTo>
                      <a:pt x="282" y="315"/>
                      <a:pt x="282" y="315"/>
                      <a:pt x="281" y="315"/>
                    </a:cubicBezTo>
                    <a:cubicBezTo>
                      <a:pt x="281" y="315"/>
                      <a:pt x="281" y="315"/>
                      <a:pt x="280" y="315"/>
                    </a:cubicBezTo>
                    <a:cubicBezTo>
                      <a:pt x="280" y="315"/>
                      <a:pt x="280" y="315"/>
                      <a:pt x="279" y="315"/>
                    </a:cubicBezTo>
                    <a:cubicBezTo>
                      <a:pt x="279" y="315"/>
                      <a:pt x="279" y="315"/>
                      <a:pt x="278" y="315"/>
                    </a:cubicBezTo>
                    <a:cubicBezTo>
                      <a:pt x="278" y="315"/>
                      <a:pt x="278" y="315"/>
                      <a:pt x="278" y="317"/>
                    </a:cubicBezTo>
                    <a:cubicBezTo>
                      <a:pt x="278" y="317"/>
                      <a:pt x="278" y="317"/>
                      <a:pt x="276" y="319"/>
                    </a:cubicBezTo>
                    <a:cubicBezTo>
                      <a:pt x="276" y="319"/>
                      <a:pt x="276" y="319"/>
                      <a:pt x="276" y="318"/>
                    </a:cubicBezTo>
                    <a:cubicBezTo>
                      <a:pt x="276" y="318"/>
                      <a:pt x="276" y="318"/>
                      <a:pt x="277" y="317"/>
                    </a:cubicBezTo>
                    <a:cubicBezTo>
                      <a:pt x="277" y="317"/>
                      <a:pt x="277" y="317"/>
                      <a:pt x="277" y="316"/>
                    </a:cubicBezTo>
                    <a:cubicBezTo>
                      <a:pt x="277" y="316"/>
                      <a:pt x="277" y="316"/>
                      <a:pt x="277" y="315"/>
                    </a:cubicBezTo>
                    <a:cubicBezTo>
                      <a:pt x="277" y="315"/>
                      <a:pt x="277" y="315"/>
                      <a:pt x="276" y="315"/>
                    </a:cubicBezTo>
                    <a:cubicBezTo>
                      <a:pt x="276" y="315"/>
                      <a:pt x="276" y="315"/>
                      <a:pt x="274" y="317"/>
                    </a:cubicBezTo>
                    <a:cubicBezTo>
                      <a:pt x="274" y="317"/>
                      <a:pt x="274" y="317"/>
                      <a:pt x="273" y="317"/>
                    </a:cubicBezTo>
                    <a:cubicBezTo>
                      <a:pt x="273" y="317"/>
                      <a:pt x="273" y="317"/>
                      <a:pt x="272" y="318"/>
                    </a:cubicBezTo>
                    <a:cubicBezTo>
                      <a:pt x="272" y="318"/>
                      <a:pt x="272" y="318"/>
                      <a:pt x="271" y="318"/>
                    </a:cubicBezTo>
                    <a:cubicBezTo>
                      <a:pt x="271" y="318"/>
                      <a:pt x="271" y="318"/>
                      <a:pt x="270" y="319"/>
                    </a:cubicBezTo>
                    <a:cubicBezTo>
                      <a:pt x="270" y="319"/>
                      <a:pt x="270" y="319"/>
                      <a:pt x="270" y="318"/>
                    </a:cubicBezTo>
                    <a:cubicBezTo>
                      <a:pt x="270" y="318"/>
                      <a:pt x="270" y="318"/>
                      <a:pt x="270" y="317"/>
                    </a:cubicBezTo>
                    <a:cubicBezTo>
                      <a:pt x="270" y="317"/>
                      <a:pt x="270" y="317"/>
                      <a:pt x="269" y="318"/>
                    </a:cubicBezTo>
                    <a:cubicBezTo>
                      <a:pt x="269" y="318"/>
                      <a:pt x="269" y="318"/>
                      <a:pt x="269" y="317"/>
                    </a:cubicBezTo>
                    <a:cubicBezTo>
                      <a:pt x="269" y="317"/>
                      <a:pt x="269" y="317"/>
                      <a:pt x="268" y="318"/>
                    </a:cubicBezTo>
                    <a:cubicBezTo>
                      <a:pt x="268" y="318"/>
                      <a:pt x="268" y="318"/>
                      <a:pt x="268" y="319"/>
                    </a:cubicBezTo>
                    <a:cubicBezTo>
                      <a:pt x="268" y="319"/>
                      <a:pt x="268" y="319"/>
                      <a:pt x="266" y="320"/>
                    </a:cubicBezTo>
                    <a:cubicBezTo>
                      <a:pt x="266" y="320"/>
                      <a:pt x="266" y="320"/>
                      <a:pt x="266" y="318"/>
                    </a:cubicBezTo>
                    <a:cubicBezTo>
                      <a:pt x="266" y="318"/>
                      <a:pt x="266" y="318"/>
                      <a:pt x="266" y="317"/>
                    </a:cubicBezTo>
                    <a:cubicBezTo>
                      <a:pt x="266" y="317"/>
                      <a:pt x="266" y="317"/>
                      <a:pt x="267" y="317"/>
                    </a:cubicBezTo>
                    <a:cubicBezTo>
                      <a:pt x="267" y="317"/>
                      <a:pt x="267" y="317"/>
                      <a:pt x="268" y="317"/>
                    </a:cubicBezTo>
                    <a:cubicBezTo>
                      <a:pt x="268" y="317"/>
                      <a:pt x="268" y="317"/>
                      <a:pt x="266" y="316"/>
                    </a:cubicBezTo>
                    <a:cubicBezTo>
                      <a:pt x="266" y="316"/>
                      <a:pt x="266" y="316"/>
                      <a:pt x="265" y="317"/>
                    </a:cubicBezTo>
                    <a:cubicBezTo>
                      <a:pt x="265" y="317"/>
                      <a:pt x="265" y="317"/>
                      <a:pt x="264" y="318"/>
                    </a:cubicBezTo>
                    <a:cubicBezTo>
                      <a:pt x="264" y="318"/>
                      <a:pt x="264" y="318"/>
                      <a:pt x="264" y="319"/>
                    </a:cubicBezTo>
                    <a:cubicBezTo>
                      <a:pt x="264" y="319"/>
                      <a:pt x="264" y="319"/>
                      <a:pt x="263" y="320"/>
                    </a:cubicBezTo>
                    <a:cubicBezTo>
                      <a:pt x="263" y="320"/>
                      <a:pt x="263" y="320"/>
                      <a:pt x="262" y="321"/>
                    </a:cubicBezTo>
                    <a:cubicBezTo>
                      <a:pt x="262" y="321"/>
                      <a:pt x="262" y="321"/>
                      <a:pt x="261" y="321"/>
                    </a:cubicBezTo>
                    <a:cubicBezTo>
                      <a:pt x="261" y="321"/>
                      <a:pt x="261" y="321"/>
                      <a:pt x="260" y="321"/>
                    </a:cubicBezTo>
                    <a:cubicBezTo>
                      <a:pt x="260" y="321"/>
                      <a:pt x="260" y="321"/>
                      <a:pt x="260" y="322"/>
                    </a:cubicBezTo>
                    <a:cubicBezTo>
                      <a:pt x="260" y="322"/>
                      <a:pt x="260" y="322"/>
                      <a:pt x="259" y="321"/>
                    </a:cubicBezTo>
                    <a:cubicBezTo>
                      <a:pt x="259" y="321"/>
                      <a:pt x="259" y="321"/>
                      <a:pt x="259" y="322"/>
                    </a:cubicBezTo>
                    <a:cubicBezTo>
                      <a:pt x="259" y="322"/>
                      <a:pt x="259" y="322"/>
                      <a:pt x="258" y="322"/>
                    </a:cubicBezTo>
                    <a:cubicBezTo>
                      <a:pt x="258" y="322"/>
                      <a:pt x="258" y="322"/>
                      <a:pt x="257" y="322"/>
                    </a:cubicBezTo>
                    <a:cubicBezTo>
                      <a:pt x="257" y="322"/>
                      <a:pt x="257" y="322"/>
                      <a:pt x="258" y="321"/>
                    </a:cubicBezTo>
                    <a:cubicBezTo>
                      <a:pt x="258" y="321"/>
                      <a:pt x="258" y="321"/>
                      <a:pt x="257" y="320"/>
                    </a:cubicBezTo>
                    <a:cubicBezTo>
                      <a:pt x="257" y="320"/>
                      <a:pt x="257" y="320"/>
                      <a:pt x="257" y="321"/>
                    </a:cubicBezTo>
                    <a:cubicBezTo>
                      <a:pt x="257" y="321"/>
                      <a:pt x="257" y="321"/>
                      <a:pt x="256" y="323"/>
                    </a:cubicBezTo>
                    <a:cubicBezTo>
                      <a:pt x="256" y="323"/>
                      <a:pt x="256" y="323"/>
                      <a:pt x="254" y="323"/>
                    </a:cubicBezTo>
                    <a:cubicBezTo>
                      <a:pt x="254" y="323"/>
                      <a:pt x="254" y="323"/>
                      <a:pt x="254" y="322"/>
                    </a:cubicBezTo>
                    <a:cubicBezTo>
                      <a:pt x="254" y="322"/>
                      <a:pt x="254" y="322"/>
                      <a:pt x="254" y="321"/>
                    </a:cubicBezTo>
                    <a:cubicBezTo>
                      <a:pt x="254" y="321"/>
                      <a:pt x="254" y="321"/>
                      <a:pt x="253" y="321"/>
                    </a:cubicBezTo>
                    <a:cubicBezTo>
                      <a:pt x="253" y="321"/>
                      <a:pt x="253" y="321"/>
                      <a:pt x="253" y="322"/>
                    </a:cubicBezTo>
                    <a:cubicBezTo>
                      <a:pt x="253" y="322"/>
                      <a:pt x="253" y="322"/>
                      <a:pt x="253" y="323"/>
                    </a:cubicBezTo>
                    <a:cubicBezTo>
                      <a:pt x="253" y="323"/>
                      <a:pt x="253" y="323"/>
                      <a:pt x="252" y="323"/>
                    </a:cubicBezTo>
                    <a:cubicBezTo>
                      <a:pt x="252" y="323"/>
                      <a:pt x="252" y="323"/>
                      <a:pt x="252" y="322"/>
                    </a:cubicBezTo>
                    <a:cubicBezTo>
                      <a:pt x="252" y="322"/>
                      <a:pt x="252" y="322"/>
                      <a:pt x="252" y="321"/>
                    </a:cubicBezTo>
                    <a:cubicBezTo>
                      <a:pt x="252" y="321"/>
                      <a:pt x="252" y="321"/>
                      <a:pt x="253" y="320"/>
                    </a:cubicBezTo>
                    <a:cubicBezTo>
                      <a:pt x="253" y="320"/>
                      <a:pt x="253" y="320"/>
                      <a:pt x="254" y="320"/>
                    </a:cubicBezTo>
                    <a:cubicBezTo>
                      <a:pt x="254" y="320"/>
                      <a:pt x="254" y="320"/>
                      <a:pt x="255" y="320"/>
                    </a:cubicBezTo>
                    <a:cubicBezTo>
                      <a:pt x="255" y="320"/>
                      <a:pt x="255" y="320"/>
                      <a:pt x="256" y="319"/>
                    </a:cubicBezTo>
                    <a:cubicBezTo>
                      <a:pt x="256" y="319"/>
                      <a:pt x="256" y="319"/>
                      <a:pt x="258" y="318"/>
                    </a:cubicBezTo>
                    <a:cubicBezTo>
                      <a:pt x="258" y="318"/>
                      <a:pt x="258" y="318"/>
                      <a:pt x="259" y="318"/>
                    </a:cubicBezTo>
                    <a:cubicBezTo>
                      <a:pt x="259" y="318"/>
                      <a:pt x="259" y="318"/>
                      <a:pt x="259" y="317"/>
                    </a:cubicBezTo>
                    <a:cubicBezTo>
                      <a:pt x="259" y="317"/>
                      <a:pt x="259" y="317"/>
                      <a:pt x="260" y="316"/>
                    </a:cubicBezTo>
                    <a:cubicBezTo>
                      <a:pt x="260" y="316"/>
                      <a:pt x="260" y="316"/>
                      <a:pt x="262" y="315"/>
                    </a:cubicBezTo>
                    <a:cubicBezTo>
                      <a:pt x="262" y="315"/>
                      <a:pt x="262" y="315"/>
                      <a:pt x="263" y="314"/>
                    </a:cubicBezTo>
                    <a:cubicBezTo>
                      <a:pt x="263" y="314"/>
                      <a:pt x="263" y="314"/>
                      <a:pt x="264" y="313"/>
                    </a:cubicBezTo>
                    <a:cubicBezTo>
                      <a:pt x="264" y="313"/>
                      <a:pt x="264" y="313"/>
                      <a:pt x="265" y="313"/>
                    </a:cubicBezTo>
                    <a:cubicBezTo>
                      <a:pt x="265" y="313"/>
                      <a:pt x="265" y="313"/>
                      <a:pt x="267" y="312"/>
                    </a:cubicBezTo>
                    <a:cubicBezTo>
                      <a:pt x="267" y="312"/>
                      <a:pt x="267" y="312"/>
                      <a:pt x="268" y="312"/>
                    </a:cubicBezTo>
                    <a:cubicBezTo>
                      <a:pt x="268" y="312"/>
                      <a:pt x="268" y="312"/>
                      <a:pt x="269" y="312"/>
                    </a:cubicBezTo>
                    <a:cubicBezTo>
                      <a:pt x="269" y="312"/>
                      <a:pt x="269" y="312"/>
                      <a:pt x="270" y="312"/>
                    </a:cubicBezTo>
                    <a:cubicBezTo>
                      <a:pt x="270" y="312"/>
                      <a:pt x="270" y="312"/>
                      <a:pt x="271" y="313"/>
                    </a:cubicBezTo>
                    <a:cubicBezTo>
                      <a:pt x="271" y="313"/>
                      <a:pt x="271" y="313"/>
                      <a:pt x="271" y="315"/>
                    </a:cubicBezTo>
                    <a:cubicBezTo>
                      <a:pt x="271" y="315"/>
                      <a:pt x="271" y="315"/>
                      <a:pt x="272" y="315"/>
                    </a:cubicBezTo>
                    <a:cubicBezTo>
                      <a:pt x="272" y="315"/>
                      <a:pt x="272" y="315"/>
                      <a:pt x="272" y="314"/>
                    </a:cubicBezTo>
                    <a:cubicBezTo>
                      <a:pt x="272" y="314"/>
                      <a:pt x="272" y="314"/>
                      <a:pt x="273" y="314"/>
                    </a:cubicBezTo>
                    <a:cubicBezTo>
                      <a:pt x="273" y="314"/>
                      <a:pt x="273" y="314"/>
                      <a:pt x="273" y="315"/>
                    </a:cubicBezTo>
                    <a:cubicBezTo>
                      <a:pt x="273" y="315"/>
                      <a:pt x="273" y="315"/>
                      <a:pt x="274" y="314"/>
                    </a:cubicBezTo>
                    <a:cubicBezTo>
                      <a:pt x="274" y="314"/>
                      <a:pt x="274" y="314"/>
                      <a:pt x="274" y="313"/>
                    </a:cubicBezTo>
                    <a:cubicBezTo>
                      <a:pt x="274" y="313"/>
                      <a:pt x="274" y="313"/>
                      <a:pt x="273" y="312"/>
                    </a:cubicBezTo>
                    <a:cubicBezTo>
                      <a:pt x="273" y="312"/>
                      <a:pt x="273" y="312"/>
                      <a:pt x="274" y="310"/>
                    </a:cubicBezTo>
                    <a:cubicBezTo>
                      <a:pt x="274" y="310"/>
                      <a:pt x="274" y="310"/>
                      <a:pt x="276" y="308"/>
                    </a:cubicBezTo>
                    <a:cubicBezTo>
                      <a:pt x="276" y="308"/>
                      <a:pt x="276" y="308"/>
                      <a:pt x="279" y="307"/>
                    </a:cubicBezTo>
                    <a:cubicBezTo>
                      <a:pt x="279" y="307"/>
                      <a:pt x="279" y="307"/>
                      <a:pt x="281" y="306"/>
                    </a:cubicBezTo>
                    <a:cubicBezTo>
                      <a:pt x="281" y="306"/>
                      <a:pt x="281" y="306"/>
                      <a:pt x="282" y="306"/>
                    </a:cubicBezTo>
                    <a:cubicBezTo>
                      <a:pt x="282" y="306"/>
                      <a:pt x="282" y="306"/>
                      <a:pt x="284" y="305"/>
                    </a:cubicBezTo>
                    <a:cubicBezTo>
                      <a:pt x="284" y="305"/>
                      <a:pt x="284" y="305"/>
                      <a:pt x="284" y="304"/>
                    </a:cubicBezTo>
                    <a:cubicBezTo>
                      <a:pt x="284" y="304"/>
                      <a:pt x="284" y="304"/>
                      <a:pt x="285" y="304"/>
                    </a:cubicBezTo>
                    <a:cubicBezTo>
                      <a:pt x="285" y="304"/>
                      <a:pt x="285" y="304"/>
                      <a:pt x="286" y="303"/>
                    </a:cubicBezTo>
                    <a:cubicBezTo>
                      <a:pt x="286" y="303"/>
                      <a:pt x="286" y="303"/>
                      <a:pt x="288" y="302"/>
                    </a:cubicBezTo>
                    <a:cubicBezTo>
                      <a:pt x="288" y="302"/>
                      <a:pt x="288" y="302"/>
                      <a:pt x="288" y="303"/>
                    </a:cubicBezTo>
                    <a:cubicBezTo>
                      <a:pt x="288" y="303"/>
                      <a:pt x="288" y="303"/>
                      <a:pt x="289" y="304"/>
                    </a:cubicBezTo>
                    <a:cubicBezTo>
                      <a:pt x="289" y="304"/>
                      <a:pt x="289" y="304"/>
                      <a:pt x="289" y="303"/>
                    </a:cubicBezTo>
                    <a:cubicBezTo>
                      <a:pt x="289" y="303"/>
                      <a:pt x="289" y="303"/>
                      <a:pt x="290" y="301"/>
                    </a:cubicBezTo>
                    <a:cubicBezTo>
                      <a:pt x="290" y="301"/>
                      <a:pt x="290" y="301"/>
                      <a:pt x="293" y="299"/>
                    </a:cubicBezTo>
                    <a:cubicBezTo>
                      <a:pt x="293" y="299"/>
                      <a:pt x="293" y="299"/>
                      <a:pt x="294" y="299"/>
                    </a:cubicBezTo>
                    <a:cubicBezTo>
                      <a:pt x="294" y="299"/>
                      <a:pt x="294" y="299"/>
                      <a:pt x="295" y="299"/>
                    </a:cubicBezTo>
                    <a:cubicBezTo>
                      <a:pt x="295" y="299"/>
                      <a:pt x="295" y="299"/>
                      <a:pt x="295" y="298"/>
                    </a:cubicBezTo>
                    <a:cubicBezTo>
                      <a:pt x="295" y="298"/>
                      <a:pt x="295" y="298"/>
                      <a:pt x="296" y="297"/>
                    </a:cubicBezTo>
                    <a:cubicBezTo>
                      <a:pt x="296" y="297"/>
                      <a:pt x="296" y="297"/>
                      <a:pt x="297" y="296"/>
                    </a:cubicBezTo>
                    <a:cubicBezTo>
                      <a:pt x="297" y="296"/>
                      <a:pt x="297" y="296"/>
                      <a:pt x="298" y="296"/>
                    </a:cubicBezTo>
                    <a:cubicBezTo>
                      <a:pt x="298" y="296"/>
                      <a:pt x="298" y="296"/>
                      <a:pt x="298" y="297"/>
                    </a:cubicBezTo>
                    <a:cubicBezTo>
                      <a:pt x="298" y="297"/>
                      <a:pt x="298" y="297"/>
                      <a:pt x="299" y="297"/>
                    </a:cubicBezTo>
                    <a:cubicBezTo>
                      <a:pt x="299" y="297"/>
                      <a:pt x="299" y="297"/>
                      <a:pt x="299" y="296"/>
                    </a:cubicBezTo>
                    <a:cubicBezTo>
                      <a:pt x="299" y="296"/>
                      <a:pt x="299" y="296"/>
                      <a:pt x="299" y="295"/>
                    </a:cubicBezTo>
                    <a:cubicBezTo>
                      <a:pt x="299" y="295"/>
                      <a:pt x="299" y="295"/>
                      <a:pt x="299" y="294"/>
                    </a:cubicBezTo>
                    <a:cubicBezTo>
                      <a:pt x="299" y="294"/>
                      <a:pt x="299" y="294"/>
                      <a:pt x="301" y="292"/>
                    </a:cubicBezTo>
                    <a:cubicBezTo>
                      <a:pt x="301" y="292"/>
                      <a:pt x="301" y="292"/>
                      <a:pt x="301" y="290"/>
                    </a:cubicBezTo>
                    <a:cubicBezTo>
                      <a:pt x="301" y="290"/>
                      <a:pt x="301" y="290"/>
                      <a:pt x="302" y="289"/>
                    </a:cubicBezTo>
                    <a:cubicBezTo>
                      <a:pt x="302" y="289"/>
                      <a:pt x="302" y="289"/>
                      <a:pt x="303" y="289"/>
                    </a:cubicBezTo>
                    <a:cubicBezTo>
                      <a:pt x="303" y="289"/>
                      <a:pt x="303" y="289"/>
                      <a:pt x="305" y="289"/>
                    </a:cubicBezTo>
                    <a:cubicBezTo>
                      <a:pt x="305" y="289"/>
                      <a:pt x="305" y="289"/>
                      <a:pt x="304" y="288"/>
                    </a:cubicBezTo>
                    <a:cubicBezTo>
                      <a:pt x="304" y="288"/>
                      <a:pt x="304" y="288"/>
                      <a:pt x="304" y="287"/>
                    </a:cubicBezTo>
                    <a:cubicBezTo>
                      <a:pt x="304" y="287"/>
                      <a:pt x="304" y="287"/>
                      <a:pt x="304" y="286"/>
                    </a:cubicBezTo>
                    <a:cubicBezTo>
                      <a:pt x="304" y="286"/>
                      <a:pt x="304" y="286"/>
                      <a:pt x="305" y="284"/>
                    </a:cubicBezTo>
                    <a:cubicBezTo>
                      <a:pt x="305" y="284"/>
                      <a:pt x="305" y="284"/>
                      <a:pt x="306" y="283"/>
                    </a:cubicBezTo>
                    <a:cubicBezTo>
                      <a:pt x="306" y="283"/>
                      <a:pt x="306" y="283"/>
                      <a:pt x="310" y="281"/>
                    </a:cubicBezTo>
                    <a:cubicBezTo>
                      <a:pt x="310" y="281"/>
                      <a:pt x="310" y="281"/>
                      <a:pt x="311" y="280"/>
                    </a:cubicBezTo>
                    <a:cubicBezTo>
                      <a:pt x="311" y="280"/>
                      <a:pt x="311" y="280"/>
                      <a:pt x="311" y="279"/>
                    </a:cubicBezTo>
                    <a:cubicBezTo>
                      <a:pt x="311" y="279"/>
                      <a:pt x="311" y="279"/>
                      <a:pt x="312" y="278"/>
                    </a:cubicBezTo>
                    <a:cubicBezTo>
                      <a:pt x="312" y="278"/>
                      <a:pt x="312" y="278"/>
                      <a:pt x="313" y="277"/>
                    </a:cubicBezTo>
                    <a:cubicBezTo>
                      <a:pt x="313" y="277"/>
                      <a:pt x="313" y="277"/>
                      <a:pt x="312" y="277"/>
                    </a:cubicBezTo>
                    <a:cubicBezTo>
                      <a:pt x="312" y="277"/>
                      <a:pt x="312" y="277"/>
                      <a:pt x="310" y="278"/>
                    </a:cubicBezTo>
                    <a:cubicBezTo>
                      <a:pt x="310" y="278"/>
                      <a:pt x="310" y="278"/>
                      <a:pt x="309" y="278"/>
                    </a:cubicBezTo>
                    <a:cubicBezTo>
                      <a:pt x="309" y="278"/>
                      <a:pt x="309" y="278"/>
                      <a:pt x="308" y="279"/>
                    </a:cubicBezTo>
                    <a:cubicBezTo>
                      <a:pt x="308" y="279"/>
                      <a:pt x="308" y="279"/>
                      <a:pt x="306" y="280"/>
                    </a:cubicBezTo>
                    <a:cubicBezTo>
                      <a:pt x="306" y="280"/>
                      <a:pt x="306" y="280"/>
                      <a:pt x="304" y="281"/>
                    </a:cubicBezTo>
                    <a:cubicBezTo>
                      <a:pt x="304" y="281"/>
                      <a:pt x="304" y="281"/>
                      <a:pt x="303" y="280"/>
                    </a:cubicBezTo>
                    <a:cubicBezTo>
                      <a:pt x="303" y="280"/>
                      <a:pt x="303" y="280"/>
                      <a:pt x="301" y="279"/>
                    </a:cubicBezTo>
                    <a:cubicBezTo>
                      <a:pt x="301" y="279"/>
                      <a:pt x="301" y="279"/>
                      <a:pt x="302" y="278"/>
                    </a:cubicBezTo>
                    <a:cubicBezTo>
                      <a:pt x="302" y="278"/>
                      <a:pt x="302" y="278"/>
                      <a:pt x="303" y="276"/>
                    </a:cubicBezTo>
                    <a:cubicBezTo>
                      <a:pt x="303" y="276"/>
                      <a:pt x="303" y="276"/>
                      <a:pt x="305" y="275"/>
                    </a:cubicBezTo>
                    <a:cubicBezTo>
                      <a:pt x="305" y="275"/>
                      <a:pt x="305" y="275"/>
                      <a:pt x="303" y="275"/>
                    </a:cubicBezTo>
                    <a:cubicBezTo>
                      <a:pt x="303" y="275"/>
                      <a:pt x="303" y="275"/>
                      <a:pt x="302" y="276"/>
                    </a:cubicBezTo>
                    <a:cubicBezTo>
                      <a:pt x="302" y="276"/>
                      <a:pt x="302" y="276"/>
                      <a:pt x="301" y="276"/>
                    </a:cubicBezTo>
                    <a:cubicBezTo>
                      <a:pt x="301" y="276"/>
                      <a:pt x="301" y="276"/>
                      <a:pt x="300" y="277"/>
                    </a:cubicBezTo>
                    <a:cubicBezTo>
                      <a:pt x="300" y="277"/>
                      <a:pt x="300" y="277"/>
                      <a:pt x="300" y="278"/>
                    </a:cubicBezTo>
                    <a:cubicBezTo>
                      <a:pt x="300" y="278"/>
                      <a:pt x="300" y="278"/>
                      <a:pt x="299" y="280"/>
                    </a:cubicBezTo>
                    <a:cubicBezTo>
                      <a:pt x="299" y="280"/>
                      <a:pt x="299" y="280"/>
                      <a:pt x="299" y="282"/>
                    </a:cubicBezTo>
                    <a:cubicBezTo>
                      <a:pt x="299" y="282"/>
                      <a:pt x="299" y="282"/>
                      <a:pt x="298" y="283"/>
                    </a:cubicBezTo>
                    <a:cubicBezTo>
                      <a:pt x="298" y="283"/>
                      <a:pt x="298" y="283"/>
                      <a:pt x="297" y="281"/>
                    </a:cubicBezTo>
                    <a:cubicBezTo>
                      <a:pt x="297" y="281"/>
                      <a:pt x="297" y="281"/>
                      <a:pt x="297" y="280"/>
                    </a:cubicBezTo>
                    <a:cubicBezTo>
                      <a:pt x="297" y="280"/>
                      <a:pt x="297" y="280"/>
                      <a:pt x="297" y="278"/>
                    </a:cubicBezTo>
                    <a:cubicBezTo>
                      <a:pt x="297" y="278"/>
                      <a:pt x="297" y="278"/>
                      <a:pt x="296" y="277"/>
                    </a:cubicBezTo>
                    <a:cubicBezTo>
                      <a:pt x="296" y="277"/>
                      <a:pt x="296" y="277"/>
                      <a:pt x="296" y="276"/>
                    </a:cubicBezTo>
                    <a:cubicBezTo>
                      <a:pt x="296" y="276"/>
                      <a:pt x="296" y="276"/>
                      <a:pt x="295" y="277"/>
                    </a:cubicBezTo>
                    <a:cubicBezTo>
                      <a:pt x="295" y="277"/>
                      <a:pt x="295" y="277"/>
                      <a:pt x="294" y="277"/>
                    </a:cubicBezTo>
                    <a:cubicBezTo>
                      <a:pt x="294" y="277"/>
                      <a:pt x="294" y="277"/>
                      <a:pt x="293" y="277"/>
                    </a:cubicBezTo>
                    <a:cubicBezTo>
                      <a:pt x="293" y="277"/>
                      <a:pt x="293" y="277"/>
                      <a:pt x="294" y="276"/>
                    </a:cubicBezTo>
                    <a:cubicBezTo>
                      <a:pt x="294" y="276"/>
                      <a:pt x="294" y="276"/>
                      <a:pt x="293" y="275"/>
                    </a:cubicBezTo>
                    <a:cubicBezTo>
                      <a:pt x="293" y="275"/>
                      <a:pt x="293" y="275"/>
                      <a:pt x="292" y="275"/>
                    </a:cubicBezTo>
                    <a:cubicBezTo>
                      <a:pt x="292" y="275"/>
                      <a:pt x="292" y="275"/>
                      <a:pt x="292" y="274"/>
                    </a:cubicBezTo>
                    <a:cubicBezTo>
                      <a:pt x="292" y="274"/>
                      <a:pt x="292" y="274"/>
                      <a:pt x="293" y="274"/>
                    </a:cubicBezTo>
                    <a:cubicBezTo>
                      <a:pt x="293" y="274"/>
                      <a:pt x="293" y="274"/>
                      <a:pt x="294" y="273"/>
                    </a:cubicBezTo>
                    <a:cubicBezTo>
                      <a:pt x="294" y="273"/>
                      <a:pt x="294" y="273"/>
                      <a:pt x="292" y="273"/>
                    </a:cubicBezTo>
                    <a:cubicBezTo>
                      <a:pt x="292" y="273"/>
                      <a:pt x="292" y="273"/>
                      <a:pt x="291" y="274"/>
                    </a:cubicBezTo>
                    <a:cubicBezTo>
                      <a:pt x="291" y="274"/>
                      <a:pt x="291" y="274"/>
                      <a:pt x="290" y="274"/>
                    </a:cubicBezTo>
                    <a:cubicBezTo>
                      <a:pt x="290" y="274"/>
                      <a:pt x="290" y="274"/>
                      <a:pt x="289" y="274"/>
                    </a:cubicBezTo>
                    <a:cubicBezTo>
                      <a:pt x="289" y="274"/>
                      <a:pt x="289" y="274"/>
                      <a:pt x="287" y="276"/>
                    </a:cubicBezTo>
                    <a:cubicBezTo>
                      <a:pt x="287" y="276"/>
                      <a:pt x="287" y="276"/>
                      <a:pt x="285" y="277"/>
                    </a:cubicBezTo>
                    <a:cubicBezTo>
                      <a:pt x="285" y="277"/>
                      <a:pt x="285" y="277"/>
                      <a:pt x="285" y="276"/>
                    </a:cubicBezTo>
                    <a:cubicBezTo>
                      <a:pt x="285" y="276"/>
                      <a:pt x="285" y="276"/>
                      <a:pt x="284" y="276"/>
                    </a:cubicBezTo>
                    <a:cubicBezTo>
                      <a:pt x="284" y="276"/>
                      <a:pt x="284" y="276"/>
                      <a:pt x="285" y="275"/>
                    </a:cubicBezTo>
                    <a:cubicBezTo>
                      <a:pt x="285" y="275"/>
                      <a:pt x="285" y="275"/>
                      <a:pt x="286" y="275"/>
                    </a:cubicBezTo>
                    <a:cubicBezTo>
                      <a:pt x="286" y="275"/>
                      <a:pt x="286" y="275"/>
                      <a:pt x="287" y="274"/>
                    </a:cubicBezTo>
                    <a:cubicBezTo>
                      <a:pt x="287" y="274"/>
                      <a:pt x="287" y="274"/>
                      <a:pt x="286" y="273"/>
                    </a:cubicBezTo>
                    <a:cubicBezTo>
                      <a:pt x="286" y="273"/>
                      <a:pt x="286" y="273"/>
                      <a:pt x="287" y="273"/>
                    </a:cubicBezTo>
                    <a:cubicBezTo>
                      <a:pt x="287" y="273"/>
                      <a:pt x="287" y="273"/>
                      <a:pt x="286" y="272"/>
                    </a:cubicBezTo>
                    <a:cubicBezTo>
                      <a:pt x="286" y="272"/>
                      <a:pt x="286" y="272"/>
                      <a:pt x="287" y="272"/>
                    </a:cubicBezTo>
                    <a:cubicBezTo>
                      <a:pt x="287" y="272"/>
                      <a:pt x="287" y="272"/>
                      <a:pt x="288" y="272"/>
                    </a:cubicBezTo>
                    <a:cubicBezTo>
                      <a:pt x="288" y="272"/>
                      <a:pt x="288" y="272"/>
                      <a:pt x="289" y="271"/>
                    </a:cubicBezTo>
                    <a:cubicBezTo>
                      <a:pt x="289" y="271"/>
                      <a:pt x="289" y="271"/>
                      <a:pt x="289" y="270"/>
                    </a:cubicBezTo>
                    <a:cubicBezTo>
                      <a:pt x="289" y="270"/>
                      <a:pt x="289" y="270"/>
                      <a:pt x="288" y="270"/>
                    </a:cubicBezTo>
                    <a:cubicBezTo>
                      <a:pt x="288" y="270"/>
                      <a:pt x="288" y="270"/>
                      <a:pt x="287" y="271"/>
                    </a:cubicBezTo>
                    <a:cubicBezTo>
                      <a:pt x="287" y="271"/>
                      <a:pt x="287" y="271"/>
                      <a:pt x="286" y="270"/>
                    </a:cubicBezTo>
                    <a:cubicBezTo>
                      <a:pt x="286" y="270"/>
                      <a:pt x="286" y="270"/>
                      <a:pt x="286" y="269"/>
                    </a:cubicBezTo>
                    <a:cubicBezTo>
                      <a:pt x="286" y="269"/>
                      <a:pt x="286" y="269"/>
                      <a:pt x="286" y="268"/>
                    </a:cubicBezTo>
                    <a:cubicBezTo>
                      <a:pt x="286" y="268"/>
                      <a:pt x="286" y="268"/>
                      <a:pt x="286" y="267"/>
                    </a:cubicBezTo>
                    <a:cubicBezTo>
                      <a:pt x="286" y="267"/>
                      <a:pt x="286" y="267"/>
                      <a:pt x="287" y="268"/>
                    </a:cubicBezTo>
                    <a:cubicBezTo>
                      <a:pt x="287" y="268"/>
                      <a:pt x="287" y="268"/>
                      <a:pt x="287" y="267"/>
                    </a:cubicBezTo>
                    <a:cubicBezTo>
                      <a:pt x="287" y="267"/>
                      <a:pt x="287" y="267"/>
                      <a:pt x="288" y="266"/>
                    </a:cubicBezTo>
                    <a:cubicBezTo>
                      <a:pt x="288" y="266"/>
                      <a:pt x="288" y="266"/>
                      <a:pt x="289" y="265"/>
                    </a:cubicBezTo>
                    <a:cubicBezTo>
                      <a:pt x="289" y="265"/>
                      <a:pt x="289" y="265"/>
                      <a:pt x="289" y="264"/>
                    </a:cubicBezTo>
                    <a:cubicBezTo>
                      <a:pt x="289" y="264"/>
                      <a:pt x="289" y="264"/>
                      <a:pt x="289" y="263"/>
                    </a:cubicBezTo>
                    <a:cubicBezTo>
                      <a:pt x="289" y="263"/>
                      <a:pt x="289" y="263"/>
                      <a:pt x="289" y="262"/>
                    </a:cubicBezTo>
                    <a:cubicBezTo>
                      <a:pt x="289" y="262"/>
                      <a:pt x="289" y="262"/>
                      <a:pt x="290" y="261"/>
                    </a:cubicBezTo>
                    <a:cubicBezTo>
                      <a:pt x="290" y="261"/>
                      <a:pt x="290" y="261"/>
                      <a:pt x="289" y="260"/>
                    </a:cubicBezTo>
                    <a:cubicBezTo>
                      <a:pt x="289" y="260"/>
                      <a:pt x="289" y="260"/>
                      <a:pt x="290" y="258"/>
                    </a:cubicBezTo>
                    <a:cubicBezTo>
                      <a:pt x="290" y="258"/>
                      <a:pt x="290" y="258"/>
                      <a:pt x="291" y="257"/>
                    </a:cubicBezTo>
                    <a:cubicBezTo>
                      <a:pt x="291" y="257"/>
                      <a:pt x="291" y="257"/>
                      <a:pt x="292" y="256"/>
                    </a:cubicBezTo>
                    <a:cubicBezTo>
                      <a:pt x="292" y="256"/>
                      <a:pt x="292" y="256"/>
                      <a:pt x="292" y="255"/>
                    </a:cubicBezTo>
                    <a:cubicBezTo>
                      <a:pt x="292" y="255"/>
                      <a:pt x="292" y="255"/>
                      <a:pt x="291" y="254"/>
                    </a:cubicBezTo>
                    <a:cubicBezTo>
                      <a:pt x="291" y="254"/>
                      <a:pt x="291" y="254"/>
                      <a:pt x="291" y="253"/>
                    </a:cubicBezTo>
                    <a:cubicBezTo>
                      <a:pt x="291" y="253"/>
                      <a:pt x="291" y="253"/>
                      <a:pt x="293" y="252"/>
                    </a:cubicBezTo>
                    <a:cubicBezTo>
                      <a:pt x="293" y="252"/>
                      <a:pt x="293" y="252"/>
                      <a:pt x="295" y="250"/>
                    </a:cubicBezTo>
                    <a:cubicBezTo>
                      <a:pt x="295" y="250"/>
                      <a:pt x="295" y="250"/>
                      <a:pt x="296" y="250"/>
                    </a:cubicBezTo>
                    <a:cubicBezTo>
                      <a:pt x="296" y="250"/>
                      <a:pt x="296" y="250"/>
                      <a:pt x="295" y="249"/>
                    </a:cubicBezTo>
                    <a:cubicBezTo>
                      <a:pt x="295" y="249"/>
                      <a:pt x="295" y="249"/>
                      <a:pt x="293" y="251"/>
                    </a:cubicBezTo>
                    <a:cubicBezTo>
                      <a:pt x="293" y="251"/>
                      <a:pt x="293" y="251"/>
                      <a:pt x="291" y="253"/>
                    </a:cubicBezTo>
                    <a:cubicBezTo>
                      <a:pt x="291" y="253"/>
                      <a:pt x="291" y="253"/>
                      <a:pt x="289" y="253"/>
                    </a:cubicBezTo>
                    <a:cubicBezTo>
                      <a:pt x="289" y="253"/>
                      <a:pt x="289" y="253"/>
                      <a:pt x="289" y="254"/>
                    </a:cubicBezTo>
                    <a:cubicBezTo>
                      <a:pt x="289" y="254"/>
                      <a:pt x="289" y="254"/>
                      <a:pt x="290" y="255"/>
                    </a:cubicBezTo>
                    <a:cubicBezTo>
                      <a:pt x="290" y="255"/>
                      <a:pt x="290" y="255"/>
                      <a:pt x="290" y="256"/>
                    </a:cubicBezTo>
                    <a:cubicBezTo>
                      <a:pt x="290" y="256"/>
                      <a:pt x="290" y="256"/>
                      <a:pt x="288" y="258"/>
                    </a:cubicBezTo>
                    <a:cubicBezTo>
                      <a:pt x="288" y="258"/>
                      <a:pt x="288" y="258"/>
                      <a:pt x="287" y="258"/>
                    </a:cubicBezTo>
                    <a:cubicBezTo>
                      <a:pt x="287" y="258"/>
                      <a:pt x="287" y="258"/>
                      <a:pt x="286" y="258"/>
                    </a:cubicBezTo>
                    <a:cubicBezTo>
                      <a:pt x="286" y="258"/>
                      <a:pt x="286" y="258"/>
                      <a:pt x="284" y="259"/>
                    </a:cubicBezTo>
                    <a:cubicBezTo>
                      <a:pt x="284" y="259"/>
                      <a:pt x="284" y="259"/>
                      <a:pt x="282" y="259"/>
                    </a:cubicBezTo>
                    <a:cubicBezTo>
                      <a:pt x="282" y="259"/>
                      <a:pt x="282" y="259"/>
                      <a:pt x="278" y="257"/>
                    </a:cubicBezTo>
                    <a:cubicBezTo>
                      <a:pt x="278" y="257"/>
                      <a:pt x="278" y="257"/>
                      <a:pt x="278" y="256"/>
                    </a:cubicBezTo>
                    <a:cubicBezTo>
                      <a:pt x="278" y="256"/>
                      <a:pt x="278" y="256"/>
                      <a:pt x="280" y="256"/>
                    </a:cubicBezTo>
                    <a:cubicBezTo>
                      <a:pt x="280" y="256"/>
                      <a:pt x="280" y="256"/>
                      <a:pt x="279" y="255"/>
                    </a:cubicBezTo>
                    <a:cubicBezTo>
                      <a:pt x="279" y="255"/>
                      <a:pt x="279" y="255"/>
                      <a:pt x="279" y="254"/>
                    </a:cubicBezTo>
                    <a:cubicBezTo>
                      <a:pt x="279" y="254"/>
                      <a:pt x="279" y="254"/>
                      <a:pt x="278" y="253"/>
                    </a:cubicBezTo>
                    <a:cubicBezTo>
                      <a:pt x="278" y="253"/>
                      <a:pt x="278" y="253"/>
                      <a:pt x="278" y="251"/>
                    </a:cubicBezTo>
                    <a:cubicBezTo>
                      <a:pt x="278" y="251"/>
                      <a:pt x="278" y="251"/>
                      <a:pt x="277" y="251"/>
                    </a:cubicBezTo>
                    <a:cubicBezTo>
                      <a:pt x="277" y="251"/>
                      <a:pt x="277" y="251"/>
                      <a:pt x="277" y="250"/>
                    </a:cubicBezTo>
                    <a:cubicBezTo>
                      <a:pt x="277" y="250"/>
                      <a:pt x="277" y="250"/>
                      <a:pt x="277" y="248"/>
                    </a:cubicBezTo>
                    <a:cubicBezTo>
                      <a:pt x="277" y="248"/>
                      <a:pt x="277" y="248"/>
                      <a:pt x="278" y="247"/>
                    </a:cubicBezTo>
                    <a:cubicBezTo>
                      <a:pt x="278" y="247"/>
                      <a:pt x="278" y="247"/>
                      <a:pt x="277" y="247"/>
                    </a:cubicBezTo>
                    <a:cubicBezTo>
                      <a:pt x="277" y="247"/>
                      <a:pt x="277" y="247"/>
                      <a:pt x="277" y="246"/>
                    </a:cubicBezTo>
                    <a:cubicBezTo>
                      <a:pt x="277" y="246"/>
                      <a:pt x="277" y="246"/>
                      <a:pt x="277" y="245"/>
                    </a:cubicBezTo>
                    <a:cubicBezTo>
                      <a:pt x="277" y="245"/>
                      <a:pt x="277" y="245"/>
                      <a:pt x="278" y="246"/>
                    </a:cubicBezTo>
                    <a:cubicBezTo>
                      <a:pt x="278" y="246"/>
                      <a:pt x="278" y="246"/>
                      <a:pt x="279" y="245"/>
                    </a:cubicBezTo>
                    <a:cubicBezTo>
                      <a:pt x="279" y="245"/>
                      <a:pt x="279" y="245"/>
                      <a:pt x="280" y="244"/>
                    </a:cubicBezTo>
                    <a:cubicBezTo>
                      <a:pt x="280" y="244"/>
                      <a:pt x="280" y="244"/>
                      <a:pt x="281" y="244"/>
                    </a:cubicBezTo>
                    <a:cubicBezTo>
                      <a:pt x="281" y="244"/>
                      <a:pt x="281" y="244"/>
                      <a:pt x="282" y="243"/>
                    </a:cubicBezTo>
                    <a:cubicBezTo>
                      <a:pt x="282" y="243"/>
                      <a:pt x="282" y="243"/>
                      <a:pt x="282" y="244"/>
                    </a:cubicBezTo>
                    <a:cubicBezTo>
                      <a:pt x="282" y="244"/>
                      <a:pt x="282" y="244"/>
                      <a:pt x="284" y="244"/>
                    </a:cubicBezTo>
                    <a:cubicBezTo>
                      <a:pt x="284" y="244"/>
                      <a:pt x="284" y="244"/>
                      <a:pt x="285" y="245"/>
                    </a:cubicBezTo>
                    <a:cubicBezTo>
                      <a:pt x="285" y="245"/>
                      <a:pt x="285" y="245"/>
                      <a:pt x="286" y="245"/>
                    </a:cubicBezTo>
                    <a:cubicBezTo>
                      <a:pt x="286" y="245"/>
                      <a:pt x="286" y="245"/>
                      <a:pt x="286" y="246"/>
                    </a:cubicBezTo>
                    <a:cubicBezTo>
                      <a:pt x="286" y="246"/>
                      <a:pt x="286" y="246"/>
                      <a:pt x="287" y="247"/>
                    </a:cubicBezTo>
                    <a:cubicBezTo>
                      <a:pt x="287" y="247"/>
                      <a:pt x="287" y="247"/>
                      <a:pt x="288" y="247"/>
                    </a:cubicBezTo>
                    <a:cubicBezTo>
                      <a:pt x="288" y="247"/>
                      <a:pt x="288" y="247"/>
                      <a:pt x="288" y="246"/>
                    </a:cubicBezTo>
                    <a:cubicBezTo>
                      <a:pt x="288" y="246"/>
                      <a:pt x="288" y="246"/>
                      <a:pt x="287" y="244"/>
                    </a:cubicBezTo>
                    <a:cubicBezTo>
                      <a:pt x="287" y="244"/>
                      <a:pt x="287" y="244"/>
                      <a:pt x="288" y="244"/>
                    </a:cubicBezTo>
                    <a:cubicBezTo>
                      <a:pt x="288" y="244"/>
                      <a:pt x="288" y="244"/>
                      <a:pt x="288" y="243"/>
                    </a:cubicBezTo>
                    <a:cubicBezTo>
                      <a:pt x="288" y="243"/>
                      <a:pt x="288" y="243"/>
                      <a:pt x="287" y="244"/>
                    </a:cubicBezTo>
                    <a:cubicBezTo>
                      <a:pt x="287" y="244"/>
                      <a:pt x="287" y="244"/>
                      <a:pt x="285" y="244"/>
                    </a:cubicBezTo>
                    <a:cubicBezTo>
                      <a:pt x="285" y="244"/>
                      <a:pt x="285" y="244"/>
                      <a:pt x="284" y="243"/>
                    </a:cubicBezTo>
                    <a:cubicBezTo>
                      <a:pt x="284" y="243"/>
                      <a:pt x="284" y="243"/>
                      <a:pt x="283" y="243"/>
                    </a:cubicBezTo>
                    <a:cubicBezTo>
                      <a:pt x="283" y="243"/>
                      <a:pt x="283" y="243"/>
                      <a:pt x="283" y="242"/>
                    </a:cubicBezTo>
                    <a:cubicBezTo>
                      <a:pt x="283" y="242"/>
                      <a:pt x="283" y="242"/>
                      <a:pt x="282" y="242"/>
                    </a:cubicBezTo>
                    <a:cubicBezTo>
                      <a:pt x="282" y="242"/>
                      <a:pt x="282" y="242"/>
                      <a:pt x="281" y="242"/>
                    </a:cubicBezTo>
                    <a:cubicBezTo>
                      <a:pt x="281" y="242"/>
                      <a:pt x="281" y="242"/>
                      <a:pt x="280" y="242"/>
                    </a:cubicBezTo>
                    <a:cubicBezTo>
                      <a:pt x="280" y="242"/>
                      <a:pt x="280" y="242"/>
                      <a:pt x="280" y="241"/>
                    </a:cubicBezTo>
                    <a:cubicBezTo>
                      <a:pt x="280" y="241"/>
                      <a:pt x="280" y="241"/>
                      <a:pt x="281" y="241"/>
                    </a:cubicBezTo>
                    <a:cubicBezTo>
                      <a:pt x="281" y="241"/>
                      <a:pt x="281" y="241"/>
                      <a:pt x="281" y="239"/>
                    </a:cubicBezTo>
                    <a:cubicBezTo>
                      <a:pt x="281" y="239"/>
                      <a:pt x="281" y="239"/>
                      <a:pt x="280" y="240"/>
                    </a:cubicBezTo>
                    <a:cubicBezTo>
                      <a:pt x="280" y="240"/>
                      <a:pt x="280" y="240"/>
                      <a:pt x="279" y="240"/>
                    </a:cubicBezTo>
                    <a:cubicBezTo>
                      <a:pt x="279" y="240"/>
                      <a:pt x="279" y="240"/>
                      <a:pt x="279" y="239"/>
                    </a:cubicBezTo>
                    <a:cubicBezTo>
                      <a:pt x="279" y="239"/>
                      <a:pt x="279" y="239"/>
                      <a:pt x="279" y="238"/>
                    </a:cubicBezTo>
                    <a:cubicBezTo>
                      <a:pt x="279" y="238"/>
                      <a:pt x="279" y="238"/>
                      <a:pt x="280" y="237"/>
                    </a:cubicBezTo>
                    <a:cubicBezTo>
                      <a:pt x="280" y="237"/>
                      <a:pt x="280" y="237"/>
                      <a:pt x="279" y="235"/>
                    </a:cubicBezTo>
                    <a:cubicBezTo>
                      <a:pt x="279" y="235"/>
                      <a:pt x="279" y="235"/>
                      <a:pt x="278" y="233"/>
                    </a:cubicBezTo>
                    <a:cubicBezTo>
                      <a:pt x="278" y="233"/>
                      <a:pt x="278" y="233"/>
                      <a:pt x="280" y="231"/>
                    </a:cubicBezTo>
                    <a:cubicBezTo>
                      <a:pt x="280" y="231"/>
                      <a:pt x="280" y="231"/>
                      <a:pt x="280" y="230"/>
                    </a:cubicBezTo>
                    <a:cubicBezTo>
                      <a:pt x="280" y="230"/>
                      <a:pt x="280" y="230"/>
                      <a:pt x="281" y="230"/>
                    </a:cubicBezTo>
                    <a:cubicBezTo>
                      <a:pt x="281" y="230"/>
                      <a:pt x="281" y="230"/>
                      <a:pt x="282" y="231"/>
                    </a:cubicBezTo>
                    <a:cubicBezTo>
                      <a:pt x="282" y="231"/>
                      <a:pt x="282" y="231"/>
                      <a:pt x="283" y="230"/>
                    </a:cubicBezTo>
                    <a:cubicBezTo>
                      <a:pt x="283" y="230"/>
                      <a:pt x="283" y="230"/>
                      <a:pt x="281" y="228"/>
                    </a:cubicBezTo>
                    <a:cubicBezTo>
                      <a:pt x="281" y="228"/>
                      <a:pt x="281" y="228"/>
                      <a:pt x="282" y="228"/>
                    </a:cubicBezTo>
                    <a:cubicBezTo>
                      <a:pt x="282" y="228"/>
                      <a:pt x="282" y="228"/>
                      <a:pt x="283" y="228"/>
                    </a:cubicBezTo>
                    <a:cubicBezTo>
                      <a:pt x="283" y="228"/>
                      <a:pt x="283" y="228"/>
                      <a:pt x="284" y="228"/>
                    </a:cubicBezTo>
                    <a:cubicBezTo>
                      <a:pt x="284" y="228"/>
                      <a:pt x="284" y="228"/>
                      <a:pt x="285" y="228"/>
                    </a:cubicBezTo>
                    <a:cubicBezTo>
                      <a:pt x="285" y="228"/>
                      <a:pt x="285" y="228"/>
                      <a:pt x="285" y="226"/>
                    </a:cubicBezTo>
                    <a:cubicBezTo>
                      <a:pt x="285" y="226"/>
                      <a:pt x="285" y="226"/>
                      <a:pt x="288" y="223"/>
                    </a:cubicBezTo>
                    <a:cubicBezTo>
                      <a:pt x="288" y="223"/>
                      <a:pt x="288" y="223"/>
                      <a:pt x="289" y="223"/>
                    </a:cubicBezTo>
                    <a:cubicBezTo>
                      <a:pt x="289" y="223"/>
                      <a:pt x="289" y="223"/>
                      <a:pt x="290" y="223"/>
                    </a:cubicBezTo>
                    <a:cubicBezTo>
                      <a:pt x="290" y="223"/>
                      <a:pt x="290" y="223"/>
                      <a:pt x="290" y="221"/>
                    </a:cubicBezTo>
                    <a:cubicBezTo>
                      <a:pt x="290" y="221"/>
                      <a:pt x="290" y="221"/>
                      <a:pt x="292" y="220"/>
                    </a:cubicBezTo>
                    <a:cubicBezTo>
                      <a:pt x="292" y="220"/>
                      <a:pt x="292" y="220"/>
                      <a:pt x="293" y="219"/>
                    </a:cubicBezTo>
                    <a:cubicBezTo>
                      <a:pt x="293" y="219"/>
                      <a:pt x="293" y="219"/>
                      <a:pt x="294" y="221"/>
                    </a:cubicBezTo>
                    <a:cubicBezTo>
                      <a:pt x="294" y="221"/>
                      <a:pt x="294" y="221"/>
                      <a:pt x="294" y="222"/>
                    </a:cubicBezTo>
                    <a:cubicBezTo>
                      <a:pt x="294" y="222"/>
                      <a:pt x="294" y="222"/>
                      <a:pt x="295" y="222"/>
                    </a:cubicBezTo>
                    <a:cubicBezTo>
                      <a:pt x="295" y="222"/>
                      <a:pt x="295" y="222"/>
                      <a:pt x="295" y="221"/>
                    </a:cubicBezTo>
                    <a:cubicBezTo>
                      <a:pt x="295" y="221"/>
                      <a:pt x="295" y="221"/>
                      <a:pt x="295" y="220"/>
                    </a:cubicBezTo>
                    <a:cubicBezTo>
                      <a:pt x="295" y="220"/>
                      <a:pt x="295" y="220"/>
                      <a:pt x="294" y="219"/>
                    </a:cubicBezTo>
                    <a:cubicBezTo>
                      <a:pt x="294" y="219"/>
                      <a:pt x="294" y="219"/>
                      <a:pt x="295" y="219"/>
                    </a:cubicBezTo>
                    <a:cubicBezTo>
                      <a:pt x="295" y="219"/>
                      <a:pt x="295" y="219"/>
                      <a:pt x="297" y="219"/>
                    </a:cubicBezTo>
                    <a:cubicBezTo>
                      <a:pt x="297" y="219"/>
                      <a:pt x="297" y="219"/>
                      <a:pt x="298" y="221"/>
                    </a:cubicBezTo>
                    <a:cubicBezTo>
                      <a:pt x="298" y="221"/>
                      <a:pt x="298" y="221"/>
                      <a:pt x="299" y="221"/>
                    </a:cubicBezTo>
                    <a:cubicBezTo>
                      <a:pt x="299" y="221"/>
                      <a:pt x="299" y="221"/>
                      <a:pt x="299" y="220"/>
                    </a:cubicBezTo>
                    <a:cubicBezTo>
                      <a:pt x="299" y="220"/>
                      <a:pt x="299" y="220"/>
                      <a:pt x="300" y="218"/>
                    </a:cubicBezTo>
                    <a:cubicBezTo>
                      <a:pt x="300" y="218"/>
                      <a:pt x="300" y="218"/>
                      <a:pt x="300" y="217"/>
                    </a:cubicBezTo>
                    <a:cubicBezTo>
                      <a:pt x="300" y="217"/>
                      <a:pt x="300" y="217"/>
                      <a:pt x="301" y="216"/>
                    </a:cubicBezTo>
                    <a:cubicBezTo>
                      <a:pt x="301" y="216"/>
                      <a:pt x="301" y="216"/>
                      <a:pt x="302" y="216"/>
                    </a:cubicBezTo>
                    <a:cubicBezTo>
                      <a:pt x="303" y="216"/>
                      <a:pt x="303" y="216"/>
                      <a:pt x="303" y="216"/>
                    </a:cubicBezTo>
                    <a:cubicBezTo>
                      <a:pt x="303" y="216"/>
                      <a:pt x="303" y="216"/>
                      <a:pt x="304" y="215"/>
                    </a:cubicBezTo>
                    <a:cubicBezTo>
                      <a:pt x="304" y="215"/>
                      <a:pt x="304" y="215"/>
                      <a:pt x="306" y="215"/>
                    </a:cubicBezTo>
                    <a:cubicBezTo>
                      <a:pt x="306" y="215"/>
                      <a:pt x="306" y="215"/>
                      <a:pt x="307" y="215"/>
                    </a:cubicBezTo>
                    <a:cubicBezTo>
                      <a:pt x="307" y="215"/>
                      <a:pt x="307" y="215"/>
                      <a:pt x="308" y="215"/>
                    </a:cubicBezTo>
                    <a:cubicBezTo>
                      <a:pt x="308" y="215"/>
                      <a:pt x="308" y="215"/>
                      <a:pt x="309" y="214"/>
                    </a:cubicBezTo>
                    <a:cubicBezTo>
                      <a:pt x="309" y="214"/>
                      <a:pt x="309" y="214"/>
                      <a:pt x="312" y="214"/>
                    </a:cubicBezTo>
                    <a:cubicBezTo>
                      <a:pt x="312" y="214"/>
                      <a:pt x="312" y="214"/>
                      <a:pt x="313" y="212"/>
                    </a:cubicBezTo>
                    <a:cubicBezTo>
                      <a:pt x="313" y="212"/>
                      <a:pt x="313" y="212"/>
                      <a:pt x="314" y="211"/>
                    </a:cubicBezTo>
                    <a:cubicBezTo>
                      <a:pt x="314" y="211"/>
                      <a:pt x="314" y="211"/>
                      <a:pt x="315" y="210"/>
                    </a:cubicBezTo>
                    <a:cubicBezTo>
                      <a:pt x="315" y="210"/>
                      <a:pt x="315" y="210"/>
                      <a:pt x="316" y="210"/>
                    </a:cubicBezTo>
                    <a:cubicBezTo>
                      <a:pt x="316" y="210"/>
                      <a:pt x="316" y="210"/>
                      <a:pt x="317" y="211"/>
                    </a:cubicBezTo>
                    <a:cubicBezTo>
                      <a:pt x="317" y="211"/>
                      <a:pt x="317" y="211"/>
                      <a:pt x="318" y="211"/>
                    </a:cubicBezTo>
                    <a:cubicBezTo>
                      <a:pt x="318" y="211"/>
                      <a:pt x="318" y="211"/>
                      <a:pt x="319" y="212"/>
                    </a:cubicBezTo>
                    <a:cubicBezTo>
                      <a:pt x="319" y="212"/>
                      <a:pt x="319" y="212"/>
                      <a:pt x="321" y="212"/>
                    </a:cubicBezTo>
                    <a:cubicBezTo>
                      <a:pt x="321" y="212"/>
                      <a:pt x="321" y="212"/>
                      <a:pt x="322" y="212"/>
                    </a:cubicBezTo>
                    <a:cubicBezTo>
                      <a:pt x="322" y="212"/>
                      <a:pt x="322" y="212"/>
                      <a:pt x="323" y="211"/>
                    </a:cubicBezTo>
                    <a:cubicBezTo>
                      <a:pt x="323" y="211"/>
                      <a:pt x="323" y="211"/>
                      <a:pt x="324" y="210"/>
                    </a:cubicBezTo>
                    <a:cubicBezTo>
                      <a:pt x="324" y="210"/>
                      <a:pt x="324" y="210"/>
                      <a:pt x="325" y="211"/>
                    </a:cubicBezTo>
                    <a:cubicBezTo>
                      <a:pt x="325" y="211"/>
                      <a:pt x="325" y="211"/>
                      <a:pt x="326" y="210"/>
                    </a:cubicBezTo>
                    <a:cubicBezTo>
                      <a:pt x="326" y="210"/>
                      <a:pt x="326" y="210"/>
                      <a:pt x="327" y="208"/>
                    </a:cubicBezTo>
                    <a:cubicBezTo>
                      <a:pt x="327" y="208"/>
                      <a:pt x="327" y="208"/>
                      <a:pt x="328" y="207"/>
                    </a:cubicBezTo>
                    <a:cubicBezTo>
                      <a:pt x="328" y="207"/>
                      <a:pt x="328" y="207"/>
                      <a:pt x="327" y="206"/>
                    </a:cubicBezTo>
                    <a:cubicBezTo>
                      <a:pt x="327" y="206"/>
                      <a:pt x="327" y="206"/>
                      <a:pt x="327" y="205"/>
                    </a:cubicBezTo>
                    <a:cubicBezTo>
                      <a:pt x="327" y="205"/>
                      <a:pt x="327" y="205"/>
                      <a:pt x="328" y="204"/>
                    </a:cubicBezTo>
                    <a:cubicBezTo>
                      <a:pt x="328" y="204"/>
                      <a:pt x="328" y="204"/>
                      <a:pt x="328" y="202"/>
                    </a:cubicBezTo>
                    <a:cubicBezTo>
                      <a:pt x="328" y="202"/>
                      <a:pt x="328" y="202"/>
                      <a:pt x="330" y="200"/>
                    </a:cubicBezTo>
                    <a:cubicBezTo>
                      <a:pt x="330" y="200"/>
                      <a:pt x="330" y="200"/>
                      <a:pt x="331" y="198"/>
                    </a:cubicBezTo>
                    <a:cubicBezTo>
                      <a:pt x="331" y="198"/>
                      <a:pt x="331" y="198"/>
                      <a:pt x="330" y="197"/>
                    </a:cubicBezTo>
                    <a:cubicBezTo>
                      <a:pt x="330" y="197"/>
                      <a:pt x="330" y="197"/>
                      <a:pt x="328" y="197"/>
                    </a:cubicBezTo>
                    <a:cubicBezTo>
                      <a:pt x="328" y="197"/>
                      <a:pt x="328" y="197"/>
                      <a:pt x="330" y="196"/>
                    </a:cubicBezTo>
                    <a:cubicBezTo>
                      <a:pt x="330" y="196"/>
                      <a:pt x="330" y="196"/>
                      <a:pt x="331" y="196"/>
                    </a:cubicBezTo>
                    <a:cubicBezTo>
                      <a:pt x="331" y="196"/>
                      <a:pt x="331" y="196"/>
                      <a:pt x="333" y="196"/>
                    </a:cubicBezTo>
                    <a:cubicBezTo>
                      <a:pt x="333" y="196"/>
                      <a:pt x="333" y="196"/>
                      <a:pt x="334" y="194"/>
                    </a:cubicBezTo>
                    <a:cubicBezTo>
                      <a:pt x="334" y="194"/>
                      <a:pt x="334" y="194"/>
                      <a:pt x="333" y="193"/>
                    </a:cubicBezTo>
                    <a:cubicBezTo>
                      <a:pt x="333" y="193"/>
                      <a:pt x="333" y="193"/>
                      <a:pt x="335" y="192"/>
                    </a:cubicBezTo>
                    <a:cubicBezTo>
                      <a:pt x="335" y="192"/>
                      <a:pt x="335" y="192"/>
                      <a:pt x="333" y="192"/>
                    </a:cubicBezTo>
                    <a:cubicBezTo>
                      <a:pt x="333" y="192"/>
                      <a:pt x="333" y="192"/>
                      <a:pt x="331" y="193"/>
                    </a:cubicBezTo>
                    <a:cubicBezTo>
                      <a:pt x="331" y="193"/>
                      <a:pt x="331" y="193"/>
                      <a:pt x="330" y="193"/>
                    </a:cubicBezTo>
                    <a:cubicBezTo>
                      <a:pt x="330" y="193"/>
                      <a:pt x="330" y="193"/>
                      <a:pt x="330" y="192"/>
                    </a:cubicBezTo>
                    <a:cubicBezTo>
                      <a:pt x="330" y="192"/>
                      <a:pt x="330" y="192"/>
                      <a:pt x="329" y="193"/>
                    </a:cubicBezTo>
                    <a:cubicBezTo>
                      <a:pt x="329" y="193"/>
                      <a:pt x="329" y="193"/>
                      <a:pt x="327" y="194"/>
                    </a:cubicBezTo>
                    <a:cubicBezTo>
                      <a:pt x="327" y="194"/>
                      <a:pt x="327" y="194"/>
                      <a:pt x="324" y="195"/>
                    </a:cubicBezTo>
                    <a:cubicBezTo>
                      <a:pt x="324" y="195"/>
                      <a:pt x="324" y="195"/>
                      <a:pt x="322" y="196"/>
                    </a:cubicBezTo>
                    <a:cubicBezTo>
                      <a:pt x="322" y="196"/>
                      <a:pt x="322" y="196"/>
                      <a:pt x="320" y="198"/>
                    </a:cubicBezTo>
                    <a:cubicBezTo>
                      <a:pt x="320" y="198"/>
                      <a:pt x="320" y="198"/>
                      <a:pt x="320" y="196"/>
                    </a:cubicBezTo>
                    <a:cubicBezTo>
                      <a:pt x="320" y="196"/>
                      <a:pt x="320" y="196"/>
                      <a:pt x="321" y="195"/>
                    </a:cubicBezTo>
                    <a:cubicBezTo>
                      <a:pt x="321" y="195"/>
                      <a:pt x="321" y="195"/>
                      <a:pt x="321" y="194"/>
                    </a:cubicBezTo>
                    <a:cubicBezTo>
                      <a:pt x="321" y="194"/>
                      <a:pt x="321" y="194"/>
                      <a:pt x="320" y="194"/>
                    </a:cubicBezTo>
                    <a:cubicBezTo>
                      <a:pt x="320" y="194"/>
                      <a:pt x="320" y="194"/>
                      <a:pt x="319" y="194"/>
                    </a:cubicBezTo>
                    <a:cubicBezTo>
                      <a:pt x="319" y="194"/>
                      <a:pt x="319" y="194"/>
                      <a:pt x="319" y="196"/>
                    </a:cubicBezTo>
                    <a:cubicBezTo>
                      <a:pt x="319" y="196"/>
                      <a:pt x="319" y="196"/>
                      <a:pt x="319" y="197"/>
                    </a:cubicBezTo>
                    <a:cubicBezTo>
                      <a:pt x="319" y="197"/>
                      <a:pt x="319" y="197"/>
                      <a:pt x="318" y="196"/>
                    </a:cubicBezTo>
                    <a:cubicBezTo>
                      <a:pt x="318" y="196"/>
                      <a:pt x="318" y="196"/>
                      <a:pt x="318" y="195"/>
                    </a:cubicBezTo>
                    <a:cubicBezTo>
                      <a:pt x="318" y="195"/>
                      <a:pt x="318" y="195"/>
                      <a:pt x="317" y="194"/>
                    </a:cubicBezTo>
                    <a:cubicBezTo>
                      <a:pt x="317" y="194"/>
                      <a:pt x="317" y="194"/>
                      <a:pt x="314" y="194"/>
                    </a:cubicBezTo>
                    <a:cubicBezTo>
                      <a:pt x="314" y="194"/>
                      <a:pt x="314" y="194"/>
                      <a:pt x="312" y="193"/>
                    </a:cubicBezTo>
                    <a:cubicBezTo>
                      <a:pt x="312" y="193"/>
                      <a:pt x="312" y="193"/>
                      <a:pt x="311" y="194"/>
                    </a:cubicBezTo>
                    <a:cubicBezTo>
                      <a:pt x="311" y="194"/>
                      <a:pt x="311" y="194"/>
                      <a:pt x="309" y="195"/>
                    </a:cubicBezTo>
                    <a:cubicBezTo>
                      <a:pt x="309" y="195"/>
                      <a:pt x="309" y="195"/>
                      <a:pt x="308" y="195"/>
                    </a:cubicBezTo>
                    <a:cubicBezTo>
                      <a:pt x="308" y="195"/>
                      <a:pt x="308" y="195"/>
                      <a:pt x="307" y="193"/>
                    </a:cubicBezTo>
                    <a:cubicBezTo>
                      <a:pt x="307" y="193"/>
                      <a:pt x="307" y="193"/>
                      <a:pt x="305" y="192"/>
                    </a:cubicBezTo>
                    <a:cubicBezTo>
                      <a:pt x="305" y="192"/>
                      <a:pt x="305" y="192"/>
                      <a:pt x="303" y="190"/>
                    </a:cubicBezTo>
                    <a:cubicBezTo>
                      <a:pt x="303" y="190"/>
                      <a:pt x="303" y="190"/>
                      <a:pt x="302" y="188"/>
                    </a:cubicBezTo>
                    <a:cubicBezTo>
                      <a:pt x="302" y="188"/>
                      <a:pt x="302" y="188"/>
                      <a:pt x="303" y="186"/>
                    </a:cubicBezTo>
                    <a:cubicBezTo>
                      <a:pt x="303" y="186"/>
                      <a:pt x="303" y="186"/>
                      <a:pt x="304" y="185"/>
                    </a:cubicBezTo>
                    <a:cubicBezTo>
                      <a:pt x="304" y="185"/>
                      <a:pt x="304" y="185"/>
                      <a:pt x="305" y="184"/>
                    </a:cubicBezTo>
                    <a:cubicBezTo>
                      <a:pt x="305" y="184"/>
                      <a:pt x="305" y="184"/>
                      <a:pt x="305" y="183"/>
                    </a:cubicBezTo>
                    <a:cubicBezTo>
                      <a:pt x="305" y="183"/>
                      <a:pt x="305" y="183"/>
                      <a:pt x="305" y="182"/>
                    </a:cubicBezTo>
                    <a:cubicBezTo>
                      <a:pt x="305" y="182"/>
                      <a:pt x="305" y="182"/>
                      <a:pt x="304" y="180"/>
                    </a:cubicBezTo>
                    <a:cubicBezTo>
                      <a:pt x="304" y="180"/>
                      <a:pt x="304" y="180"/>
                      <a:pt x="305" y="178"/>
                    </a:cubicBezTo>
                    <a:cubicBezTo>
                      <a:pt x="305" y="178"/>
                      <a:pt x="305" y="178"/>
                      <a:pt x="306" y="178"/>
                    </a:cubicBezTo>
                    <a:cubicBezTo>
                      <a:pt x="306" y="178"/>
                      <a:pt x="306" y="178"/>
                      <a:pt x="306" y="179"/>
                    </a:cubicBezTo>
                    <a:cubicBezTo>
                      <a:pt x="306" y="179"/>
                      <a:pt x="306" y="179"/>
                      <a:pt x="305" y="180"/>
                    </a:cubicBezTo>
                    <a:cubicBezTo>
                      <a:pt x="305" y="180"/>
                      <a:pt x="305" y="180"/>
                      <a:pt x="306" y="181"/>
                    </a:cubicBezTo>
                    <a:cubicBezTo>
                      <a:pt x="306" y="181"/>
                      <a:pt x="306" y="181"/>
                      <a:pt x="307" y="181"/>
                    </a:cubicBezTo>
                    <a:cubicBezTo>
                      <a:pt x="307" y="181"/>
                      <a:pt x="307" y="181"/>
                      <a:pt x="308" y="180"/>
                    </a:cubicBezTo>
                    <a:cubicBezTo>
                      <a:pt x="308" y="180"/>
                      <a:pt x="308" y="180"/>
                      <a:pt x="309" y="180"/>
                    </a:cubicBezTo>
                    <a:cubicBezTo>
                      <a:pt x="309" y="180"/>
                      <a:pt x="309" y="180"/>
                      <a:pt x="310" y="180"/>
                    </a:cubicBezTo>
                    <a:cubicBezTo>
                      <a:pt x="310" y="180"/>
                      <a:pt x="310" y="180"/>
                      <a:pt x="311" y="181"/>
                    </a:cubicBezTo>
                    <a:cubicBezTo>
                      <a:pt x="311" y="181"/>
                      <a:pt x="311" y="181"/>
                      <a:pt x="311" y="183"/>
                    </a:cubicBezTo>
                    <a:cubicBezTo>
                      <a:pt x="311" y="183"/>
                      <a:pt x="311" y="183"/>
                      <a:pt x="314" y="183"/>
                    </a:cubicBezTo>
                    <a:cubicBezTo>
                      <a:pt x="314" y="183"/>
                      <a:pt x="314" y="183"/>
                      <a:pt x="314" y="182"/>
                    </a:cubicBezTo>
                    <a:cubicBezTo>
                      <a:pt x="314" y="182"/>
                      <a:pt x="314" y="182"/>
                      <a:pt x="313" y="181"/>
                    </a:cubicBezTo>
                    <a:cubicBezTo>
                      <a:pt x="313" y="181"/>
                      <a:pt x="313" y="181"/>
                      <a:pt x="311" y="181"/>
                    </a:cubicBezTo>
                    <a:cubicBezTo>
                      <a:pt x="311" y="181"/>
                      <a:pt x="311" y="181"/>
                      <a:pt x="311" y="180"/>
                    </a:cubicBezTo>
                    <a:cubicBezTo>
                      <a:pt x="311" y="180"/>
                      <a:pt x="311" y="180"/>
                      <a:pt x="309" y="179"/>
                    </a:cubicBezTo>
                    <a:cubicBezTo>
                      <a:pt x="309" y="179"/>
                      <a:pt x="309" y="179"/>
                      <a:pt x="308" y="177"/>
                    </a:cubicBezTo>
                    <a:cubicBezTo>
                      <a:pt x="308" y="177"/>
                      <a:pt x="308" y="177"/>
                      <a:pt x="306" y="177"/>
                    </a:cubicBezTo>
                    <a:cubicBezTo>
                      <a:pt x="306" y="177"/>
                      <a:pt x="306" y="177"/>
                      <a:pt x="305" y="174"/>
                    </a:cubicBezTo>
                    <a:cubicBezTo>
                      <a:pt x="305" y="174"/>
                      <a:pt x="305" y="174"/>
                      <a:pt x="303" y="172"/>
                    </a:cubicBezTo>
                    <a:cubicBezTo>
                      <a:pt x="303" y="172"/>
                      <a:pt x="303" y="172"/>
                      <a:pt x="303" y="171"/>
                    </a:cubicBezTo>
                    <a:cubicBezTo>
                      <a:pt x="303" y="171"/>
                      <a:pt x="303" y="171"/>
                      <a:pt x="304" y="170"/>
                    </a:cubicBezTo>
                    <a:cubicBezTo>
                      <a:pt x="304" y="170"/>
                      <a:pt x="304" y="170"/>
                      <a:pt x="305" y="170"/>
                    </a:cubicBezTo>
                    <a:cubicBezTo>
                      <a:pt x="305" y="170"/>
                      <a:pt x="305" y="170"/>
                      <a:pt x="304" y="171"/>
                    </a:cubicBezTo>
                    <a:cubicBezTo>
                      <a:pt x="304" y="171"/>
                      <a:pt x="304" y="171"/>
                      <a:pt x="305" y="171"/>
                    </a:cubicBezTo>
                    <a:cubicBezTo>
                      <a:pt x="305" y="171"/>
                      <a:pt x="305" y="171"/>
                      <a:pt x="307" y="170"/>
                    </a:cubicBezTo>
                    <a:cubicBezTo>
                      <a:pt x="307" y="170"/>
                      <a:pt x="307" y="170"/>
                      <a:pt x="308" y="169"/>
                    </a:cubicBezTo>
                    <a:cubicBezTo>
                      <a:pt x="308" y="169"/>
                      <a:pt x="308" y="169"/>
                      <a:pt x="309" y="169"/>
                    </a:cubicBezTo>
                    <a:cubicBezTo>
                      <a:pt x="309" y="169"/>
                      <a:pt x="309" y="169"/>
                      <a:pt x="309" y="168"/>
                    </a:cubicBezTo>
                    <a:cubicBezTo>
                      <a:pt x="309" y="168"/>
                      <a:pt x="309" y="168"/>
                      <a:pt x="311" y="167"/>
                    </a:cubicBezTo>
                    <a:cubicBezTo>
                      <a:pt x="311" y="167"/>
                      <a:pt x="311" y="167"/>
                      <a:pt x="312" y="167"/>
                    </a:cubicBezTo>
                    <a:cubicBezTo>
                      <a:pt x="312" y="167"/>
                      <a:pt x="312" y="167"/>
                      <a:pt x="314" y="167"/>
                    </a:cubicBezTo>
                    <a:cubicBezTo>
                      <a:pt x="314" y="167"/>
                      <a:pt x="314" y="167"/>
                      <a:pt x="315" y="166"/>
                    </a:cubicBezTo>
                    <a:cubicBezTo>
                      <a:pt x="315" y="166"/>
                      <a:pt x="315" y="166"/>
                      <a:pt x="317" y="165"/>
                    </a:cubicBezTo>
                    <a:cubicBezTo>
                      <a:pt x="317" y="165"/>
                      <a:pt x="317" y="165"/>
                      <a:pt x="319" y="166"/>
                    </a:cubicBezTo>
                    <a:cubicBezTo>
                      <a:pt x="319" y="166"/>
                      <a:pt x="319" y="166"/>
                      <a:pt x="320" y="166"/>
                    </a:cubicBezTo>
                    <a:cubicBezTo>
                      <a:pt x="320" y="166"/>
                      <a:pt x="320" y="166"/>
                      <a:pt x="321" y="167"/>
                    </a:cubicBezTo>
                    <a:cubicBezTo>
                      <a:pt x="321" y="167"/>
                      <a:pt x="321" y="167"/>
                      <a:pt x="322" y="167"/>
                    </a:cubicBezTo>
                    <a:cubicBezTo>
                      <a:pt x="322" y="167"/>
                      <a:pt x="322" y="167"/>
                      <a:pt x="323" y="167"/>
                    </a:cubicBezTo>
                    <a:cubicBezTo>
                      <a:pt x="323" y="167"/>
                      <a:pt x="323" y="167"/>
                      <a:pt x="322" y="165"/>
                    </a:cubicBezTo>
                    <a:cubicBezTo>
                      <a:pt x="322" y="165"/>
                      <a:pt x="322" y="165"/>
                      <a:pt x="321" y="165"/>
                    </a:cubicBezTo>
                    <a:cubicBezTo>
                      <a:pt x="321" y="165"/>
                      <a:pt x="321" y="165"/>
                      <a:pt x="321" y="164"/>
                    </a:cubicBezTo>
                    <a:cubicBezTo>
                      <a:pt x="321" y="164"/>
                      <a:pt x="321" y="164"/>
                      <a:pt x="325" y="163"/>
                    </a:cubicBezTo>
                    <a:cubicBezTo>
                      <a:pt x="325" y="163"/>
                      <a:pt x="325" y="163"/>
                      <a:pt x="326" y="163"/>
                    </a:cubicBezTo>
                    <a:cubicBezTo>
                      <a:pt x="326" y="163"/>
                      <a:pt x="326" y="163"/>
                      <a:pt x="327" y="163"/>
                    </a:cubicBezTo>
                    <a:cubicBezTo>
                      <a:pt x="327" y="163"/>
                      <a:pt x="327" y="163"/>
                      <a:pt x="328" y="163"/>
                    </a:cubicBezTo>
                    <a:cubicBezTo>
                      <a:pt x="328" y="163"/>
                      <a:pt x="328" y="163"/>
                      <a:pt x="330" y="162"/>
                    </a:cubicBezTo>
                    <a:cubicBezTo>
                      <a:pt x="330" y="162"/>
                      <a:pt x="330" y="162"/>
                      <a:pt x="332" y="162"/>
                    </a:cubicBezTo>
                    <a:cubicBezTo>
                      <a:pt x="332" y="162"/>
                      <a:pt x="332" y="162"/>
                      <a:pt x="333" y="163"/>
                    </a:cubicBezTo>
                    <a:cubicBezTo>
                      <a:pt x="333" y="163"/>
                      <a:pt x="333" y="163"/>
                      <a:pt x="334" y="164"/>
                    </a:cubicBezTo>
                    <a:cubicBezTo>
                      <a:pt x="334" y="164"/>
                      <a:pt x="334" y="164"/>
                      <a:pt x="334" y="165"/>
                    </a:cubicBezTo>
                    <a:cubicBezTo>
                      <a:pt x="334" y="165"/>
                      <a:pt x="334" y="165"/>
                      <a:pt x="334" y="166"/>
                    </a:cubicBezTo>
                    <a:cubicBezTo>
                      <a:pt x="334" y="166"/>
                      <a:pt x="334" y="166"/>
                      <a:pt x="333" y="166"/>
                    </a:cubicBezTo>
                    <a:cubicBezTo>
                      <a:pt x="333" y="166"/>
                      <a:pt x="333" y="166"/>
                      <a:pt x="332" y="168"/>
                    </a:cubicBezTo>
                    <a:cubicBezTo>
                      <a:pt x="332" y="168"/>
                      <a:pt x="332" y="168"/>
                      <a:pt x="330" y="168"/>
                    </a:cubicBezTo>
                    <a:cubicBezTo>
                      <a:pt x="330" y="168"/>
                      <a:pt x="330" y="168"/>
                      <a:pt x="330" y="169"/>
                    </a:cubicBezTo>
                    <a:cubicBezTo>
                      <a:pt x="330" y="169"/>
                      <a:pt x="330" y="169"/>
                      <a:pt x="331" y="170"/>
                    </a:cubicBezTo>
                    <a:cubicBezTo>
                      <a:pt x="331" y="170"/>
                      <a:pt x="331" y="170"/>
                      <a:pt x="331" y="172"/>
                    </a:cubicBezTo>
                    <a:cubicBezTo>
                      <a:pt x="331" y="172"/>
                      <a:pt x="331" y="172"/>
                      <a:pt x="332" y="172"/>
                    </a:cubicBezTo>
                    <a:cubicBezTo>
                      <a:pt x="332" y="172"/>
                      <a:pt x="332" y="172"/>
                      <a:pt x="332" y="171"/>
                    </a:cubicBezTo>
                    <a:cubicBezTo>
                      <a:pt x="332" y="171"/>
                      <a:pt x="332" y="171"/>
                      <a:pt x="333" y="172"/>
                    </a:cubicBezTo>
                    <a:cubicBezTo>
                      <a:pt x="333" y="172"/>
                      <a:pt x="333" y="172"/>
                      <a:pt x="333" y="173"/>
                    </a:cubicBezTo>
                    <a:cubicBezTo>
                      <a:pt x="333" y="173"/>
                      <a:pt x="333" y="173"/>
                      <a:pt x="334" y="173"/>
                    </a:cubicBezTo>
                    <a:cubicBezTo>
                      <a:pt x="334" y="173"/>
                      <a:pt x="334" y="173"/>
                      <a:pt x="335" y="173"/>
                    </a:cubicBezTo>
                    <a:cubicBezTo>
                      <a:pt x="335" y="173"/>
                      <a:pt x="335" y="173"/>
                      <a:pt x="336" y="173"/>
                    </a:cubicBezTo>
                    <a:cubicBezTo>
                      <a:pt x="336" y="173"/>
                      <a:pt x="336" y="173"/>
                      <a:pt x="336" y="174"/>
                    </a:cubicBezTo>
                    <a:cubicBezTo>
                      <a:pt x="336" y="174"/>
                      <a:pt x="336" y="174"/>
                      <a:pt x="337" y="174"/>
                    </a:cubicBezTo>
                    <a:cubicBezTo>
                      <a:pt x="337" y="174"/>
                      <a:pt x="337" y="174"/>
                      <a:pt x="339" y="174"/>
                    </a:cubicBezTo>
                    <a:cubicBezTo>
                      <a:pt x="339" y="174"/>
                      <a:pt x="339" y="174"/>
                      <a:pt x="339" y="175"/>
                    </a:cubicBezTo>
                    <a:cubicBezTo>
                      <a:pt x="339" y="175"/>
                      <a:pt x="339" y="175"/>
                      <a:pt x="339" y="176"/>
                    </a:cubicBezTo>
                    <a:cubicBezTo>
                      <a:pt x="339" y="176"/>
                      <a:pt x="339" y="176"/>
                      <a:pt x="341" y="175"/>
                    </a:cubicBezTo>
                    <a:cubicBezTo>
                      <a:pt x="341" y="175"/>
                      <a:pt x="341" y="175"/>
                      <a:pt x="342" y="175"/>
                    </a:cubicBezTo>
                    <a:cubicBezTo>
                      <a:pt x="342" y="175"/>
                      <a:pt x="342" y="175"/>
                      <a:pt x="342" y="174"/>
                    </a:cubicBezTo>
                    <a:cubicBezTo>
                      <a:pt x="342" y="174"/>
                      <a:pt x="342" y="174"/>
                      <a:pt x="344" y="172"/>
                    </a:cubicBezTo>
                    <a:cubicBezTo>
                      <a:pt x="344" y="172"/>
                      <a:pt x="344" y="172"/>
                      <a:pt x="345" y="172"/>
                    </a:cubicBezTo>
                    <a:cubicBezTo>
                      <a:pt x="345" y="172"/>
                      <a:pt x="345" y="172"/>
                      <a:pt x="346" y="172"/>
                    </a:cubicBezTo>
                    <a:cubicBezTo>
                      <a:pt x="346" y="172"/>
                      <a:pt x="346" y="172"/>
                      <a:pt x="346" y="173"/>
                    </a:cubicBezTo>
                    <a:cubicBezTo>
                      <a:pt x="346" y="173"/>
                      <a:pt x="346" y="173"/>
                      <a:pt x="344" y="175"/>
                    </a:cubicBezTo>
                    <a:cubicBezTo>
                      <a:pt x="344" y="175"/>
                      <a:pt x="344" y="175"/>
                      <a:pt x="346" y="175"/>
                    </a:cubicBezTo>
                    <a:cubicBezTo>
                      <a:pt x="346" y="175"/>
                      <a:pt x="346" y="175"/>
                      <a:pt x="347" y="173"/>
                    </a:cubicBezTo>
                    <a:cubicBezTo>
                      <a:pt x="347" y="173"/>
                      <a:pt x="347" y="173"/>
                      <a:pt x="347" y="171"/>
                    </a:cubicBezTo>
                    <a:cubicBezTo>
                      <a:pt x="347" y="171"/>
                      <a:pt x="347" y="171"/>
                      <a:pt x="347" y="170"/>
                    </a:cubicBezTo>
                    <a:cubicBezTo>
                      <a:pt x="347" y="170"/>
                      <a:pt x="347" y="170"/>
                      <a:pt x="345" y="170"/>
                    </a:cubicBezTo>
                    <a:cubicBezTo>
                      <a:pt x="345" y="170"/>
                      <a:pt x="345" y="170"/>
                      <a:pt x="345" y="169"/>
                    </a:cubicBezTo>
                    <a:cubicBezTo>
                      <a:pt x="345" y="169"/>
                      <a:pt x="345" y="169"/>
                      <a:pt x="344" y="169"/>
                    </a:cubicBezTo>
                    <a:cubicBezTo>
                      <a:pt x="344" y="169"/>
                      <a:pt x="344" y="169"/>
                      <a:pt x="343" y="170"/>
                    </a:cubicBezTo>
                    <a:cubicBezTo>
                      <a:pt x="343" y="170"/>
                      <a:pt x="343" y="170"/>
                      <a:pt x="343" y="169"/>
                    </a:cubicBezTo>
                    <a:cubicBezTo>
                      <a:pt x="343" y="169"/>
                      <a:pt x="343" y="169"/>
                      <a:pt x="344" y="168"/>
                    </a:cubicBezTo>
                    <a:cubicBezTo>
                      <a:pt x="344" y="168"/>
                      <a:pt x="344" y="168"/>
                      <a:pt x="345" y="166"/>
                    </a:cubicBezTo>
                    <a:cubicBezTo>
                      <a:pt x="345" y="166"/>
                      <a:pt x="345" y="166"/>
                      <a:pt x="345" y="168"/>
                    </a:cubicBezTo>
                    <a:cubicBezTo>
                      <a:pt x="345" y="168"/>
                      <a:pt x="345" y="168"/>
                      <a:pt x="346" y="169"/>
                    </a:cubicBezTo>
                    <a:cubicBezTo>
                      <a:pt x="346" y="169"/>
                      <a:pt x="346" y="169"/>
                      <a:pt x="347" y="169"/>
                    </a:cubicBezTo>
                    <a:cubicBezTo>
                      <a:pt x="347" y="169"/>
                      <a:pt x="347" y="169"/>
                      <a:pt x="348" y="169"/>
                    </a:cubicBezTo>
                    <a:cubicBezTo>
                      <a:pt x="348" y="169"/>
                      <a:pt x="348" y="169"/>
                      <a:pt x="349" y="171"/>
                    </a:cubicBezTo>
                    <a:cubicBezTo>
                      <a:pt x="349" y="171"/>
                      <a:pt x="349" y="171"/>
                      <a:pt x="349" y="172"/>
                    </a:cubicBezTo>
                    <a:cubicBezTo>
                      <a:pt x="349" y="172"/>
                      <a:pt x="349" y="172"/>
                      <a:pt x="351" y="172"/>
                    </a:cubicBezTo>
                    <a:cubicBezTo>
                      <a:pt x="351" y="172"/>
                      <a:pt x="351" y="172"/>
                      <a:pt x="352" y="171"/>
                    </a:cubicBezTo>
                    <a:cubicBezTo>
                      <a:pt x="352" y="171"/>
                      <a:pt x="352" y="171"/>
                      <a:pt x="353" y="172"/>
                    </a:cubicBezTo>
                    <a:cubicBezTo>
                      <a:pt x="353" y="172"/>
                      <a:pt x="353" y="172"/>
                      <a:pt x="353" y="173"/>
                    </a:cubicBezTo>
                    <a:cubicBezTo>
                      <a:pt x="353" y="173"/>
                      <a:pt x="353" y="173"/>
                      <a:pt x="355" y="173"/>
                    </a:cubicBezTo>
                    <a:cubicBezTo>
                      <a:pt x="355" y="173"/>
                      <a:pt x="355" y="173"/>
                      <a:pt x="355" y="171"/>
                    </a:cubicBezTo>
                    <a:cubicBezTo>
                      <a:pt x="355" y="171"/>
                      <a:pt x="355" y="171"/>
                      <a:pt x="355" y="170"/>
                    </a:cubicBezTo>
                    <a:cubicBezTo>
                      <a:pt x="355" y="170"/>
                      <a:pt x="355" y="170"/>
                      <a:pt x="357" y="169"/>
                    </a:cubicBezTo>
                    <a:cubicBezTo>
                      <a:pt x="357" y="169"/>
                      <a:pt x="357" y="169"/>
                      <a:pt x="355" y="168"/>
                    </a:cubicBezTo>
                    <a:cubicBezTo>
                      <a:pt x="355" y="168"/>
                      <a:pt x="355" y="168"/>
                      <a:pt x="353" y="168"/>
                    </a:cubicBezTo>
                    <a:cubicBezTo>
                      <a:pt x="353" y="168"/>
                      <a:pt x="353" y="168"/>
                      <a:pt x="351" y="168"/>
                    </a:cubicBezTo>
                    <a:cubicBezTo>
                      <a:pt x="351" y="168"/>
                      <a:pt x="351" y="168"/>
                      <a:pt x="351" y="167"/>
                    </a:cubicBezTo>
                    <a:cubicBezTo>
                      <a:pt x="351" y="167"/>
                      <a:pt x="351" y="167"/>
                      <a:pt x="350" y="167"/>
                    </a:cubicBezTo>
                    <a:cubicBezTo>
                      <a:pt x="350" y="167"/>
                      <a:pt x="350" y="167"/>
                      <a:pt x="349" y="167"/>
                    </a:cubicBezTo>
                    <a:cubicBezTo>
                      <a:pt x="349" y="167"/>
                      <a:pt x="349" y="167"/>
                      <a:pt x="348" y="168"/>
                    </a:cubicBezTo>
                    <a:cubicBezTo>
                      <a:pt x="348" y="168"/>
                      <a:pt x="348" y="168"/>
                      <a:pt x="347" y="167"/>
                    </a:cubicBezTo>
                    <a:cubicBezTo>
                      <a:pt x="347" y="167"/>
                      <a:pt x="347" y="167"/>
                      <a:pt x="347" y="166"/>
                    </a:cubicBezTo>
                    <a:cubicBezTo>
                      <a:pt x="347" y="166"/>
                      <a:pt x="347" y="166"/>
                      <a:pt x="347" y="163"/>
                    </a:cubicBezTo>
                    <a:cubicBezTo>
                      <a:pt x="347" y="163"/>
                      <a:pt x="347" y="163"/>
                      <a:pt x="347" y="162"/>
                    </a:cubicBezTo>
                    <a:cubicBezTo>
                      <a:pt x="347" y="162"/>
                      <a:pt x="347" y="162"/>
                      <a:pt x="349" y="162"/>
                    </a:cubicBezTo>
                    <a:cubicBezTo>
                      <a:pt x="349" y="162"/>
                      <a:pt x="349" y="162"/>
                      <a:pt x="346" y="159"/>
                    </a:cubicBezTo>
                    <a:cubicBezTo>
                      <a:pt x="346" y="159"/>
                      <a:pt x="346" y="159"/>
                      <a:pt x="346" y="158"/>
                    </a:cubicBezTo>
                    <a:cubicBezTo>
                      <a:pt x="346" y="158"/>
                      <a:pt x="346" y="158"/>
                      <a:pt x="345" y="158"/>
                    </a:cubicBezTo>
                    <a:cubicBezTo>
                      <a:pt x="345" y="158"/>
                      <a:pt x="345" y="158"/>
                      <a:pt x="345" y="159"/>
                    </a:cubicBezTo>
                    <a:cubicBezTo>
                      <a:pt x="345" y="159"/>
                      <a:pt x="345" y="159"/>
                      <a:pt x="344" y="158"/>
                    </a:cubicBezTo>
                    <a:cubicBezTo>
                      <a:pt x="344" y="158"/>
                      <a:pt x="344" y="158"/>
                      <a:pt x="341" y="155"/>
                    </a:cubicBezTo>
                    <a:cubicBezTo>
                      <a:pt x="341" y="155"/>
                      <a:pt x="341" y="155"/>
                      <a:pt x="342" y="153"/>
                    </a:cubicBezTo>
                    <a:cubicBezTo>
                      <a:pt x="342" y="153"/>
                      <a:pt x="342" y="153"/>
                      <a:pt x="344" y="151"/>
                    </a:cubicBezTo>
                    <a:cubicBezTo>
                      <a:pt x="344" y="151"/>
                      <a:pt x="344" y="151"/>
                      <a:pt x="344" y="147"/>
                    </a:cubicBezTo>
                    <a:cubicBezTo>
                      <a:pt x="344" y="147"/>
                      <a:pt x="344" y="147"/>
                      <a:pt x="343" y="143"/>
                    </a:cubicBezTo>
                    <a:cubicBezTo>
                      <a:pt x="343" y="143"/>
                      <a:pt x="343" y="143"/>
                      <a:pt x="342" y="139"/>
                    </a:cubicBezTo>
                    <a:cubicBezTo>
                      <a:pt x="342" y="139"/>
                      <a:pt x="342" y="139"/>
                      <a:pt x="340" y="134"/>
                    </a:cubicBezTo>
                    <a:cubicBezTo>
                      <a:pt x="340" y="134"/>
                      <a:pt x="340" y="134"/>
                      <a:pt x="339" y="131"/>
                    </a:cubicBezTo>
                    <a:cubicBezTo>
                      <a:pt x="339" y="131"/>
                      <a:pt x="339" y="131"/>
                      <a:pt x="340" y="130"/>
                    </a:cubicBezTo>
                    <a:cubicBezTo>
                      <a:pt x="340" y="130"/>
                      <a:pt x="340" y="130"/>
                      <a:pt x="341" y="131"/>
                    </a:cubicBezTo>
                    <a:cubicBezTo>
                      <a:pt x="341" y="131"/>
                      <a:pt x="341" y="131"/>
                      <a:pt x="342" y="131"/>
                    </a:cubicBezTo>
                    <a:cubicBezTo>
                      <a:pt x="342" y="131"/>
                      <a:pt x="342" y="131"/>
                      <a:pt x="342" y="130"/>
                    </a:cubicBezTo>
                    <a:cubicBezTo>
                      <a:pt x="342" y="130"/>
                      <a:pt x="342" y="130"/>
                      <a:pt x="344" y="128"/>
                    </a:cubicBezTo>
                    <a:cubicBezTo>
                      <a:pt x="344" y="128"/>
                      <a:pt x="344" y="128"/>
                      <a:pt x="344" y="127"/>
                    </a:cubicBezTo>
                    <a:cubicBezTo>
                      <a:pt x="344" y="127"/>
                      <a:pt x="344" y="127"/>
                      <a:pt x="346" y="125"/>
                    </a:cubicBezTo>
                    <a:cubicBezTo>
                      <a:pt x="346" y="125"/>
                      <a:pt x="346" y="125"/>
                      <a:pt x="348" y="123"/>
                    </a:cubicBezTo>
                    <a:cubicBezTo>
                      <a:pt x="348" y="123"/>
                      <a:pt x="348" y="123"/>
                      <a:pt x="349" y="123"/>
                    </a:cubicBezTo>
                    <a:cubicBezTo>
                      <a:pt x="349" y="123"/>
                      <a:pt x="349" y="123"/>
                      <a:pt x="351" y="124"/>
                    </a:cubicBezTo>
                    <a:cubicBezTo>
                      <a:pt x="351" y="124"/>
                      <a:pt x="351" y="124"/>
                      <a:pt x="352" y="125"/>
                    </a:cubicBezTo>
                    <a:cubicBezTo>
                      <a:pt x="352" y="125"/>
                      <a:pt x="352" y="125"/>
                      <a:pt x="354" y="126"/>
                    </a:cubicBezTo>
                    <a:cubicBezTo>
                      <a:pt x="354" y="126"/>
                      <a:pt x="354" y="126"/>
                      <a:pt x="355" y="126"/>
                    </a:cubicBezTo>
                    <a:cubicBezTo>
                      <a:pt x="355" y="126"/>
                      <a:pt x="355" y="126"/>
                      <a:pt x="356" y="127"/>
                    </a:cubicBezTo>
                    <a:cubicBezTo>
                      <a:pt x="356" y="127"/>
                      <a:pt x="356" y="127"/>
                      <a:pt x="358" y="127"/>
                    </a:cubicBezTo>
                    <a:cubicBezTo>
                      <a:pt x="358" y="127"/>
                      <a:pt x="358" y="127"/>
                      <a:pt x="360" y="125"/>
                    </a:cubicBezTo>
                    <a:cubicBezTo>
                      <a:pt x="360" y="125"/>
                      <a:pt x="360" y="125"/>
                      <a:pt x="362" y="125"/>
                    </a:cubicBezTo>
                    <a:cubicBezTo>
                      <a:pt x="362" y="125"/>
                      <a:pt x="362" y="125"/>
                      <a:pt x="363" y="124"/>
                    </a:cubicBezTo>
                    <a:cubicBezTo>
                      <a:pt x="363" y="124"/>
                      <a:pt x="363" y="124"/>
                      <a:pt x="365" y="124"/>
                    </a:cubicBezTo>
                    <a:cubicBezTo>
                      <a:pt x="365" y="124"/>
                      <a:pt x="365" y="124"/>
                      <a:pt x="367" y="123"/>
                    </a:cubicBezTo>
                    <a:cubicBezTo>
                      <a:pt x="367" y="123"/>
                      <a:pt x="367" y="123"/>
                      <a:pt x="370" y="120"/>
                    </a:cubicBezTo>
                    <a:cubicBezTo>
                      <a:pt x="370" y="120"/>
                      <a:pt x="370" y="120"/>
                      <a:pt x="372" y="118"/>
                    </a:cubicBezTo>
                    <a:cubicBezTo>
                      <a:pt x="372" y="118"/>
                      <a:pt x="372" y="118"/>
                      <a:pt x="375" y="116"/>
                    </a:cubicBezTo>
                    <a:cubicBezTo>
                      <a:pt x="375" y="116"/>
                      <a:pt x="375" y="116"/>
                      <a:pt x="379" y="114"/>
                    </a:cubicBezTo>
                    <a:cubicBezTo>
                      <a:pt x="379" y="114"/>
                      <a:pt x="379" y="114"/>
                      <a:pt x="382" y="112"/>
                    </a:cubicBezTo>
                    <a:cubicBezTo>
                      <a:pt x="382" y="112"/>
                      <a:pt x="382" y="112"/>
                      <a:pt x="384" y="110"/>
                    </a:cubicBezTo>
                    <a:cubicBezTo>
                      <a:pt x="384" y="110"/>
                      <a:pt x="384" y="110"/>
                      <a:pt x="387" y="111"/>
                    </a:cubicBezTo>
                    <a:cubicBezTo>
                      <a:pt x="387" y="111"/>
                      <a:pt x="387" y="111"/>
                      <a:pt x="388" y="111"/>
                    </a:cubicBezTo>
                    <a:cubicBezTo>
                      <a:pt x="388" y="111"/>
                      <a:pt x="388" y="111"/>
                      <a:pt x="389" y="111"/>
                    </a:cubicBezTo>
                    <a:cubicBezTo>
                      <a:pt x="389" y="111"/>
                      <a:pt x="389" y="111"/>
                      <a:pt x="388" y="110"/>
                    </a:cubicBezTo>
                    <a:cubicBezTo>
                      <a:pt x="388" y="110"/>
                      <a:pt x="388" y="110"/>
                      <a:pt x="386" y="109"/>
                    </a:cubicBezTo>
                    <a:cubicBezTo>
                      <a:pt x="386" y="109"/>
                      <a:pt x="386" y="109"/>
                      <a:pt x="387" y="109"/>
                    </a:cubicBezTo>
                    <a:cubicBezTo>
                      <a:pt x="387" y="109"/>
                      <a:pt x="387" y="109"/>
                      <a:pt x="389" y="109"/>
                    </a:cubicBezTo>
                    <a:cubicBezTo>
                      <a:pt x="389" y="109"/>
                      <a:pt x="389" y="109"/>
                      <a:pt x="390" y="110"/>
                    </a:cubicBezTo>
                    <a:cubicBezTo>
                      <a:pt x="390" y="110"/>
                      <a:pt x="390" y="110"/>
                      <a:pt x="390" y="111"/>
                    </a:cubicBezTo>
                    <a:cubicBezTo>
                      <a:pt x="390" y="111"/>
                      <a:pt x="390" y="111"/>
                      <a:pt x="392" y="111"/>
                    </a:cubicBezTo>
                    <a:cubicBezTo>
                      <a:pt x="392" y="111"/>
                      <a:pt x="392" y="111"/>
                      <a:pt x="395" y="109"/>
                    </a:cubicBezTo>
                    <a:cubicBezTo>
                      <a:pt x="395" y="109"/>
                      <a:pt x="395" y="109"/>
                      <a:pt x="395" y="110"/>
                    </a:cubicBezTo>
                    <a:cubicBezTo>
                      <a:pt x="395" y="110"/>
                      <a:pt x="395" y="110"/>
                      <a:pt x="393" y="113"/>
                    </a:cubicBezTo>
                    <a:cubicBezTo>
                      <a:pt x="393" y="113"/>
                      <a:pt x="393" y="113"/>
                      <a:pt x="393" y="115"/>
                    </a:cubicBezTo>
                    <a:cubicBezTo>
                      <a:pt x="393" y="115"/>
                      <a:pt x="393" y="115"/>
                      <a:pt x="394" y="115"/>
                    </a:cubicBezTo>
                    <a:cubicBezTo>
                      <a:pt x="394" y="115"/>
                      <a:pt x="394" y="115"/>
                      <a:pt x="395" y="113"/>
                    </a:cubicBezTo>
                    <a:cubicBezTo>
                      <a:pt x="395" y="113"/>
                      <a:pt x="395" y="113"/>
                      <a:pt x="396" y="110"/>
                    </a:cubicBezTo>
                    <a:cubicBezTo>
                      <a:pt x="396" y="110"/>
                      <a:pt x="396" y="110"/>
                      <a:pt x="397" y="109"/>
                    </a:cubicBezTo>
                    <a:cubicBezTo>
                      <a:pt x="397" y="109"/>
                      <a:pt x="397" y="109"/>
                      <a:pt x="399" y="109"/>
                    </a:cubicBezTo>
                    <a:cubicBezTo>
                      <a:pt x="399" y="109"/>
                      <a:pt x="399" y="109"/>
                      <a:pt x="400" y="108"/>
                    </a:cubicBezTo>
                    <a:cubicBezTo>
                      <a:pt x="400" y="108"/>
                      <a:pt x="400" y="108"/>
                      <a:pt x="398" y="108"/>
                    </a:cubicBezTo>
                    <a:cubicBezTo>
                      <a:pt x="398" y="108"/>
                      <a:pt x="398" y="108"/>
                      <a:pt x="398" y="107"/>
                    </a:cubicBezTo>
                    <a:cubicBezTo>
                      <a:pt x="398" y="107"/>
                      <a:pt x="398" y="107"/>
                      <a:pt x="399" y="106"/>
                    </a:cubicBezTo>
                    <a:cubicBezTo>
                      <a:pt x="399" y="106"/>
                      <a:pt x="399" y="106"/>
                      <a:pt x="400" y="105"/>
                    </a:cubicBezTo>
                    <a:cubicBezTo>
                      <a:pt x="400" y="105"/>
                      <a:pt x="400" y="105"/>
                      <a:pt x="403" y="104"/>
                    </a:cubicBezTo>
                    <a:cubicBezTo>
                      <a:pt x="403" y="104"/>
                      <a:pt x="403" y="104"/>
                      <a:pt x="404" y="103"/>
                    </a:cubicBezTo>
                    <a:cubicBezTo>
                      <a:pt x="404" y="103"/>
                      <a:pt x="404" y="103"/>
                      <a:pt x="405" y="104"/>
                    </a:cubicBezTo>
                    <a:cubicBezTo>
                      <a:pt x="405" y="104"/>
                      <a:pt x="405" y="104"/>
                      <a:pt x="404" y="104"/>
                    </a:cubicBezTo>
                    <a:cubicBezTo>
                      <a:pt x="404" y="104"/>
                      <a:pt x="404" y="104"/>
                      <a:pt x="404" y="105"/>
                    </a:cubicBezTo>
                    <a:cubicBezTo>
                      <a:pt x="404" y="105"/>
                      <a:pt x="404" y="105"/>
                      <a:pt x="404" y="106"/>
                    </a:cubicBezTo>
                    <a:cubicBezTo>
                      <a:pt x="404" y="106"/>
                      <a:pt x="404" y="106"/>
                      <a:pt x="405" y="106"/>
                    </a:cubicBezTo>
                    <a:cubicBezTo>
                      <a:pt x="405" y="106"/>
                      <a:pt x="405" y="106"/>
                      <a:pt x="405" y="105"/>
                    </a:cubicBezTo>
                    <a:cubicBezTo>
                      <a:pt x="405" y="105"/>
                      <a:pt x="405" y="105"/>
                      <a:pt x="406" y="104"/>
                    </a:cubicBezTo>
                    <a:cubicBezTo>
                      <a:pt x="406" y="104"/>
                      <a:pt x="406" y="104"/>
                      <a:pt x="407" y="105"/>
                    </a:cubicBezTo>
                    <a:cubicBezTo>
                      <a:pt x="407" y="105"/>
                      <a:pt x="407" y="105"/>
                      <a:pt x="408" y="105"/>
                    </a:cubicBezTo>
                    <a:cubicBezTo>
                      <a:pt x="408" y="105"/>
                      <a:pt x="408" y="105"/>
                      <a:pt x="409" y="105"/>
                    </a:cubicBezTo>
                    <a:cubicBezTo>
                      <a:pt x="409" y="105"/>
                      <a:pt x="409" y="105"/>
                      <a:pt x="411" y="106"/>
                    </a:cubicBezTo>
                    <a:cubicBezTo>
                      <a:pt x="411" y="106"/>
                      <a:pt x="411" y="106"/>
                      <a:pt x="413" y="106"/>
                    </a:cubicBezTo>
                    <a:cubicBezTo>
                      <a:pt x="413" y="106"/>
                      <a:pt x="413" y="106"/>
                      <a:pt x="415" y="106"/>
                    </a:cubicBezTo>
                    <a:cubicBezTo>
                      <a:pt x="415" y="106"/>
                      <a:pt x="415" y="106"/>
                      <a:pt x="418" y="103"/>
                    </a:cubicBezTo>
                    <a:cubicBezTo>
                      <a:pt x="418" y="103"/>
                      <a:pt x="418" y="103"/>
                      <a:pt x="419" y="103"/>
                    </a:cubicBezTo>
                    <a:cubicBezTo>
                      <a:pt x="419" y="103"/>
                      <a:pt x="419" y="103"/>
                      <a:pt x="421" y="103"/>
                    </a:cubicBezTo>
                    <a:cubicBezTo>
                      <a:pt x="421" y="103"/>
                      <a:pt x="421" y="103"/>
                      <a:pt x="421" y="102"/>
                    </a:cubicBezTo>
                    <a:cubicBezTo>
                      <a:pt x="421" y="102"/>
                      <a:pt x="421" y="102"/>
                      <a:pt x="424" y="101"/>
                    </a:cubicBezTo>
                    <a:cubicBezTo>
                      <a:pt x="424" y="101"/>
                      <a:pt x="424" y="101"/>
                      <a:pt x="423" y="102"/>
                    </a:cubicBezTo>
                    <a:cubicBezTo>
                      <a:pt x="423" y="102"/>
                      <a:pt x="423" y="102"/>
                      <a:pt x="424" y="103"/>
                    </a:cubicBezTo>
                    <a:cubicBezTo>
                      <a:pt x="424" y="103"/>
                      <a:pt x="424" y="103"/>
                      <a:pt x="424" y="104"/>
                    </a:cubicBezTo>
                    <a:cubicBezTo>
                      <a:pt x="424" y="104"/>
                      <a:pt x="424" y="104"/>
                      <a:pt x="425" y="104"/>
                    </a:cubicBezTo>
                    <a:cubicBezTo>
                      <a:pt x="425" y="104"/>
                      <a:pt x="425" y="104"/>
                      <a:pt x="426" y="105"/>
                    </a:cubicBezTo>
                    <a:cubicBezTo>
                      <a:pt x="426" y="105"/>
                      <a:pt x="426" y="105"/>
                      <a:pt x="426" y="106"/>
                    </a:cubicBezTo>
                    <a:cubicBezTo>
                      <a:pt x="426" y="106"/>
                      <a:pt x="426" y="106"/>
                      <a:pt x="425" y="107"/>
                    </a:cubicBezTo>
                    <a:cubicBezTo>
                      <a:pt x="425" y="107"/>
                      <a:pt x="425" y="107"/>
                      <a:pt x="423" y="108"/>
                    </a:cubicBezTo>
                    <a:cubicBezTo>
                      <a:pt x="423" y="108"/>
                      <a:pt x="423" y="108"/>
                      <a:pt x="422" y="108"/>
                    </a:cubicBezTo>
                    <a:cubicBezTo>
                      <a:pt x="422" y="108"/>
                      <a:pt x="422" y="108"/>
                      <a:pt x="420" y="107"/>
                    </a:cubicBezTo>
                    <a:cubicBezTo>
                      <a:pt x="420" y="107"/>
                      <a:pt x="420" y="107"/>
                      <a:pt x="419" y="108"/>
                    </a:cubicBezTo>
                    <a:cubicBezTo>
                      <a:pt x="419" y="108"/>
                      <a:pt x="419" y="108"/>
                      <a:pt x="418" y="109"/>
                    </a:cubicBezTo>
                    <a:cubicBezTo>
                      <a:pt x="418" y="109"/>
                      <a:pt x="418" y="109"/>
                      <a:pt x="417" y="110"/>
                    </a:cubicBezTo>
                    <a:cubicBezTo>
                      <a:pt x="417" y="110"/>
                      <a:pt x="417" y="110"/>
                      <a:pt x="419" y="110"/>
                    </a:cubicBezTo>
                    <a:cubicBezTo>
                      <a:pt x="419" y="110"/>
                      <a:pt x="419" y="110"/>
                      <a:pt x="419" y="111"/>
                    </a:cubicBezTo>
                    <a:cubicBezTo>
                      <a:pt x="419" y="111"/>
                      <a:pt x="419" y="111"/>
                      <a:pt x="419" y="113"/>
                    </a:cubicBezTo>
                    <a:cubicBezTo>
                      <a:pt x="419" y="113"/>
                      <a:pt x="419" y="113"/>
                      <a:pt x="420" y="112"/>
                    </a:cubicBezTo>
                    <a:cubicBezTo>
                      <a:pt x="420" y="112"/>
                      <a:pt x="420" y="112"/>
                      <a:pt x="421" y="111"/>
                    </a:cubicBezTo>
                    <a:cubicBezTo>
                      <a:pt x="421" y="111"/>
                      <a:pt x="421" y="111"/>
                      <a:pt x="421" y="112"/>
                    </a:cubicBezTo>
                    <a:cubicBezTo>
                      <a:pt x="421" y="112"/>
                      <a:pt x="421" y="112"/>
                      <a:pt x="421" y="113"/>
                    </a:cubicBezTo>
                    <a:cubicBezTo>
                      <a:pt x="421" y="113"/>
                      <a:pt x="421" y="113"/>
                      <a:pt x="422" y="112"/>
                    </a:cubicBezTo>
                    <a:cubicBezTo>
                      <a:pt x="422" y="112"/>
                      <a:pt x="422" y="112"/>
                      <a:pt x="423" y="112"/>
                    </a:cubicBezTo>
                    <a:cubicBezTo>
                      <a:pt x="423" y="112"/>
                      <a:pt x="423" y="112"/>
                      <a:pt x="424" y="111"/>
                    </a:cubicBezTo>
                    <a:cubicBezTo>
                      <a:pt x="424" y="111"/>
                      <a:pt x="424" y="111"/>
                      <a:pt x="423" y="110"/>
                    </a:cubicBezTo>
                    <a:cubicBezTo>
                      <a:pt x="423" y="110"/>
                      <a:pt x="423" y="110"/>
                      <a:pt x="424" y="109"/>
                    </a:cubicBezTo>
                    <a:cubicBezTo>
                      <a:pt x="424" y="109"/>
                      <a:pt x="424" y="109"/>
                      <a:pt x="425" y="109"/>
                    </a:cubicBezTo>
                    <a:cubicBezTo>
                      <a:pt x="425" y="109"/>
                      <a:pt x="425" y="109"/>
                      <a:pt x="426" y="109"/>
                    </a:cubicBezTo>
                    <a:cubicBezTo>
                      <a:pt x="426" y="109"/>
                      <a:pt x="426" y="109"/>
                      <a:pt x="426" y="108"/>
                    </a:cubicBezTo>
                    <a:cubicBezTo>
                      <a:pt x="426" y="108"/>
                      <a:pt x="426" y="108"/>
                      <a:pt x="428" y="107"/>
                    </a:cubicBezTo>
                    <a:cubicBezTo>
                      <a:pt x="428" y="107"/>
                      <a:pt x="428" y="107"/>
                      <a:pt x="429" y="108"/>
                    </a:cubicBezTo>
                    <a:cubicBezTo>
                      <a:pt x="429" y="108"/>
                      <a:pt x="429" y="108"/>
                      <a:pt x="428" y="109"/>
                    </a:cubicBezTo>
                    <a:cubicBezTo>
                      <a:pt x="428" y="109"/>
                      <a:pt x="428" y="109"/>
                      <a:pt x="428" y="110"/>
                    </a:cubicBezTo>
                    <a:cubicBezTo>
                      <a:pt x="428" y="110"/>
                      <a:pt x="428" y="110"/>
                      <a:pt x="427" y="110"/>
                    </a:cubicBezTo>
                    <a:cubicBezTo>
                      <a:pt x="427" y="110"/>
                      <a:pt x="427" y="110"/>
                      <a:pt x="427" y="111"/>
                    </a:cubicBezTo>
                    <a:cubicBezTo>
                      <a:pt x="427" y="111"/>
                      <a:pt x="427" y="111"/>
                      <a:pt x="427" y="112"/>
                    </a:cubicBezTo>
                    <a:cubicBezTo>
                      <a:pt x="427" y="112"/>
                      <a:pt x="427" y="112"/>
                      <a:pt x="427" y="113"/>
                    </a:cubicBezTo>
                    <a:cubicBezTo>
                      <a:pt x="427" y="113"/>
                      <a:pt x="427" y="113"/>
                      <a:pt x="426" y="114"/>
                    </a:cubicBezTo>
                    <a:cubicBezTo>
                      <a:pt x="426" y="114"/>
                      <a:pt x="426" y="114"/>
                      <a:pt x="427" y="115"/>
                    </a:cubicBezTo>
                    <a:cubicBezTo>
                      <a:pt x="427" y="115"/>
                      <a:pt x="427" y="115"/>
                      <a:pt x="427" y="114"/>
                    </a:cubicBezTo>
                    <a:cubicBezTo>
                      <a:pt x="427" y="114"/>
                      <a:pt x="427" y="114"/>
                      <a:pt x="428" y="113"/>
                    </a:cubicBezTo>
                    <a:cubicBezTo>
                      <a:pt x="428" y="113"/>
                      <a:pt x="428" y="113"/>
                      <a:pt x="429" y="113"/>
                    </a:cubicBezTo>
                    <a:cubicBezTo>
                      <a:pt x="429" y="113"/>
                      <a:pt x="429" y="113"/>
                      <a:pt x="430" y="113"/>
                    </a:cubicBezTo>
                    <a:cubicBezTo>
                      <a:pt x="430" y="113"/>
                      <a:pt x="430" y="113"/>
                      <a:pt x="431" y="113"/>
                    </a:cubicBezTo>
                    <a:cubicBezTo>
                      <a:pt x="431" y="113"/>
                      <a:pt x="431" y="113"/>
                      <a:pt x="432" y="114"/>
                    </a:cubicBezTo>
                    <a:cubicBezTo>
                      <a:pt x="432" y="114"/>
                      <a:pt x="432" y="114"/>
                      <a:pt x="433" y="113"/>
                    </a:cubicBezTo>
                    <a:cubicBezTo>
                      <a:pt x="433" y="113"/>
                      <a:pt x="433" y="113"/>
                      <a:pt x="434" y="114"/>
                    </a:cubicBezTo>
                    <a:cubicBezTo>
                      <a:pt x="434" y="114"/>
                      <a:pt x="434" y="114"/>
                      <a:pt x="435" y="115"/>
                    </a:cubicBezTo>
                    <a:cubicBezTo>
                      <a:pt x="435" y="115"/>
                      <a:pt x="435" y="115"/>
                      <a:pt x="435" y="114"/>
                    </a:cubicBezTo>
                    <a:cubicBezTo>
                      <a:pt x="435" y="114"/>
                      <a:pt x="435" y="114"/>
                      <a:pt x="436" y="114"/>
                    </a:cubicBezTo>
                    <a:cubicBezTo>
                      <a:pt x="436" y="114"/>
                      <a:pt x="436" y="114"/>
                      <a:pt x="437" y="116"/>
                    </a:cubicBezTo>
                    <a:cubicBezTo>
                      <a:pt x="437" y="116"/>
                      <a:pt x="437" y="116"/>
                      <a:pt x="437" y="117"/>
                    </a:cubicBezTo>
                    <a:cubicBezTo>
                      <a:pt x="437" y="117"/>
                      <a:pt x="437" y="117"/>
                      <a:pt x="436" y="117"/>
                    </a:cubicBezTo>
                    <a:cubicBezTo>
                      <a:pt x="436" y="117"/>
                      <a:pt x="436" y="117"/>
                      <a:pt x="435" y="118"/>
                    </a:cubicBezTo>
                    <a:cubicBezTo>
                      <a:pt x="435" y="118"/>
                      <a:pt x="435" y="118"/>
                      <a:pt x="434" y="119"/>
                    </a:cubicBezTo>
                    <a:cubicBezTo>
                      <a:pt x="434" y="119"/>
                      <a:pt x="434" y="119"/>
                      <a:pt x="434" y="120"/>
                    </a:cubicBezTo>
                    <a:cubicBezTo>
                      <a:pt x="434" y="120"/>
                      <a:pt x="434" y="120"/>
                      <a:pt x="437" y="122"/>
                    </a:cubicBezTo>
                    <a:cubicBezTo>
                      <a:pt x="437" y="122"/>
                      <a:pt x="437" y="122"/>
                      <a:pt x="436" y="122"/>
                    </a:cubicBezTo>
                    <a:cubicBezTo>
                      <a:pt x="436" y="122"/>
                      <a:pt x="436" y="122"/>
                      <a:pt x="435" y="123"/>
                    </a:cubicBezTo>
                    <a:cubicBezTo>
                      <a:pt x="435" y="123"/>
                      <a:pt x="435" y="123"/>
                      <a:pt x="437" y="124"/>
                    </a:cubicBezTo>
                    <a:cubicBezTo>
                      <a:pt x="437" y="124"/>
                      <a:pt x="437" y="124"/>
                      <a:pt x="437" y="125"/>
                    </a:cubicBezTo>
                    <a:cubicBezTo>
                      <a:pt x="437" y="125"/>
                      <a:pt x="437" y="125"/>
                      <a:pt x="437" y="127"/>
                    </a:cubicBezTo>
                    <a:cubicBezTo>
                      <a:pt x="437" y="127"/>
                      <a:pt x="437" y="127"/>
                      <a:pt x="437" y="129"/>
                    </a:cubicBezTo>
                    <a:cubicBezTo>
                      <a:pt x="437" y="129"/>
                      <a:pt x="437" y="129"/>
                      <a:pt x="436" y="130"/>
                    </a:cubicBezTo>
                    <a:cubicBezTo>
                      <a:pt x="436" y="130"/>
                      <a:pt x="436" y="130"/>
                      <a:pt x="438" y="129"/>
                    </a:cubicBezTo>
                    <a:cubicBezTo>
                      <a:pt x="438" y="129"/>
                      <a:pt x="438" y="129"/>
                      <a:pt x="439" y="127"/>
                    </a:cubicBezTo>
                    <a:cubicBezTo>
                      <a:pt x="439" y="127"/>
                      <a:pt x="439" y="127"/>
                      <a:pt x="441" y="127"/>
                    </a:cubicBezTo>
                    <a:cubicBezTo>
                      <a:pt x="441" y="127"/>
                      <a:pt x="441" y="127"/>
                      <a:pt x="441" y="126"/>
                    </a:cubicBezTo>
                    <a:cubicBezTo>
                      <a:pt x="441" y="126"/>
                      <a:pt x="441" y="126"/>
                      <a:pt x="442" y="126"/>
                    </a:cubicBezTo>
                    <a:cubicBezTo>
                      <a:pt x="442" y="126"/>
                      <a:pt x="442" y="126"/>
                      <a:pt x="444" y="126"/>
                    </a:cubicBezTo>
                    <a:cubicBezTo>
                      <a:pt x="444" y="126"/>
                      <a:pt x="444" y="126"/>
                      <a:pt x="446" y="126"/>
                    </a:cubicBezTo>
                    <a:cubicBezTo>
                      <a:pt x="446" y="126"/>
                      <a:pt x="446" y="126"/>
                      <a:pt x="447" y="127"/>
                    </a:cubicBezTo>
                    <a:cubicBezTo>
                      <a:pt x="447" y="127"/>
                      <a:pt x="447" y="127"/>
                      <a:pt x="448" y="127"/>
                    </a:cubicBezTo>
                    <a:cubicBezTo>
                      <a:pt x="448" y="127"/>
                      <a:pt x="448" y="127"/>
                      <a:pt x="448" y="129"/>
                    </a:cubicBezTo>
                    <a:cubicBezTo>
                      <a:pt x="448" y="129"/>
                      <a:pt x="448" y="129"/>
                      <a:pt x="446" y="130"/>
                    </a:cubicBezTo>
                    <a:cubicBezTo>
                      <a:pt x="446" y="130"/>
                      <a:pt x="446" y="130"/>
                      <a:pt x="445" y="133"/>
                    </a:cubicBezTo>
                    <a:cubicBezTo>
                      <a:pt x="445" y="133"/>
                      <a:pt x="445" y="133"/>
                      <a:pt x="448" y="131"/>
                    </a:cubicBezTo>
                    <a:cubicBezTo>
                      <a:pt x="448" y="131"/>
                      <a:pt x="448" y="131"/>
                      <a:pt x="448" y="130"/>
                    </a:cubicBezTo>
                    <a:cubicBezTo>
                      <a:pt x="448" y="130"/>
                      <a:pt x="448" y="130"/>
                      <a:pt x="449" y="130"/>
                    </a:cubicBezTo>
                    <a:cubicBezTo>
                      <a:pt x="449" y="130"/>
                      <a:pt x="449" y="130"/>
                      <a:pt x="449" y="131"/>
                    </a:cubicBezTo>
                    <a:cubicBezTo>
                      <a:pt x="449" y="131"/>
                      <a:pt x="449" y="131"/>
                      <a:pt x="450" y="132"/>
                    </a:cubicBezTo>
                    <a:cubicBezTo>
                      <a:pt x="450" y="132"/>
                      <a:pt x="450" y="132"/>
                      <a:pt x="451" y="133"/>
                    </a:cubicBezTo>
                    <a:cubicBezTo>
                      <a:pt x="451" y="133"/>
                      <a:pt x="451" y="133"/>
                      <a:pt x="451" y="134"/>
                    </a:cubicBezTo>
                    <a:cubicBezTo>
                      <a:pt x="451" y="134"/>
                      <a:pt x="451" y="134"/>
                      <a:pt x="452" y="134"/>
                    </a:cubicBezTo>
                    <a:cubicBezTo>
                      <a:pt x="452" y="134"/>
                      <a:pt x="452" y="134"/>
                      <a:pt x="453" y="134"/>
                    </a:cubicBezTo>
                    <a:cubicBezTo>
                      <a:pt x="453" y="134"/>
                      <a:pt x="453" y="134"/>
                      <a:pt x="453" y="135"/>
                    </a:cubicBezTo>
                    <a:cubicBezTo>
                      <a:pt x="453" y="135"/>
                      <a:pt x="453" y="135"/>
                      <a:pt x="453" y="136"/>
                    </a:cubicBezTo>
                    <a:cubicBezTo>
                      <a:pt x="453" y="136"/>
                      <a:pt x="453" y="136"/>
                      <a:pt x="454" y="135"/>
                    </a:cubicBezTo>
                    <a:cubicBezTo>
                      <a:pt x="454" y="135"/>
                      <a:pt x="454" y="135"/>
                      <a:pt x="455" y="136"/>
                    </a:cubicBezTo>
                    <a:cubicBezTo>
                      <a:pt x="455" y="136"/>
                      <a:pt x="455" y="136"/>
                      <a:pt x="456" y="136"/>
                    </a:cubicBezTo>
                    <a:cubicBezTo>
                      <a:pt x="456" y="136"/>
                      <a:pt x="456" y="136"/>
                      <a:pt x="457" y="136"/>
                    </a:cubicBezTo>
                    <a:cubicBezTo>
                      <a:pt x="457" y="136"/>
                      <a:pt x="457" y="136"/>
                      <a:pt x="459" y="137"/>
                    </a:cubicBezTo>
                    <a:cubicBezTo>
                      <a:pt x="459" y="137"/>
                      <a:pt x="459" y="137"/>
                      <a:pt x="460" y="138"/>
                    </a:cubicBezTo>
                    <a:cubicBezTo>
                      <a:pt x="460" y="138"/>
                      <a:pt x="460" y="138"/>
                      <a:pt x="460" y="139"/>
                    </a:cubicBezTo>
                    <a:cubicBezTo>
                      <a:pt x="460" y="139"/>
                      <a:pt x="460" y="139"/>
                      <a:pt x="461" y="139"/>
                    </a:cubicBezTo>
                    <a:cubicBezTo>
                      <a:pt x="461" y="139"/>
                      <a:pt x="461" y="139"/>
                      <a:pt x="462" y="140"/>
                    </a:cubicBezTo>
                    <a:cubicBezTo>
                      <a:pt x="462" y="140"/>
                      <a:pt x="462" y="140"/>
                      <a:pt x="461" y="140"/>
                    </a:cubicBezTo>
                    <a:cubicBezTo>
                      <a:pt x="461" y="140"/>
                      <a:pt x="461" y="140"/>
                      <a:pt x="462" y="141"/>
                    </a:cubicBezTo>
                    <a:cubicBezTo>
                      <a:pt x="462" y="141"/>
                      <a:pt x="462" y="141"/>
                      <a:pt x="463" y="140"/>
                    </a:cubicBezTo>
                    <a:cubicBezTo>
                      <a:pt x="463" y="140"/>
                      <a:pt x="463" y="140"/>
                      <a:pt x="464" y="141"/>
                    </a:cubicBezTo>
                    <a:cubicBezTo>
                      <a:pt x="464" y="141"/>
                      <a:pt x="464" y="141"/>
                      <a:pt x="464" y="142"/>
                    </a:cubicBezTo>
                    <a:cubicBezTo>
                      <a:pt x="464" y="142"/>
                      <a:pt x="464" y="142"/>
                      <a:pt x="465" y="142"/>
                    </a:cubicBezTo>
                    <a:cubicBezTo>
                      <a:pt x="465" y="142"/>
                      <a:pt x="465" y="142"/>
                      <a:pt x="466" y="143"/>
                    </a:cubicBezTo>
                    <a:cubicBezTo>
                      <a:pt x="466" y="143"/>
                      <a:pt x="466" y="143"/>
                      <a:pt x="468" y="142"/>
                    </a:cubicBezTo>
                    <a:cubicBezTo>
                      <a:pt x="468" y="142"/>
                      <a:pt x="468" y="142"/>
                      <a:pt x="469" y="142"/>
                    </a:cubicBezTo>
                    <a:cubicBezTo>
                      <a:pt x="469" y="142"/>
                      <a:pt x="469" y="142"/>
                      <a:pt x="470" y="142"/>
                    </a:cubicBezTo>
                    <a:cubicBezTo>
                      <a:pt x="470" y="142"/>
                      <a:pt x="470" y="142"/>
                      <a:pt x="472" y="142"/>
                    </a:cubicBezTo>
                    <a:cubicBezTo>
                      <a:pt x="472" y="142"/>
                      <a:pt x="472" y="142"/>
                      <a:pt x="473" y="143"/>
                    </a:cubicBezTo>
                    <a:cubicBezTo>
                      <a:pt x="473" y="143"/>
                      <a:pt x="473" y="143"/>
                      <a:pt x="473" y="144"/>
                    </a:cubicBezTo>
                    <a:cubicBezTo>
                      <a:pt x="473" y="144"/>
                      <a:pt x="473" y="144"/>
                      <a:pt x="474" y="146"/>
                    </a:cubicBezTo>
                    <a:cubicBezTo>
                      <a:pt x="474" y="146"/>
                      <a:pt x="474" y="146"/>
                      <a:pt x="475" y="147"/>
                    </a:cubicBezTo>
                    <a:cubicBezTo>
                      <a:pt x="475" y="147"/>
                      <a:pt x="475" y="147"/>
                      <a:pt x="476" y="150"/>
                    </a:cubicBezTo>
                    <a:cubicBezTo>
                      <a:pt x="476" y="150"/>
                      <a:pt x="476" y="150"/>
                      <a:pt x="476" y="151"/>
                    </a:cubicBezTo>
                    <a:cubicBezTo>
                      <a:pt x="476" y="151"/>
                      <a:pt x="476" y="151"/>
                      <a:pt x="477" y="151"/>
                    </a:cubicBezTo>
                    <a:cubicBezTo>
                      <a:pt x="477" y="151"/>
                      <a:pt x="477" y="151"/>
                      <a:pt x="479" y="151"/>
                    </a:cubicBezTo>
                    <a:cubicBezTo>
                      <a:pt x="479" y="152"/>
                      <a:pt x="479" y="152"/>
                      <a:pt x="479" y="152"/>
                    </a:cubicBezTo>
                    <a:cubicBezTo>
                      <a:pt x="480" y="152"/>
                      <a:pt x="480" y="152"/>
                      <a:pt x="480" y="152"/>
                    </a:cubicBezTo>
                    <a:cubicBezTo>
                      <a:pt x="483" y="155"/>
                      <a:pt x="483" y="155"/>
                      <a:pt x="483" y="155"/>
                    </a:cubicBezTo>
                    <a:cubicBezTo>
                      <a:pt x="484" y="155"/>
                      <a:pt x="484" y="155"/>
                      <a:pt x="484" y="155"/>
                    </a:cubicBezTo>
                    <a:cubicBezTo>
                      <a:pt x="486" y="156"/>
                      <a:pt x="486" y="156"/>
                      <a:pt x="486" y="156"/>
                    </a:cubicBezTo>
                    <a:cubicBezTo>
                      <a:pt x="486" y="157"/>
                      <a:pt x="486" y="157"/>
                      <a:pt x="486" y="157"/>
                    </a:cubicBezTo>
                    <a:cubicBezTo>
                      <a:pt x="488" y="158"/>
                      <a:pt x="488" y="158"/>
                      <a:pt x="488" y="158"/>
                    </a:cubicBezTo>
                    <a:cubicBezTo>
                      <a:pt x="488" y="159"/>
                      <a:pt x="488" y="159"/>
                      <a:pt x="488" y="159"/>
                    </a:cubicBezTo>
                    <a:cubicBezTo>
                      <a:pt x="489" y="160"/>
                      <a:pt x="489" y="160"/>
                      <a:pt x="489" y="160"/>
                    </a:cubicBezTo>
                    <a:cubicBezTo>
                      <a:pt x="489" y="161"/>
                      <a:pt x="489" y="161"/>
                      <a:pt x="489" y="161"/>
                    </a:cubicBezTo>
                    <a:cubicBezTo>
                      <a:pt x="488" y="163"/>
                      <a:pt x="488" y="163"/>
                      <a:pt x="488" y="163"/>
                    </a:cubicBezTo>
                    <a:cubicBezTo>
                      <a:pt x="489" y="164"/>
                      <a:pt x="489" y="164"/>
                      <a:pt x="489" y="164"/>
                    </a:cubicBezTo>
                    <a:cubicBezTo>
                      <a:pt x="490" y="164"/>
                      <a:pt x="490" y="164"/>
                      <a:pt x="490" y="164"/>
                    </a:cubicBezTo>
                    <a:cubicBezTo>
                      <a:pt x="490" y="166"/>
                      <a:pt x="490" y="166"/>
                      <a:pt x="490" y="166"/>
                    </a:cubicBezTo>
                    <a:cubicBezTo>
                      <a:pt x="491" y="168"/>
                      <a:pt x="491" y="168"/>
                      <a:pt x="491" y="168"/>
                    </a:cubicBezTo>
                    <a:cubicBezTo>
                      <a:pt x="493" y="170"/>
                      <a:pt x="493" y="170"/>
                      <a:pt x="493" y="170"/>
                    </a:cubicBezTo>
                    <a:cubicBezTo>
                      <a:pt x="494" y="171"/>
                      <a:pt x="494" y="171"/>
                      <a:pt x="494" y="171"/>
                    </a:cubicBezTo>
                    <a:cubicBezTo>
                      <a:pt x="495" y="171"/>
                      <a:pt x="495" y="171"/>
                      <a:pt x="495" y="171"/>
                    </a:cubicBezTo>
                    <a:cubicBezTo>
                      <a:pt x="495" y="172"/>
                      <a:pt x="495" y="172"/>
                      <a:pt x="495" y="172"/>
                    </a:cubicBezTo>
                    <a:cubicBezTo>
                      <a:pt x="496" y="172"/>
                      <a:pt x="496" y="172"/>
                      <a:pt x="496" y="172"/>
                    </a:cubicBezTo>
                    <a:cubicBezTo>
                      <a:pt x="497" y="172"/>
                      <a:pt x="497" y="172"/>
                      <a:pt x="497" y="172"/>
                    </a:cubicBezTo>
                    <a:cubicBezTo>
                      <a:pt x="498" y="174"/>
                      <a:pt x="498" y="174"/>
                      <a:pt x="498" y="174"/>
                    </a:cubicBezTo>
                    <a:cubicBezTo>
                      <a:pt x="498" y="176"/>
                      <a:pt x="498" y="176"/>
                      <a:pt x="498" y="176"/>
                    </a:cubicBezTo>
                    <a:cubicBezTo>
                      <a:pt x="499" y="176"/>
                      <a:pt x="499" y="176"/>
                      <a:pt x="499" y="176"/>
                    </a:cubicBezTo>
                    <a:cubicBezTo>
                      <a:pt x="499" y="177"/>
                      <a:pt x="499" y="177"/>
                      <a:pt x="499" y="177"/>
                    </a:cubicBezTo>
                    <a:cubicBezTo>
                      <a:pt x="500" y="177"/>
                      <a:pt x="500" y="177"/>
                      <a:pt x="500" y="177"/>
                    </a:cubicBezTo>
                    <a:cubicBezTo>
                      <a:pt x="500" y="177"/>
                      <a:pt x="500" y="177"/>
                      <a:pt x="499" y="176"/>
                    </a:cubicBezTo>
                    <a:cubicBezTo>
                      <a:pt x="499" y="176"/>
                      <a:pt x="499" y="176"/>
                      <a:pt x="499" y="175"/>
                    </a:cubicBezTo>
                    <a:cubicBezTo>
                      <a:pt x="499" y="175"/>
                      <a:pt x="499" y="175"/>
                      <a:pt x="500" y="175"/>
                    </a:cubicBezTo>
                    <a:cubicBezTo>
                      <a:pt x="500" y="175"/>
                      <a:pt x="500" y="175"/>
                      <a:pt x="498" y="173"/>
                    </a:cubicBezTo>
                    <a:cubicBezTo>
                      <a:pt x="498" y="173"/>
                      <a:pt x="498" y="173"/>
                      <a:pt x="499" y="172"/>
                    </a:cubicBezTo>
                    <a:cubicBezTo>
                      <a:pt x="499" y="172"/>
                      <a:pt x="499" y="172"/>
                      <a:pt x="500" y="173"/>
                    </a:cubicBezTo>
                    <a:cubicBezTo>
                      <a:pt x="501" y="174"/>
                      <a:pt x="501" y="174"/>
                      <a:pt x="501" y="174"/>
                    </a:cubicBezTo>
                    <a:cubicBezTo>
                      <a:pt x="501" y="174"/>
                      <a:pt x="501" y="174"/>
                      <a:pt x="502" y="174"/>
                    </a:cubicBezTo>
                    <a:cubicBezTo>
                      <a:pt x="502" y="174"/>
                      <a:pt x="502" y="174"/>
                      <a:pt x="502" y="176"/>
                    </a:cubicBezTo>
                    <a:cubicBezTo>
                      <a:pt x="502" y="176"/>
                      <a:pt x="502" y="176"/>
                      <a:pt x="503" y="178"/>
                    </a:cubicBezTo>
                    <a:cubicBezTo>
                      <a:pt x="503" y="178"/>
                      <a:pt x="503" y="178"/>
                      <a:pt x="502" y="179"/>
                    </a:cubicBezTo>
                    <a:cubicBezTo>
                      <a:pt x="502" y="180"/>
                      <a:pt x="502" y="180"/>
                      <a:pt x="502" y="180"/>
                    </a:cubicBezTo>
                    <a:cubicBezTo>
                      <a:pt x="502" y="181"/>
                      <a:pt x="502" y="181"/>
                      <a:pt x="502" y="181"/>
                    </a:cubicBezTo>
                    <a:cubicBezTo>
                      <a:pt x="501" y="183"/>
                      <a:pt x="501" y="183"/>
                      <a:pt x="501" y="183"/>
                    </a:cubicBezTo>
                    <a:cubicBezTo>
                      <a:pt x="500" y="184"/>
                      <a:pt x="500" y="184"/>
                      <a:pt x="500" y="184"/>
                    </a:cubicBezTo>
                    <a:cubicBezTo>
                      <a:pt x="503" y="182"/>
                      <a:pt x="503" y="182"/>
                      <a:pt x="503" y="182"/>
                    </a:cubicBezTo>
                    <a:cubicBezTo>
                      <a:pt x="504" y="181"/>
                      <a:pt x="504" y="181"/>
                      <a:pt x="504" y="181"/>
                    </a:cubicBezTo>
                    <a:cubicBezTo>
                      <a:pt x="504" y="180"/>
                      <a:pt x="504" y="180"/>
                      <a:pt x="504" y="180"/>
                    </a:cubicBezTo>
                    <a:cubicBezTo>
                      <a:pt x="504" y="176"/>
                      <a:pt x="504" y="176"/>
                      <a:pt x="504" y="176"/>
                    </a:cubicBezTo>
                    <a:cubicBezTo>
                      <a:pt x="504" y="174"/>
                      <a:pt x="504" y="174"/>
                      <a:pt x="504" y="174"/>
                    </a:cubicBezTo>
                    <a:cubicBezTo>
                      <a:pt x="505" y="173"/>
                      <a:pt x="505" y="173"/>
                      <a:pt x="505" y="173"/>
                    </a:cubicBezTo>
                    <a:cubicBezTo>
                      <a:pt x="507" y="172"/>
                      <a:pt x="507" y="172"/>
                      <a:pt x="507" y="172"/>
                    </a:cubicBezTo>
                    <a:cubicBezTo>
                      <a:pt x="509" y="171"/>
                      <a:pt x="509" y="171"/>
                      <a:pt x="509" y="171"/>
                    </a:cubicBezTo>
                    <a:cubicBezTo>
                      <a:pt x="510" y="170"/>
                      <a:pt x="510" y="170"/>
                      <a:pt x="510" y="170"/>
                    </a:cubicBezTo>
                    <a:cubicBezTo>
                      <a:pt x="511" y="170"/>
                      <a:pt x="511" y="170"/>
                      <a:pt x="511" y="170"/>
                    </a:cubicBezTo>
                    <a:cubicBezTo>
                      <a:pt x="512" y="169"/>
                      <a:pt x="512" y="169"/>
                      <a:pt x="512" y="169"/>
                    </a:cubicBezTo>
                    <a:cubicBezTo>
                      <a:pt x="513" y="169"/>
                      <a:pt x="513" y="169"/>
                      <a:pt x="513" y="169"/>
                    </a:cubicBezTo>
                    <a:cubicBezTo>
                      <a:pt x="515" y="169"/>
                      <a:pt x="515" y="169"/>
                      <a:pt x="515" y="169"/>
                    </a:cubicBezTo>
                    <a:cubicBezTo>
                      <a:pt x="516" y="169"/>
                      <a:pt x="516" y="169"/>
                      <a:pt x="516" y="169"/>
                    </a:cubicBezTo>
                    <a:cubicBezTo>
                      <a:pt x="517" y="169"/>
                      <a:pt x="517" y="169"/>
                      <a:pt x="517" y="169"/>
                    </a:cubicBezTo>
                    <a:cubicBezTo>
                      <a:pt x="518" y="168"/>
                      <a:pt x="518" y="168"/>
                      <a:pt x="518" y="168"/>
                    </a:cubicBezTo>
                    <a:cubicBezTo>
                      <a:pt x="519" y="166"/>
                      <a:pt x="519" y="166"/>
                      <a:pt x="519" y="166"/>
                    </a:cubicBezTo>
                    <a:cubicBezTo>
                      <a:pt x="520" y="166"/>
                      <a:pt x="520" y="166"/>
                      <a:pt x="520" y="166"/>
                    </a:cubicBezTo>
                    <a:cubicBezTo>
                      <a:pt x="521" y="166"/>
                      <a:pt x="521" y="166"/>
                      <a:pt x="521" y="166"/>
                    </a:cubicBezTo>
                    <a:cubicBezTo>
                      <a:pt x="522" y="166"/>
                      <a:pt x="522" y="166"/>
                      <a:pt x="522" y="166"/>
                    </a:cubicBezTo>
                    <a:cubicBezTo>
                      <a:pt x="521" y="165"/>
                      <a:pt x="521" y="165"/>
                      <a:pt x="521" y="165"/>
                    </a:cubicBezTo>
                    <a:cubicBezTo>
                      <a:pt x="522" y="165"/>
                      <a:pt x="522" y="165"/>
                      <a:pt x="522" y="165"/>
                    </a:cubicBezTo>
                    <a:cubicBezTo>
                      <a:pt x="523" y="166"/>
                      <a:pt x="523" y="166"/>
                      <a:pt x="523" y="166"/>
                    </a:cubicBezTo>
                    <a:cubicBezTo>
                      <a:pt x="526" y="166"/>
                      <a:pt x="526" y="166"/>
                      <a:pt x="526" y="166"/>
                    </a:cubicBezTo>
                    <a:cubicBezTo>
                      <a:pt x="529" y="165"/>
                      <a:pt x="529" y="165"/>
                      <a:pt x="529" y="165"/>
                    </a:cubicBezTo>
                    <a:cubicBezTo>
                      <a:pt x="531" y="164"/>
                      <a:pt x="531" y="164"/>
                      <a:pt x="531" y="164"/>
                    </a:cubicBezTo>
                    <a:cubicBezTo>
                      <a:pt x="532" y="165"/>
                      <a:pt x="532" y="165"/>
                      <a:pt x="532" y="165"/>
                    </a:cubicBezTo>
                    <a:cubicBezTo>
                      <a:pt x="533" y="165"/>
                      <a:pt x="533" y="165"/>
                      <a:pt x="533" y="165"/>
                    </a:cubicBezTo>
                    <a:cubicBezTo>
                      <a:pt x="533" y="163"/>
                      <a:pt x="533" y="163"/>
                      <a:pt x="533" y="163"/>
                    </a:cubicBezTo>
                    <a:cubicBezTo>
                      <a:pt x="535" y="162"/>
                      <a:pt x="535" y="162"/>
                      <a:pt x="535" y="162"/>
                    </a:cubicBezTo>
                    <a:cubicBezTo>
                      <a:pt x="536" y="162"/>
                      <a:pt x="536" y="162"/>
                      <a:pt x="536" y="162"/>
                    </a:cubicBezTo>
                    <a:cubicBezTo>
                      <a:pt x="537" y="163"/>
                      <a:pt x="537" y="163"/>
                      <a:pt x="537" y="163"/>
                    </a:cubicBezTo>
                    <a:cubicBezTo>
                      <a:pt x="538" y="164"/>
                      <a:pt x="538" y="164"/>
                      <a:pt x="538" y="164"/>
                    </a:cubicBezTo>
                    <a:cubicBezTo>
                      <a:pt x="539" y="163"/>
                      <a:pt x="539" y="163"/>
                      <a:pt x="539" y="163"/>
                    </a:cubicBezTo>
                    <a:cubicBezTo>
                      <a:pt x="539" y="162"/>
                      <a:pt x="539" y="162"/>
                      <a:pt x="539" y="162"/>
                    </a:cubicBezTo>
                    <a:cubicBezTo>
                      <a:pt x="540" y="162"/>
                      <a:pt x="540" y="162"/>
                      <a:pt x="540" y="162"/>
                    </a:cubicBezTo>
                    <a:cubicBezTo>
                      <a:pt x="540" y="164"/>
                      <a:pt x="540" y="164"/>
                      <a:pt x="540" y="164"/>
                    </a:cubicBezTo>
                    <a:cubicBezTo>
                      <a:pt x="541" y="164"/>
                      <a:pt x="541" y="164"/>
                      <a:pt x="541" y="164"/>
                    </a:cubicBezTo>
                    <a:cubicBezTo>
                      <a:pt x="540" y="165"/>
                      <a:pt x="540" y="165"/>
                      <a:pt x="540" y="165"/>
                    </a:cubicBezTo>
                    <a:cubicBezTo>
                      <a:pt x="539" y="166"/>
                      <a:pt x="539" y="166"/>
                      <a:pt x="539" y="166"/>
                    </a:cubicBezTo>
                    <a:cubicBezTo>
                      <a:pt x="537" y="167"/>
                      <a:pt x="537" y="167"/>
                      <a:pt x="537" y="167"/>
                    </a:cubicBezTo>
                    <a:cubicBezTo>
                      <a:pt x="534" y="167"/>
                      <a:pt x="534" y="167"/>
                      <a:pt x="534" y="167"/>
                    </a:cubicBezTo>
                    <a:cubicBezTo>
                      <a:pt x="533" y="168"/>
                      <a:pt x="533" y="168"/>
                      <a:pt x="533" y="168"/>
                    </a:cubicBezTo>
                    <a:cubicBezTo>
                      <a:pt x="532" y="169"/>
                      <a:pt x="532" y="169"/>
                      <a:pt x="532" y="169"/>
                    </a:cubicBezTo>
                    <a:cubicBezTo>
                      <a:pt x="531" y="169"/>
                      <a:pt x="531" y="169"/>
                      <a:pt x="531" y="169"/>
                    </a:cubicBezTo>
                    <a:cubicBezTo>
                      <a:pt x="530" y="169"/>
                      <a:pt x="530" y="169"/>
                      <a:pt x="530" y="169"/>
                    </a:cubicBezTo>
                    <a:cubicBezTo>
                      <a:pt x="529" y="169"/>
                      <a:pt x="529" y="169"/>
                      <a:pt x="529" y="169"/>
                    </a:cubicBezTo>
                    <a:cubicBezTo>
                      <a:pt x="527" y="169"/>
                      <a:pt x="527" y="169"/>
                      <a:pt x="527" y="169"/>
                    </a:cubicBezTo>
                    <a:cubicBezTo>
                      <a:pt x="525" y="169"/>
                      <a:pt x="525" y="169"/>
                      <a:pt x="525" y="169"/>
                    </a:cubicBezTo>
                    <a:cubicBezTo>
                      <a:pt x="525" y="170"/>
                      <a:pt x="525" y="170"/>
                      <a:pt x="525" y="170"/>
                    </a:cubicBezTo>
                    <a:cubicBezTo>
                      <a:pt x="522" y="170"/>
                      <a:pt x="522" y="170"/>
                      <a:pt x="522" y="170"/>
                    </a:cubicBezTo>
                    <a:cubicBezTo>
                      <a:pt x="521" y="170"/>
                      <a:pt x="521" y="170"/>
                      <a:pt x="521" y="170"/>
                    </a:cubicBezTo>
                    <a:cubicBezTo>
                      <a:pt x="520" y="172"/>
                      <a:pt x="520" y="172"/>
                      <a:pt x="520" y="172"/>
                    </a:cubicBezTo>
                    <a:cubicBezTo>
                      <a:pt x="517" y="173"/>
                      <a:pt x="517" y="173"/>
                      <a:pt x="517" y="173"/>
                    </a:cubicBezTo>
                    <a:cubicBezTo>
                      <a:pt x="517" y="172"/>
                      <a:pt x="517" y="172"/>
                      <a:pt x="517" y="172"/>
                    </a:cubicBezTo>
                    <a:cubicBezTo>
                      <a:pt x="515" y="173"/>
                      <a:pt x="515" y="173"/>
                      <a:pt x="515" y="173"/>
                    </a:cubicBezTo>
                    <a:cubicBezTo>
                      <a:pt x="515" y="174"/>
                      <a:pt x="515" y="174"/>
                      <a:pt x="515" y="174"/>
                    </a:cubicBezTo>
                    <a:cubicBezTo>
                      <a:pt x="514" y="175"/>
                      <a:pt x="514" y="175"/>
                      <a:pt x="514" y="175"/>
                    </a:cubicBezTo>
                    <a:cubicBezTo>
                      <a:pt x="514" y="174"/>
                      <a:pt x="514" y="174"/>
                      <a:pt x="514" y="174"/>
                    </a:cubicBezTo>
                    <a:cubicBezTo>
                      <a:pt x="513" y="175"/>
                      <a:pt x="513" y="175"/>
                      <a:pt x="513" y="175"/>
                    </a:cubicBezTo>
                    <a:cubicBezTo>
                      <a:pt x="512" y="176"/>
                      <a:pt x="512" y="176"/>
                      <a:pt x="512" y="176"/>
                    </a:cubicBezTo>
                    <a:cubicBezTo>
                      <a:pt x="511" y="176"/>
                      <a:pt x="511" y="176"/>
                      <a:pt x="511" y="176"/>
                    </a:cubicBezTo>
                    <a:cubicBezTo>
                      <a:pt x="510" y="177"/>
                      <a:pt x="510" y="177"/>
                      <a:pt x="510" y="177"/>
                    </a:cubicBezTo>
                    <a:cubicBezTo>
                      <a:pt x="511" y="179"/>
                      <a:pt x="511" y="179"/>
                      <a:pt x="511" y="179"/>
                    </a:cubicBezTo>
                    <a:cubicBezTo>
                      <a:pt x="513" y="180"/>
                      <a:pt x="513" y="180"/>
                      <a:pt x="513" y="180"/>
                    </a:cubicBezTo>
                    <a:cubicBezTo>
                      <a:pt x="511" y="178"/>
                      <a:pt x="511" y="178"/>
                      <a:pt x="511" y="178"/>
                    </a:cubicBezTo>
                    <a:cubicBezTo>
                      <a:pt x="513" y="178"/>
                      <a:pt x="513" y="178"/>
                      <a:pt x="513" y="178"/>
                    </a:cubicBezTo>
                    <a:cubicBezTo>
                      <a:pt x="514" y="178"/>
                      <a:pt x="514" y="178"/>
                      <a:pt x="514" y="178"/>
                    </a:cubicBezTo>
                    <a:cubicBezTo>
                      <a:pt x="514" y="177"/>
                      <a:pt x="514" y="177"/>
                      <a:pt x="514" y="177"/>
                    </a:cubicBezTo>
                    <a:cubicBezTo>
                      <a:pt x="515" y="175"/>
                      <a:pt x="515" y="175"/>
                      <a:pt x="515" y="175"/>
                    </a:cubicBezTo>
                    <a:cubicBezTo>
                      <a:pt x="518" y="175"/>
                      <a:pt x="518" y="175"/>
                      <a:pt x="518" y="175"/>
                    </a:cubicBezTo>
                    <a:cubicBezTo>
                      <a:pt x="519" y="175"/>
                      <a:pt x="519" y="175"/>
                      <a:pt x="519" y="175"/>
                    </a:cubicBezTo>
                    <a:cubicBezTo>
                      <a:pt x="522" y="173"/>
                      <a:pt x="522" y="173"/>
                      <a:pt x="522" y="173"/>
                    </a:cubicBezTo>
                    <a:cubicBezTo>
                      <a:pt x="522" y="172"/>
                      <a:pt x="522" y="172"/>
                      <a:pt x="522" y="172"/>
                    </a:cubicBezTo>
                    <a:cubicBezTo>
                      <a:pt x="523" y="171"/>
                      <a:pt x="523" y="171"/>
                      <a:pt x="523" y="171"/>
                    </a:cubicBezTo>
                    <a:cubicBezTo>
                      <a:pt x="524" y="172"/>
                      <a:pt x="524" y="172"/>
                      <a:pt x="524" y="172"/>
                    </a:cubicBezTo>
                    <a:cubicBezTo>
                      <a:pt x="525" y="172"/>
                      <a:pt x="525" y="172"/>
                      <a:pt x="525" y="172"/>
                    </a:cubicBezTo>
                    <a:cubicBezTo>
                      <a:pt x="526" y="171"/>
                      <a:pt x="526" y="171"/>
                      <a:pt x="526" y="171"/>
                    </a:cubicBezTo>
                    <a:cubicBezTo>
                      <a:pt x="526" y="172"/>
                      <a:pt x="526" y="172"/>
                      <a:pt x="526" y="172"/>
                    </a:cubicBezTo>
                    <a:cubicBezTo>
                      <a:pt x="528" y="171"/>
                      <a:pt x="528" y="171"/>
                      <a:pt x="528" y="171"/>
                    </a:cubicBezTo>
                    <a:cubicBezTo>
                      <a:pt x="527" y="173"/>
                      <a:pt x="527" y="173"/>
                      <a:pt x="527" y="173"/>
                    </a:cubicBezTo>
                    <a:cubicBezTo>
                      <a:pt x="527" y="174"/>
                      <a:pt x="527" y="174"/>
                      <a:pt x="527" y="174"/>
                    </a:cubicBezTo>
                    <a:cubicBezTo>
                      <a:pt x="528" y="172"/>
                      <a:pt x="528" y="172"/>
                      <a:pt x="528" y="172"/>
                    </a:cubicBezTo>
                    <a:cubicBezTo>
                      <a:pt x="530" y="172"/>
                      <a:pt x="530" y="172"/>
                      <a:pt x="530" y="172"/>
                    </a:cubicBezTo>
                    <a:cubicBezTo>
                      <a:pt x="534" y="169"/>
                      <a:pt x="534" y="169"/>
                      <a:pt x="534" y="169"/>
                    </a:cubicBezTo>
                    <a:cubicBezTo>
                      <a:pt x="536" y="169"/>
                      <a:pt x="536" y="169"/>
                      <a:pt x="536" y="169"/>
                    </a:cubicBezTo>
                    <a:cubicBezTo>
                      <a:pt x="537" y="168"/>
                      <a:pt x="537" y="168"/>
                      <a:pt x="537" y="168"/>
                    </a:cubicBezTo>
                    <a:cubicBezTo>
                      <a:pt x="540" y="168"/>
                      <a:pt x="540" y="168"/>
                      <a:pt x="540" y="168"/>
                    </a:cubicBezTo>
                    <a:cubicBezTo>
                      <a:pt x="541" y="167"/>
                      <a:pt x="541" y="167"/>
                      <a:pt x="541" y="167"/>
                    </a:cubicBezTo>
                    <a:cubicBezTo>
                      <a:pt x="542" y="167"/>
                      <a:pt x="542" y="167"/>
                      <a:pt x="542" y="167"/>
                    </a:cubicBezTo>
                    <a:cubicBezTo>
                      <a:pt x="541" y="169"/>
                      <a:pt x="541" y="169"/>
                      <a:pt x="541" y="169"/>
                    </a:cubicBezTo>
                    <a:cubicBezTo>
                      <a:pt x="540" y="169"/>
                      <a:pt x="540" y="169"/>
                      <a:pt x="540" y="169"/>
                    </a:cubicBezTo>
                    <a:cubicBezTo>
                      <a:pt x="540" y="170"/>
                      <a:pt x="540" y="170"/>
                      <a:pt x="540" y="170"/>
                    </a:cubicBezTo>
                    <a:cubicBezTo>
                      <a:pt x="541" y="171"/>
                      <a:pt x="541" y="171"/>
                      <a:pt x="541" y="171"/>
                    </a:cubicBezTo>
                    <a:cubicBezTo>
                      <a:pt x="542" y="169"/>
                      <a:pt x="542" y="169"/>
                      <a:pt x="542" y="169"/>
                    </a:cubicBezTo>
                    <a:cubicBezTo>
                      <a:pt x="545" y="168"/>
                      <a:pt x="545" y="168"/>
                      <a:pt x="545" y="168"/>
                    </a:cubicBezTo>
                    <a:cubicBezTo>
                      <a:pt x="546" y="168"/>
                      <a:pt x="546" y="168"/>
                      <a:pt x="546" y="168"/>
                    </a:cubicBezTo>
                    <a:cubicBezTo>
                      <a:pt x="546" y="167"/>
                      <a:pt x="546" y="167"/>
                      <a:pt x="546" y="167"/>
                    </a:cubicBezTo>
                    <a:cubicBezTo>
                      <a:pt x="547" y="166"/>
                      <a:pt x="547" y="166"/>
                      <a:pt x="547" y="166"/>
                    </a:cubicBezTo>
                    <a:cubicBezTo>
                      <a:pt x="548" y="167"/>
                      <a:pt x="548" y="167"/>
                      <a:pt x="548" y="167"/>
                    </a:cubicBezTo>
                    <a:cubicBezTo>
                      <a:pt x="548" y="166"/>
                      <a:pt x="548" y="166"/>
                      <a:pt x="548" y="166"/>
                    </a:cubicBezTo>
                    <a:cubicBezTo>
                      <a:pt x="548" y="165"/>
                      <a:pt x="548" y="165"/>
                      <a:pt x="548" y="165"/>
                    </a:cubicBezTo>
                    <a:cubicBezTo>
                      <a:pt x="549" y="166"/>
                      <a:pt x="549" y="166"/>
                      <a:pt x="549" y="166"/>
                    </a:cubicBezTo>
                    <a:cubicBezTo>
                      <a:pt x="550" y="166"/>
                      <a:pt x="550" y="166"/>
                      <a:pt x="550" y="166"/>
                    </a:cubicBezTo>
                    <a:cubicBezTo>
                      <a:pt x="550" y="164"/>
                      <a:pt x="550" y="164"/>
                      <a:pt x="550" y="164"/>
                    </a:cubicBezTo>
                    <a:cubicBezTo>
                      <a:pt x="550" y="163"/>
                      <a:pt x="550" y="163"/>
                      <a:pt x="550" y="163"/>
                    </a:cubicBezTo>
                    <a:cubicBezTo>
                      <a:pt x="551" y="162"/>
                      <a:pt x="551" y="162"/>
                      <a:pt x="551" y="162"/>
                    </a:cubicBezTo>
                    <a:cubicBezTo>
                      <a:pt x="550" y="161"/>
                      <a:pt x="550" y="161"/>
                      <a:pt x="550" y="161"/>
                    </a:cubicBezTo>
                    <a:cubicBezTo>
                      <a:pt x="551" y="160"/>
                      <a:pt x="551" y="160"/>
                      <a:pt x="551" y="160"/>
                    </a:cubicBezTo>
                    <a:cubicBezTo>
                      <a:pt x="553" y="159"/>
                      <a:pt x="553" y="159"/>
                      <a:pt x="553" y="159"/>
                    </a:cubicBezTo>
                    <a:cubicBezTo>
                      <a:pt x="553" y="160"/>
                      <a:pt x="553" y="160"/>
                      <a:pt x="553" y="160"/>
                    </a:cubicBezTo>
                    <a:cubicBezTo>
                      <a:pt x="553" y="165"/>
                      <a:pt x="553" y="165"/>
                      <a:pt x="553" y="165"/>
                    </a:cubicBezTo>
                    <a:cubicBezTo>
                      <a:pt x="552" y="167"/>
                      <a:pt x="552" y="167"/>
                      <a:pt x="552" y="167"/>
                    </a:cubicBezTo>
                    <a:cubicBezTo>
                      <a:pt x="553" y="171"/>
                      <a:pt x="553" y="171"/>
                      <a:pt x="553" y="171"/>
                    </a:cubicBezTo>
                    <a:cubicBezTo>
                      <a:pt x="551" y="173"/>
                      <a:pt x="551" y="173"/>
                      <a:pt x="551" y="173"/>
                    </a:cubicBezTo>
                    <a:cubicBezTo>
                      <a:pt x="551" y="178"/>
                      <a:pt x="551" y="178"/>
                      <a:pt x="551" y="178"/>
                    </a:cubicBezTo>
                    <a:cubicBezTo>
                      <a:pt x="552" y="180"/>
                      <a:pt x="552" y="180"/>
                      <a:pt x="552" y="180"/>
                    </a:cubicBezTo>
                    <a:cubicBezTo>
                      <a:pt x="553" y="180"/>
                      <a:pt x="553" y="180"/>
                      <a:pt x="553" y="180"/>
                    </a:cubicBezTo>
                    <a:cubicBezTo>
                      <a:pt x="554" y="182"/>
                      <a:pt x="554" y="182"/>
                      <a:pt x="554" y="182"/>
                    </a:cubicBezTo>
                    <a:cubicBezTo>
                      <a:pt x="556" y="181"/>
                      <a:pt x="556" y="181"/>
                      <a:pt x="556" y="181"/>
                    </a:cubicBezTo>
                    <a:cubicBezTo>
                      <a:pt x="555" y="180"/>
                      <a:pt x="555" y="180"/>
                      <a:pt x="555" y="180"/>
                    </a:cubicBezTo>
                    <a:cubicBezTo>
                      <a:pt x="554" y="180"/>
                      <a:pt x="554" y="180"/>
                      <a:pt x="554" y="180"/>
                    </a:cubicBezTo>
                    <a:cubicBezTo>
                      <a:pt x="554" y="179"/>
                      <a:pt x="554" y="179"/>
                      <a:pt x="554" y="179"/>
                    </a:cubicBezTo>
                    <a:cubicBezTo>
                      <a:pt x="555" y="179"/>
                      <a:pt x="555" y="179"/>
                      <a:pt x="555" y="179"/>
                    </a:cubicBezTo>
                    <a:cubicBezTo>
                      <a:pt x="556" y="179"/>
                      <a:pt x="556" y="179"/>
                      <a:pt x="556" y="179"/>
                    </a:cubicBezTo>
                    <a:cubicBezTo>
                      <a:pt x="557" y="178"/>
                      <a:pt x="557" y="178"/>
                      <a:pt x="557" y="178"/>
                    </a:cubicBezTo>
                    <a:cubicBezTo>
                      <a:pt x="556" y="178"/>
                      <a:pt x="556" y="178"/>
                      <a:pt x="556" y="178"/>
                    </a:cubicBezTo>
                    <a:cubicBezTo>
                      <a:pt x="557" y="176"/>
                      <a:pt x="557" y="176"/>
                      <a:pt x="557" y="176"/>
                    </a:cubicBezTo>
                    <a:cubicBezTo>
                      <a:pt x="559" y="177"/>
                      <a:pt x="559" y="177"/>
                      <a:pt x="559" y="177"/>
                    </a:cubicBezTo>
                    <a:cubicBezTo>
                      <a:pt x="559" y="178"/>
                      <a:pt x="559" y="178"/>
                      <a:pt x="559" y="178"/>
                    </a:cubicBezTo>
                    <a:cubicBezTo>
                      <a:pt x="560" y="177"/>
                      <a:pt x="560" y="177"/>
                      <a:pt x="560" y="177"/>
                    </a:cubicBezTo>
                    <a:cubicBezTo>
                      <a:pt x="559" y="174"/>
                      <a:pt x="559" y="174"/>
                      <a:pt x="559" y="174"/>
                    </a:cubicBezTo>
                    <a:cubicBezTo>
                      <a:pt x="560" y="174"/>
                      <a:pt x="560" y="174"/>
                      <a:pt x="560" y="174"/>
                    </a:cubicBezTo>
                    <a:cubicBezTo>
                      <a:pt x="562" y="173"/>
                      <a:pt x="562" y="173"/>
                      <a:pt x="562" y="173"/>
                    </a:cubicBezTo>
                    <a:cubicBezTo>
                      <a:pt x="562" y="172"/>
                      <a:pt x="562" y="172"/>
                      <a:pt x="562" y="172"/>
                    </a:cubicBezTo>
                    <a:cubicBezTo>
                      <a:pt x="564" y="172"/>
                      <a:pt x="564" y="172"/>
                      <a:pt x="564" y="172"/>
                    </a:cubicBezTo>
                    <a:cubicBezTo>
                      <a:pt x="564" y="173"/>
                      <a:pt x="564" y="173"/>
                      <a:pt x="564" y="173"/>
                    </a:cubicBezTo>
                    <a:cubicBezTo>
                      <a:pt x="564" y="174"/>
                      <a:pt x="564" y="174"/>
                      <a:pt x="564" y="174"/>
                    </a:cubicBezTo>
                    <a:cubicBezTo>
                      <a:pt x="563" y="175"/>
                      <a:pt x="563" y="175"/>
                      <a:pt x="563" y="175"/>
                    </a:cubicBezTo>
                    <a:cubicBezTo>
                      <a:pt x="563" y="176"/>
                      <a:pt x="563" y="176"/>
                      <a:pt x="563" y="176"/>
                    </a:cubicBezTo>
                    <a:cubicBezTo>
                      <a:pt x="562" y="177"/>
                      <a:pt x="562" y="177"/>
                      <a:pt x="562" y="177"/>
                    </a:cubicBezTo>
                    <a:cubicBezTo>
                      <a:pt x="562" y="178"/>
                      <a:pt x="562" y="178"/>
                      <a:pt x="562" y="178"/>
                    </a:cubicBezTo>
                    <a:cubicBezTo>
                      <a:pt x="563" y="178"/>
                      <a:pt x="563" y="178"/>
                      <a:pt x="563" y="178"/>
                    </a:cubicBezTo>
                    <a:cubicBezTo>
                      <a:pt x="563" y="179"/>
                      <a:pt x="563" y="179"/>
                      <a:pt x="563" y="179"/>
                    </a:cubicBezTo>
                    <a:cubicBezTo>
                      <a:pt x="562" y="179"/>
                      <a:pt x="562" y="179"/>
                      <a:pt x="562" y="179"/>
                    </a:cubicBezTo>
                    <a:cubicBezTo>
                      <a:pt x="561" y="181"/>
                      <a:pt x="561" y="181"/>
                      <a:pt x="561" y="181"/>
                    </a:cubicBezTo>
                    <a:cubicBezTo>
                      <a:pt x="560" y="180"/>
                      <a:pt x="560" y="180"/>
                      <a:pt x="560" y="180"/>
                    </a:cubicBezTo>
                    <a:cubicBezTo>
                      <a:pt x="560" y="181"/>
                      <a:pt x="560" y="181"/>
                      <a:pt x="560" y="181"/>
                    </a:cubicBezTo>
                    <a:cubicBezTo>
                      <a:pt x="559" y="182"/>
                      <a:pt x="559" y="182"/>
                      <a:pt x="559" y="182"/>
                    </a:cubicBezTo>
                    <a:cubicBezTo>
                      <a:pt x="560" y="183"/>
                      <a:pt x="560" y="183"/>
                      <a:pt x="560" y="183"/>
                    </a:cubicBezTo>
                    <a:cubicBezTo>
                      <a:pt x="561" y="183"/>
                      <a:pt x="561" y="183"/>
                      <a:pt x="561" y="183"/>
                    </a:cubicBezTo>
                    <a:cubicBezTo>
                      <a:pt x="562" y="184"/>
                      <a:pt x="562" y="184"/>
                      <a:pt x="562" y="184"/>
                    </a:cubicBezTo>
                    <a:cubicBezTo>
                      <a:pt x="563" y="184"/>
                      <a:pt x="563" y="184"/>
                      <a:pt x="563" y="184"/>
                    </a:cubicBezTo>
                    <a:cubicBezTo>
                      <a:pt x="565" y="183"/>
                      <a:pt x="565" y="183"/>
                      <a:pt x="565" y="183"/>
                    </a:cubicBezTo>
                    <a:cubicBezTo>
                      <a:pt x="566" y="183"/>
                      <a:pt x="566" y="183"/>
                      <a:pt x="566" y="183"/>
                    </a:cubicBezTo>
                    <a:cubicBezTo>
                      <a:pt x="567" y="180"/>
                      <a:pt x="567" y="180"/>
                      <a:pt x="567" y="180"/>
                    </a:cubicBezTo>
                    <a:cubicBezTo>
                      <a:pt x="569" y="179"/>
                      <a:pt x="569" y="179"/>
                      <a:pt x="569" y="179"/>
                    </a:cubicBezTo>
                    <a:cubicBezTo>
                      <a:pt x="570" y="178"/>
                      <a:pt x="570" y="178"/>
                      <a:pt x="570" y="178"/>
                    </a:cubicBezTo>
                    <a:cubicBezTo>
                      <a:pt x="571" y="179"/>
                      <a:pt x="571" y="179"/>
                      <a:pt x="571" y="179"/>
                    </a:cubicBezTo>
                    <a:cubicBezTo>
                      <a:pt x="572" y="179"/>
                      <a:pt x="572" y="179"/>
                      <a:pt x="572" y="179"/>
                    </a:cubicBezTo>
                    <a:cubicBezTo>
                      <a:pt x="573" y="180"/>
                      <a:pt x="573" y="180"/>
                      <a:pt x="573" y="180"/>
                    </a:cubicBezTo>
                    <a:cubicBezTo>
                      <a:pt x="574" y="180"/>
                      <a:pt x="574" y="180"/>
                      <a:pt x="574" y="180"/>
                    </a:cubicBezTo>
                    <a:cubicBezTo>
                      <a:pt x="576" y="181"/>
                      <a:pt x="576" y="181"/>
                      <a:pt x="576" y="181"/>
                    </a:cubicBezTo>
                    <a:cubicBezTo>
                      <a:pt x="577" y="181"/>
                      <a:pt x="577" y="181"/>
                      <a:pt x="577" y="181"/>
                    </a:cubicBezTo>
                    <a:cubicBezTo>
                      <a:pt x="577" y="183"/>
                      <a:pt x="577" y="183"/>
                      <a:pt x="577" y="183"/>
                    </a:cubicBezTo>
                    <a:cubicBezTo>
                      <a:pt x="578" y="186"/>
                      <a:pt x="578" y="186"/>
                      <a:pt x="578" y="186"/>
                    </a:cubicBezTo>
                    <a:cubicBezTo>
                      <a:pt x="578" y="187"/>
                      <a:pt x="578" y="187"/>
                      <a:pt x="578" y="187"/>
                    </a:cubicBezTo>
                    <a:cubicBezTo>
                      <a:pt x="579" y="189"/>
                      <a:pt x="579" y="189"/>
                      <a:pt x="579" y="189"/>
                    </a:cubicBezTo>
                    <a:cubicBezTo>
                      <a:pt x="584" y="193"/>
                      <a:pt x="584" y="193"/>
                      <a:pt x="584" y="193"/>
                    </a:cubicBezTo>
                    <a:cubicBezTo>
                      <a:pt x="585" y="194"/>
                      <a:pt x="585" y="194"/>
                      <a:pt x="585" y="194"/>
                    </a:cubicBezTo>
                    <a:cubicBezTo>
                      <a:pt x="586" y="195"/>
                      <a:pt x="586" y="195"/>
                      <a:pt x="586" y="195"/>
                    </a:cubicBezTo>
                    <a:cubicBezTo>
                      <a:pt x="588" y="197"/>
                      <a:pt x="588" y="197"/>
                      <a:pt x="588" y="197"/>
                    </a:cubicBezTo>
                    <a:cubicBezTo>
                      <a:pt x="589" y="197"/>
                      <a:pt x="589" y="197"/>
                      <a:pt x="589" y="197"/>
                    </a:cubicBezTo>
                    <a:cubicBezTo>
                      <a:pt x="590" y="197"/>
                      <a:pt x="590" y="197"/>
                      <a:pt x="590" y="197"/>
                    </a:cubicBezTo>
                    <a:cubicBezTo>
                      <a:pt x="591" y="199"/>
                      <a:pt x="591" y="199"/>
                      <a:pt x="591" y="199"/>
                    </a:cubicBezTo>
                    <a:cubicBezTo>
                      <a:pt x="592" y="198"/>
                      <a:pt x="592" y="198"/>
                      <a:pt x="592" y="198"/>
                    </a:cubicBezTo>
                    <a:cubicBezTo>
                      <a:pt x="592" y="199"/>
                      <a:pt x="592" y="199"/>
                      <a:pt x="592" y="199"/>
                    </a:cubicBezTo>
                    <a:cubicBezTo>
                      <a:pt x="594" y="200"/>
                      <a:pt x="594" y="200"/>
                      <a:pt x="594" y="200"/>
                    </a:cubicBezTo>
                    <a:cubicBezTo>
                      <a:pt x="595" y="200"/>
                      <a:pt x="595" y="200"/>
                      <a:pt x="595" y="200"/>
                    </a:cubicBezTo>
                    <a:cubicBezTo>
                      <a:pt x="595" y="202"/>
                      <a:pt x="595" y="202"/>
                      <a:pt x="595" y="202"/>
                    </a:cubicBezTo>
                    <a:cubicBezTo>
                      <a:pt x="596" y="203"/>
                      <a:pt x="596" y="203"/>
                      <a:pt x="596" y="203"/>
                    </a:cubicBezTo>
                    <a:cubicBezTo>
                      <a:pt x="597" y="202"/>
                      <a:pt x="597" y="202"/>
                      <a:pt x="597" y="202"/>
                    </a:cubicBezTo>
                    <a:cubicBezTo>
                      <a:pt x="596" y="201"/>
                      <a:pt x="596" y="201"/>
                      <a:pt x="596" y="201"/>
                    </a:cubicBezTo>
                    <a:cubicBezTo>
                      <a:pt x="596" y="200"/>
                      <a:pt x="596" y="200"/>
                      <a:pt x="596" y="200"/>
                    </a:cubicBezTo>
                    <a:cubicBezTo>
                      <a:pt x="595" y="199"/>
                      <a:pt x="595" y="199"/>
                      <a:pt x="595" y="199"/>
                    </a:cubicBezTo>
                    <a:cubicBezTo>
                      <a:pt x="597" y="200"/>
                      <a:pt x="597" y="200"/>
                      <a:pt x="597" y="200"/>
                    </a:cubicBezTo>
                    <a:cubicBezTo>
                      <a:pt x="598" y="200"/>
                      <a:pt x="598" y="200"/>
                      <a:pt x="598" y="200"/>
                    </a:cubicBezTo>
                    <a:cubicBezTo>
                      <a:pt x="598" y="199"/>
                      <a:pt x="598" y="199"/>
                      <a:pt x="598" y="199"/>
                    </a:cubicBezTo>
                    <a:cubicBezTo>
                      <a:pt x="599" y="199"/>
                      <a:pt x="599" y="199"/>
                      <a:pt x="599" y="199"/>
                    </a:cubicBezTo>
                    <a:cubicBezTo>
                      <a:pt x="601" y="201"/>
                      <a:pt x="601" y="201"/>
                      <a:pt x="601" y="201"/>
                    </a:cubicBezTo>
                    <a:cubicBezTo>
                      <a:pt x="601" y="202"/>
                      <a:pt x="601" y="202"/>
                      <a:pt x="601" y="202"/>
                    </a:cubicBezTo>
                    <a:cubicBezTo>
                      <a:pt x="602" y="202"/>
                      <a:pt x="602" y="202"/>
                      <a:pt x="602" y="202"/>
                    </a:cubicBezTo>
                    <a:cubicBezTo>
                      <a:pt x="602" y="204"/>
                      <a:pt x="602" y="204"/>
                      <a:pt x="602" y="204"/>
                    </a:cubicBezTo>
                    <a:cubicBezTo>
                      <a:pt x="603" y="205"/>
                      <a:pt x="603" y="205"/>
                      <a:pt x="603" y="205"/>
                    </a:cubicBezTo>
                    <a:cubicBezTo>
                      <a:pt x="603" y="206"/>
                      <a:pt x="603" y="206"/>
                      <a:pt x="603" y="206"/>
                    </a:cubicBezTo>
                    <a:cubicBezTo>
                      <a:pt x="604" y="208"/>
                      <a:pt x="604" y="208"/>
                      <a:pt x="604" y="208"/>
                    </a:cubicBezTo>
                    <a:cubicBezTo>
                      <a:pt x="603" y="209"/>
                      <a:pt x="603" y="209"/>
                      <a:pt x="603" y="209"/>
                    </a:cubicBezTo>
                    <a:cubicBezTo>
                      <a:pt x="603" y="210"/>
                      <a:pt x="603" y="210"/>
                      <a:pt x="603" y="210"/>
                    </a:cubicBezTo>
                    <a:cubicBezTo>
                      <a:pt x="602" y="212"/>
                      <a:pt x="602" y="212"/>
                      <a:pt x="602" y="212"/>
                    </a:cubicBezTo>
                    <a:cubicBezTo>
                      <a:pt x="599" y="211"/>
                      <a:pt x="599" y="211"/>
                      <a:pt x="599" y="211"/>
                    </a:cubicBezTo>
                    <a:cubicBezTo>
                      <a:pt x="598" y="211"/>
                      <a:pt x="598" y="211"/>
                      <a:pt x="598" y="211"/>
                    </a:cubicBezTo>
                    <a:cubicBezTo>
                      <a:pt x="597" y="212"/>
                      <a:pt x="597" y="212"/>
                      <a:pt x="597" y="212"/>
                    </a:cubicBezTo>
                    <a:cubicBezTo>
                      <a:pt x="595" y="211"/>
                      <a:pt x="595" y="211"/>
                      <a:pt x="595" y="211"/>
                    </a:cubicBezTo>
                    <a:cubicBezTo>
                      <a:pt x="594" y="211"/>
                      <a:pt x="594" y="211"/>
                      <a:pt x="594" y="211"/>
                    </a:cubicBezTo>
                    <a:cubicBezTo>
                      <a:pt x="595" y="212"/>
                      <a:pt x="595" y="212"/>
                      <a:pt x="595" y="212"/>
                    </a:cubicBezTo>
                    <a:cubicBezTo>
                      <a:pt x="594" y="213"/>
                      <a:pt x="594" y="213"/>
                      <a:pt x="594" y="213"/>
                    </a:cubicBezTo>
                    <a:cubicBezTo>
                      <a:pt x="594" y="214"/>
                      <a:pt x="594" y="214"/>
                      <a:pt x="594" y="214"/>
                    </a:cubicBezTo>
                    <a:cubicBezTo>
                      <a:pt x="592" y="214"/>
                      <a:pt x="592" y="214"/>
                      <a:pt x="592" y="214"/>
                    </a:cubicBezTo>
                    <a:cubicBezTo>
                      <a:pt x="591" y="214"/>
                      <a:pt x="591" y="214"/>
                      <a:pt x="591" y="214"/>
                    </a:cubicBezTo>
                    <a:cubicBezTo>
                      <a:pt x="592" y="215"/>
                      <a:pt x="592" y="215"/>
                      <a:pt x="592" y="215"/>
                    </a:cubicBezTo>
                    <a:cubicBezTo>
                      <a:pt x="593" y="215"/>
                      <a:pt x="593" y="215"/>
                      <a:pt x="593" y="215"/>
                    </a:cubicBezTo>
                    <a:cubicBezTo>
                      <a:pt x="593" y="217"/>
                      <a:pt x="593" y="217"/>
                      <a:pt x="593" y="217"/>
                    </a:cubicBezTo>
                    <a:cubicBezTo>
                      <a:pt x="594" y="218"/>
                      <a:pt x="594" y="218"/>
                      <a:pt x="594" y="218"/>
                    </a:cubicBezTo>
                    <a:cubicBezTo>
                      <a:pt x="595" y="217"/>
                      <a:pt x="595" y="217"/>
                      <a:pt x="595" y="217"/>
                    </a:cubicBezTo>
                    <a:cubicBezTo>
                      <a:pt x="596" y="218"/>
                      <a:pt x="596" y="218"/>
                      <a:pt x="596" y="218"/>
                    </a:cubicBezTo>
                    <a:cubicBezTo>
                      <a:pt x="596" y="219"/>
                      <a:pt x="596" y="219"/>
                      <a:pt x="596" y="219"/>
                    </a:cubicBezTo>
                    <a:cubicBezTo>
                      <a:pt x="598" y="219"/>
                      <a:pt x="598" y="219"/>
                      <a:pt x="598" y="219"/>
                    </a:cubicBezTo>
                    <a:cubicBezTo>
                      <a:pt x="600" y="220"/>
                      <a:pt x="600" y="220"/>
                      <a:pt x="600" y="220"/>
                    </a:cubicBezTo>
                    <a:cubicBezTo>
                      <a:pt x="602" y="221"/>
                      <a:pt x="602" y="221"/>
                      <a:pt x="602" y="221"/>
                    </a:cubicBezTo>
                    <a:cubicBezTo>
                      <a:pt x="605" y="222"/>
                      <a:pt x="605" y="222"/>
                      <a:pt x="605" y="222"/>
                    </a:cubicBezTo>
                    <a:cubicBezTo>
                      <a:pt x="606" y="222"/>
                      <a:pt x="606" y="222"/>
                      <a:pt x="606" y="222"/>
                    </a:cubicBezTo>
                    <a:cubicBezTo>
                      <a:pt x="606" y="221"/>
                      <a:pt x="606" y="221"/>
                      <a:pt x="606" y="221"/>
                    </a:cubicBezTo>
                    <a:cubicBezTo>
                      <a:pt x="607" y="221"/>
                      <a:pt x="607" y="221"/>
                      <a:pt x="607" y="221"/>
                    </a:cubicBezTo>
                    <a:cubicBezTo>
                      <a:pt x="608" y="222"/>
                      <a:pt x="608" y="222"/>
                      <a:pt x="608" y="222"/>
                    </a:cubicBezTo>
                    <a:cubicBezTo>
                      <a:pt x="608" y="223"/>
                      <a:pt x="608" y="223"/>
                      <a:pt x="608" y="223"/>
                    </a:cubicBezTo>
                    <a:cubicBezTo>
                      <a:pt x="610" y="221"/>
                      <a:pt x="610" y="221"/>
                      <a:pt x="610" y="221"/>
                    </a:cubicBezTo>
                    <a:cubicBezTo>
                      <a:pt x="611" y="222"/>
                      <a:pt x="611" y="222"/>
                      <a:pt x="611" y="222"/>
                    </a:cubicBezTo>
                    <a:cubicBezTo>
                      <a:pt x="612" y="221"/>
                      <a:pt x="612" y="221"/>
                      <a:pt x="612" y="221"/>
                    </a:cubicBezTo>
                    <a:cubicBezTo>
                      <a:pt x="613" y="221"/>
                      <a:pt x="613" y="221"/>
                      <a:pt x="613" y="221"/>
                    </a:cubicBezTo>
                    <a:cubicBezTo>
                      <a:pt x="613" y="222"/>
                      <a:pt x="613" y="222"/>
                      <a:pt x="613" y="222"/>
                    </a:cubicBezTo>
                    <a:cubicBezTo>
                      <a:pt x="615" y="221"/>
                      <a:pt x="615" y="221"/>
                      <a:pt x="615" y="221"/>
                    </a:cubicBezTo>
                    <a:cubicBezTo>
                      <a:pt x="619" y="220"/>
                      <a:pt x="619" y="220"/>
                      <a:pt x="619" y="220"/>
                    </a:cubicBezTo>
                    <a:cubicBezTo>
                      <a:pt x="620" y="219"/>
                      <a:pt x="620" y="219"/>
                      <a:pt x="620" y="219"/>
                    </a:cubicBezTo>
                    <a:cubicBezTo>
                      <a:pt x="620" y="220"/>
                      <a:pt x="620" y="220"/>
                      <a:pt x="620" y="220"/>
                    </a:cubicBezTo>
                    <a:cubicBezTo>
                      <a:pt x="619" y="221"/>
                      <a:pt x="619" y="221"/>
                      <a:pt x="619" y="221"/>
                    </a:cubicBezTo>
                    <a:cubicBezTo>
                      <a:pt x="619" y="222"/>
                      <a:pt x="619" y="222"/>
                      <a:pt x="619" y="222"/>
                    </a:cubicBezTo>
                    <a:cubicBezTo>
                      <a:pt x="620" y="222"/>
                      <a:pt x="620" y="222"/>
                      <a:pt x="620" y="222"/>
                    </a:cubicBezTo>
                    <a:cubicBezTo>
                      <a:pt x="620" y="223"/>
                      <a:pt x="620" y="223"/>
                      <a:pt x="620" y="223"/>
                    </a:cubicBezTo>
                    <a:cubicBezTo>
                      <a:pt x="620" y="224"/>
                      <a:pt x="620" y="224"/>
                      <a:pt x="620" y="224"/>
                    </a:cubicBezTo>
                    <a:cubicBezTo>
                      <a:pt x="620" y="225"/>
                      <a:pt x="620" y="225"/>
                      <a:pt x="620" y="225"/>
                    </a:cubicBezTo>
                    <a:cubicBezTo>
                      <a:pt x="621" y="225"/>
                      <a:pt x="621" y="225"/>
                      <a:pt x="621" y="225"/>
                    </a:cubicBezTo>
                    <a:cubicBezTo>
                      <a:pt x="621" y="224"/>
                      <a:pt x="621" y="224"/>
                      <a:pt x="621" y="224"/>
                    </a:cubicBezTo>
                    <a:cubicBezTo>
                      <a:pt x="622" y="225"/>
                      <a:pt x="622" y="225"/>
                      <a:pt x="622" y="225"/>
                    </a:cubicBezTo>
                    <a:cubicBezTo>
                      <a:pt x="622" y="226"/>
                      <a:pt x="622" y="226"/>
                      <a:pt x="622" y="226"/>
                    </a:cubicBezTo>
                    <a:cubicBezTo>
                      <a:pt x="621" y="228"/>
                      <a:pt x="621" y="228"/>
                      <a:pt x="621" y="228"/>
                    </a:cubicBezTo>
                    <a:cubicBezTo>
                      <a:pt x="621" y="229"/>
                      <a:pt x="621" y="229"/>
                      <a:pt x="621" y="229"/>
                    </a:cubicBezTo>
                    <a:cubicBezTo>
                      <a:pt x="622" y="229"/>
                      <a:pt x="622" y="229"/>
                      <a:pt x="622" y="229"/>
                    </a:cubicBezTo>
                    <a:cubicBezTo>
                      <a:pt x="623" y="228"/>
                      <a:pt x="623" y="228"/>
                      <a:pt x="623" y="228"/>
                    </a:cubicBezTo>
                    <a:cubicBezTo>
                      <a:pt x="623" y="227"/>
                      <a:pt x="623" y="227"/>
                      <a:pt x="623" y="227"/>
                    </a:cubicBezTo>
                    <a:cubicBezTo>
                      <a:pt x="623" y="226"/>
                      <a:pt x="623" y="226"/>
                      <a:pt x="623" y="226"/>
                    </a:cubicBezTo>
                    <a:cubicBezTo>
                      <a:pt x="624" y="226"/>
                      <a:pt x="624" y="226"/>
                      <a:pt x="624" y="226"/>
                    </a:cubicBezTo>
                    <a:cubicBezTo>
                      <a:pt x="624" y="228"/>
                      <a:pt x="624" y="228"/>
                      <a:pt x="624" y="228"/>
                    </a:cubicBezTo>
                    <a:cubicBezTo>
                      <a:pt x="623" y="230"/>
                      <a:pt x="623" y="230"/>
                      <a:pt x="623" y="230"/>
                    </a:cubicBezTo>
                    <a:cubicBezTo>
                      <a:pt x="622" y="231"/>
                      <a:pt x="622" y="231"/>
                      <a:pt x="622" y="231"/>
                    </a:cubicBezTo>
                    <a:cubicBezTo>
                      <a:pt x="622" y="233"/>
                      <a:pt x="622" y="233"/>
                      <a:pt x="622" y="233"/>
                    </a:cubicBezTo>
                    <a:cubicBezTo>
                      <a:pt x="623" y="235"/>
                      <a:pt x="623" y="235"/>
                      <a:pt x="623" y="235"/>
                    </a:cubicBezTo>
                    <a:cubicBezTo>
                      <a:pt x="623" y="237"/>
                      <a:pt x="623" y="237"/>
                      <a:pt x="623" y="237"/>
                    </a:cubicBezTo>
                    <a:cubicBezTo>
                      <a:pt x="622" y="239"/>
                      <a:pt x="622" y="239"/>
                      <a:pt x="622" y="239"/>
                    </a:cubicBezTo>
                    <a:cubicBezTo>
                      <a:pt x="623" y="239"/>
                      <a:pt x="623" y="239"/>
                      <a:pt x="623" y="239"/>
                    </a:cubicBezTo>
                    <a:cubicBezTo>
                      <a:pt x="623" y="240"/>
                      <a:pt x="623" y="240"/>
                      <a:pt x="623" y="240"/>
                    </a:cubicBezTo>
                    <a:cubicBezTo>
                      <a:pt x="623" y="241"/>
                      <a:pt x="623" y="241"/>
                      <a:pt x="623" y="241"/>
                    </a:cubicBezTo>
                    <a:cubicBezTo>
                      <a:pt x="623" y="242"/>
                      <a:pt x="623" y="242"/>
                      <a:pt x="623" y="242"/>
                    </a:cubicBezTo>
                    <a:cubicBezTo>
                      <a:pt x="624" y="244"/>
                      <a:pt x="624" y="244"/>
                      <a:pt x="624" y="244"/>
                    </a:cubicBezTo>
                    <a:cubicBezTo>
                      <a:pt x="624" y="241"/>
                      <a:pt x="624" y="241"/>
                      <a:pt x="624" y="241"/>
                    </a:cubicBezTo>
                    <a:cubicBezTo>
                      <a:pt x="624" y="238"/>
                      <a:pt x="624" y="238"/>
                      <a:pt x="624" y="238"/>
                    </a:cubicBezTo>
                    <a:cubicBezTo>
                      <a:pt x="626" y="235"/>
                      <a:pt x="626" y="235"/>
                      <a:pt x="626" y="235"/>
                    </a:cubicBezTo>
                    <a:cubicBezTo>
                      <a:pt x="626" y="237"/>
                      <a:pt x="626" y="237"/>
                      <a:pt x="626" y="237"/>
                    </a:cubicBezTo>
                    <a:cubicBezTo>
                      <a:pt x="626" y="238"/>
                      <a:pt x="626" y="238"/>
                      <a:pt x="626" y="238"/>
                    </a:cubicBezTo>
                    <a:cubicBezTo>
                      <a:pt x="627" y="237"/>
                      <a:pt x="627" y="237"/>
                      <a:pt x="627" y="237"/>
                    </a:cubicBezTo>
                    <a:cubicBezTo>
                      <a:pt x="627" y="238"/>
                      <a:pt x="627" y="238"/>
                      <a:pt x="627" y="238"/>
                    </a:cubicBezTo>
                    <a:cubicBezTo>
                      <a:pt x="628" y="237"/>
                      <a:pt x="628" y="237"/>
                      <a:pt x="628" y="237"/>
                    </a:cubicBezTo>
                    <a:cubicBezTo>
                      <a:pt x="628" y="236"/>
                      <a:pt x="628" y="236"/>
                      <a:pt x="628" y="236"/>
                    </a:cubicBezTo>
                    <a:cubicBezTo>
                      <a:pt x="627" y="235"/>
                      <a:pt x="627" y="235"/>
                      <a:pt x="627" y="235"/>
                    </a:cubicBezTo>
                    <a:cubicBezTo>
                      <a:pt x="627" y="234"/>
                      <a:pt x="627" y="234"/>
                      <a:pt x="627" y="234"/>
                    </a:cubicBezTo>
                    <a:cubicBezTo>
                      <a:pt x="628" y="234"/>
                      <a:pt x="628" y="234"/>
                      <a:pt x="628" y="234"/>
                    </a:cubicBezTo>
                    <a:cubicBezTo>
                      <a:pt x="629" y="233"/>
                      <a:pt x="629" y="233"/>
                      <a:pt x="629" y="233"/>
                    </a:cubicBezTo>
                    <a:cubicBezTo>
                      <a:pt x="628" y="232"/>
                      <a:pt x="628" y="232"/>
                      <a:pt x="628" y="232"/>
                    </a:cubicBezTo>
                    <a:cubicBezTo>
                      <a:pt x="628" y="229"/>
                      <a:pt x="628" y="229"/>
                      <a:pt x="628" y="229"/>
                    </a:cubicBezTo>
                    <a:cubicBezTo>
                      <a:pt x="629" y="226"/>
                      <a:pt x="629" y="226"/>
                      <a:pt x="629" y="226"/>
                    </a:cubicBezTo>
                    <a:cubicBezTo>
                      <a:pt x="629" y="225"/>
                      <a:pt x="629" y="225"/>
                      <a:pt x="629" y="225"/>
                    </a:cubicBezTo>
                    <a:cubicBezTo>
                      <a:pt x="629" y="224"/>
                      <a:pt x="629" y="224"/>
                      <a:pt x="629" y="224"/>
                    </a:cubicBezTo>
                    <a:cubicBezTo>
                      <a:pt x="630" y="223"/>
                      <a:pt x="630" y="223"/>
                      <a:pt x="630" y="223"/>
                    </a:cubicBezTo>
                    <a:cubicBezTo>
                      <a:pt x="632" y="223"/>
                      <a:pt x="632" y="223"/>
                      <a:pt x="632" y="223"/>
                    </a:cubicBezTo>
                    <a:cubicBezTo>
                      <a:pt x="632" y="222"/>
                      <a:pt x="632" y="222"/>
                      <a:pt x="632" y="222"/>
                    </a:cubicBezTo>
                    <a:cubicBezTo>
                      <a:pt x="633" y="222"/>
                      <a:pt x="633" y="222"/>
                      <a:pt x="633" y="222"/>
                    </a:cubicBezTo>
                    <a:cubicBezTo>
                      <a:pt x="634" y="223"/>
                      <a:pt x="634" y="223"/>
                      <a:pt x="634" y="223"/>
                    </a:cubicBezTo>
                    <a:cubicBezTo>
                      <a:pt x="635" y="222"/>
                      <a:pt x="635" y="222"/>
                      <a:pt x="635" y="222"/>
                    </a:cubicBezTo>
                    <a:cubicBezTo>
                      <a:pt x="635" y="221"/>
                      <a:pt x="635" y="221"/>
                      <a:pt x="635" y="221"/>
                    </a:cubicBezTo>
                    <a:cubicBezTo>
                      <a:pt x="636" y="221"/>
                      <a:pt x="636" y="221"/>
                      <a:pt x="636" y="221"/>
                    </a:cubicBezTo>
                    <a:cubicBezTo>
                      <a:pt x="636" y="222"/>
                      <a:pt x="636" y="222"/>
                      <a:pt x="636" y="222"/>
                    </a:cubicBezTo>
                    <a:cubicBezTo>
                      <a:pt x="637" y="222"/>
                      <a:pt x="637" y="222"/>
                      <a:pt x="637" y="222"/>
                    </a:cubicBezTo>
                    <a:cubicBezTo>
                      <a:pt x="638" y="221"/>
                      <a:pt x="638" y="221"/>
                      <a:pt x="638" y="221"/>
                    </a:cubicBezTo>
                    <a:cubicBezTo>
                      <a:pt x="639" y="220"/>
                      <a:pt x="639" y="220"/>
                      <a:pt x="639" y="220"/>
                    </a:cubicBezTo>
                    <a:cubicBezTo>
                      <a:pt x="640" y="221"/>
                      <a:pt x="640" y="221"/>
                      <a:pt x="640" y="221"/>
                    </a:cubicBezTo>
                    <a:cubicBezTo>
                      <a:pt x="641" y="223"/>
                      <a:pt x="641" y="223"/>
                      <a:pt x="641" y="223"/>
                    </a:cubicBezTo>
                    <a:cubicBezTo>
                      <a:pt x="641" y="221"/>
                      <a:pt x="641" y="221"/>
                      <a:pt x="641" y="221"/>
                    </a:cubicBezTo>
                    <a:cubicBezTo>
                      <a:pt x="640" y="220"/>
                      <a:pt x="640" y="220"/>
                      <a:pt x="640" y="220"/>
                    </a:cubicBezTo>
                    <a:cubicBezTo>
                      <a:pt x="641" y="218"/>
                      <a:pt x="641" y="218"/>
                      <a:pt x="641" y="218"/>
                    </a:cubicBezTo>
                    <a:cubicBezTo>
                      <a:pt x="642" y="218"/>
                      <a:pt x="642" y="218"/>
                      <a:pt x="642" y="218"/>
                    </a:cubicBezTo>
                    <a:cubicBezTo>
                      <a:pt x="643" y="218"/>
                      <a:pt x="643" y="218"/>
                      <a:pt x="643" y="218"/>
                    </a:cubicBezTo>
                    <a:cubicBezTo>
                      <a:pt x="644" y="218"/>
                      <a:pt x="644" y="218"/>
                      <a:pt x="644" y="218"/>
                    </a:cubicBezTo>
                    <a:cubicBezTo>
                      <a:pt x="645" y="218"/>
                      <a:pt x="645" y="218"/>
                      <a:pt x="645" y="218"/>
                    </a:cubicBezTo>
                    <a:cubicBezTo>
                      <a:pt x="646" y="217"/>
                      <a:pt x="646" y="217"/>
                      <a:pt x="646" y="217"/>
                    </a:cubicBezTo>
                    <a:cubicBezTo>
                      <a:pt x="646" y="216"/>
                      <a:pt x="646" y="216"/>
                      <a:pt x="646" y="216"/>
                    </a:cubicBezTo>
                    <a:cubicBezTo>
                      <a:pt x="647" y="215"/>
                      <a:pt x="647" y="215"/>
                      <a:pt x="647" y="215"/>
                    </a:cubicBezTo>
                    <a:cubicBezTo>
                      <a:pt x="646" y="215"/>
                      <a:pt x="646" y="215"/>
                      <a:pt x="646" y="215"/>
                    </a:cubicBezTo>
                    <a:cubicBezTo>
                      <a:pt x="645" y="215"/>
                      <a:pt x="645" y="215"/>
                      <a:pt x="645" y="215"/>
                    </a:cubicBezTo>
                    <a:cubicBezTo>
                      <a:pt x="642" y="216"/>
                      <a:pt x="642" y="216"/>
                      <a:pt x="642" y="216"/>
                    </a:cubicBezTo>
                    <a:cubicBezTo>
                      <a:pt x="641" y="216"/>
                      <a:pt x="641" y="216"/>
                      <a:pt x="641" y="216"/>
                    </a:cubicBezTo>
                    <a:cubicBezTo>
                      <a:pt x="641" y="217"/>
                      <a:pt x="641" y="217"/>
                      <a:pt x="641" y="217"/>
                    </a:cubicBezTo>
                    <a:cubicBezTo>
                      <a:pt x="640" y="217"/>
                      <a:pt x="640" y="217"/>
                      <a:pt x="640" y="217"/>
                    </a:cubicBezTo>
                    <a:cubicBezTo>
                      <a:pt x="640" y="218"/>
                      <a:pt x="640" y="218"/>
                      <a:pt x="640" y="218"/>
                    </a:cubicBezTo>
                    <a:cubicBezTo>
                      <a:pt x="639" y="217"/>
                      <a:pt x="639" y="217"/>
                      <a:pt x="639" y="217"/>
                    </a:cubicBezTo>
                    <a:cubicBezTo>
                      <a:pt x="639" y="216"/>
                      <a:pt x="639" y="216"/>
                      <a:pt x="639" y="216"/>
                    </a:cubicBezTo>
                    <a:cubicBezTo>
                      <a:pt x="638" y="216"/>
                      <a:pt x="638" y="216"/>
                      <a:pt x="638" y="216"/>
                    </a:cubicBezTo>
                    <a:cubicBezTo>
                      <a:pt x="638" y="217"/>
                      <a:pt x="638" y="217"/>
                      <a:pt x="638" y="217"/>
                    </a:cubicBezTo>
                    <a:cubicBezTo>
                      <a:pt x="637" y="218"/>
                      <a:pt x="637" y="218"/>
                      <a:pt x="637" y="218"/>
                    </a:cubicBezTo>
                    <a:cubicBezTo>
                      <a:pt x="636" y="217"/>
                      <a:pt x="636" y="217"/>
                      <a:pt x="636" y="217"/>
                    </a:cubicBezTo>
                    <a:cubicBezTo>
                      <a:pt x="635" y="217"/>
                      <a:pt x="635" y="217"/>
                      <a:pt x="635" y="217"/>
                    </a:cubicBezTo>
                    <a:cubicBezTo>
                      <a:pt x="635" y="216"/>
                      <a:pt x="635" y="216"/>
                      <a:pt x="635" y="216"/>
                    </a:cubicBezTo>
                    <a:cubicBezTo>
                      <a:pt x="634" y="217"/>
                      <a:pt x="634" y="217"/>
                      <a:pt x="634" y="217"/>
                    </a:cubicBezTo>
                    <a:cubicBezTo>
                      <a:pt x="634" y="218"/>
                      <a:pt x="634" y="218"/>
                      <a:pt x="634" y="218"/>
                    </a:cubicBezTo>
                    <a:cubicBezTo>
                      <a:pt x="634" y="219"/>
                      <a:pt x="634" y="219"/>
                      <a:pt x="634" y="219"/>
                    </a:cubicBezTo>
                    <a:cubicBezTo>
                      <a:pt x="633" y="219"/>
                      <a:pt x="633" y="219"/>
                      <a:pt x="633" y="219"/>
                    </a:cubicBezTo>
                    <a:cubicBezTo>
                      <a:pt x="631" y="219"/>
                      <a:pt x="631" y="219"/>
                      <a:pt x="631" y="219"/>
                    </a:cubicBezTo>
                    <a:cubicBezTo>
                      <a:pt x="631" y="218"/>
                      <a:pt x="631" y="218"/>
                      <a:pt x="631" y="218"/>
                    </a:cubicBezTo>
                    <a:cubicBezTo>
                      <a:pt x="632" y="217"/>
                      <a:pt x="632" y="217"/>
                      <a:pt x="632" y="217"/>
                    </a:cubicBezTo>
                    <a:cubicBezTo>
                      <a:pt x="632" y="216"/>
                      <a:pt x="632" y="216"/>
                      <a:pt x="632" y="216"/>
                    </a:cubicBezTo>
                    <a:cubicBezTo>
                      <a:pt x="631" y="217"/>
                      <a:pt x="631" y="217"/>
                      <a:pt x="631" y="217"/>
                    </a:cubicBezTo>
                    <a:cubicBezTo>
                      <a:pt x="630" y="216"/>
                      <a:pt x="630" y="216"/>
                      <a:pt x="630" y="216"/>
                    </a:cubicBezTo>
                    <a:cubicBezTo>
                      <a:pt x="630" y="215"/>
                      <a:pt x="630" y="215"/>
                      <a:pt x="630" y="215"/>
                    </a:cubicBezTo>
                    <a:cubicBezTo>
                      <a:pt x="631" y="214"/>
                      <a:pt x="631" y="214"/>
                      <a:pt x="631" y="214"/>
                    </a:cubicBezTo>
                    <a:cubicBezTo>
                      <a:pt x="633" y="212"/>
                      <a:pt x="633" y="212"/>
                      <a:pt x="633" y="212"/>
                    </a:cubicBezTo>
                    <a:cubicBezTo>
                      <a:pt x="634" y="212"/>
                      <a:pt x="634" y="212"/>
                      <a:pt x="634" y="212"/>
                    </a:cubicBezTo>
                    <a:cubicBezTo>
                      <a:pt x="636" y="212"/>
                      <a:pt x="636" y="212"/>
                      <a:pt x="636" y="212"/>
                    </a:cubicBezTo>
                    <a:cubicBezTo>
                      <a:pt x="640" y="212"/>
                      <a:pt x="640" y="212"/>
                      <a:pt x="640" y="212"/>
                    </a:cubicBezTo>
                    <a:cubicBezTo>
                      <a:pt x="643" y="211"/>
                      <a:pt x="643" y="211"/>
                      <a:pt x="643" y="211"/>
                    </a:cubicBezTo>
                    <a:cubicBezTo>
                      <a:pt x="644" y="211"/>
                      <a:pt x="644" y="211"/>
                      <a:pt x="644" y="211"/>
                    </a:cubicBezTo>
                    <a:cubicBezTo>
                      <a:pt x="646" y="211"/>
                      <a:pt x="646" y="211"/>
                      <a:pt x="646" y="211"/>
                    </a:cubicBezTo>
                    <a:cubicBezTo>
                      <a:pt x="646" y="212"/>
                      <a:pt x="646" y="212"/>
                      <a:pt x="646" y="212"/>
                    </a:cubicBezTo>
                    <a:cubicBezTo>
                      <a:pt x="647" y="213"/>
                      <a:pt x="647" y="213"/>
                      <a:pt x="647" y="213"/>
                    </a:cubicBezTo>
                    <a:cubicBezTo>
                      <a:pt x="648" y="213"/>
                      <a:pt x="648" y="213"/>
                      <a:pt x="648" y="213"/>
                    </a:cubicBezTo>
                    <a:cubicBezTo>
                      <a:pt x="648" y="214"/>
                      <a:pt x="648" y="214"/>
                      <a:pt x="648" y="214"/>
                    </a:cubicBezTo>
                    <a:cubicBezTo>
                      <a:pt x="648" y="216"/>
                      <a:pt x="648" y="216"/>
                      <a:pt x="648" y="216"/>
                    </a:cubicBezTo>
                    <a:cubicBezTo>
                      <a:pt x="648" y="217"/>
                      <a:pt x="648" y="217"/>
                      <a:pt x="648" y="217"/>
                    </a:cubicBezTo>
                    <a:cubicBezTo>
                      <a:pt x="648" y="218"/>
                      <a:pt x="648" y="218"/>
                      <a:pt x="648" y="218"/>
                    </a:cubicBezTo>
                    <a:cubicBezTo>
                      <a:pt x="647" y="218"/>
                      <a:pt x="647" y="218"/>
                      <a:pt x="647" y="218"/>
                    </a:cubicBezTo>
                    <a:cubicBezTo>
                      <a:pt x="647" y="219"/>
                      <a:pt x="647" y="219"/>
                      <a:pt x="647" y="219"/>
                    </a:cubicBezTo>
                    <a:cubicBezTo>
                      <a:pt x="648" y="219"/>
                      <a:pt x="648" y="219"/>
                      <a:pt x="648" y="219"/>
                    </a:cubicBezTo>
                    <a:cubicBezTo>
                      <a:pt x="648" y="222"/>
                      <a:pt x="648" y="222"/>
                      <a:pt x="648" y="222"/>
                    </a:cubicBezTo>
                    <a:cubicBezTo>
                      <a:pt x="649" y="222"/>
                      <a:pt x="649" y="222"/>
                      <a:pt x="649" y="222"/>
                    </a:cubicBezTo>
                    <a:cubicBezTo>
                      <a:pt x="650" y="222"/>
                      <a:pt x="650" y="222"/>
                      <a:pt x="650" y="222"/>
                    </a:cubicBezTo>
                    <a:cubicBezTo>
                      <a:pt x="650" y="223"/>
                      <a:pt x="650" y="223"/>
                      <a:pt x="650" y="223"/>
                    </a:cubicBezTo>
                    <a:cubicBezTo>
                      <a:pt x="649" y="223"/>
                      <a:pt x="649" y="223"/>
                      <a:pt x="649" y="223"/>
                    </a:cubicBezTo>
                    <a:cubicBezTo>
                      <a:pt x="648" y="224"/>
                      <a:pt x="648" y="224"/>
                      <a:pt x="648" y="224"/>
                    </a:cubicBezTo>
                    <a:cubicBezTo>
                      <a:pt x="648" y="225"/>
                      <a:pt x="648" y="225"/>
                      <a:pt x="648" y="225"/>
                    </a:cubicBezTo>
                    <a:cubicBezTo>
                      <a:pt x="649" y="225"/>
                      <a:pt x="649" y="225"/>
                      <a:pt x="649" y="225"/>
                    </a:cubicBezTo>
                    <a:cubicBezTo>
                      <a:pt x="650" y="226"/>
                      <a:pt x="650" y="226"/>
                      <a:pt x="650" y="226"/>
                    </a:cubicBezTo>
                    <a:cubicBezTo>
                      <a:pt x="651" y="226"/>
                      <a:pt x="651" y="226"/>
                      <a:pt x="651" y="226"/>
                    </a:cubicBezTo>
                    <a:cubicBezTo>
                      <a:pt x="652" y="227"/>
                      <a:pt x="652" y="227"/>
                      <a:pt x="652" y="227"/>
                    </a:cubicBezTo>
                    <a:cubicBezTo>
                      <a:pt x="653" y="227"/>
                      <a:pt x="653" y="227"/>
                      <a:pt x="653" y="227"/>
                    </a:cubicBezTo>
                    <a:cubicBezTo>
                      <a:pt x="654" y="226"/>
                      <a:pt x="654" y="226"/>
                      <a:pt x="654" y="226"/>
                    </a:cubicBezTo>
                    <a:cubicBezTo>
                      <a:pt x="655" y="227"/>
                      <a:pt x="655" y="227"/>
                      <a:pt x="655" y="227"/>
                    </a:cubicBezTo>
                    <a:cubicBezTo>
                      <a:pt x="655" y="228"/>
                      <a:pt x="655" y="228"/>
                      <a:pt x="655" y="228"/>
                    </a:cubicBezTo>
                    <a:cubicBezTo>
                      <a:pt x="656" y="228"/>
                      <a:pt x="656" y="228"/>
                      <a:pt x="656" y="228"/>
                    </a:cubicBezTo>
                    <a:cubicBezTo>
                      <a:pt x="656" y="229"/>
                      <a:pt x="656" y="229"/>
                      <a:pt x="656" y="229"/>
                    </a:cubicBezTo>
                    <a:cubicBezTo>
                      <a:pt x="656" y="230"/>
                      <a:pt x="656" y="230"/>
                      <a:pt x="656" y="230"/>
                    </a:cubicBezTo>
                    <a:cubicBezTo>
                      <a:pt x="657" y="231"/>
                      <a:pt x="657" y="231"/>
                      <a:pt x="657" y="231"/>
                    </a:cubicBezTo>
                    <a:cubicBezTo>
                      <a:pt x="658" y="232"/>
                      <a:pt x="658" y="232"/>
                      <a:pt x="658" y="232"/>
                    </a:cubicBezTo>
                    <a:cubicBezTo>
                      <a:pt x="658" y="233"/>
                      <a:pt x="658" y="233"/>
                      <a:pt x="658" y="233"/>
                    </a:cubicBezTo>
                    <a:cubicBezTo>
                      <a:pt x="660" y="232"/>
                      <a:pt x="660" y="232"/>
                      <a:pt x="660" y="232"/>
                    </a:cubicBezTo>
                    <a:cubicBezTo>
                      <a:pt x="660" y="233"/>
                      <a:pt x="660" y="233"/>
                      <a:pt x="660" y="233"/>
                    </a:cubicBezTo>
                    <a:cubicBezTo>
                      <a:pt x="660" y="234"/>
                      <a:pt x="660" y="234"/>
                      <a:pt x="660" y="234"/>
                    </a:cubicBezTo>
                    <a:cubicBezTo>
                      <a:pt x="661" y="234"/>
                      <a:pt x="661" y="234"/>
                      <a:pt x="661" y="234"/>
                    </a:cubicBezTo>
                    <a:cubicBezTo>
                      <a:pt x="662" y="235"/>
                      <a:pt x="662" y="235"/>
                      <a:pt x="662" y="235"/>
                    </a:cubicBezTo>
                    <a:cubicBezTo>
                      <a:pt x="663" y="234"/>
                      <a:pt x="663" y="234"/>
                      <a:pt x="663" y="234"/>
                    </a:cubicBezTo>
                    <a:cubicBezTo>
                      <a:pt x="666" y="234"/>
                      <a:pt x="666" y="234"/>
                      <a:pt x="666" y="234"/>
                    </a:cubicBezTo>
                    <a:cubicBezTo>
                      <a:pt x="666" y="233"/>
                      <a:pt x="666" y="233"/>
                      <a:pt x="666" y="233"/>
                    </a:cubicBezTo>
                    <a:cubicBezTo>
                      <a:pt x="668" y="232"/>
                      <a:pt x="668" y="232"/>
                      <a:pt x="668" y="232"/>
                    </a:cubicBezTo>
                    <a:cubicBezTo>
                      <a:pt x="669" y="233"/>
                      <a:pt x="669" y="233"/>
                      <a:pt x="669" y="233"/>
                    </a:cubicBezTo>
                    <a:cubicBezTo>
                      <a:pt x="671" y="233"/>
                      <a:pt x="671" y="233"/>
                      <a:pt x="671" y="233"/>
                    </a:cubicBezTo>
                    <a:cubicBezTo>
                      <a:pt x="673" y="235"/>
                      <a:pt x="673" y="235"/>
                      <a:pt x="673" y="235"/>
                    </a:cubicBezTo>
                    <a:cubicBezTo>
                      <a:pt x="674" y="235"/>
                      <a:pt x="674" y="235"/>
                      <a:pt x="674" y="235"/>
                    </a:cubicBezTo>
                    <a:cubicBezTo>
                      <a:pt x="675" y="236"/>
                      <a:pt x="675" y="236"/>
                      <a:pt x="675" y="236"/>
                    </a:cubicBezTo>
                    <a:cubicBezTo>
                      <a:pt x="676" y="235"/>
                      <a:pt x="676" y="235"/>
                      <a:pt x="676" y="235"/>
                    </a:cubicBezTo>
                    <a:cubicBezTo>
                      <a:pt x="678" y="235"/>
                      <a:pt x="678" y="235"/>
                      <a:pt x="678" y="235"/>
                    </a:cubicBezTo>
                    <a:cubicBezTo>
                      <a:pt x="679" y="236"/>
                      <a:pt x="679" y="236"/>
                      <a:pt x="679" y="236"/>
                    </a:cubicBezTo>
                    <a:cubicBezTo>
                      <a:pt x="679" y="234"/>
                      <a:pt x="679" y="234"/>
                      <a:pt x="679" y="234"/>
                    </a:cubicBezTo>
                    <a:cubicBezTo>
                      <a:pt x="678" y="233"/>
                      <a:pt x="678" y="233"/>
                      <a:pt x="678" y="233"/>
                    </a:cubicBezTo>
                    <a:cubicBezTo>
                      <a:pt x="678" y="231"/>
                      <a:pt x="678" y="231"/>
                      <a:pt x="678" y="231"/>
                    </a:cubicBezTo>
                    <a:cubicBezTo>
                      <a:pt x="679" y="231"/>
                      <a:pt x="679" y="231"/>
                      <a:pt x="679" y="231"/>
                    </a:cubicBezTo>
                    <a:cubicBezTo>
                      <a:pt x="680" y="233"/>
                      <a:pt x="680" y="233"/>
                      <a:pt x="680" y="233"/>
                    </a:cubicBezTo>
                    <a:cubicBezTo>
                      <a:pt x="680" y="235"/>
                      <a:pt x="680" y="235"/>
                      <a:pt x="680" y="235"/>
                    </a:cubicBezTo>
                    <a:cubicBezTo>
                      <a:pt x="682" y="237"/>
                      <a:pt x="682" y="237"/>
                      <a:pt x="682" y="237"/>
                    </a:cubicBezTo>
                    <a:cubicBezTo>
                      <a:pt x="683" y="239"/>
                      <a:pt x="683" y="239"/>
                      <a:pt x="683" y="239"/>
                    </a:cubicBezTo>
                    <a:cubicBezTo>
                      <a:pt x="683" y="236"/>
                      <a:pt x="683" y="236"/>
                      <a:pt x="683" y="236"/>
                    </a:cubicBezTo>
                    <a:cubicBezTo>
                      <a:pt x="682" y="235"/>
                      <a:pt x="682" y="235"/>
                      <a:pt x="682" y="235"/>
                    </a:cubicBezTo>
                    <a:cubicBezTo>
                      <a:pt x="681" y="235"/>
                      <a:pt x="681" y="235"/>
                      <a:pt x="681" y="235"/>
                    </a:cubicBezTo>
                    <a:cubicBezTo>
                      <a:pt x="680" y="233"/>
                      <a:pt x="680" y="233"/>
                      <a:pt x="680" y="233"/>
                    </a:cubicBezTo>
                    <a:cubicBezTo>
                      <a:pt x="680" y="230"/>
                      <a:pt x="680" y="230"/>
                      <a:pt x="680" y="230"/>
                    </a:cubicBezTo>
                    <a:cubicBezTo>
                      <a:pt x="681" y="231"/>
                      <a:pt x="681" y="231"/>
                      <a:pt x="681" y="231"/>
                    </a:cubicBezTo>
                    <a:cubicBezTo>
                      <a:pt x="682" y="230"/>
                      <a:pt x="682" y="230"/>
                      <a:pt x="682" y="230"/>
                    </a:cubicBezTo>
                    <a:cubicBezTo>
                      <a:pt x="681" y="228"/>
                      <a:pt x="681" y="228"/>
                      <a:pt x="681" y="228"/>
                    </a:cubicBezTo>
                    <a:cubicBezTo>
                      <a:pt x="681" y="227"/>
                      <a:pt x="681" y="227"/>
                      <a:pt x="681" y="227"/>
                    </a:cubicBezTo>
                    <a:cubicBezTo>
                      <a:pt x="681" y="226"/>
                      <a:pt x="681" y="226"/>
                      <a:pt x="681" y="226"/>
                    </a:cubicBezTo>
                    <a:cubicBezTo>
                      <a:pt x="682" y="226"/>
                      <a:pt x="682" y="226"/>
                      <a:pt x="682" y="226"/>
                    </a:cubicBezTo>
                    <a:cubicBezTo>
                      <a:pt x="683" y="227"/>
                      <a:pt x="683" y="227"/>
                      <a:pt x="683" y="227"/>
                    </a:cubicBezTo>
                    <a:cubicBezTo>
                      <a:pt x="683" y="228"/>
                      <a:pt x="683" y="228"/>
                      <a:pt x="683" y="228"/>
                    </a:cubicBezTo>
                    <a:cubicBezTo>
                      <a:pt x="684" y="228"/>
                      <a:pt x="684" y="228"/>
                      <a:pt x="684" y="228"/>
                    </a:cubicBezTo>
                    <a:cubicBezTo>
                      <a:pt x="685" y="227"/>
                      <a:pt x="685" y="227"/>
                      <a:pt x="685" y="227"/>
                    </a:cubicBezTo>
                    <a:cubicBezTo>
                      <a:pt x="685" y="226"/>
                      <a:pt x="685" y="226"/>
                      <a:pt x="685" y="226"/>
                    </a:cubicBezTo>
                    <a:cubicBezTo>
                      <a:pt x="686" y="226"/>
                      <a:pt x="686" y="226"/>
                      <a:pt x="686" y="226"/>
                    </a:cubicBezTo>
                    <a:cubicBezTo>
                      <a:pt x="687" y="227"/>
                      <a:pt x="687" y="227"/>
                      <a:pt x="687" y="227"/>
                    </a:cubicBezTo>
                    <a:cubicBezTo>
                      <a:pt x="687" y="228"/>
                      <a:pt x="687" y="228"/>
                      <a:pt x="687" y="228"/>
                    </a:cubicBezTo>
                    <a:cubicBezTo>
                      <a:pt x="688" y="227"/>
                      <a:pt x="688" y="227"/>
                      <a:pt x="688" y="227"/>
                    </a:cubicBezTo>
                    <a:cubicBezTo>
                      <a:pt x="689" y="228"/>
                      <a:pt x="689" y="228"/>
                      <a:pt x="689" y="228"/>
                    </a:cubicBezTo>
                    <a:cubicBezTo>
                      <a:pt x="688" y="230"/>
                      <a:pt x="688" y="230"/>
                      <a:pt x="688" y="230"/>
                    </a:cubicBezTo>
                    <a:cubicBezTo>
                      <a:pt x="688" y="231"/>
                      <a:pt x="688" y="231"/>
                      <a:pt x="688" y="231"/>
                    </a:cubicBezTo>
                    <a:cubicBezTo>
                      <a:pt x="689" y="231"/>
                      <a:pt x="689" y="231"/>
                      <a:pt x="689" y="231"/>
                    </a:cubicBezTo>
                    <a:cubicBezTo>
                      <a:pt x="690" y="231"/>
                      <a:pt x="690" y="231"/>
                      <a:pt x="690" y="231"/>
                    </a:cubicBezTo>
                    <a:cubicBezTo>
                      <a:pt x="691" y="232"/>
                      <a:pt x="691" y="232"/>
                      <a:pt x="691" y="232"/>
                    </a:cubicBezTo>
                    <a:cubicBezTo>
                      <a:pt x="690" y="233"/>
                      <a:pt x="690" y="233"/>
                      <a:pt x="690" y="233"/>
                    </a:cubicBezTo>
                    <a:cubicBezTo>
                      <a:pt x="689" y="233"/>
                      <a:pt x="689" y="233"/>
                      <a:pt x="689" y="233"/>
                    </a:cubicBezTo>
                    <a:cubicBezTo>
                      <a:pt x="689" y="234"/>
                      <a:pt x="689" y="234"/>
                      <a:pt x="689" y="234"/>
                    </a:cubicBezTo>
                    <a:cubicBezTo>
                      <a:pt x="691" y="233"/>
                      <a:pt x="691" y="233"/>
                      <a:pt x="691" y="233"/>
                    </a:cubicBezTo>
                    <a:cubicBezTo>
                      <a:pt x="692" y="232"/>
                      <a:pt x="692" y="232"/>
                      <a:pt x="692" y="232"/>
                    </a:cubicBezTo>
                    <a:cubicBezTo>
                      <a:pt x="693" y="231"/>
                      <a:pt x="693" y="231"/>
                      <a:pt x="693" y="231"/>
                    </a:cubicBezTo>
                    <a:cubicBezTo>
                      <a:pt x="694" y="232"/>
                      <a:pt x="694" y="232"/>
                      <a:pt x="694" y="232"/>
                    </a:cubicBezTo>
                    <a:cubicBezTo>
                      <a:pt x="693" y="232"/>
                      <a:pt x="693" y="232"/>
                      <a:pt x="693" y="232"/>
                    </a:cubicBezTo>
                    <a:cubicBezTo>
                      <a:pt x="693" y="233"/>
                      <a:pt x="693" y="233"/>
                      <a:pt x="693" y="233"/>
                    </a:cubicBezTo>
                    <a:cubicBezTo>
                      <a:pt x="693" y="234"/>
                      <a:pt x="693" y="234"/>
                      <a:pt x="693" y="234"/>
                    </a:cubicBezTo>
                    <a:cubicBezTo>
                      <a:pt x="691" y="236"/>
                      <a:pt x="691" y="236"/>
                      <a:pt x="691" y="236"/>
                    </a:cubicBezTo>
                    <a:cubicBezTo>
                      <a:pt x="689" y="238"/>
                      <a:pt x="689" y="238"/>
                      <a:pt x="689" y="238"/>
                    </a:cubicBezTo>
                    <a:cubicBezTo>
                      <a:pt x="689" y="239"/>
                      <a:pt x="689" y="239"/>
                      <a:pt x="689" y="239"/>
                    </a:cubicBezTo>
                    <a:cubicBezTo>
                      <a:pt x="688" y="240"/>
                      <a:pt x="688" y="240"/>
                      <a:pt x="688" y="240"/>
                    </a:cubicBezTo>
                    <a:cubicBezTo>
                      <a:pt x="688" y="238"/>
                      <a:pt x="688" y="238"/>
                      <a:pt x="688" y="238"/>
                    </a:cubicBezTo>
                    <a:cubicBezTo>
                      <a:pt x="687" y="240"/>
                      <a:pt x="687" y="240"/>
                      <a:pt x="687" y="240"/>
                    </a:cubicBezTo>
                    <a:cubicBezTo>
                      <a:pt x="687" y="242"/>
                      <a:pt x="687" y="242"/>
                      <a:pt x="687" y="242"/>
                    </a:cubicBezTo>
                    <a:cubicBezTo>
                      <a:pt x="688" y="242"/>
                      <a:pt x="688" y="242"/>
                      <a:pt x="688" y="242"/>
                    </a:cubicBezTo>
                    <a:cubicBezTo>
                      <a:pt x="689" y="242"/>
                      <a:pt x="689" y="242"/>
                      <a:pt x="689" y="242"/>
                    </a:cubicBezTo>
                    <a:cubicBezTo>
                      <a:pt x="689" y="243"/>
                      <a:pt x="689" y="243"/>
                      <a:pt x="689" y="243"/>
                    </a:cubicBezTo>
                    <a:cubicBezTo>
                      <a:pt x="687" y="244"/>
                      <a:pt x="687" y="244"/>
                      <a:pt x="687" y="244"/>
                    </a:cubicBezTo>
                    <a:cubicBezTo>
                      <a:pt x="687" y="245"/>
                      <a:pt x="687" y="245"/>
                      <a:pt x="687" y="245"/>
                    </a:cubicBezTo>
                    <a:cubicBezTo>
                      <a:pt x="689" y="244"/>
                      <a:pt x="689" y="244"/>
                      <a:pt x="689" y="244"/>
                    </a:cubicBezTo>
                    <a:cubicBezTo>
                      <a:pt x="690" y="243"/>
                      <a:pt x="690" y="243"/>
                      <a:pt x="690" y="243"/>
                    </a:cubicBezTo>
                    <a:cubicBezTo>
                      <a:pt x="691" y="243"/>
                      <a:pt x="691" y="243"/>
                      <a:pt x="691" y="243"/>
                    </a:cubicBezTo>
                    <a:cubicBezTo>
                      <a:pt x="690" y="245"/>
                      <a:pt x="690" y="245"/>
                      <a:pt x="690" y="245"/>
                    </a:cubicBezTo>
                    <a:cubicBezTo>
                      <a:pt x="689" y="245"/>
                      <a:pt x="689" y="245"/>
                      <a:pt x="689" y="245"/>
                    </a:cubicBezTo>
                    <a:cubicBezTo>
                      <a:pt x="690" y="246"/>
                      <a:pt x="690" y="246"/>
                      <a:pt x="690" y="246"/>
                    </a:cubicBezTo>
                    <a:cubicBezTo>
                      <a:pt x="691" y="245"/>
                      <a:pt x="691" y="245"/>
                      <a:pt x="691" y="245"/>
                    </a:cubicBezTo>
                    <a:cubicBezTo>
                      <a:pt x="690" y="247"/>
                      <a:pt x="690" y="247"/>
                      <a:pt x="690" y="247"/>
                    </a:cubicBezTo>
                    <a:cubicBezTo>
                      <a:pt x="690" y="248"/>
                      <a:pt x="690" y="248"/>
                      <a:pt x="690" y="248"/>
                    </a:cubicBezTo>
                    <a:cubicBezTo>
                      <a:pt x="689" y="248"/>
                      <a:pt x="689" y="248"/>
                      <a:pt x="689" y="248"/>
                    </a:cubicBezTo>
                    <a:cubicBezTo>
                      <a:pt x="688" y="248"/>
                      <a:pt x="688" y="248"/>
                      <a:pt x="688" y="248"/>
                    </a:cubicBezTo>
                    <a:cubicBezTo>
                      <a:pt x="687" y="247"/>
                      <a:pt x="687" y="247"/>
                      <a:pt x="687" y="247"/>
                    </a:cubicBezTo>
                    <a:cubicBezTo>
                      <a:pt x="686" y="248"/>
                      <a:pt x="686" y="248"/>
                      <a:pt x="686" y="248"/>
                    </a:cubicBezTo>
                    <a:cubicBezTo>
                      <a:pt x="685" y="246"/>
                      <a:pt x="685" y="246"/>
                      <a:pt x="685" y="246"/>
                    </a:cubicBezTo>
                    <a:cubicBezTo>
                      <a:pt x="684" y="248"/>
                      <a:pt x="684" y="248"/>
                      <a:pt x="684" y="248"/>
                    </a:cubicBezTo>
                    <a:cubicBezTo>
                      <a:pt x="685" y="249"/>
                      <a:pt x="685" y="249"/>
                      <a:pt x="685" y="249"/>
                    </a:cubicBezTo>
                    <a:cubicBezTo>
                      <a:pt x="686" y="250"/>
                      <a:pt x="686" y="250"/>
                      <a:pt x="686" y="250"/>
                    </a:cubicBezTo>
                    <a:cubicBezTo>
                      <a:pt x="685" y="253"/>
                      <a:pt x="685" y="253"/>
                      <a:pt x="685" y="253"/>
                    </a:cubicBezTo>
                    <a:cubicBezTo>
                      <a:pt x="686" y="251"/>
                      <a:pt x="686" y="251"/>
                      <a:pt x="686" y="251"/>
                    </a:cubicBezTo>
                    <a:cubicBezTo>
                      <a:pt x="686" y="250"/>
                      <a:pt x="686" y="250"/>
                      <a:pt x="686" y="250"/>
                    </a:cubicBezTo>
                    <a:cubicBezTo>
                      <a:pt x="686" y="249"/>
                      <a:pt x="686" y="249"/>
                      <a:pt x="686" y="249"/>
                    </a:cubicBezTo>
                    <a:cubicBezTo>
                      <a:pt x="687" y="248"/>
                      <a:pt x="687" y="248"/>
                      <a:pt x="687" y="248"/>
                    </a:cubicBezTo>
                    <a:cubicBezTo>
                      <a:pt x="687" y="249"/>
                      <a:pt x="687" y="249"/>
                      <a:pt x="687" y="249"/>
                    </a:cubicBezTo>
                    <a:cubicBezTo>
                      <a:pt x="689" y="249"/>
                      <a:pt x="689" y="249"/>
                      <a:pt x="689" y="249"/>
                    </a:cubicBezTo>
                    <a:cubicBezTo>
                      <a:pt x="690" y="250"/>
                      <a:pt x="690" y="250"/>
                      <a:pt x="690" y="250"/>
                    </a:cubicBezTo>
                    <a:cubicBezTo>
                      <a:pt x="691" y="249"/>
                      <a:pt x="691" y="249"/>
                      <a:pt x="691" y="249"/>
                    </a:cubicBezTo>
                    <a:cubicBezTo>
                      <a:pt x="691" y="248"/>
                      <a:pt x="691" y="248"/>
                      <a:pt x="691" y="248"/>
                    </a:cubicBezTo>
                    <a:cubicBezTo>
                      <a:pt x="692" y="247"/>
                      <a:pt x="692" y="247"/>
                      <a:pt x="692" y="247"/>
                    </a:cubicBezTo>
                    <a:cubicBezTo>
                      <a:pt x="693" y="246"/>
                      <a:pt x="693" y="246"/>
                      <a:pt x="693" y="246"/>
                    </a:cubicBezTo>
                    <a:cubicBezTo>
                      <a:pt x="695" y="246"/>
                      <a:pt x="695" y="246"/>
                      <a:pt x="695" y="246"/>
                    </a:cubicBezTo>
                    <a:cubicBezTo>
                      <a:pt x="696" y="245"/>
                      <a:pt x="696" y="245"/>
                      <a:pt x="696" y="245"/>
                    </a:cubicBezTo>
                    <a:cubicBezTo>
                      <a:pt x="695" y="245"/>
                      <a:pt x="695" y="245"/>
                      <a:pt x="695" y="245"/>
                    </a:cubicBezTo>
                    <a:cubicBezTo>
                      <a:pt x="693" y="245"/>
                      <a:pt x="693" y="245"/>
                      <a:pt x="693" y="245"/>
                    </a:cubicBezTo>
                    <a:cubicBezTo>
                      <a:pt x="693" y="246"/>
                      <a:pt x="693" y="246"/>
                      <a:pt x="693" y="246"/>
                    </a:cubicBezTo>
                    <a:cubicBezTo>
                      <a:pt x="692" y="246"/>
                      <a:pt x="692" y="246"/>
                      <a:pt x="692" y="246"/>
                    </a:cubicBezTo>
                    <a:cubicBezTo>
                      <a:pt x="691" y="246"/>
                      <a:pt x="691" y="246"/>
                      <a:pt x="691" y="246"/>
                    </a:cubicBezTo>
                    <a:cubicBezTo>
                      <a:pt x="692" y="245"/>
                      <a:pt x="692" y="245"/>
                      <a:pt x="692" y="245"/>
                    </a:cubicBezTo>
                    <a:cubicBezTo>
                      <a:pt x="693" y="244"/>
                      <a:pt x="693" y="244"/>
                      <a:pt x="693" y="244"/>
                    </a:cubicBezTo>
                    <a:cubicBezTo>
                      <a:pt x="692" y="244"/>
                      <a:pt x="692" y="244"/>
                      <a:pt x="692" y="244"/>
                    </a:cubicBezTo>
                    <a:cubicBezTo>
                      <a:pt x="692" y="243"/>
                      <a:pt x="692" y="243"/>
                      <a:pt x="692" y="243"/>
                    </a:cubicBezTo>
                    <a:cubicBezTo>
                      <a:pt x="693" y="241"/>
                      <a:pt x="693" y="241"/>
                      <a:pt x="693" y="241"/>
                    </a:cubicBezTo>
                    <a:cubicBezTo>
                      <a:pt x="693" y="240"/>
                      <a:pt x="693" y="240"/>
                      <a:pt x="693" y="240"/>
                    </a:cubicBezTo>
                    <a:cubicBezTo>
                      <a:pt x="692" y="239"/>
                      <a:pt x="692" y="239"/>
                      <a:pt x="692" y="239"/>
                    </a:cubicBezTo>
                    <a:cubicBezTo>
                      <a:pt x="693" y="239"/>
                      <a:pt x="693" y="239"/>
                      <a:pt x="693" y="239"/>
                    </a:cubicBezTo>
                    <a:cubicBezTo>
                      <a:pt x="694" y="237"/>
                      <a:pt x="694" y="237"/>
                      <a:pt x="694" y="237"/>
                    </a:cubicBezTo>
                    <a:cubicBezTo>
                      <a:pt x="694" y="236"/>
                      <a:pt x="694" y="236"/>
                      <a:pt x="694" y="236"/>
                    </a:cubicBezTo>
                    <a:cubicBezTo>
                      <a:pt x="696" y="235"/>
                      <a:pt x="696" y="235"/>
                      <a:pt x="696" y="235"/>
                    </a:cubicBezTo>
                    <a:cubicBezTo>
                      <a:pt x="697" y="234"/>
                      <a:pt x="697" y="234"/>
                      <a:pt x="697" y="234"/>
                    </a:cubicBezTo>
                    <a:cubicBezTo>
                      <a:pt x="697" y="235"/>
                      <a:pt x="697" y="235"/>
                      <a:pt x="697" y="235"/>
                    </a:cubicBezTo>
                    <a:cubicBezTo>
                      <a:pt x="698" y="235"/>
                      <a:pt x="698" y="235"/>
                      <a:pt x="698" y="235"/>
                    </a:cubicBezTo>
                    <a:cubicBezTo>
                      <a:pt x="698" y="236"/>
                      <a:pt x="698" y="236"/>
                      <a:pt x="698" y="236"/>
                    </a:cubicBezTo>
                    <a:cubicBezTo>
                      <a:pt x="699" y="235"/>
                      <a:pt x="699" y="235"/>
                      <a:pt x="699" y="235"/>
                    </a:cubicBezTo>
                    <a:cubicBezTo>
                      <a:pt x="700" y="234"/>
                      <a:pt x="700" y="234"/>
                      <a:pt x="700" y="234"/>
                    </a:cubicBezTo>
                    <a:cubicBezTo>
                      <a:pt x="703" y="233"/>
                      <a:pt x="703" y="233"/>
                      <a:pt x="703" y="233"/>
                    </a:cubicBezTo>
                    <a:cubicBezTo>
                      <a:pt x="704" y="232"/>
                      <a:pt x="704" y="232"/>
                      <a:pt x="704" y="232"/>
                    </a:cubicBezTo>
                    <a:cubicBezTo>
                      <a:pt x="703" y="232"/>
                      <a:pt x="703" y="232"/>
                      <a:pt x="703" y="232"/>
                    </a:cubicBezTo>
                    <a:cubicBezTo>
                      <a:pt x="704" y="231"/>
                      <a:pt x="704" y="231"/>
                      <a:pt x="704" y="231"/>
                    </a:cubicBezTo>
                    <a:cubicBezTo>
                      <a:pt x="705" y="230"/>
                      <a:pt x="705" y="230"/>
                      <a:pt x="705" y="230"/>
                    </a:cubicBezTo>
                    <a:cubicBezTo>
                      <a:pt x="707" y="230"/>
                      <a:pt x="707" y="230"/>
                      <a:pt x="707" y="230"/>
                    </a:cubicBezTo>
                    <a:cubicBezTo>
                      <a:pt x="708" y="229"/>
                      <a:pt x="708" y="229"/>
                      <a:pt x="708" y="229"/>
                    </a:cubicBezTo>
                    <a:cubicBezTo>
                      <a:pt x="708" y="228"/>
                      <a:pt x="708" y="228"/>
                      <a:pt x="708" y="228"/>
                    </a:cubicBezTo>
                    <a:cubicBezTo>
                      <a:pt x="708" y="226"/>
                      <a:pt x="708" y="226"/>
                      <a:pt x="708" y="226"/>
                    </a:cubicBezTo>
                    <a:cubicBezTo>
                      <a:pt x="709" y="225"/>
                      <a:pt x="709" y="225"/>
                      <a:pt x="709" y="225"/>
                    </a:cubicBezTo>
                    <a:cubicBezTo>
                      <a:pt x="709" y="224"/>
                      <a:pt x="709" y="224"/>
                      <a:pt x="709" y="224"/>
                    </a:cubicBezTo>
                    <a:cubicBezTo>
                      <a:pt x="709" y="223"/>
                      <a:pt x="709" y="223"/>
                      <a:pt x="709" y="223"/>
                    </a:cubicBezTo>
                    <a:cubicBezTo>
                      <a:pt x="708" y="224"/>
                      <a:pt x="708" y="224"/>
                      <a:pt x="708" y="224"/>
                    </a:cubicBezTo>
                    <a:cubicBezTo>
                      <a:pt x="707" y="224"/>
                      <a:pt x="707" y="224"/>
                      <a:pt x="707" y="224"/>
                    </a:cubicBezTo>
                    <a:cubicBezTo>
                      <a:pt x="707" y="225"/>
                      <a:pt x="707" y="225"/>
                      <a:pt x="707" y="225"/>
                    </a:cubicBezTo>
                    <a:cubicBezTo>
                      <a:pt x="706" y="226"/>
                      <a:pt x="706" y="226"/>
                      <a:pt x="706" y="226"/>
                    </a:cubicBezTo>
                    <a:cubicBezTo>
                      <a:pt x="705" y="225"/>
                      <a:pt x="705" y="225"/>
                      <a:pt x="705" y="225"/>
                    </a:cubicBezTo>
                    <a:cubicBezTo>
                      <a:pt x="704" y="225"/>
                      <a:pt x="704" y="225"/>
                      <a:pt x="704" y="225"/>
                    </a:cubicBezTo>
                    <a:cubicBezTo>
                      <a:pt x="705" y="223"/>
                      <a:pt x="705" y="223"/>
                      <a:pt x="705" y="223"/>
                    </a:cubicBezTo>
                    <a:cubicBezTo>
                      <a:pt x="706" y="223"/>
                      <a:pt x="706" y="223"/>
                      <a:pt x="706" y="223"/>
                    </a:cubicBezTo>
                    <a:cubicBezTo>
                      <a:pt x="706" y="222"/>
                      <a:pt x="706" y="222"/>
                      <a:pt x="706" y="222"/>
                    </a:cubicBezTo>
                    <a:cubicBezTo>
                      <a:pt x="708" y="222"/>
                      <a:pt x="708" y="222"/>
                      <a:pt x="708" y="222"/>
                    </a:cubicBezTo>
                    <a:cubicBezTo>
                      <a:pt x="708" y="221"/>
                      <a:pt x="708" y="221"/>
                      <a:pt x="708" y="221"/>
                    </a:cubicBezTo>
                    <a:cubicBezTo>
                      <a:pt x="707" y="220"/>
                      <a:pt x="707" y="220"/>
                      <a:pt x="707" y="220"/>
                    </a:cubicBezTo>
                    <a:cubicBezTo>
                      <a:pt x="708" y="219"/>
                      <a:pt x="708" y="219"/>
                      <a:pt x="708" y="219"/>
                    </a:cubicBezTo>
                    <a:cubicBezTo>
                      <a:pt x="710" y="218"/>
                      <a:pt x="710" y="218"/>
                      <a:pt x="710" y="218"/>
                    </a:cubicBezTo>
                    <a:cubicBezTo>
                      <a:pt x="711" y="219"/>
                      <a:pt x="711" y="219"/>
                      <a:pt x="711" y="219"/>
                    </a:cubicBezTo>
                    <a:cubicBezTo>
                      <a:pt x="710" y="220"/>
                      <a:pt x="710" y="220"/>
                      <a:pt x="710" y="220"/>
                    </a:cubicBezTo>
                    <a:cubicBezTo>
                      <a:pt x="710" y="221"/>
                      <a:pt x="710" y="221"/>
                      <a:pt x="710" y="221"/>
                    </a:cubicBezTo>
                    <a:cubicBezTo>
                      <a:pt x="712" y="220"/>
                      <a:pt x="712" y="220"/>
                      <a:pt x="712" y="220"/>
                    </a:cubicBezTo>
                    <a:cubicBezTo>
                      <a:pt x="713" y="218"/>
                      <a:pt x="713" y="218"/>
                      <a:pt x="713" y="218"/>
                    </a:cubicBezTo>
                    <a:cubicBezTo>
                      <a:pt x="713" y="217"/>
                      <a:pt x="713" y="217"/>
                      <a:pt x="713" y="217"/>
                    </a:cubicBezTo>
                    <a:cubicBezTo>
                      <a:pt x="711" y="217"/>
                      <a:pt x="711" y="217"/>
                      <a:pt x="711" y="217"/>
                    </a:cubicBezTo>
                    <a:cubicBezTo>
                      <a:pt x="710" y="217"/>
                      <a:pt x="710" y="217"/>
                      <a:pt x="710" y="217"/>
                    </a:cubicBezTo>
                    <a:cubicBezTo>
                      <a:pt x="710" y="216"/>
                      <a:pt x="710" y="216"/>
                      <a:pt x="710" y="216"/>
                    </a:cubicBezTo>
                    <a:cubicBezTo>
                      <a:pt x="708" y="216"/>
                      <a:pt x="708" y="216"/>
                      <a:pt x="708" y="216"/>
                    </a:cubicBezTo>
                    <a:cubicBezTo>
                      <a:pt x="707" y="214"/>
                      <a:pt x="707" y="214"/>
                      <a:pt x="707" y="214"/>
                    </a:cubicBezTo>
                    <a:cubicBezTo>
                      <a:pt x="706" y="214"/>
                      <a:pt x="706" y="214"/>
                      <a:pt x="706" y="214"/>
                    </a:cubicBezTo>
                    <a:cubicBezTo>
                      <a:pt x="705" y="213"/>
                      <a:pt x="705" y="213"/>
                      <a:pt x="705" y="213"/>
                    </a:cubicBezTo>
                    <a:cubicBezTo>
                      <a:pt x="704" y="212"/>
                      <a:pt x="704" y="212"/>
                      <a:pt x="704" y="212"/>
                    </a:cubicBezTo>
                    <a:cubicBezTo>
                      <a:pt x="704" y="211"/>
                      <a:pt x="704" y="211"/>
                      <a:pt x="704" y="211"/>
                    </a:cubicBezTo>
                    <a:cubicBezTo>
                      <a:pt x="703" y="211"/>
                      <a:pt x="703" y="211"/>
                      <a:pt x="703" y="211"/>
                    </a:cubicBezTo>
                    <a:cubicBezTo>
                      <a:pt x="702" y="211"/>
                      <a:pt x="702" y="211"/>
                      <a:pt x="702" y="211"/>
                    </a:cubicBezTo>
                    <a:cubicBezTo>
                      <a:pt x="702" y="210"/>
                      <a:pt x="702" y="210"/>
                      <a:pt x="702" y="210"/>
                    </a:cubicBezTo>
                    <a:cubicBezTo>
                      <a:pt x="702" y="209"/>
                      <a:pt x="702" y="209"/>
                      <a:pt x="702" y="209"/>
                    </a:cubicBezTo>
                    <a:cubicBezTo>
                      <a:pt x="702" y="208"/>
                      <a:pt x="702" y="208"/>
                      <a:pt x="702" y="208"/>
                    </a:cubicBezTo>
                    <a:cubicBezTo>
                      <a:pt x="702" y="207"/>
                      <a:pt x="702" y="207"/>
                      <a:pt x="702" y="207"/>
                    </a:cubicBezTo>
                    <a:cubicBezTo>
                      <a:pt x="702" y="206"/>
                      <a:pt x="702" y="206"/>
                      <a:pt x="702" y="206"/>
                    </a:cubicBezTo>
                    <a:cubicBezTo>
                      <a:pt x="702" y="203"/>
                      <a:pt x="702" y="203"/>
                      <a:pt x="702" y="203"/>
                    </a:cubicBezTo>
                    <a:cubicBezTo>
                      <a:pt x="703" y="202"/>
                      <a:pt x="703" y="202"/>
                      <a:pt x="703" y="202"/>
                    </a:cubicBezTo>
                    <a:cubicBezTo>
                      <a:pt x="705" y="200"/>
                      <a:pt x="705" y="200"/>
                      <a:pt x="705" y="200"/>
                    </a:cubicBezTo>
                    <a:cubicBezTo>
                      <a:pt x="706" y="200"/>
                      <a:pt x="706" y="200"/>
                      <a:pt x="706" y="200"/>
                    </a:cubicBezTo>
                    <a:cubicBezTo>
                      <a:pt x="707" y="200"/>
                      <a:pt x="707" y="200"/>
                      <a:pt x="707" y="200"/>
                    </a:cubicBezTo>
                    <a:cubicBezTo>
                      <a:pt x="707" y="199"/>
                      <a:pt x="707" y="199"/>
                      <a:pt x="707" y="199"/>
                    </a:cubicBezTo>
                    <a:cubicBezTo>
                      <a:pt x="708" y="198"/>
                      <a:pt x="708" y="198"/>
                      <a:pt x="708" y="198"/>
                    </a:cubicBezTo>
                    <a:cubicBezTo>
                      <a:pt x="707" y="198"/>
                      <a:pt x="707" y="198"/>
                      <a:pt x="707" y="198"/>
                    </a:cubicBezTo>
                    <a:cubicBezTo>
                      <a:pt x="706" y="198"/>
                      <a:pt x="706" y="198"/>
                      <a:pt x="706" y="198"/>
                    </a:cubicBezTo>
                    <a:cubicBezTo>
                      <a:pt x="706" y="197"/>
                      <a:pt x="706" y="197"/>
                      <a:pt x="706" y="197"/>
                    </a:cubicBezTo>
                    <a:cubicBezTo>
                      <a:pt x="706" y="196"/>
                      <a:pt x="706" y="196"/>
                      <a:pt x="706" y="196"/>
                    </a:cubicBezTo>
                    <a:cubicBezTo>
                      <a:pt x="706" y="194"/>
                      <a:pt x="706" y="194"/>
                      <a:pt x="706" y="194"/>
                    </a:cubicBezTo>
                    <a:cubicBezTo>
                      <a:pt x="707" y="193"/>
                      <a:pt x="707" y="193"/>
                      <a:pt x="707" y="193"/>
                    </a:cubicBezTo>
                    <a:cubicBezTo>
                      <a:pt x="708" y="191"/>
                      <a:pt x="708" y="191"/>
                      <a:pt x="708" y="191"/>
                    </a:cubicBezTo>
                    <a:cubicBezTo>
                      <a:pt x="709" y="190"/>
                      <a:pt x="709" y="190"/>
                      <a:pt x="709" y="190"/>
                    </a:cubicBezTo>
                    <a:cubicBezTo>
                      <a:pt x="710" y="189"/>
                      <a:pt x="710" y="189"/>
                      <a:pt x="710" y="189"/>
                    </a:cubicBezTo>
                    <a:cubicBezTo>
                      <a:pt x="711" y="189"/>
                      <a:pt x="711" y="189"/>
                      <a:pt x="711" y="189"/>
                    </a:cubicBezTo>
                    <a:cubicBezTo>
                      <a:pt x="712" y="187"/>
                      <a:pt x="712" y="187"/>
                      <a:pt x="712" y="187"/>
                    </a:cubicBezTo>
                    <a:cubicBezTo>
                      <a:pt x="713" y="186"/>
                      <a:pt x="713" y="186"/>
                      <a:pt x="713" y="186"/>
                    </a:cubicBezTo>
                    <a:cubicBezTo>
                      <a:pt x="714" y="187"/>
                      <a:pt x="714" y="187"/>
                      <a:pt x="714" y="187"/>
                    </a:cubicBezTo>
                    <a:cubicBezTo>
                      <a:pt x="714" y="189"/>
                      <a:pt x="714" y="189"/>
                      <a:pt x="714" y="189"/>
                    </a:cubicBezTo>
                    <a:cubicBezTo>
                      <a:pt x="714" y="190"/>
                      <a:pt x="714" y="190"/>
                      <a:pt x="714" y="190"/>
                    </a:cubicBezTo>
                    <a:cubicBezTo>
                      <a:pt x="715" y="189"/>
                      <a:pt x="715" y="189"/>
                      <a:pt x="715" y="189"/>
                    </a:cubicBezTo>
                    <a:cubicBezTo>
                      <a:pt x="717" y="186"/>
                      <a:pt x="717" y="186"/>
                      <a:pt x="717" y="186"/>
                    </a:cubicBezTo>
                    <a:cubicBezTo>
                      <a:pt x="716" y="186"/>
                      <a:pt x="716" y="186"/>
                      <a:pt x="716" y="186"/>
                    </a:cubicBezTo>
                    <a:cubicBezTo>
                      <a:pt x="715" y="185"/>
                      <a:pt x="715" y="185"/>
                      <a:pt x="715" y="185"/>
                    </a:cubicBezTo>
                    <a:cubicBezTo>
                      <a:pt x="714" y="184"/>
                      <a:pt x="714" y="184"/>
                      <a:pt x="714" y="184"/>
                    </a:cubicBezTo>
                    <a:cubicBezTo>
                      <a:pt x="715" y="183"/>
                      <a:pt x="715" y="183"/>
                      <a:pt x="715" y="183"/>
                    </a:cubicBezTo>
                    <a:cubicBezTo>
                      <a:pt x="717" y="183"/>
                      <a:pt x="717" y="183"/>
                      <a:pt x="717" y="183"/>
                    </a:cubicBezTo>
                    <a:cubicBezTo>
                      <a:pt x="719" y="181"/>
                      <a:pt x="719" y="181"/>
                      <a:pt x="719" y="181"/>
                    </a:cubicBezTo>
                    <a:cubicBezTo>
                      <a:pt x="719" y="180"/>
                      <a:pt x="719" y="180"/>
                      <a:pt x="719" y="180"/>
                    </a:cubicBezTo>
                    <a:cubicBezTo>
                      <a:pt x="720" y="180"/>
                      <a:pt x="720" y="180"/>
                      <a:pt x="720" y="180"/>
                    </a:cubicBezTo>
                    <a:cubicBezTo>
                      <a:pt x="721" y="180"/>
                      <a:pt x="721" y="180"/>
                      <a:pt x="721" y="180"/>
                    </a:cubicBezTo>
                    <a:cubicBezTo>
                      <a:pt x="723" y="181"/>
                      <a:pt x="723" y="181"/>
                      <a:pt x="723" y="181"/>
                    </a:cubicBezTo>
                    <a:cubicBezTo>
                      <a:pt x="723" y="182"/>
                      <a:pt x="723" y="182"/>
                      <a:pt x="723" y="182"/>
                    </a:cubicBezTo>
                    <a:cubicBezTo>
                      <a:pt x="723" y="183"/>
                      <a:pt x="723" y="183"/>
                      <a:pt x="723" y="183"/>
                    </a:cubicBezTo>
                    <a:cubicBezTo>
                      <a:pt x="724" y="183"/>
                      <a:pt x="724" y="183"/>
                      <a:pt x="724" y="183"/>
                    </a:cubicBezTo>
                    <a:cubicBezTo>
                      <a:pt x="725" y="184"/>
                      <a:pt x="725" y="184"/>
                      <a:pt x="725" y="184"/>
                    </a:cubicBezTo>
                    <a:cubicBezTo>
                      <a:pt x="726" y="184"/>
                      <a:pt x="726" y="184"/>
                      <a:pt x="726" y="184"/>
                    </a:cubicBezTo>
                    <a:cubicBezTo>
                      <a:pt x="725" y="186"/>
                      <a:pt x="725" y="186"/>
                      <a:pt x="725" y="186"/>
                    </a:cubicBezTo>
                    <a:cubicBezTo>
                      <a:pt x="725" y="187"/>
                      <a:pt x="725" y="187"/>
                      <a:pt x="725" y="187"/>
                    </a:cubicBezTo>
                    <a:cubicBezTo>
                      <a:pt x="725" y="188"/>
                      <a:pt x="725" y="188"/>
                      <a:pt x="725" y="188"/>
                    </a:cubicBezTo>
                    <a:cubicBezTo>
                      <a:pt x="726" y="189"/>
                      <a:pt x="726" y="189"/>
                      <a:pt x="726" y="189"/>
                    </a:cubicBezTo>
                    <a:cubicBezTo>
                      <a:pt x="726" y="190"/>
                      <a:pt x="726" y="190"/>
                      <a:pt x="726" y="190"/>
                    </a:cubicBezTo>
                    <a:cubicBezTo>
                      <a:pt x="726" y="192"/>
                      <a:pt x="726" y="192"/>
                      <a:pt x="726" y="192"/>
                    </a:cubicBezTo>
                    <a:cubicBezTo>
                      <a:pt x="727" y="193"/>
                      <a:pt x="727" y="193"/>
                      <a:pt x="727" y="193"/>
                    </a:cubicBezTo>
                    <a:cubicBezTo>
                      <a:pt x="726" y="195"/>
                      <a:pt x="726" y="195"/>
                      <a:pt x="726" y="195"/>
                    </a:cubicBezTo>
                    <a:cubicBezTo>
                      <a:pt x="725" y="197"/>
                      <a:pt x="725" y="197"/>
                      <a:pt x="725" y="197"/>
                    </a:cubicBezTo>
                    <a:cubicBezTo>
                      <a:pt x="725" y="199"/>
                      <a:pt x="725" y="199"/>
                      <a:pt x="725" y="199"/>
                    </a:cubicBezTo>
                    <a:cubicBezTo>
                      <a:pt x="724" y="199"/>
                      <a:pt x="724" y="199"/>
                      <a:pt x="724" y="199"/>
                    </a:cubicBezTo>
                    <a:cubicBezTo>
                      <a:pt x="725" y="200"/>
                      <a:pt x="725" y="200"/>
                      <a:pt x="725" y="200"/>
                    </a:cubicBezTo>
                    <a:cubicBezTo>
                      <a:pt x="724" y="201"/>
                      <a:pt x="724" y="201"/>
                      <a:pt x="724" y="201"/>
                    </a:cubicBezTo>
                    <a:cubicBezTo>
                      <a:pt x="726" y="203"/>
                      <a:pt x="726" y="203"/>
                      <a:pt x="726" y="203"/>
                    </a:cubicBezTo>
                    <a:cubicBezTo>
                      <a:pt x="726" y="204"/>
                      <a:pt x="726" y="204"/>
                      <a:pt x="726" y="204"/>
                    </a:cubicBezTo>
                    <a:cubicBezTo>
                      <a:pt x="725" y="204"/>
                      <a:pt x="725" y="204"/>
                      <a:pt x="725" y="204"/>
                    </a:cubicBezTo>
                    <a:cubicBezTo>
                      <a:pt x="726" y="205"/>
                      <a:pt x="726" y="205"/>
                      <a:pt x="726" y="205"/>
                    </a:cubicBezTo>
                    <a:cubicBezTo>
                      <a:pt x="725" y="206"/>
                      <a:pt x="725" y="206"/>
                      <a:pt x="725" y="206"/>
                    </a:cubicBezTo>
                    <a:cubicBezTo>
                      <a:pt x="725" y="207"/>
                      <a:pt x="725" y="207"/>
                      <a:pt x="725" y="207"/>
                    </a:cubicBezTo>
                    <a:cubicBezTo>
                      <a:pt x="726" y="208"/>
                      <a:pt x="726" y="208"/>
                      <a:pt x="726" y="208"/>
                    </a:cubicBezTo>
                    <a:cubicBezTo>
                      <a:pt x="727" y="209"/>
                      <a:pt x="727" y="209"/>
                      <a:pt x="727" y="209"/>
                    </a:cubicBezTo>
                    <a:cubicBezTo>
                      <a:pt x="727" y="210"/>
                      <a:pt x="727" y="210"/>
                      <a:pt x="727" y="210"/>
                    </a:cubicBezTo>
                    <a:cubicBezTo>
                      <a:pt x="726" y="211"/>
                      <a:pt x="726" y="211"/>
                      <a:pt x="726" y="211"/>
                    </a:cubicBezTo>
                    <a:cubicBezTo>
                      <a:pt x="725" y="210"/>
                      <a:pt x="725" y="210"/>
                      <a:pt x="725" y="210"/>
                    </a:cubicBezTo>
                    <a:cubicBezTo>
                      <a:pt x="724" y="210"/>
                      <a:pt x="724" y="210"/>
                      <a:pt x="724" y="210"/>
                    </a:cubicBezTo>
                    <a:cubicBezTo>
                      <a:pt x="723" y="209"/>
                      <a:pt x="723" y="209"/>
                      <a:pt x="723" y="209"/>
                    </a:cubicBezTo>
                    <a:cubicBezTo>
                      <a:pt x="724" y="208"/>
                      <a:pt x="724" y="208"/>
                      <a:pt x="724" y="208"/>
                    </a:cubicBezTo>
                    <a:cubicBezTo>
                      <a:pt x="722" y="208"/>
                      <a:pt x="722" y="208"/>
                      <a:pt x="722" y="208"/>
                    </a:cubicBezTo>
                    <a:cubicBezTo>
                      <a:pt x="722" y="210"/>
                      <a:pt x="722" y="210"/>
                      <a:pt x="722" y="210"/>
                    </a:cubicBezTo>
                    <a:cubicBezTo>
                      <a:pt x="721" y="210"/>
                      <a:pt x="721" y="210"/>
                      <a:pt x="721" y="210"/>
                    </a:cubicBezTo>
                    <a:cubicBezTo>
                      <a:pt x="721" y="211"/>
                      <a:pt x="721" y="211"/>
                      <a:pt x="721" y="211"/>
                    </a:cubicBezTo>
                    <a:cubicBezTo>
                      <a:pt x="722" y="210"/>
                      <a:pt x="722" y="210"/>
                      <a:pt x="722" y="210"/>
                    </a:cubicBezTo>
                    <a:cubicBezTo>
                      <a:pt x="723" y="211"/>
                      <a:pt x="723" y="211"/>
                      <a:pt x="723" y="211"/>
                    </a:cubicBezTo>
                    <a:cubicBezTo>
                      <a:pt x="723" y="212"/>
                      <a:pt x="723" y="212"/>
                      <a:pt x="723" y="212"/>
                    </a:cubicBezTo>
                    <a:cubicBezTo>
                      <a:pt x="720" y="214"/>
                      <a:pt x="720" y="214"/>
                      <a:pt x="720" y="214"/>
                    </a:cubicBezTo>
                    <a:cubicBezTo>
                      <a:pt x="719" y="214"/>
                      <a:pt x="719" y="214"/>
                      <a:pt x="719" y="214"/>
                    </a:cubicBezTo>
                    <a:cubicBezTo>
                      <a:pt x="718" y="215"/>
                      <a:pt x="718" y="215"/>
                      <a:pt x="718" y="215"/>
                    </a:cubicBezTo>
                    <a:cubicBezTo>
                      <a:pt x="717" y="217"/>
                      <a:pt x="717" y="217"/>
                      <a:pt x="717" y="217"/>
                    </a:cubicBezTo>
                    <a:cubicBezTo>
                      <a:pt x="718" y="217"/>
                      <a:pt x="718" y="217"/>
                      <a:pt x="718" y="217"/>
                    </a:cubicBezTo>
                    <a:cubicBezTo>
                      <a:pt x="719" y="217"/>
                      <a:pt x="719" y="217"/>
                      <a:pt x="719" y="217"/>
                    </a:cubicBezTo>
                    <a:cubicBezTo>
                      <a:pt x="720" y="217"/>
                      <a:pt x="720" y="217"/>
                      <a:pt x="720" y="217"/>
                    </a:cubicBezTo>
                    <a:cubicBezTo>
                      <a:pt x="720" y="218"/>
                      <a:pt x="720" y="218"/>
                      <a:pt x="720" y="218"/>
                    </a:cubicBezTo>
                    <a:cubicBezTo>
                      <a:pt x="721" y="219"/>
                      <a:pt x="721" y="219"/>
                      <a:pt x="721" y="219"/>
                    </a:cubicBezTo>
                    <a:cubicBezTo>
                      <a:pt x="723" y="219"/>
                      <a:pt x="723" y="219"/>
                      <a:pt x="723" y="219"/>
                    </a:cubicBezTo>
                    <a:cubicBezTo>
                      <a:pt x="723" y="218"/>
                      <a:pt x="723" y="218"/>
                      <a:pt x="723" y="218"/>
                    </a:cubicBezTo>
                    <a:cubicBezTo>
                      <a:pt x="724" y="218"/>
                      <a:pt x="724" y="218"/>
                      <a:pt x="724" y="218"/>
                    </a:cubicBezTo>
                    <a:cubicBezTo>
                      <a:pt x="724" y="219"/>
                      <a:pt x="724" y="219"/>
                      <a:pt x="724" y="219"/>
                    </a:cubicBezTo>
                    <a:cubicBezTo>
                      <a:pt x="725" y="220"/>
                      <a:pt x="725" y="220"/>
                      <a:pt x="725" y="220"/>
                    </a:cubicBezTo>
                    <a:cubicBezTo>
                      <a:pt x="726" y="220"/>
                      <a:pt x="726" y="220"/>
                      <a:pt x="726" y="220"/>
                    </a:cubicBezTo>
                    <a:cubicBezTo>
                      <a:pt x="727" y="220"/>
                      <a:pt x="727" y="220"/>
                      <a:pt x="727" y="220"/>
                    </a:cubicBezTo>
                    <a:cubicBezTo>
                      <a:pt x="728" y="220"/>
                      <a:pt x="728" y="220"/>
                      <a:pt x="728" y="220"/>
                    </a:cubicBezTo>
                    <a:cubicBezTo>
                      <a:pt x="727" y="221"/>
                      <a:pt x="727" y="221"/>
                      <a:pt x="727" y="221"/>
                    </a:cubicBezTo>
                    <a:cubicBezTo>
                      <a:pt x="726" y="221"/>
                      <a:pt x="726" y="221"/>
                      <a:pt x="726" y="221"/>
                    </a:cubicBezTo>
                    <a:cubicBezTo>
                      <a:pt x="724" y="222"/>
                      <a:pt x="724" y="222"/>
                      <a:pt x="724" y="222"/>
                    </a:cubicBezTo>
                    <a:cubicBezTo>
                      <a:pt x="724" y="221"/>
                      <a:pt x="724" y="221"/>
                      <a:pt x="724" y="221"/>
                    </a:cubicBezTo>
                    <a:cubicBezTo>
                      <a:pt x="723" y="221"/>
                      <a:pt x="723" y="221"/>
                      <a:pt x="723" y="221"/>
                    </a:cubicBezTo>
                    <a:cubicBezTo>
                      <a:pt x="723" y="222"/>
                      <a:pt x="723" y="222"/>
                      <a:pt x="723" y="222"/>
                    </a:cubicBezTo>
                    <a:cubicBezTo>
                      <a:pt x="723" y="223"/>
                      <a:pt x="723" y="223"/>
                      <a:pt x="723" y="223"/>
                    </a:cubicBezTo>
                    <a:cubicBezTo>
                      <a:pt x="723" y="224"/>
                      <a:pt x="723" y="224"/>
                      <a:pt x="723" y="224"/>
                    </a:cubicBezTo>
                    <a:cubicBezTo>
                      <a:pt x="724" y="226"/>
                      <a:pt x="724" y="226"/>
                      <a:pt x="724" y="226"/>
                    </a:cubicBezTo>
                    <a:cubicBezTo>
                      <a:pt x="724" y="227"/>
                      <a:pt x="724" y="227"/>
                      <a:pt x="724" y="227"/>
                    </a:cubicBezTo>
                    <a:cubicBezTo>
                      <a:pt x="725" y="227"/>
                      <a:pt x="725" y="227"/>
                      <a:pt x="725" y="227"/>
                    </a:cubicBezTo>
                    <a:cubicBezTo>
                      <a:pt x="724" y="229"/>
                      <a:pt x="724" y="229"/>
                      <a:pt x="724" y="229"/>
                    </a:cubicBezTo>
                    <a:cubicBezTo>
                      <a:pt x="723" y="230"/>
                      <a:pt x="723" y="230"/>
                      <a:pt x="723" y="230"/>
                    </a:cubicBezTo>
                    <a:cubicBezTo>
                      <a:pt x="723" y="232"/>
                      <a:pt x="723" y="232"/>
                      <a:pt x="723" y="232"/>
                    </a:cubicBezTo>
                    <a:cubicBezTo>
                      <a:pt x="722" y="233"/>
                      <a:pt x="722" y="233"/>
                      <a:pt x="722" y="233"/>
                    </a:cubicBezTo>
                    <a:cubicBezTo>
                      <a:pt x="722" y="234"/>
                      <a:pt x="722" y="234"/>
                      <a:pt x="722" y="234"/>
                    </a:cubicBezTo>
                    <a:cubicBezTo>
                      <a:pt x="722" y="235"/>
                      <a:pt x="722" y="235"/>
                      <a:pt x="722" y="235"/>
                    </a:cubicBezTo>
                    <a:cubicBezTo>
                      <a:pt x="722" y="236"/>
                      <a:pt x="722" y="236"/>
                      <a:pt x="722" y="236"/>
                    </a:cubicBezTo>
                    <a:cubicBezTo>
                      <a:pt x="723" y="236"/>
                      <a:pt x="723" y="236"/>
                      <a:pt x="723" y="236"/>
                    </a:cubicBezTo>
                    <a:cubicBezTo>
                      <a:pt x="724" y="235"/>
                      <a:pt x="724" y="235"/>
                      <a:pt x="724" y="235"/>
                    </a:cubicBezTo>
                    <a:cubicBezTo>
                      <a:pt x="724" y="234"/>
                      <a:pt x="724" y="234"/>
                      <a:pt x="724" y="234"/>
                    </a:cubicBezTo>
                    <a:cubicBezTo>
                      <a:pt x="726" y="234"/>
                      <a:pt x="726" y="234"/>
                      <a:pt x="726" y="234"/>
                    </a:cubicBezTo>
                    <a:cubicBezTo>
                      <a:pt x="726" y="233"/>
                      <a:pt x="726" y="233"/>
                      <a:pt x="726" y="233"/>
                    </a:cubicBezTo>
                    <a:cubicBezTo>
                      <a:pt x="726" y="232"/>
                      <a:pt x="726" y="232"/>
                      <a:pt x="726" y="232"/>
                    </a:cubicBezTo>
                    <a:cubicBezTo>
                      <a:pt x="727" y="232"/>
                      <a:pt x="727" y="232"/>
                      <a:pt x="727" y="232"/>
                    </a:cubicBezTo>
                    <a:cubicBezTo>
                      <a:pt x="728" y="232"/>
                      <a:pt x="728" y="232"/>
                      <a:pt x="728" y="232"/>
                    </a:cubicBezTo>
                    <a:cubicBezTo>
                      <a:pt x="728" y="230"/>
                      <a:pt x="728" y="230"/>
                      <a:pt x="728" y="230"/>
                    </a:cubicBezTo>
                    <a:cubicBezTo>
                      <a:pt x="728" y="228"/>
                      <a:pt x="728" y="228"/>
                      <a:pt x="728" y="228"/>
                    </a:cubicBezTo>
                    <a:cubicBezTo>
                      <a:pt x="730" y="227"/>
                      <a:pt x="730" y="227"/>
                      <a:pt x="730" y="227"/>
                    </a:cubicBezTo>
                    <a:cubicBezTo>
                      <a:pt x="731" y="225"/>
                      <a:pt x="731" y="225"/>
                      <a:pt x="731" y="225"/>
                    </a:cubicBezTo>
                    <a:cubicBezTo>
                      <a:pt x="731" y="224"/>
                      <a:pt x="731" y="224"/>
                      <a:pt x="731" y="224"/>
                    </a:cubicBezTo>
                    <a:cubicBezTo>
                      <a:pt x="732" y="223"/>
                      <a:pt x="732" y="223"/>
                      <a:pt x="732" y="223"/>
                    </a:cubicBezTo>
                    <a:cubicBezTo>
                      <a:pt x="733" y="224"/>
                      <a:pt x="733" y="224"/>
                      <a:pt x="733" y="224"/>
                    </a:cubicBezTo>
                    <a:cubicBezTo>
                      <a:pt x="733" y="225"/>
                      <a:pt x="733" y="225"/>
                      <a:pt x="733" y="225"/>
                    </a:cubicBezTo>
                    <a:cubicBezTo>
                      <a:pt x="734" y="227"/>
                      <a:pt x="734" y="227"/>
                      <a:pt x="734" y="227"/>
                    </a:cubicBezTo>
                    <a:cubicBezTo>
                      <a:pt x="734" y="229"/>
                      <a:pt x="734" y="229"/>
                      <a:pt x="734" y="229"/>
                    </a:cubicBezTo>
                    <a:cubicBezTo>
                      <a:pt x="735" y="230"/>
                      <a:pt x="735" y="230"/>
                      <a:pt x="735" y="230"/>
                    </a:cubicBezTo>
                    <a:cubicBezTo>
                      <a:pt x="735" y="232"/>
                      <a:pt x="735" y="232"/>
                      <a:pt x="735" y="232"/>
                    </a:cubicBezTo>
                    <a:cubicBezTo>
                      <a:pt x="735" y="233"/>
                      <a:pt x="735" y="233"/>
                      <a:pt x="735" y="233"/>
                    </a:cubicBezTo>
                    <a:cubicBezTo>
                      <a:pt x="735" y="235"/>
                      <a:pt x="735" y="235"/>
                      <a:pt x="735" y="235"/>
                    </a:cubicBezTo>
                    <a:cubicBezTo>
                      <a:pt x="734" y="237"/>
                      <a:pt x="734" y="237"/>
                      <a:pt x="734" y="237"/>
                    </a:cubicBezTo>
                    <a:cubicBezTo>
                      <a:pt x="733" y="237"/>
                      <a:pt x="733" y="237"/>
                      <a:pt x="733" y="237"/>
                    </a:cubicBezTo>
                    <a:cubicBezTo>
                      <a:pt x="733" y="236"/>
                      <a:pt x="733" y="236"/>
                      <a:pt x="733" y="236"/>
                    </a:cubicBezTo>
                    <a:cubicBezTo>
                      <a:pt x="732" y="237"/>
                      <a:pt x="732" y="237"/>
                      <a:pt x="732" y="237"/>
                    </a:cubicBezTo>
                    <a:cubicBezTo>
                      <a:pt x="731" y="238"/>
                      <a:pt x="731" y="238"/>
                      <a:pt x="731" y="238"/>
                    </a:cubicBezTo>
                    <a:cubicBezTo>
                      <a:pt x="732" y="239"/>
                      <a:pt x="732" y="239"/>
                      <a:pt x="732" y="239"/>
                    </a:cubicBezTo>
                    <a:cubicBezTo>
                      <a:pt x="731" y="241"/>
                      <a:pt x="731" y="241"/>
                      <a:pt x="731" y="241"/>
                    </a:cubicBezTo>
                    <a:cubicBezTo>
                      <a:pt x="730" y="242"/>
                      <a:pt x="730" y="242"/>
                      <a:pt x="730" y="242"/>
                    </a:cubicBezTo>
                    <a:cubicBezTo>
                      <a:pt x="731" y="243"/>
                      <a:pt x="731" y="243"/>
                      <a:pt x="731" y="243"/>
                    </a:cubicBezTo>
                    <a:cubicBezTo>
                      <a:pt x="731" y="245"/>
                      <a:pt x="731" y="245"/>
                      <a:pt x="731" y="245"/>
                    </a:cubicBezTo>
                    <a:cubicBezTo>
                      <a:pt x="732" y="249"/>
                      <a:pt x="732" y="249"/>
                      <a:pt x="732" y="249"/>
                    </a:cubicBezTo>
                    <a:cubicBezTo>
                      <a:pt x="733" y="251"/>
                      <a:pt x="733" y="251"/>
                      <a:pt x="733" y="251"/>
                    </a:cubicBezTo>
                    <a:cubicBezTo>
                      <a:pt x="732" y="252"/>
                      <a:pt x="732" y="252"/>
                      <a:pt x="732" y="252"/>
                    </a:cubicBezTo>
                    <a:cubicBezTo>
                      <a:pt x="733" y="253"/>
                      <a:pt x="733" y="253"/>
                      <a:pt x="733" y="253"/>
                    </a:cubicBezTo>
                    <a:cubicBezTo>
                      <a:pt x="734" y="253"/>
                      <a:pt x="734" y="253"/>
                      <a:pt x="734" y="253"/>
                    </a:cubicBezTo>
                    <a:cubicBezTo>
                      <a:pt x="734" y="252"/>
                      <a:pt x="734" y="252"/>
                      <a:pt x="734" y="252"/>
                    </a:cubicBezTo>
                    <a:cubicBezTo>
                      <a:pt x="733" y="251"/>
                      <a:pt x="733" y="251"/>
                      <a:pt x="733" y="251"/>
                    </a:cubicBezTo>
                    <a:cubicBezTo>
                      <a:pt x="734" y="250"/>
                      <a:pt x="734" y="250"/>
                      <a:pt x="734" y="250"/>
                    </a:cubicBezTo>
                    <a:cubicBezTo>
                      <a:pt x="735" y="250"/>
                      <a:pt x="735" y="250"/>
                      <a:pt x="735" y="250"/>
                    </a:cubicBezTo>
                    <a:cubicBezTo>
                      <a:pt x="736" y="252"/>
                      <a:pt x="736" y="252"/>
                      <a:pt x="736" y="252"/>
                    </a:cubicBezTo>
                    <a:cubicBezTo>
                      <a:pt x="737" y="250"/>
                      <a:pt x="737" y="250"/>
                      <a:pt x="737" y="250"/>
                    </a:cubicBezTo>
                    <a:cubicBezTo>
                      <a:pt x="738" y="249"/>
                      <a:pt x="738" y="249"/>
                      <a:pt x="738" y="249"/>
                    </a:cubicBezTo>
                    <a:cubicBezTo>
                      <a:pt x="738" y="247"/>
                      <a:pt x="738" y="247"/>
                      <a:pt x="738" y="247"/>
                    </a:cubicBezTo>
                    <a:cubicBezTo>
                      <a:pt x="739" y="247"/>
                      <a:pt x="739" y="247"/>
                      <a:pt x="739" y="247"/>
                    </a:cubicBezTo>
                    <a:cubicBezTo>
                      <a:pt x="740" y="245"/>
                      <a:pt x="740" y="245"/>
                      <a:pt x="740" y="245"/>
                    </a:cubicBezTo>
                    <a:cubicBezTo>
                      <a:pt x="741" y="244"/>
                      <a:pt x="741" y="244"/>
                      <a:pt x="741" y="244"/>
                    </a:cubicBezTo>
                    <a:cubicBezTo>
                      <a:pt x="743" y="242"/>
                      <a:pt x="743" y="242"/>
                      <a:pt x="743" y="242"/>
                    </a:cubicBezTo>
                    <a:cubicBezTo>
                      <a:pt x="745" y="240"/>
                      <a:pt x="745" y="240"/>
                      <a:pt x="745" y="240"/>
                    </a:cubicBezTo>
                    <a:cubicBezTo>
                      <a:pt x="746" y="237"/>
                      <a:pt x="746" y="237"/>
                      <a:pt x="746" y="237"/>
                    </a:cubicBezTo>
                    <a:cubicBezTo>
                      <a:pt x="747" y="235"/>
                      <a:pt x="747" y="235"/>
                      <a:pt x="747" y="235"/>
                    </a:cubicBezTo>
                    <a:cubicBezTo>
                      <a:pt x="748" y="234"/>
                      <a:pt x="748" y="234"/>
                      <a:pt x="748" y="234"/>
                    </a:cubicBezTo>
                    <a:cubicBezTo>
                      <a:pt x="749" y="236"/>
                      <a:pt x="749" y="236"/>
                      <a:pt x="749" y="236"/>
                    </a:cubicBezTo>
                    <a:cubicBezTo>
                      <a:pt x="750" y="235"/>
                      <a:pt x="750" y="235"/>
                      <a:pt x="750" y="235"/>
                    </a:cubicBezTo>
                    <a:cubicBezTo>
                      <a:pt x="752" y="235"/>
                      <a:pt x="752" y="235"/>
                      <a:pt x="752" y="235"/>
                    </a:cubicBezTo>
                    <a:cubicBezTo>
                      <a:pt x="752" y="234"/>
                      <a:pt x="752" y="234"/>
                      <a:pt x="752" y="234"/>
                    </a:cubicBezTo>
                    <a:cubicBezTo>
                      <a:pt x="751" y="234"/>
                      <a:pt x="751" y="234"/>
                      <a:pt x="751" y="234"/>
                    </a:cubicBezTo>
                    <a:cubicBezTo>
                      <a:pt x="750" y="233"/>
                      <a:pt x="750" y="233"/>
                      <a:pt x="750" y="233"/>
                    </a:cubicBezTo>
                    <a:cubicBezTo>
                      <a:pt x="752" y="232"/>
                      <a:pt x="752" y="232"/>
                      <a:pt x="752" y="232"/>
                    </a:cubicBezTo>
                    <a:cubicBezTo>
                      <a:pt x="752" y="233"/>
                      <a:pt x="752" y="233"/>
                      <a:pt x="752" y="233"/>
                    </a:cubicBezTo>
                    <a:cubicBezTo>
                      <a:pt x="753" y="233"/>
                      <a:pt x="753" y="233"/>
                      <a:pt x="753" y="233"/>
                    </a:cubicBezTo>
                    <a:cubicBezTo>
                      <a:pt x="754" y="233"/>
                      <a:pt x="754" y="233"/>
                      <a:pt x="754" y="233"/>
                    </a:cubicBezTo>
                    <a:cubicBezTo>
                      <a:pt x="754" y="232"/>
                      <a:pt x="754" y="232"/>
                      <a:pt x="754" y="232"/>
                    </a:cubicBezTo>
                    <a:cubicBezTo>
                      <a:pt x="754" y="231"/>
                      <a:pt x="754" y="231"/>
                      <a:pt x="754" y="231"/>
                    </a:cubicBezTo>
                    <a:cubicBezTo>
                      <a:pt x="753" y="231"/>
                      <a:pt x="753" y="231"/>
                      <a:pt x="753" y="231"/>
                    </a:cubicBezTo>
                    <a:cubicBezTo>
                      <a:pt x="753" y="230"/>
                      <a:pt x="753" y="230"/>
                      <a:pt x="753" y="230"/>
                    </a:cubicBezTo>
                    <a:cubicBezTo>
                      <a:pt x="752" y="230"/>
                      <a:pt x="752" y="230"/>
                      <a:pt x="752" y="230"/>
                    </a:cubicBezTo>
                    <a:cubicBezTo>
                      <a:pt x="752" y="228"/>
                      <a:pt x="752" y="228"/>
                      <a:pt x="752" y="228"/>
                    </a:cubicBezTo>
                    <a:cubicBezTo>
                      <a:pt x="753" y="227"/>
                      <a:pt x="753" y="227"/>
                      <a:pt x="753" y="227"/>
                    </a:cubicBezTo>
                    <a:cubicBezTo>
                      <a:pt x="753" y="226"/>
                      <a:pt x="753" y="226"/>
                      <a:pt x="753" y="226"/>
                    </a:cubicBezTo>
                    <a:cubicBezTo>
                      <a:pt x="754" y="226"/>
                      <a:pt x="754" y="226"/>
                      <a:pt x="754" y="226"/>
                    </a:cubicBezTo>
                    <a:cubicBezTo>
                      <a:pt x="753" y="225"/>
                      <a:pt x="753" y="225"/>
                      <a:pt x="753" y="225"/>
                    </a:cubicBezTo>
                    <a:cubicBezTo>
                      <a:pt x="753" y="224"/>
                      <a:pt x="753" y="224"/>
                      <a:pt x="753" y="224"/>
                    </a:cubicBezTo>
                    <a:cubicBezTo>
                      <a:pt x="754" y="223"/>
                      <a:pt x="754" y="223"/>
                      <a:pt x="754" y="223"/>
                    </a:cubicBezTo>
                    <a:cubicBezTo>
                      <a:pt x="754" y="222"/>
                      <a:pt x="754" y="222"/>
                      <a:pt x="754" y="222"/>
                    </a:cubicBezTo>
                    <a:cubicBezTo>
                      <a:pt x="755" y="222"/>
                      <a:pt x="755" y="222"/>
                      <a:pt x="755" y="222"/>
                    </a:cubicBezTo>
                    <a:cubicBezTo>
                      <a:pt x="755" y="221"/>
                      <a:pt x="755" y="221"/>
                      <a:pt x="755" y="221"/>
                    </a:cubicBezTo>
                    <a:cubicBezTo>
                      <a:pt x="754" y="221"/>
                      <a:pt x="754" y="221"/>
                      <a:pt x="754" y="221"/>
                    </a:cubicBezTo>
                    <a:cubicBezTo>
                      <a:pt x="754" y="220"/>
                      <a:pt x="754" y="220"/>
                      <a:pt x="754" y="220"/>
                    </a:cubicBezTo>
                    <a:cubicBezTo>
                      <a:pt x="755" y="220"/>
                      <a:pt x="755" y="220"/>
                      <a:pt x="755" y="220"/>
                    </a:cubicBezTo>
                    <a:cubicBezTo>
                      <a:pt x="756" y="221"/>
                      <a:pt x="756" y="221"/>
                      <a:pt x="756" y="221"/>
                    </a:cubicBezTo>
                    <a:cubicBezTo>
                      <a:pt x="757" y="221"/>
                      <a:pt x="757" y="221"/>
                      <a:pt x="757" y="221"/>
                    </a:cubicBezTo>
                    <a:cubicBezTo>
                      <a:pt x="758" y="221"/>
                      <a:pt x="758" y="221"/>
                      <a:pt x="758" y="221"/>
                    </a:cubicBezTo>
                    <a:cubicBezTo>
                      <a:pt x="760" y="221"/>
                      <a:pt x="760" y="221"/>
                      <a:pt x="760" y="221"/>
                    </a:cubicBezTo>
                    <a:cubicBezTo>
                      <a:pt x="761" y="222"/>
                      <a:pt x="761" y="222"/>
                      <a:pt x="761" y="222"/>
                    </a:cubicBezTo>
                    <a:cubicBezTo>
                      <a:pt x="761" y="223"/>
                      <a:pt x="761" y="223"/>
                      <a:pt x="761" y="223"/>
                    </a:cubicBezTo>
                    <a:cubicBezTo>
                      <a:pt x="762" y="224"/>
                      <a:pt x="762" y="224"/>
                      <a:pt x="762" y="224"/>
                    </a:cubicBezTo>
                    <a:cubicBezTo>
                      <a:pt x="764" y="225"/>
                      <a:pt x="764" y="225"/>
                      <a:pt x="764" y="225"/>
                    </a:cubicBezTo>
                    <a:cubicBezTo>
                      <a:pt x="765" y="224"/>
                      <a:pt x="765" y="224"/>
                      <a:pt x="765" y="224"/>
                    </a:cubicBezTo>
                    <a:cubicBezTo>
                      <a:pt x="767" y="225"/>
                      <a:pt x="767" y="225"/>
                      <a:pt x="767" y="225"/>
                    </a:cubicBezTo>
                    <a:cubicBezTo>
                      <a:pt x="768" y="226"/>
                      <a:pt x="768" y="226"/>
                      <a:pt x="768" y="226"/>
                    </a:cubicBezTo>
                    <a:cubicBezTo>
                      <a:pt x="768" y="227"/>
                      <a:pt x="768" y="227"/>
                      <a:pt x="768" y="227"/>
                    </a:cubicBezTo>
                    <a:cubicBezTo>
                      <a:pt x="767" y="228"/>
                      <a:pt x="767" y="228"/>
                      <a:pt x="767" y="228"/>
                    </a:cubicBezTo>
                    <a:cubicBezTo>
                      <a:pt x="767" y="227"/>
                      <a:pt x="767" y="227"/>
                      <a:pt x="767" y="227"/>
                    </a:cubicBezTo>
                    <a:cubicBezTo>
                      <a:pt x="766" y="227"/>
                      <a:pt x="766" y="227"/>
                      <a:pt x="766" y="227"/>
                    </a:cubicBezTo>
                    <a:cubicBezTo>
                      <a:pt x="766" y="228"/>
                      <a:pt x="766" y="228"/>
                      <a:pt x="766" y="228"/>
                    </a:cubicBezTo>
                    <a:cubicBezTo>
                      <a:pt x="769" y="229"/>
                      <a:pt x="769" y="229"/>
                      <a:pt x="769" y="229"/>
                    </a:cubicBezTo>
                    <a:cubicBezTo>
                      <a:pt x="769" y="231"/>
                      <a:pt x="769" y="231"/>
                      <a:pt x="769" y="231"/>
                    </a:cubicBezTo>
                    <a:cubicBezTo>
                      <a:pt x="771" y="231"/>
                      <a:pt x="771" y="231"/>
                      <a:pt x="771" y="231"/>
                    </a:cubicBezTo>
                    <a:cubicBezTo>
                      <a:pt x="772" y="232"/>
                      <a:pt x="772" y="232"/>
                      <a:pt x="772" y="232"/>
                    </a:cubicBezTo>
                    <a:cubicBezTo>
                      <a:pt x="772" y="233"/>
                      <a:pt x="772" y="233"/>
                      <a:pt x="772" y="233"/>
                    </a:cubicBezTo>
                    <a:cubicBezTo>
                      <a:pt x="772" y="234"/>
                      <a:pt x="772" y="234"/>
                      <a:pt x="772" y="234"/>
                    </a:cubicBezTo>
                    <a:cubicBezTo>
                      <a:pt x="770" y="236"/>
                      <a:pt x="770" y="236"/>
                      <a:pt x="770" y="236"/>
                    </a:cubicBezTo>
                    <a:cubicBezTo>
                      <a:pt x="769" y="236"/>
                      <a:pt x="769" y="236"/>
                      <a:pt x="769" y="236"/>
                    </a:cubicBezTo>
                    <a:cubicBezTo>
                      <a:pt x="770" y="237"/>
                      <a:pt x="770" y="237"/>
                      <a:pt x="770" y="237"/>
                    </a:cubicBezTo>
                    <a:cubicBezTo>
                      <a:pt x="770" y="238"/>
                      <a:pt x="770" y="238"/>
                      <a:pt x="770" y="238"/>
                    </a:cubicBezTo>
                    <a:cubicBezTo>
                      <a:pt x="771" y="238"/>
                      <a:pt x="771" y="238"/>
                      <a:pt x="771" y="238"/>
                    </a:cubicBezTo>
                    <a:cubicBezTo>
                      <a:pt x="770" y="239"/>
                      <a:pt x="770" y="239"/>
                      <a:pt x="770" y="239"/>
                    </a:cubicBezTo>
                    <a:cubicBezTo>
                      <a:pt x="771" y="240"/>
                      <a:pt x="771" y="240"/>
                      <a:pt x="771" y="240"/>
                    </a:cubicBezTo>
                    <a:cubicBezTo>
                      <a:pt x="769" y="241"/>
                      <a:pt x="769" y="241"/>
                      <a:pt x="769" y="241"/>
                    </a:cubicBezTo>
                    <a:cubicBezTo>
                      <a:pt x="767" y="241"/>
                      <a:pt x="767" y="241"/>
                      <a:pt x="767" y="241"/>
                    </a:cubicBezTo>
                    <a:cubicBezTo>
                      <a:pt x="766" y="242"/>
                      <a:pt x="766" y="242"/>
                      <a:pt x="766" y="242"/>
                    </a:cubicBezTo>
                    <a:cubicBezTo>
                      <a:pt x="765" y="242"/>
                      <a:pt x="765" y="242"/>
                      <a:pt x="765" y="242"/>
                    </a:cubicBezTo>
                    <a:cubicBezTo>
                      <a:pt x="764" y="240"/>
                      <a:pt x="764" y="240"/>
                      <a:pt x="764" y="240"/>
                    </a:cubicBezTo>
                    <a:cubicBezTo>
                      <a:pt x="763" y="240"/>
                      <a:pt x="763" y="240"/>
                      <a:pt x="763" y="240"/>
                    </a:cubicBezTo>
                    <a:cubicBezTo>
                      <a:pt x="762" y="240"/>
                      <a:pt x="762" y="240"/>
                      <a:pt x="762" y="240"/>
                    </a:cubicBezTo>
                    <a:cubicBezTo>
                      <a:pt x="762" y="241"/>
                      <a:pt x="762" y="241"/>
                      <a:pt x="762" y="241"/>
                    </a:cubicBezTo>
                    <a:cubicBezTo>
                      <a:pt x="763" y="242"/>
                      <a:pt x="763" y="242"/>
                      <a:pt x="763" y="242"/>
                    </a:cubicBezTo>
                    <a:cubicBezTo>
                      <a:pt x="763" y="243"/>
                      <a:pt x="763" y="243"/>
                      <a:pt x="763" y="243"/>
                    </a:cubicBezTo>
                    <a:cubicBezTo>
                      <a:pt x="762" y="244"/>
                      <a:pt x="762" y="244"/>
                      <a:pt x="762" y="244"/>
                    </a:cubicBezTo>
                    <a:cubicBezTo>
                      <a:pt x="763" y="244"/>
                      <a:pt x="763" y="244"/>
                      <a:pt x="763" y="244"/>
                    </a:cubicBezTo>
                    <a:cubicBezTo>
                      <a:pt x="762" y="245"/>
                      <a:pt x="762" y="245"/>
                      <a:pt x="762" y="245"/>
                    </a:cubicBezTo>
                    <a:cubicBezTo>
                      <a:pt x="762" y="246"/>
                      <a:pt x="762" y="246"/>
                      <a:pt x="762" y="246"/>
                    </a:cubicBezTo>
                    <a:cubicBezTo>
                      <a:pt x="762" y="248"/>
                      <a:pt x="762" y="248"/>
                      <a:pt x="762" y="248"/>
                    </a:cubicBezTo>
                    <a:cubicBezTo>
                      <a:pt x="762" y="249"/>
                      <a:pt x="762" y="249"/>
                      <a:pt x="762" y="249"/>
                    </a:cubicBezTo>
                    <a:cubicBezTo>
                      <a:pt x="763" y="250"/>
                      <a:pt x="763" y="250"/>
                      <a:pt x="763" y="250"/>
                    </a:cubicBezTo>
                    <a:cubicBezTo>
                      <a:pt x="763" y="251"/>
                      <a:pt x="763" y="251"/>
                      <a:pt x="763" y="251"/>
                    </a:cubicBezTo>
                    <a:cubicBezTo>
                      <a:pt x="764" y="254"/>
                      <a:pt x="764" y="254"/>
                      <a:pt x="764" y="254"/>
                    </a:cubicBezTo>
                    <a:cubicBezTo>
                      <a:pt x="764" y="255"/>
                      <a:pt x="764" y="255"/>
                      <a:pt x="764" y="255"/>
                    </a:cubicBezTo>
                    <a:cubicBezTo>
                      <a:pt x="764" y="256"/>
                      <a:pt x="764" y="256"/>
                      <a:pt x="764" y="256"/>
                    </a:cubicBezTo>
                    <a:cubicBezTo>
                      <a:pt x="762" y="258"/>
                      <a:pt x="762" y="258"/>
                      <a:pt x="762" y="258"/>
                    </a:cubicBezTo>
                    <a:cubicBezTo>
                      <a:pt x="762" y="259"/>
                      <a:pt x="762" y="259"/>
                      <a:pt x="762" y="259"/>
                    </a:cubicBezTo>
                    <a:cubicBezTo>
                      <a:pt x="762" y="260"/>
                      <a:pt x="762" y="260"/>
                      <a:pt x="762" y="260"/>
                    </a:cubicBezTo>
                    <a:cubicBezTo>
                      <a:pt x="761" y="259"/>
                      <a:pt x="761" y="259"/>
                      <a:pt x="761" y="259"/>
                    </a:cubicBezTo>
                    <a:cubicBezTo>
                      <a:pt x="759" y="259"/>
                      <a:pt x="759" y="259"/>
                      <a:pt x="759" y="259"/>
                    </a:cubicBezTo>
                    <a:cubicBezTo>
                      <a:pt x="758" y="260"/>
                      <a:pt x="758" y="260"/>
                      <a:pt x="758" y="260"/>
                    </a:cubicBezTo>
                    <a:cubicBezTo>
                      <a:pt x="757" y="261"/>
                      <a:pt x="757" y="261"/>
                      <a:pt x="757" y="261"/>
                    </a:cubicBezTo>
                    <a:cubicBezTo>
                      <a:pt x="756" y="262"/>
                      <a:pt x="756" y="262"/>
                      <a:pt x="756" y="262"/>
                    </a:cubicBezTo>
                    <a:cubicBezTo>
                      <a:pt x="756" y="263"/>
                      <a:pt x="756" y="263"/>
                      <a:pt x="756" y="263"/>
                    </a:cubicBezTo>
                    <a:cubicBezTo>
                      <a:pt x="755" y="263"/>
                      <a:pt x="755" y="263"/>
                      <a:pt x="755" y="263"/>
                    </a:cubicBezTo>
                    <a:cubicBezTo>
                      <a:pt x="753" y="265"/>
                      <a:pt x="753" y="265"/>
                      <a:pt x="753" y="265"/>
                    </a:cubicBezTo>
                    <a:cubicBezTo>
                      <a:pt x="752" y="265"/>
                      <a:pt x="752" y="265"/>
                      <a:pt x="752" y="265"/>
                    </a:cubicBezTo>
                    <a:cubicBezTo>
                      <a:pt x="751" y="265"/>
                      <a:pt x="751" y="265"/>
                      <a:pt x="751" y="265"/>
                    </a:cubicBezTo>
                    <a:cubicBezTo>
                      <a:pt x="751" y="266"/>
                      <a:pt x="751" y="266"/>
                      <a:pt x="751" y="266"/>
                    </a:cubicBezTo>
                    <a:cubicBezTo>
                      <a:pt x="747" y="267"/>
                      <a:pt x="747" y="267"/>
                      <a:pt x="747" y="267"/>
                    </a:cubicBezTo>
                    <a:cubicBezTo>
                      <a:pt x="747" y="266"/>
                      <a:pt x="747" y="266"/>
                      <a:pt x="747" y="266"/>
                    </a:cubicBezTo>
                    <a:cubicBezTo>
                      <a:pt x="747" y="265"/>
                      <a:pt x="747" y="265"/>
                      <a:pt x="747" y="265"/>
                    </a:cubicBezTo>
                    <a:cubicBezTo>
                      <a:pt x="747" y="264"/>
                      <a:pt x="747" y="264"/>
                      <a:pt x="747" y="264"/>
                    </a:cubicBezTo>
                    <a:cubicBezTo>
                      <a:pt x="746" y="263"/>
                      <a:pt x="746" y="263"/>
                      <a:pt x="746" y="263"/>
                    </a:cubicBezTo>
                    <a:cubicBezTo>
                      <a:pt x="746" y="262"/>
                      <a:pt x="746" y="262"/>
                      <a:pt x="746" y="262"/>
                    </a:cubicBezTo>
                    <a:cubicBezTo>
                      <a:pt x="747" y="262"/>
                      <a:pt x="747" y="262"/>
                      <a:pt x="747" y="262"/>
                    </a:cubicBezTo>
                    <a:cubicBezTo>
                      <a:pt x="747" y="261"/>
                      <a:pt x="747" y="261"/>
                      <a:pt x="747" y="261"/>
                    </a:cubicBezTo>
                    <a:cubicBezTo>
                      <a:pt x="746" y="261"/>
                      <a:pt x="746" y="261"/>
                      <a:pt x="746" y="261"/>
                    </a:cubicBezTo>
                    <a:cubicBezTo>
                      <a:pt x="746" y="258"/>
                      <a:pt x="746" y="258"/>
                      <a:pt x="746" y="258"/>
                    </a:cubicBezTo>
                    <a:cubicBezTo>
                      <a:pt x="745" y="258"/>
                      <a:pt x="745" y="258"/>
                      <a:pt x="745" y="258"/>
                    </a:cubicBezTo>
                    <a:cubicBezTo>
                      <a:pt x="745" y="257"/>
                      <a:pt x="745" y="257"/>
                      <a:pt x="745" y="257"/>
                    </a:cubicBezTo>
                    <a:cubicBezTo>
                      <a:pt x="743" y="257"/>
                      <a:pt x="743" y="257"/>
                      <a:pt x="743" y="257"/>
                    </a:cubicBezTo>
                    <a:cubicBezTo>
                      <a:pt x="742" y="257"/>
                      <a:pt x="742" y="257"/>
                      <a:pt x="742" y="257"/>
                    </a:cubicBezTo>
                    <a:cubicBezTo>
                      <a:pt x="741" y="259"/>
                      <a:pt x="741" y="259"/>
                      <a:pt x="741" y="259"/>
                    </a:cubicBezTo>
                    <a:cubicBezTo>
                      <a:pt x="743" y="258"/>
                      <a:pt x="743" y="258"/>
                      <a:pt x="743" y="258"/>
                    </a:cubicBezTo>
                    <a:cubicBezTo>
                      <a:pt x="744" y="258"/>
                      <a:pt x="744" y="258"/>
                      <a:pt x="744" y="258"/>
                    </a:cubicBezTo>
                    <a:cubicBezTo>
                      <a:pt x="744" y="259"/>
                      <a:pt x="744" y="259"/>
                      <a:pt x="744" y="259"/>
                    </a:cubicBezTo>
                    <a:cubicBezTo>
                      <a:pt x="745" y="260"/>
                      <a:pt x="745" y="260"/>
                      <a:pt x="745" y="260"/>
                    </a:cubicBezTo>
                    <a:cubicBezTo>
                      <a:pt x="745" y="262"/>
                      <a:pt x="745" y="262"/>
                      <a:pt x="745" y="262"/>
                    </a:cubicBezTo>
                    <a:cubicBezTo>
                      <a:pt x="745" y="263"/>
                      <a:pt x="745" y="263"/>
                      <a:pt x="745" y="263"/>
                    </a:cubicBezTo>
                    <a:cubicBezTo>
                      <a:pt x="746" y="264"/>
                      <a:pt x="746" y="264"/>
                      <a:pt x="746" y="264"/>
                    </a:cubicBezTo>
                    <a:cubicBezTo>
                      <a:pt x="746" y="266"/>
                      <a:pt x="746" y="266"/>
                      <a:pt x="746" y="266"/>
                    </a:cubicBezTo>
                    <a:cubicBezTo>
                      <a:pt x="745" y="266"/>
                      <a:pt x="745" y="266"/>
                      <a:pt x="745" y="266"/>
                    </a:cubicBezTo>
                    <a:cubicBezTo>
                      <a:pt x="746" y="267"/>
                      <a:pt x="746" y="267"/>
                      <a:pt x="746" y="267"/>
                    </a:cubicBezTo>
                    <a:cubicBezTo>
                      <a:pt x="746" y="268"/>
                      <a:pt x="746" y="268"/>
                      <a:pt x="746" y="268"/>
                    </a:cubicBezTo>
                    <a:cubicBezTo>
                      <a:pt x="745" y="268"/>
                      <a:pt x="745" y="268"/>
                      <a:pt x="745" y="268"/>
                    </a:cubicBezTo>
                    <a:cubicBezTo>
                      <a:pt x="743" y="266"/>
                      <a:pt x="743" y="266"/>
                      <a:pt x="743" y="266"/>
                    </a:cubicBezTo>
                    <a:cubicBezTo>
                      <a:pt x="743" y="265"/>
                      <a:pt x="743" y="265"/>
                      <a:pt x="743" y="265"/>
                    </a:cubicBezTo>
                    <a:cubicBezTo>
                      <a:pt x="742" y="265"/>
                      <a:pt x="742" y="265"/>
                      <a:pt x="742" y="265"/>
                    </a:cubicBezTo>
                    <a:cubicBezTo>
                      <a:pt x="742" y="264"/>
                      <a:pt x="742" y="264"/>
                      <a:pt x="742" y="264"/>
                    </a:cubicBezTo>
                    <a:cubicBezTo>
                      <a:pt x="741" y="265"/>
                      <a:pt x="741" y="265"/>
                      <a:pt x="741" y="265"/>
                    </a:cubicBezTo>
                    <a:cubicBezTo>
                      <a:pt x="742" y="266"/>
                      <a:pt x="742" y="266"/>
                      <a:pt x="742" y="266"/>
                    </a:cubicBezTo>
                    <a:cubicBezTo>
                      <a:pt x="742" y="267"/>
                      <a:pt x="742" y="267"/>
                      <a:pt x="742" y="267"/>
                    </a:cubicBezTo>
                    <a:cubicBezTo>
                      <a:pt x="741" y="266"/>
                      <a:pt x="741" y="266"/>
                      <a:pt x="741" y="266"/>
                    </a:cubicBezTo>
                    <a:cubicBezTo>
                      <a:pt x="740" y="266"/>
                      <a:pt x="740" y="266"/>
                      <a:pt x="740" y="266"/>
                    </a:cubicBezTo>
                    <a:cubicBezTo>
                      <a:pt x="739" y="265"/>
                      <a:pt x="739" y="265"/>
                      <a:pt x="739" y="265"/>
                    </a:cubicBezTo>
                    <a:cubicBezTo>
                      <a:pt x="739" y="263"/>
                      <a:pt x="739" y="263"/>
                      <a:pt x="739" y="263"/>
                    </a:cubicBezTo>
                    <a:cubicBezTo>
                      <a:pt x="739" y="262"/>
                      <a:pt x="739" y="262"/>
                      <a:pt x="739" y="262"/>
                    </a:cubicBezTo>
                    <a:cubicBezTo>
                      <a:pt x="737" y="262"/>
                      <a:pt x="737" y="262"/>
                      <a:pt x="737" y="262"/>
                    </a:cubicBezTo>
                    <a:cubicBezTo>
                      <a:pt x="735" y="262"/>
                      <a:pt x="735" y="262"/>
                      <a:pt x="735" y="262"/>
                    </a:cubicBezTo>
                    <a:cubicBezTo>
                      <a:pt x="734" y="262"/>
                      <a:pt x="734" y="262"/>
                      <a:pt x="734" y="262"/>
                    </a:cubicBezTo>
                    <a:cubicBezTo>
                      <a:pt x="733" y="262"/>
                      <a:pt x="733" y="262"/>
                      <a:pt x="733" y="262"/>
                    </a:cubicBezTo>
                    <a:cubicBezTo>
                      <a:pt x="732" y="261"/>
                      <a:pt x="732" y="261"/>
                      <a:pt x="732" y="261"/>
                    </a:cubicBezTo>
                    <a:cubicBezTo>
                      <a:pt x="732" y="262"/>
                      <a:pt x="732" y="262"/>
                      <a:pt x="732" y="262"/>
                    </a:cubicBezTo>
                    <a:cubicBezTo>
                      <a:pt x="732" y="263"/>
                      <a:pt x="732" y="263"/>
                      <a:pt x="732" y="263"/>
                    </a:cubicBezTo>
                    <a:cubicBezTo>
                      <a:pt x="732" y="264"/>
                      <a:pt x="732" y="264"/>
                      <a:pt x="732" y="264"/>
                    </a:cubicBezTo>
                    <a:cubicBezTo>
                      <a:pt x="732" y="265"/>
                      <a:pt x="732" y="265"/>
                      <a:pt x="732" y="265"/>
                    </a:cubicBezTo>
                    <a:cubicBezTo>
                      <a:pt x="734" y="266"/>
                      <a:pt x="734" y="266"/>
                      <a:pt x="734" y="266"/>
                    </a:cubicBezTo>
                    <a:cubicBezTo>
                      <a:pt x="734" y="267"/>
                      <a:pt x="734" y="267"/>
                      <a:pt x="734" y="267"/>
                    </a:cubicBezTo>
                    <a:cubicBezTo>
                      <a:pt x="733" y="268"/>
                      <a:pt x="733" y="268"/>
                      <a:pt x="733" y="268"/>
                    </a:cubicBezTo>
                    <a:cubicBezTo>
                      <a:pt x="733" y="269"/>
                      <a:pt x="733" y="269"/>
                      <a:pt x="733" y="269"/>
                    </a:cubicBezTo>
                    <a:cubicBezTo>
                      <a:pt x="730" y="271"/>
                      <a:pt x="730" y="271"/>
                      <a:pt x="730" y="271"/>
                    </a:cubicBezTo>
                    <a:cubicBezTo>
                      <a:pt x="728" y="272"/>
                      <a:pt x="728" y="272"/>
                      <a:pt x="728" y="272"/>
                    </a:cubicBezTo>
                    <a:cubicBezTo>
                      <a:pt x="727" y="274"/>
                      <a:pt x="727" y="274"/>
                      <a:pt x="727" y="274"/>
                    </a:cubicBezTo>
                    <a:cubicBezTo>
                      <a:pt x="726" y="274"/>
                      <a:pt x="726" y="274"/>
                      <a:pt x="726" y="274"/>
                    </a:cubicBezTo>
                    <a:cubicBezTo>
                      <a:pt x="725" y="274"/>
                      <a:pt x="725" y="274"/>
                      <a:pt x="725" y="274"/>
                    </a:cubicBezTo>
                    <a:cubicBezTo>
                      <a:pt x="725" y="276"/>
                      <a:pt x="725" y="276"/>
                      <a:pt x="725" y="276"/>
                    </a:cubicBezTo>
                    <a:cubicBezTo>
                      <a:pt x="723" y="276"/>
                      <a:pt x="723" y="276"/>
                      <a:pt x="723" y="276"/>
                    </a:cubicBezTo>
                    <a:cubicBezTo>
                      <a:pt x="720" y="276"/>
                      <a:pt x="720" y="276"/>
                      <a:pt x="720" y="276"/>
                    </a:cubicBezTo>
                    <a:cubicBezTo>
                      <a:pt x="719" y="274"/>
                      <a:pt x="719" y="274"/>
                      <a:pt x="719" y="274"/>
                    </a:cubicBezTo>
                    <a:cubicBezTo>
                      <a:pt x="718" y="273"/>
                      <a:pt x="718" y="273"/>
                      <a:pt x="718" y="273"/>
                    </a:cubicBezTo>
                    <a:cubicBezTo>
                      <a:pt x="716" y="272"/>
                      <a:pt x="716" y="272"/>
                      <a:pt x="716" y="272"/>
                    </a:cubicBezTo>
                    <a:cubicBezTo>
                      <a:pt x="717" y="271"/>
                      <a:pt x="717" y="271"/>
                      <a:pt x="717" y="271"/>
                    </a:cubicBezTo>
                    <a:cubicBezTo>
                      <a:pt x="717" y="270"/>
                      <a:pt x="717" y="270"/>
                      <a:pt x="717" y="270"/>
                    </a:cubicBezTo>
                    <a:cubicBezTo>
                      <a:pt x="716" y="270"/>
                      <a:pt x="716" y="270"/>
                      <a:pt x="716" y="270"/>
                    </a:cubicBezTo>
                    <a:cubicBezTo>
                      <a:pt x="714" y="268"/>
                      <a:pt x="714" y="268"/>
                      <a:pt x="714" y="268"/>
                    </a:cubicBezTo>
                    <a:cubicBezTo>
                      <a:pt x="713" y="266"/>
                      <a:pt x="713" y="266"/>
                      <a:pt x="713" y="266"/>
                    </a:cubicBezTo>
                    <a:cubicBezTo>
                      <a:pt x="710" y="266"/>
                      <a:pt x="710" y="266"/>
                      <a:pt x="710" y="266"/>
                    </a:cubicBezTo>
                    <a:cubicBezTo>
                      <a:pt x="708" y="265"/>
                      <a:pt x="708" y="265"/>
                      <a:pt x="708" y="265"/>
                    </a:cubicBezTo>
                    <a:cubicBezTo>
                      <a:pt x="705" y="265"/>
                      <a:pt x="705" y="265"/>
                      <a:pt x="705" y="265"/>
                    </a:cubicBezTo>
                    <a:cubicBezTo>
                      <a:pt x="704" y="265"/>
                      <a:pt x="704" y="265"/>
                      <a:pt x="704" y="265"/>
                    </a:cubicBezTo>
                    <a:cubicBezTo>
                      <a:pt x="704" y="266"/>
                      <a:pt x="704" y="266"/>
                      <a:pt x="704" y="266"/>
                    </a:cubicBezTo>
                    <a:cubicBezTo>
                      <a:pt x="705" y="266"/>
                      <a:pt x="705" y="266"/>
                      <a:pt x="705" y="266"/>
                    </a:cubicBezTo>
                    <a:cubicBezTo>
                      <a:pt x="706" y="266"/>
                      <a:pt x="706" y="266"/>
                      <a:pt x="706" y="266"/>
                    </a:cubicBezTo>
                    <a:cubicBezTo>
                      <a:pt x="709" y="267"/>
                      <a:pt x="709" y="267"/>
                      <a:pt x="709" y="267"/>
                    </a:cubicBezTo>
                    <a:cubicBezTo>
                      <a:pt x="712" y="267"/>
                      <a:pt x="712" y="267"/>
                      <a:pt x="712" y="267"/>
                    </a:cubicBezTo>
                    <a:cubicBezTo>
                      <a:pt x="712" y="268"/>
                      <a:pt x="712" y="268"/>
                      <a:pt x="712" y="268"/>
                    </a:cubicBezTo>
                    <a:cubicBezTo>
                      <a:pt x="711" y="268"/>
                      <a:pt x="711" y="268"/>
                      <a:pt x="711" y="268"/>
                    </a:cubicBezTo>
                    <a:cubicBezTo>
                      <a:pt x="712" y="269"/>
                      <a:pt x="712" y="269"/>
                      <a:pt x="712" y="269"/>
                    </a:cubicBezTo>
                    <a:cubicBezTo>
                      <a:pt x="712" y="271"/>
                      <a:pt x="712" y="271"/>
                      <a:pt x="712" y="271"/>
                    </a:cubicBezTo>
                    <a:cubicBezTo>
                      <a:pt x="714" y="274"/>
                      <a:pt x="714" y="274"/>
                      <a:pt x="714" y="274"/>
                    </a:cubicBezTo>
                    <a:cubicBezTo>
                      <a:pt x="715" y="275"/>
                      <a:pt x="715" y="275"/>
                      <a:pt x="715" y="275"/>
                    </a:cubicBezTo>
                    <a:cubicBezTo>
                      <a:pt x="717" y="276"/>
                      <a:pt x="717" y="276"/>
                      <a:pt x="717" y="276"/>
                    </a:cubicBezTo>
                    <a:cubicBezTo>
                      <a:pt x="719" y="277"/>
                      <a:pt x="719" y="277"/>
                      <a:pt x="719" y="277"/>
                    </a:cubicBezTo>
                    <a:cubicBezTo>
                      <a:pt x="724" y="278"/>
                      <a:pt x="724" y="278"/>
                      <a:pt x="724" y="278"/>
                    </a:cubicBezTo>
                    <a:cubicBezTo>
                      <a:pt x="724" y="279"/>
                      <a:pt x="724" y="279"/>
                      <a:pt x="724" y="279"/>
                    </a:cubicBezTo>
                    <a:cubicBezTo>
                      <a:pt x="723" y="280"/>
                      <a:pt x="723" y="280"/>
                      <a:pt x="723" y="280"/>
                    </a:cubicBezTo>
                    <a:cubicBezTo>
                      <a:pt x="722" y="281"/>
                      <a:pt x="722" y="281"/>
                      <a:pt x="722" y="281"/>
                    </a:cubicBezTo>
                    <a:cubicBezTo>
                      <a:pt x="721" y="281"/>
                      <a:pt x="721" y="281"/>
                      <a:pt x="721" y="281"/>
                    </a:cubicBezTo>
                    <a:cubicBezTo>
                      <a:pt x="719" y="284"/>
                      <a:pt x="719" y="284"/>
                      <a:pt x="719" y="284"/>
                    </a:cubicBezTo>
                    <a:cubicBezTo>
                      <a:pt x="719" y="283"/>
                      <a:pt x="719" y="283"/>
                      <a:pt x="719" y="283"/>
                    </a:cubicBezTo>
                    <a:cubicBezTo>
                      <a:pt x="718" y="284"/>
                      <a:pt x="718" y="284"/>
                      <a:pt x="718" y="284"/>
                    </a:cubicBezTo>
                    <a:cubicBezTo>
                      <a:pt x="714" y="289"/>
                      <a:pt x="714" y="289"/>
                      <a:pt x="714" y="289"/>
                    </a:cubicBezTo>
                    <a:cubicBezTo>
                      <a:pt x="712" y="289"/>
                      <a:pt x="712" y="289"/>
                      <a:pt x="712" y="289"/>
                    </a:cubicBezTo>
                    <a:cubicBezTo>
                      <a:pt x="711" y="291"/>
                      <a:pt x="711" y="291"/>
                      <a:pt x="711" y="291"/>
                    </a:cubicBezTo>
                    <a:cubicBezTo>
                      <a:pt x="710" y="291"/>
                      <a:pt x="710" y="291"/>
                      <a:pt x="710" y="291"/>
                    </a:cubicBezTo>
                    <a:cubicBezTo>
                      <a:pt x="709" y="291"/>
                      <a:pt x="709" y="291"/>
                      <a:pt x="709" y="291"/>
                    </a:cubicBezTo>
                    <a:cubicBezTo>
                      <a:pt x="709" y="292"/>
                      <a:pt x="709" y="292"/>
                      <a:pt x="709" y="292"/>
                    </a:cubicBezTo>
                    <a:cubicBezTo>
                      <a:pt x="707" y="290"/>
                      <a:pt x="707" y="290"/>
                      <a:pt x="707" y="290"/>
                    </a:cubicBezTo>
                    <a:cubicBezTo>
                      <a:pt x="706" y="289"/>
                      <a:pt x="706" y="289"/>
                      <a:pt x="706" y="289"/>
                    </a:cubicBezTo>
                    <a:cubicBezTo>
                      <a:pt x="705" y="290"/>
                      <a:pt x="705" y="290"/>
                      <a:pt x="705" y="290"/>
                    </a:cubicBezTo>
                    <a:cubicBezTo>
                      <a:pt x="705" y="289"/>
                      <a:pt x="705" y="289"/>
                      <a:pt x="705" y="289"/>
                    </a:cubicBezTo>
                    <a:cubicBezTo>
                      <a:pt x="706" y="288"/>
                      <a:pt x="706" y="288"/>
                      <a:pt x="706" y="288"/>
                    </a:cubicBezTo>
                    <a:cubicBezTo>
                      <a:pt x="705" y="288"/>
                      <a:pt x="705" y="288"/>
                      <a:pt x="705" y="288"/>
                    </a:cubicBezTo>
                    <a:cubicBezTo>
                      <a:pt x="705" y="287"/>
                      <a:pt x="705" y="287"/>
                      <a:pt x="705" y="287"/>
                    </a:cubicBezTo>
                    <a:cubicBezTo>
                      <a:pt x="704" y="288"/>
                      <a:pt x="704" y="288"/>
                      <a:pt x="704" y="288"/>
                    </a:cubicBezTo>
                    <a:cubicBezTo>
                      <a:pt x="703" y="290"/>
                      <a:pt x="703" y="290"/>
                      <a:pt x="703" y="290"/>
                    </a:cubicBezTo>
                    <a:cubicBezTo>
                      <a:pt x="703" y="289"/>
                      <a:pt x="703" y="289"/>
                      <a:pt x="703" y="289"/>
                    </a:cubicBezTo>
                    <a:cubicBezTo>
                      <a:pt x="702" y="287"/>
                      <a:pt x="702" y="287"/>
                      <a:pt x="702" y="287"/>
                    </a:cubicBezTo>
                    <a:cubicBezTo>
                      <a:pt x="701" y="289"/>
                      <a:pt x="701" y="289"/>
                      <a:pt x="701" y="289"/>
                    </a:cubicBezTo>
                    <a:cubicBezTo>
                      <a:pt x="702" y="290"/>
                      <a:pt x="702" y="290"/>
                      <a:pt x="702" y="290"/>
                    </a:cubicBezTo>
                    <a:cubicBezTo>
                      <a:pt x="702" y="292"/>
                      <a:pt x="702" y="292"/>
                      <a:pt x="702" y="292"/>
                    </a:cubicBezTo>
                    <a:cubicBezTo>
                      <a:pt x="700" y="294"/>
                      <a:pt x="700" y="294"/>
                      <a:pt x="700" y="294"/>
                    </a:cubicBezTo>
                    <a:cubicBezTo>
                      <a:pt x="699" y="293"/>
                      <a:pt x="699" y="293"/>
                      <a:pt x="699" y="293"/>
                    </a:cubicBezTo>
                    <a:cubicBezTo>
                      <a:pt x="698" y="292"/>
                      <a:pt x="698" y="292"/>
                      <a:pt x="698" y="292"/>
                    </a:cubicBezTo>
                    <a:cubicBezTo>
                      <a:pt x="698" y="293"/>
                      <a:pt x="698" y="293"/>
                      <a:pt x="698" y="293"/>
                    </a:cubicBezTo>
                    <a:cubicBezTo>
                      <a:pt x="699" y="293"/>
                      <a:pt x="699" y="293"/>
                      <a:pt x="699" y="293"/>
                    </a:cubicBezTo>
                    <a:cubicBezTo>
                      <a:pt x="698" y="294"/>
                      <a:pt x="698" y="294"/>
                      <a:pt x="698" y="294"/>
                    </a:cubicBezTo>
                    <a:cubicBezTo>
                      <a:pt x="698" y="295"/>
                      <a:pt x="698" y="295"/>
                      <a:pt x="698" y="295"/>
                    </a:cubicBezTo>
                    <a:cubicBezTo>
                      <a:pt x="697" y="295"/>
                      <a:pt x="697" y="295"/>
                      <a:pt x="697" y="295"/>
                    </a:cubicBezTo>
                    <a:cubicBezTo>
                      <a:pt x="696" y="295"/>
                      <a:pt x="696" y="295"/>
                      <a:pt x="696" y="295"/>
                    </a:cubicBezTo>
                    <a:cubicBezTo>
                      <a:pt x="696" y="294"/>
                      <a:pt x="696" y="294"/>
                      <a:pt x="696" y="294"/>
                    </a:cubicBezTo>
                    <a:cubicBezTo>
                      <a:pt x="695" y="293"/>
                      <a:pt x="695" y="293"/>
                      <a:pt x="695" y="293"/>
                    </a:cubicBezTo>
                    <a:cubicBezTo>
                      <a:pt x="693" y="291"/>
                      <a:pt x="693" y="291"/>
                      <a:pt x="693" y="291"/>
                    </a:cubicBezTo>
                    <a:cubicBezTo>
                      <a:pt x="691" y="290"/>
                      <a:pt x="691" y="290"/>
                      <a:pt x="691" y="290"/>
                    </a:cubicBezTo>
                    <a:cubicBezTo>
                      <a:pt x="688" y="289"/>
                      <a:pt x="688" y="289"/>
                      <a:pt x="688" y="289"/>
                    </a:cubicBezTo>
                    <a:cubicBezTo>
                      <a:pt x="688" y="287"/>
                      <a:pt x="688" y="287"/>
                      <a:pt x="688" y="287"/>
                    </a:cubicBezTo>
                    <a:cubicBezTo>
                      <a:pt x="687" y="287"/>
                      <a:pt x="687" y="287"/>
                      <a:pt x="687" y="287"/>
                    </a:cubicBezTo>
                    <a:cubicBezTo>
                      <a:pt x="685" y="286"/>
                      <a:pt x="685" y="286"/>
                      <a:pt x="685" y="286"/>
                    </a:cubicBezTo>
                    <a:cubicBezTo>
                      <a:pt x="684" y="285"/>
                      <a:pt x="684" y="285"/>
                      <a:pt x="684" y="285"/>
                    </a:cubicBezTo>
                    <a:cubicBezTo>
                      <a:pt x="684" y="286"/>
                      <a:pt x="684" y="286"/>
                      <a:pt x="684" y="286"/>
                    </a:cubicBezTo>
                    <a:cubicBezTo>
                      <a:pt x="683" y="286"/>
                      <a:pt x="683" y="286"/>
                      <a:pt x="683" y="286"/>
                    </a:cubicBezTo>
                    <a:cubicBezTo>
                      <a:pt x="684" y="288"/>
                      <a:pt x="684" y="288"/>
                      <a:pt x="684" y="288"/>
                    </a:cubicBezTo>
                    <a:cubicBezTo>
                      <a:pt x="685" y="289"/>
                      <a:pt x="685" y="289"/>
                      <a:pt x="685" y="289"/>
                    </a:cubicBezTo>
                    <a:cubicBezTo>
                      <a:pt x="685" y="288"/>
                      <a:pt x="685" y="288"/>
                      <a:pt x="685" y="288"/>
                    </a:cubicBezTo>
                    <a:cubicBezTo>
                      <a:pt x="685" y="287"/>
                      <a:pt x="685" y="287"/>
                      <a:pt x="685" y="287"/>
                    </a:cubicBezTo>
                    <a:cubicBezTo>
                      <a:pt x="686" y="287"/>
                      <a:pt x="686" y="287"/>
                      <a:pt x="686" y="287"/>
                    </a:cubicBezTo>
                    <a:cubicBezTo>
                      <a:pt x="688" y="290"/>
                      <a:pt x="688" y="290"/>
                      <a:pt x="688" y="290"/>
                    </a:cubicBezTo>
                    <a:cubicBezTo>
                      <a:pt x="690" y="291"/>
                      <a:pt x="690" y="291"/>
                      <a:pt x="690" y="291"/>
                    </a:cubicBezTo>
                    <a:cubicBezTo>
                      <a:pt x="691" y="292"/>
                      <a:pt x="691" y="292"/>
                      <a:pt x="691" y="292"/>
                    </a:cubicBezTo>
                    <a:cubicBezTo>
                      <a:pt x="689" y="293"/>
                      <a:pt x="689" y="293"/>
                      <a:pt x="689" y="293"/>
                    </a:cubicBezTo>
                    <a:cubicBezTo>
                      <a:pt x="690" y="293"/>
                      <a:pt x="690" y="293"/>
                      <a:pt x="690" y="293"/>
                    </a:cubicBezTo>
                    <a:cubicBezTo>
                      <a:pt x="692" y="292"/>
                      <a:pt x="692" y="292"/>
                      <a:pt x="692" y="292"/>
                    </a:cubicBezTo>
                    <a:cubicBezTo>
                      <a:pt x="693" y="293"/>
                      <a:pt x="693" y="293"/>
                      <a:pt x="693" y="293"/>
                    </a:cubicBezTo>
                    <a:cubicBezTo>
                      <a:pt x="693" y="294"/>
                      <a:pt x="693" y="294"/>
                      <a:pt x="693" y="294"/>
                    </a:cubicBezTo>
                    <a:cubicBezTo>
                      <a:pt x="696" y="297"/>
                      <a:pt x="696" y="297"/>
                      <a:pt x="696" y="297"/>
                    </a:cubicBezTo>
                    <a:cubicBezTo>
                      <a:pt x="695" y="300"/>
                      <a:pt x="695" y="300"/>
                      <a:pt x="695" y="300"/>
                    </a:cubicBezTo>
                    <a:cubicBezTo>
                      <a:pt x="694" y="302"/>
                      <a:pt x="694" y="302"/>
                      <a:pt x="694" y="302"/>
                    </a:cubicBezTo>
                    <a:cubicBezTo>
                      <a:pt x="693" y="302"/>
                      <a:pt x="693" y="302"/>
                      <a:pt x="693" y="302"/>
                    </a:cubicBezTo>
                    <a:cubicBezTo>
                      <a:pt x="692" y="302"/>
                      <a:pt x="692" y="302"/>
                      <a:pt x="692" y="302"/>
                    </a:cubicBezTo>
                    <a:cubicBezTo>
                      <a:pt x="690" y="302"/>
                      <a:pt x="690" y="302"/>
                      <a:pt x="690" y="302"/>
                    </a:cubicBezTo>
                    <a:cubicBezTo>
                      <a:pt x="689" y="301"/>
                      <a:pt x="689" y="301"/>
                      <a:pt x="689" y="301"/>
                    </a:cubicBezTo>
                    <a:cubicBezTo>
                      <a:pt x="687" y="301"/>
                      <a:pt x="687" y="301"/>
                      <a:pt x="687" y="301"/>
                    </a:cubicBezTo>
                    <a:cubicBezTo>
                      <a:pt x="685" y="299"/>
                      <a:pt x="685" y="299"/>
                      <a:pt x="685" y="299"/>
                    </a:cubicBezTo>
                    <a:cubicBezTo>
                      <a:pt x="684" y="297"/>
                      <a:pt x="684" y="297"/>
                      <a:pt x="684" y="297"/>
                    </a:cubicBezTo>
                    <a:cubicBezTo>
                      <a:pt x="683" y="296"/>
                      <a:pt x="683" y="296"/>
                      <a:pt x="683" y="296"/>
                    </a:cubicBezTo>
                    <a:cubicBezTo>
                      <a:pt x="683" y="297"/>
                      <a:pt x="683" y="297"/>
                      <a:pt x="683" y="297"/>
                    </a:cubicBezTo>
                    <a:cubicBezTo>
                      <a:pt x="683" y="298"/>
                      <a:pt x="683" y="298"/>
                      <a:pt x="683" y="298"/>
                    </a:cubicBezTo>
                    <a:cubicBezTo>
                      <a:pt x="684" y="300"/>
                      <a:pt x="684" y="300"/>
                      <a:pt x="684" y="300"/>
                    </a:cubicBezTo>
                    <a:cubicBezTo>
                      <a:pt x="685" y="302"/>
                      <a:pt x="685" y="302"/>
                      <a:pt x="685" y="302"/>
                    </a:cubicBezTo>
                    <a:cubicBezTo>
                      <a:pt x="687" y="305"/>
                      <a:pt x="687" y="305"/>
                      <a:pt x="687" y="305"/>
                    </a:cubicBezTo>
                    <a:cubicBezTo>
                      <a:pt x="686" y="305"/>
                      <a:pt x="686" y="305"/>
                      <a:pt x="686" y="305"/>
                    </a:cubicBezTo>
                    <a:cubicBezTo>
                      <a:pt x="685" y="305"/>
                      <a:pt x="685" y="305"/>
                      <a:pt x="685" y="305"/>
                    </a:cubicBezTo>
                    <a:cubicBezTo>
                      <a:pt x="684" y="305"/>
                      <a:pt x="684" y="305"/>
                      <a:pt x="684" y="305"/>
                    </a:cubicBezTo>
                    <a:cubicBezTo>
                      <a:pt x="684" y="303"/>
                      <a:pt x="684" y="303"/>
                      <a:pt x="684" y="303"/>
                    </a:cubicBezTo>
                    <a:cubicBezTo>
                      <a:pt x="683" y="304"/>
                      <a:pt x="683" y="304"/>
                      <a:pt x="683" y="304"/>
                    </a:cubicBezTo>
                    <a:cubicBezTo>
                      <a:pt x="683" y="305"/>
                      <a:pt x="683" y="305"/>
                      <a:pt x="683" y="305"/>
                    </a:cubicBezTo>
                    <a:cubicBezTo>
                      <a:pt x="684" y="306"/>
                      <a:pt x="684" y="306"/>
                      <a:pt x="684" y="306"/>
                    </a:cubicBezTo>
                    <a:cubicBezTo>
                      <a:pt x="685" y="307"/>
                      <a:pt x="685" y="307"/>
                      <a:pt x="685" y="307"/>
                    </a:cubicBezTo>
                    <a:cubicBezTo>
                      <a:pt x="682" y="306"/>
                      <a:pt x="682" y="306"/>
                      <a:pt x="682" y="306"/>
                    </a:cubicBezTo>
                    <a:cubicBezTo>
                      <a:pt x="682" y="307"/>
                      <a:pt x="682" y="307"/>
                      <a:pt x="682" y="307"/>
                    </a:cubicBezTo>
                    <a:cubicBezTo>
                      <a:pt x="682" y="308"/>
                      <a:pt x="682" y="308"/>
                      <a:pt x="682" y="308"/>
                    </a:cubicBezTo>
                    <a:cubicBezTo>
                      <a:pt x="682" y="309"/>
                      <a:pt x="682" y="309"/>
                      <a:pt x="682" y="309"/>
                    </a:cubicBezTo>
                    <a:cubicBezTo>
                      <a:pt x="681" y="308"/>
                      <a:pt x="681" y="308"/>
                      <a:pt x="681" y="308"/>
                    </a:cubicBezTo>
                    <a:cubicBezTo>
                      <a:pt x="681" y="309"/>
                      <a:pt x="681" y="309"/>
                      <a:pt x="681" y="309"/>
                    </a:cubicBezTo>
                    <a:cubicBezTo>
                      <a:pt x="680" y="309"/>
                      <a:pt x="680" y="309"/>
                      <a:pt x="680" y="309"/>
                    </a:cubicBezTo>
                    <a:cubicBezTo>
                      <a:pt x="679" y="309"/>
                      <a:pt x="679" y="309"/>
                      <a:pt x="679" y="309"/>
                    </a:cubicBezTo>
                    <a:cubicBezTo>
                      <a:pt x="678" y="310"/>
                      <a:pt x="678" y="310"/>
                      <a:pt x="678" y="310"/>
                    </a:cubicBezTo>
                    <a:cubicBezTo>
                      <a:pt x="676" y="310"/>
                      <a:pt x="676" y="310"/>
                      <a:pt x="676" y="310"/>
                    </a:cubicBezTo>
                    <a:cubicBezTo>
                      <a:pt x="677" y="311"/>
                      <a:pt x="677" y="311"/>
                      <a:pt x="677" y="311"/>
                    </a:cubicBezTo>
                    <a:cubicBezTo>
                      <a:pt x="678" y="312"/>
                      <a:pt x="678" y="312"/>
                      <a:pt x="678" y="312"/>
                    </a:cubicBezTo>
                    <a:cubicBezTo>
                      <a:pt x="677" y="312"/>
                      <a:pt x="677" y="312"/>
                      <a:pt x="677" y="312"/>
                    </a:cubicBezTo>
                    <a:cubicBezTo>
                      <a:pt x="675" y="311"/>
                      <a:pt x="675" y="311"/>
                      <a:pt x="675" y="311"/>
                    </a:cubicBezTo>
                    <a:cubicBezTo>
                      <a:pt x="674" y="310"/>
                      <a:pt x="674" y="310"/>
                      <a:pt x="674" y="310"/>
                    </a:cubicBezTo>
                    <a:cubicBezTo>
                      <a:pt x="674" y="311"/>
                      <a:pt x="674" y="311"/>
                      <a:pt x="674" y="311"/>
                    </a:cubicBezTo>
                    <a:cubicBezTo>
                      <a:pt x="674" y="312"/>
                      <a:pt x="674" y="312"/>
                      <a:pt x="674" y="312"/>
                    </a:cubicBezTo>
                    <a:cubicBezTo>
                      <a:pt x="675" y="313"/>
                      <a:pt x="675" y="313"/>
                      <a:pt x="675" y="313"/>
                    </a:cubicBezTo>
                    <a:cubicBezTo>
                      <a:pt x="675" y="314"/>
                      <a:pt x="675" y="314"/>
                      <a:pt x="675" y="314"/>
                    </a:cubicBezTo>
                    <a:cubicBezTo>
                      <a:pt x="673" y="314"/>
                      <a:pt x="673" y="314"/>
                      <a:pt x="673" y="314"/>
                    </a:cubicBezTo>
                    <a:cubicBezTo>
                      <a:pt x="672" y="316"/>
                      <a:pt x="672" y="316"/>
                      <a:pt x="672" y="316"/>
                    </a:cubicBezTo>
                    <a:cubicBezTo>
                      <a:pt x="671" y="316"/>
                      <a:pt x="671" y="316"/>
                      <a:pt x="671" y="316"/>
                    </a:cubicBezTo>
                    <a:cubicBezTo>
                      <a:pt x="672" y="317"/>
                      <a:pt x="672" y="317"/>
                      <a:pt x="672" y="317"/>
                    </a:cubicBezTo>
                    <a:cubicBezTo>
                      <a:pt x="671" y="318"/>
                      <a:pt x="671" y="318"/>
                      <a:pt x="671" y="318"/>
                    </a:cubicBezTo>
                    <a:cubicBezTo>
                      <a:pt x="670" y="318"/>
                      <a:pt x="670" y="318"/>
                      <a:pt x="670" y="318"/>
                    </a:cubicBezTo>
                    <a:cubicBezTo>
                      <a:pt x="670" y="319"/>
                      <a:pt x="670" y="319"/>
                      <a:pt x="670" y="319"/>
                    </a:cubicBezTo>
                    <a:cubicBezTo>
                      <a:pt x="670" y="320"/>
                      <a:pt x="670" y="320"/>
                      <a:pt x="670" y="320"/>
                    </a:cubicBezTo>
                    <a:cubicBezTo>
                      <a:pt x="669" y="320"/>
                      <a:pt x="669" y="320"/>
                      <a:pt x="669" y="320"/>
                    </a:cubicBezTo>
                    <a:cubicBezTo>
                      <a:pt x="667" y="323"/>
                      <a:pt x="667" y="323"/>
                      <a:pt x="667" y="323"/>
                    </a:cubicBezTo>
                    <a:cubicBezTo>
                      <a:pt x="666" y="323"/>
                      <a:pt x="666" y="323"/>
                      <a:pt x="666" y="323"/>
                    </a:cubicBezTo>
                    <a:cubicBezTo>
                      <a:pt x="666" y="324"/>
                      <a:pt x="666" y="324"/>
                      <a:pt x="666" y="324"/>
                    </a:cubicBezTo>
                    <a:cubicBezTo>
                      <a:pt x="664" y="325"/>
                      <a:pt x="664" y="325"/>
                      <a:pt x="664" y="325"/>
                    </a:cubicBezTo>
                    <a:cubicBezTo>
                      <a:pt x="663" y="324"/>
                      <a:pt x="663" y="324"/>
                      <a:pt x="663" y="324"/>
                    </a:cubicBezTo>
                    <a:cubicBezTo>
                      <a:pt x="663" y="325"/>
                      <a:pt x="663" y="325"/>
                      <a:pt x="663" y="325"/>
                    </a:cubicBezTo>
                    <a:cubicBezTo>
                      <a:pt x="663" y="326"/>
                      <a:pt x="663" y="326"/>
                      <a:pt x="663" y="326"/>
                    </a:cubicBezTo>
                    <a:cubicBezTo>
                      <a:pt x="662" y="328"/>
                      <a:pt x="662" y="328"/>
                      <a:pt x="662" y="328"/>
                    </a:cubicBezTo>
                    <a:cubicBezTo>
                      <a:pt x="662" y="330"/>
                      <a:pt x="662" y="330"/>
                      <a:pt x="662" y="330"/>
                    </a:cubicBezTo>
                    <a:cubicBezTo>
                      <a:pt x="661" y="331"/>
                      <a:pt x="661" y="331"/>
                      <a:pt x="661" y="331"/>
                    </a:cubicBezTo>
                    <a:cubicBezTo>
                      <a:pt x="661" y="333"/>
                      <a:pt x="661" y="333"/>
                      <a:pt x="661" y="333"/>
                    </a:cubicBezTo>
                    <a:cubicBezTo>
                      <a:pt x="660" y="333"/>
                      <a:pt x="660" y="333"/>
                      <a:pt x="660" y="333"/>
                    </a:cubicBezTo>
                    <a:cubicBezTo>
                      <a:pt x="659" y="336"/>
                      <a:pt x="659" y="336"/>
                      <a:pt x="659" y="336"/>
                    </a:cubicBezTo>
                    <a:cubicBezTo>
                      <a:pt x="659" y="338"/>
                      <a:pt x="659" y="338"/>
                      <a:pt x="659" y="338"/>
                    </a:cubicBezTo>
                    <a:cubicBezTo>
                      <a:pt x="658" y="340"/>
                      <a:pt x="658" y="340"/>
                      <a:pt x="658" y="340"/>
                    </a:cubicBezTo>
                    <a:cubicBezTo>
                      <a:pt x="658" y="341"/>
                      <a:pt x="658" y="341"/>
                      <a:pt x="658" y="341"/>
                    </a:cubicBezTo>
                    <a:cubicBezTo>
                      <a:pt x="656" y="341"/>
                      <a:pt x="656" y="341"/>
                      <a:pt x="656" y="341"/>
                    </a:cubicBezTo>
                    <a:cubicBezTo>
                      <a:pt x="656" y="342"/>
                      <a:pt x="656" y="342"/>
                      <a:pt x="656" y="342"/>
                    </a:cubicBezTo>
                    <a:cubicBezTo>
                      <a:pt x="657" y="342"/>
                      <a:pt x="657" y="342"/>
                      <a:pt x="657" y="342"/>
                    </a:cubicBezTo>
                    <a:cubicBezTo>
                      <a:pt x="658" y="343"/>
                      <a:pt x="658" y="343"/>
                      <a:pt x="658" y="343"/>
                    </a:cubicBezTo>
                    <a:cubicBezTo>
                      <a:pt x="657" y="344"/>
                      <a:pt x="657" y="344"/>
                      <a:pt x="657" y="344"/>
                    </a:cubicBezTo>
                    <a:cubicBezTo>
                      <a:pt x="658" y="345"/>
                      <a:pt x="658" y="345"/>
                      <a:pt x="658" y="345"/>
                    </a:cubicBezTo>
                    <a:cubicBezTo>
                      <a:pt x="658" y="347"/>
                      <a:pt x="658" y="347"/>
                      <a:pt x="658" y="347"/>
                    </a:cubicBezTo>
                    <a:cubicBezTo>
                      <a:pt x="657" y="350"/>
                      <a:pt x="657" y="350"/>
                      <a:pt x="657" y="350"/>
                    </a:cubicBezTo>
                    <a:cubicBezTo>
                      <a:pt x="655" y="352"/>
                      <a:pt x="655" y="352"/>
                      <a:pt x="655" y="352"/>
                    </a:cubicBezTo>
                    <a:cubicBezTo>
                      <a:pt x="656" y="352"/>
                      <a:pt x="656" y="352"/>
                      <a:pt x="656" y="352"/>
                    </a:cubicBezTo>
                    <a:cubicBezTo>
                      <a:pt x="658" y="349"/>
                      <a:pt x="658" y="349"/>
                      <a:pt x="658" y="349"/>
                    </a:cubicBezTo>
                    <a:cubicBezTo>
                      <a:pt x="660" y="346"/>
                      <a:pt x="660" y="346"/>
                      <a:pt x="660" y="346"/>
                    </a:cubicBezTo>
                    <a:cubicBezTo>
                      <a:pt x="664" y="346"/>
                      <a:pt x="664" y="346"/>
                      <a:pt x="664" y="346"/>
                    </a:cubicBezTo>
                    <a:cubicBezTo>
                      <a:pt x="665" y="346"/>
                      <a:pt x="665" y="346"/>
                      <a:pt x="665" y="346"/>
                    </a:cubicBezTo>
                    <a:cubicBezTo>
                      <a:pt x="665" y="348"/>
                      <a:pt x="665" y="348"/>
                      <a:pt x="665" y="348"/>
                    </a:cubicBezTo>
                    <a:cubicBezTo>
                      <a:pt x="664" y="349"/>
                      <a:pt x="664" y="349"/>
                      <a:pt x="664" y="349"/>
                    </a:cubicBezTo>
                    <a:cubicBezTo>
                      <a:pt x="664" y="350"/>
                      <a:pt x="664" y="350"/>
                      <a:pt x="664" y="350"/>
                    </a:cubicBezTo>
                    <a:cubicBezTo>
                      <a:pt x="665" y="352"/>
                      <a:pt x="665" y="352"/>
                      <a:pt x="665" y="352"/>
                    </a:cubicBezTo>
                    <a:cubicBezTo>
                      <a:pt x="665" y="355"/>
                      <a:pt x="665" y="355"/>
                      <a:pt x="665" y="355"/>
                    </a:cubicBezTo>
                    <a:cubicBezTo>
                      <a:pt x="664" y="357"/>
                      <a:pt x="664" y="357"/>
                      <a:pt x="664" y="357"/>
                    </a:cubicBezTo>
                    <a:cubicBezTo>
                      <a:pt x="665" y="358"/>
                      <a:pt x="665" y="358"/>
                      <a:pt x="665" y="358"/>
                    </a:cubicBezTo>
                    <a:cubicBezTo>
                      <a:pt x="665" y="361"/>
                      <a:pt x="665" y="361"/>
                      <a:pt x="665" y="361"/>
                    </a:cubicBezTo>
                    <a:cubicBezTo>
                      <a:pt x="665" y="362"/>
                      <a:pt x="665" y="362"/>
                      <a:pt x="665" y="362"/>
                    </a:cubicBezTo>
                    <a:cubicBezTo>
                      <a:pt x="661" y="366"/>
                      <a:pt x="661" y="366"/>
                      <a:pt x="661" y="366"/>
                    </a:cubicBezTo>
                    <a:cubicBezTo>
                      <a:pt x="659" y="366"/>
                      <a:pt x="659" y="366"/>
                      <a:pt x="659" y="366"/>
                    </a:cubicBezTo>
                    <a:cubicBezTo>
                      <a:pt x="658" y="366"/>
                      <a:pt x="658" y="366"/>
                      <a:pt x="658" y="366"/>
                    </a:cubicBezTo>
                    <a:cubicBezTo>
                      <a:pt x="659" y="367"/>
                      <a:pt x="659" y="367"/>
                      <a:pt x="659" y="367"/>
                    </a:cubicBezTo>
                    <a:cubicBezTo>
                      <a:pt x="661" y="367"/>
                      <a:pt x="661" y="367"/>
                      <a:pt x="661" y="367"/>
                    </a:cubicBezTo>
                    <a:cubicBezTo>
                      <a:pt x="665" y="365"/>
                      <a:pt x="665" y="365"/>
                      <a:pt x="665" y="365"/>
                    </a:cubicBezTo>
                    <a:cubicBezTo>
                      <a:pt x="670" y="364"/>
                      <a:pt x="670" y="364"/>
                      <a:pt x="670" y="364"/>
                    </a:cubicBezTo>
                    <a:cubicBezTo>
                      <a:pt x="672" y="363"/>
                      <a:pt x="672" y="363"/>
                      <a:pt x="672" y="363"/>
                    </a:cubicBezTo>
                    <a:cubicBezTo>
                      <a:pt x="675" y="365"/>
                      <a:pt x="675" y="365"/>
                      <a:pt x="675" y="365"/>
                    </a:cubicBezTo>
                    <a:cubicBezTo>
                      <a:pt x="677" y="367"/>
                      <a:pt x="677" y="367"/>
                      <a:pt x="677" y="367"/>
                    </a:cubicBezTo>
                    <a:cubicBezTo>
                      <a:pt x="679" y="368"/>
                      <a:pt x="679" y="368"/>
                      <a:pt x="679" y="368"/>
                    </a:cubicBezTo>
                    <a:cubicBezTo>
                      <a:pt x="680" y="368"/>
                      <a:pt x="680" y="368"/>
                      <a:pt x="680" y="368"/>
                    </a:cubicBezTo>
                    <a:cubicBezTo>
                      <a:pt x="681" y="369"/>
                      <a:pt x="681" y="369"/>
                      <a:pt x="681" y="369"/>
                    </a:cubicBezTo>
                    <a:cubicBezTo>
                      <a:pt x="683" y="371"/>
                      <a:pt x="683" y="371"/>
                      <a:pt x="683" y="371"/>
                    </a:cubicBezTo>
                    <a:cubicBezTo>
                      <a:pt x="684" y="371"/>
                      <a:pt x="684" y="371"/>
                      <a:pt x="684" y="371"/>
                    </a:cubicBezTo>
                    <a:cubicBezTo>
                      <a:pt x="685" y="373"/>
                      <a:pt x="685" y="373"/>
                      <a:pt x="685" y="373"/>
                    </a:cubicBezTo>
                    <a:cubicBezTo>
                      <a:pt x="686" y="374"/>
                      <a:pt x="686" y="374"/>
                      <a:pt x="686" y="374"/>
                    </a:cubicBezTo>
                    <a:cubicBezTo>
                      <a:pt x="686" y="375"/>
                      <a:pt x="686" y="375"/>
                      <a:pt x="686" y="375"/>
                    </a:cubicBezTo>
                    <a:cubicBezTo>
                      <a:pt x="687" y="376"/>
                      <a:pt x="687" y="376"/>
                      <a:pt x="687" y="376"/>
                    </a:cubicBezTo>
                    <a:cubicBezTo>
                      <a:pt x="688" y="378"/>
                      <a:pt x="688" y="378"/>
                      <a:pt x="688" y="378"/>
                    </a:cubicBezTo>
                    <a:cubicBezTo>
                      <a:pt x="689" y="378"/>
                      <a:pt x="689" y="378"/>
                      <a:pt x="689" y="378"/>
                    </a:cubicBezTo>
                    <a:cubicBezTo>
                      <a:pt x="689" y="379"/>
                      <a:pt x="689" y="379"/>
                      <a:pt x="689" y="379"/>
                    </a:cubicBezTo>
                    <a:cubicBezTo>
                      <a:pt x="692" y="380"/>
                      <a:pt x="692" y="380"/>
                      <a:pt x="692" y="380"/>
                    </a:cubicBezTo>
                    <a:cubicBezTo>
                      <a:pt x="693" y="381"/>
                      <a:pt x="693" y="381"/>
                      <a:pt x="693" y="381"/>
                    </a:cubicBezTo>
                    <a:cubicBezTo>
                      <a:pt x="695" y="382"/>
                      <a:pt x="695" y="382"/>
                      <a:pt x="695" y="382"/>
                    </a:cubicBezTo>
                    <a:cubicBezTo>
                      <a:pt x="696" y="382"/>
                      <a:pt x="696" y="382"/>
                      <a:pt x="696" y="382"/>
                    </a:cubicBezTo>
                    <a:cubicBezTo>
                      <a:pt x="698" y="384"/>
                      <a:pt x="698" y="384"/>
                      <a:pt x="698" y="384"/>
                    </a:cubicBezTo>
                    <a:cubicBezTo>
                      <a:pt x="698" y="385"/>
                      <a:pt x="698" y="385"/>
                      <a:pt x="698" y="385"/>
                    </a:cubicBezTo>
                    <a:cubicBezTo>
                      <a:pt x="700" y="387"/>
                      <a:pt x="700" y="387"/>
                      <a:pt x="700" y="387"/>
                    </a:cubicBezTo>
                    <a:cubicBezTo>
                      <a:pt x="699" y="387"/>
                      <a:pt x="699" y="387"/>
                      <a:pt x="699" y="387"/>
                    </a:cubicBezTo>
                    <a:cubicBezTo>
                      <a:pt x="700" y="388"/>
                      <a:pt x="700" y="388"/>
                      <a:pt x="700" y="388"/>
                    </a:cubicBezTo>
                    <a:cubicBezTo>
                      <a:pt x="702" y="388"/>
                      <a:pt x="702" y="388"/>
                      <a:pt x="702" y="388"/>
                    </a:cubicBezTo>
                    <a:cubicBezTo>
                      <a:pt x="704" y="388"/>
                      <a:pt x="704" y="388"/>
                      <a:pt x="704" y="388"/>
                    </a:cubicBezTo>
                    <a:cubicBezTo>
                      <a:pt x="707" y="388"/>
                      <a:pt x="707" y="388"/>
                      <a:pt x="707" y="388"/>
                    </a:cubicBezTo>
                    <a:cubicBezTo>
                      <a:pt x="708" y="388"/>
                      <a:pt x="708" y="388"/>
                      <a:pt x="708" y="388"/>
                    </a:cubicBezTo>
                    <a:cubicBezTo>
                      <a:pt x="710" y="389"/>
                      <a:pt x="710" y="389"/>
                      <a:pt x="710" y="389"/>
                    </a:cubicBezTo>
                    <a:cubicBezTo>
                      <a:pt x="712" y="389"/>
                      <a:pt x="712" y="389"/>
                      <a:pt x="712" y="389"/>
                    </a:cubicBezTo>
                    <a:cubicBezTo>
                      <a:pt x="713" y="389"/>
                      <a:pt x="713" y="389"/>
                      <a:pt x="713" y="389"/>
                    </a:cubicBezTo>
                    <a:cubicBezTo>
                      <a:pt x="714" y="389"/>
                      <a:pt x="714" y="389"/>
                      <a:pt x="714" y="389"/>
                    </a:cubicBezTo>
                    <a:cubicBezTo>
                      <a:pt x="715" y="389"/>
                      <a:pt x="715" y="389"/>
                      <a:pt x="715" y="389"/>
                    </a:cubicBezTo>
                    <a:cubicBezTo>
                      <a:pt x="715" y="391"/>
                      <a:pt x="715" y="391"/>
                      <a:pt x="715" y="391"/>
                    </a:cubicBezTo>
                    <a:cubicBezTo>
                      <a:pt x="714" y="394"/>
                      <a:pt x="714" y="394"/>
                      <a:pt x="714" y="394"/>
                    </a:cubicBezTo>
                    <a:cubicBezTo>
                      <a:pt x="714" y="395"/>
                      <a:pt x="714" y="395"/>
                      <a:pt x="714" y="395"/>
                    </a:cubicBezTo>
                    <a:cubicBezTo>
                      <a:pt x="713" y="396"/>
                      <a:pt x="713" y="396"/>
                      <a:pt x="713" y="396"/>
                    </a:cubicBezTo>
                    <a:cubicBezTo>
                      <a:pt x="712" y="398"/>
                      <a:pt x="712" y="398"/>
                      <a:pt x="712" y="398"/>
                    </a:cubicBezTo>
                    <a:cubicBezTo>
                      <a:pt x="712" y="399"/>
                      <a:pt x="712" y="399"/>
                      <a:pt x="712" y="399"/>
                    </a:cubicBezTo>
                    <a:cubicBezTo>
                      <a:pt x="713" y="400"/>
                      <a:pt x="713" y="400"/>
                      <a:pt x="713" y="400"/>
                    </a:cubicBezTo>
                    <a:cubicBezTo>
                      <a:pt x="713" y="402"/>
                      <a:pt x="713" y="402"/>
                      <a:pt x="713" y="402"/>
                    </a:cubicBezTo>
                    <a:cubicBezTo>
                      <a:pt x="711" y="405"/>
                      <a:pt x="711" y="405"/>
                      <a:pt x="711" y="405"/>
                    </a:cubicBezTo>
                    <a:cubicBezTo>
                      <a:pt x="711" y="406"/>
                      <a:pt x="711" y="406"/>
                      <a:pt x="711" y="406"/>
                    </a:cubicBezTo>
                    <a:cubicBezTo>
                      <a:pt x="711" y="408"/>
                      <a:pt x="711" y="408"/>
                      <a:pt x="711" y="408"/>
                    </a:cubicBezTo>
                    <a:cubicBezTo>
                      <a:pt x="709" y="409"/>
                      <a:pt x="709" y="409"/>
                      <a:pt x="709" y="409"/>
                    </a:cubicBezTo>
                    <a:cubicBezTo>
                      <a:pt x="709" y="411"/>
                      <a:pt x="709" y="411"/>
                      <a:pt x="709" y="411"/>
                    </a:cubicBezTo>
                    <a:cubicBezTo>
                      <a:pt x="709" y="412"/>
                      <a:pt x="709" y="412"/>
                      <a:pt x="709" y="412"/>
                    </a:cubicBezTo>
                    <a:cubicBezTo>
                      <a:pt x="710" y="413"/>
                      <a:pt x="710" y="413"/>
                      <a:pt x="710" y="413"/>
                    </a:cubicBezTo>
                    <a:cubicBezTo>
                      <a:pt x="710" y="415"/>
                      <a:pt x="710" y="415"/>
                      <a:pt x="710" y="415"/>
                    </a:cubicBezTo>
                    <a:cubicBezTo>
                      <a:pt x="711" y="415"/>
                      <a:pt x="711" y="415"/>
                      <a:pt x="711" y="415"/>
                    </a:cubicBezTo>
                    <a:cubicBezTo>
                      <a:pt x="712" y="416"/>
                      <a:pt x="712" y="416"/>
                      <a:pt x="712" y="416"/>
                    </a:cubicBezTo>
                    <a:cubicBezTo>
                      <a:pt x="712" y="417"/>
                      <a:pt x="712" y="417"/>
                      <a:pt x="712" y="417"/>
                    </a:cubicBezTo>
                    <a:cubicBezTo>
                      <a:pt x="712" y="418"/>
                      <a:pt x="712" y="418"/>
                      <a:pt x="712" y="418"/>
                    </a:cubicBezTo>
                    <a:cubicBezTo>
                      <a:pt x="712" y="419"/>
                      <a:pt x="712" y="419"/>
                      <a:pt x="712" y="419"/>
                    </a:cubicBezTo>
                    <a:cubicBezTo>
                      <a:pt x="713" y="419"/>
                      <a:pt x="713" y="419"/>
                      <a:pt x="713" y="419"/>
                    </a:cubicBezTo>
                    <a:cubicBezTo>
                      <a:pt x="715" y="420"/>
                      <a:pt x="715" y="420"/>
                      <a:pt x="715" y="420"/>
                    </a:cubicBezTo>
                    <a:cubicBezTo>
                      <a:pt x="715" y="421"/>
                      <a:pt x="715" y="421"/>
                      <a:pt x="715" y="421"/>
                    </a:cubicBezTo>
                    <a:cubicBezTo>
                      <a:pt x="716" y="422"/>
                      <a:pt x="716" y="422"/>
                      <a:pt x="716" y="422"/>
                    </a:cubicBezTo>
                    <a:cubicBezTo>
                      <a:pt x="716" y="424"/>
                      <a:pt x="716" y="424"/>
                      <a:pt x="716" y="424"/>
                    </a:cubicBezTo>
                    <a:cubicBezTo>
                      <a:pt x="716" y="425"/>
                      <a:pt x="716" y="425"/>
                      <a:pt x="716" y="425"/>
                    </a:cubicBezTo>
                    <a:cubicBezTo>
                      <a:pt x="716" y="426"/>
                      <a:pt x="716" y="426"/>
                      <a:pt x="716" y="426"/>
                    </a:cubicBezTo>
                    <a:cubicBezTo>
                      <a:pt x="714" y="429"/>
                      <a:pt x="714" y="429"/>
                      <a:pt x="714" y="429"/>
                    </a:cubicBezTo>
                    <a:cubicBezTo>
                      <a:pt x="715" y="428"/>
                      <a:pt x="715" y="428"/>
                      <a:pt x="715" y="428"/>
                    </a:cubicBezTo>
                    <a:cubicBezTo>
                      <a:pt x="717" y="427"/>
                      <a:pt x="717" y="427"/>
                      <a:pt x="717" y="427"/>
                    </a:cubicBezTo>
                    <a:cubicBezTo>
                      <a:pt x="719" y="427"/>
                      <a:pt x="719" y="427"/>
                      <a:pt x="719" y="427"/>
                    </a:cubicBezTo>
                    <a:cubicBezTo>
                      <a:pt x="720" y="428"/>
                      <a:pt x="720" y="428"/>
                      <a:pt x="720" y="428"/>
                    </a:cubicBezTo>
                    <a:cubicBezTo>
                      <a:pt x="721" y="428"/>
                      <a:pt x="721" y="428"/>
                      <a:pt x="721" y="428"/>
                    </a:cubicBezTo>
                    <a:cubicBezTo>
                      <a:pt x="721" y="427"/>
                      <a:pt x="721" y="427"/>
                      <a:pt x="721" y="427"/>
                    </a:cubicBezTo>
                    <a:cubicBezTo>
                      <a:pt x="721" y="426"/>
                      <a:pt x="721" y="426"/>
                      <a:pt x="721" y="426"/>
                    </a:cubicBezTo>
                    <a:cubicBezTo>
                      <a:pt x="723" y="423"/>
                      <a:pt x="723" y="423"/>
                      <a:pt x="723" y="423"/>
                    </a:cubicBezTo>
                    <a:cubicBezTo>
                      <a:pt x="724" y="423"/>
                      <a:pt x="724" y="423"/>
                      <a:pt x="724" y="423"/>
                    </a:cubicBezTo>
                    <a:cubicBezTo>
                      <a:pt x="723" y="424"/>
                      <a:pt x="723" y="424"/>
                      <a:pt x="723" y="424"/>
                    </a:cubicBezTo>
                    <a:cubicBezTo>
                      <a:pt x="724" y="425"/>
                      <a:pt x="724" y="425"/>
                      <a:pt x="724" y="425"/>
                    </a:cubicBezTo>
                    <a:cubicBezTo>
                      <a:pt x="725" y="428"/>
                      <a:pt x="725" y="428"/>
                      <a:pt x="725" y="428"/>
                    </a:cubicBezTo>
                    <a:cubicBezTo>
                      <a:pt x="724" y="429"/>
                      <a:pt x="724" y="429"/>
                      <a:pt x="724" y="429"/>
                    </a:cubicBezTo>
                    <a:cubicBezTo>
                      <a:pt x="726" y="430"/>
                      <a:pt x="726" y="430"/>
                      <a:pt x="726" y="430"/>
                    </a:cubicBezTo>
                    <a:cubicBezTo>
                      <a:pt x="728" y="431"/>
                      <a:pt x="728" y="431"/>
                      <a:pt x="728" y="431"/>
                    </a:cubicBezTo>
                    <a:cubicBezTo>
                      <a:pt x="727" y="430"/>
                      <a:pt x="727" y="430"/>
                      <a:pt x="727" y="430"/>
                    </a:cubicBezTo>
                    <a:cubicBezTo>
                      <a:pt x="726" y="429"/>
                      <a:pt x="726" y="429"/>
                      <a:pt x="726" y="429"/>
                    </a:cubicBezTo>
                    <a:cubicBezTo>
                      <a:pt x="725" y="427"/>
                      <a:pt x="725" y="427"/>
                      <a:pt x="725" y="427"/>
                    </a:cubicBezTo>
                    <a:cubicBezTo>
                      <a:pt x="726" y="425"/>
                      <a:pt x="726" y="425"/>
                      <a:pt x="726" y="425"/>
                    </a:cubicBezTo>
                    <a:cubicBezTo>
                      <a:pt x="726" y="424"/>
                      <a:pt x="726" y="424"/>
                      <a:pt x="726" y="424"/>
                    </a:cubicBezTo>
                    <a:cubicBezTo>
                      <a:pt x="726" y="423"/>
                      <a:pt x="726" y="423"/>
                      <a:pt x="726" y="423"/>
                    </a:cubicBezTo>
                    <a:cubicBezTo>
                      <a:pt x="727" y="423"/>
                      <a:pt x="727" y="423"/>
                      <a:pt x="727" y="423"/>
                    </a:cubicBezTo>
                    <a:cubicBezTo>
                      <a:pt x="727" y="421"/>
                      <a:pt x="727" y="421"/>
                      <a:pt x="727" y="421"/>
                    </a:cubicBezTo>
                    <a:cubicBezTo>
                      <a:pt x="729" y="419"/>
                      <a:pt x="729" y="419"/>
                      <a:pt x="729" y="419"/>
                    </a:cubicBezTo>
                    <a:cubicBezTo>
                      <a:pt x="728" y="419"/>
                      <a:pt x="728" y="419"/>
                      <a:pt x="728" y="419"/>
                    </a:cubicBezTo>
                    <a:cubicBezTo>
                      <a:pt x="728" y="417"/>
                      <a:pt x="728" y="417"/>
                      <a:pt x="728" y="417"/>
                    </a:cubicBezTo>
                    <a:cubicBezTo>
                      <a:pt x="728" y="416"/>
                      <a:pt x="728" y="416"/>
                      <a:pt x="728" y="416"/>
                    </a:cubicBezTo>
                    <a:cubicBezTo>
                      <a:pt x="728" y="415"/>
                      <a:pt x="728" y="415"/>
                      <a:pt x="728" y="415"/>
                    </a:cubicBezTo>
                    <a:cubicBezTo>
                      <a:pt x="729" y="414"/>
                      <a:pt x="729" y="414"/>
                      <a:pt x="729" y="414"/>
                    </a:cubicBezTo>
                    <a:cubicBezTo>
                      <a:pt x="728" y="413"/>
                      <a:pt x="728" y="413"/>
                      <a:pt x="728" y="413"/>
                    </a:cubicBezTo>
                    <a:cubicBezTo>
                      <a:pt x="728" y="412"/>
                      <a:pt x="728" y="412"/>
                      <a:pt x="728" y="412"/>
                    </a:cubicBezTo>
                    <a:cubicBezTo>
                      <a:pt x="727" y="411"/>
                      <a:pt x="727" y="411"/>
                      <a:pt x="727" y="411"/>
                    </a:cubicBezTo>
                    <a:cubicBezTo>
                      <a:pt x="728" y="408"/>
                      <a:pt x="728" y="408"/>
                      <a:pt x="728" y="408"/>
                    </a:cubicBezTo>
                    <a:cubicBezTo>
                      <a:pt x="728" y="407"/>
                      <a:pt x="728" y="407"/>
                      <a:pt x="728" y="407"/>
                    </a:cubicBezTo>
                    <a:cubicBezTo>
                      <a:pt x="728" y="405"/>
                      <a:pt x="728" y="405"/>
                      <a:pt x="728" y="405"/>
                    </a:cubicBezTo>
                    <a:cubicBezTo>
                      <a:pt x="729" y="404"/>
                      <a:pt x="729" y="404"/>
                      <a:pt x="729" y="404"/>
                    </a:cubicBezTo>
                    <a:cubicBezTo>
                      <a:pt x="729" y="403"/>
                      <a:pt x="729" y="403"/>
                      <a:pt x="729" y="403"/>
                    </a:cubicBezTo>
                    <a:cubicBezTo>
                      <a:pt x="729" y="402"/>
                      <a:pt x="729" y="402"/>
                      <a:pt x="729" y="402"/>
                    </a:cubicBezTo>
                    <a:cubicBezTo>
                      <a:pt x="730" y="401"/>
                      <a:pt x="730" y="401"/>
                      <a:pt x="730" y="401"/>
                    </a:cubicBezTo>
                    <a:cubicBezTo>
                      <a:pt x="729" y="401"/>
                      <a:pt x="729" y="401"/>
                      <a:pt x="729" y="401"/>
                    </a:cubicBezTo>
                    <a:cubicBezTo>
                      <a:pt x="729" y="400"/>
                      <a:pt x="729" y="400"/>
                      <a:pt x="729" y="400"/>
                    </a:cubicBezTo>
                    <a:cubicBezTo>
                      <a:pt x="729" y="399"/>
                      <a:pt x="729" y="399"/>
                      <a:pt x="729" y="399"/>
                    </a:cubicBezTo>
                    <a:cubicBezTo>
                      <a:pt x="729" y="398"/>
                      <a:pt x="729" y="398"/>
                      <a:pt x="729" y="398"/>
                    </a:cubicBezTo>
                    <a:cubicBezTo>
                      <a:pt x="728" y="397"/>
                      <a:pt x="728" y="397"/>
                      <a:pt x="728" y="397"/>
                    </a:cubicBezTo>
                    <a:cubicBezTo>
                      <a:pt x="728" y="395"/>
                      <a:pt x="728" y="395"/>
                      <a:pt x="728" y="395"/>
                    </a:cubicBezTo>
                    <a:cubicBezTo>
                      <a:pt x="729" y="394"/>
                      <a:pt x="729" y="394"/>
                      <a:pt x="729" y="394"/>
                    </a:cubicBezTo>
                    <a:cubicBezTo>
                      <a:pt x="732" y="394"/>
                      <a:pt x="732" y="394"/>
                      <a:pt x="732" y="394"/>
                    </a:cubicBezTo>
                    <a:cubicBezTo>
                      <a:pt x="733" y="393"/>
                      <a:pt x="733" y="393"/>
                      <a:pt x="733" y="393"/>
                    </a:cubicBezTo>
                    <a:cubicBezTo>
                      <a:pt x="735" y="393"/>
                      <a:pt x="735" y="393"/>
                      <a:pt x="735" y="393"/>
                    </a:cubicBezTo>
                    <a:cubicBezTo>
                      <a:pt x="735" y="392"/>
                      <a:pt x="735" y="392"/>
                      <a:pt x="735" y="392"/>
                    </a:cubicBezTo>
                    <a:cubicBezTo>
                      <a:pt x="738" y="391"/>
                      <a:pt x="738" y="391"/>
                      <a:pt x="738" y="391"/>
                    </a:cubicBezTo>
                    <a:cubicBezTo>
                      <a:pt x="742" y="389"/>
                      <a:pt x="742" y="389"/>
                      <a:pt x="742" y="389"/>
                    </a:cubicBezTo>
                    <a:cubicBezTo>
                      <a:pt x="742" y="388"/>
                      <a:pt x="742" y="388"/>
                      <a:pt x="742" y="388"/>
                    </a:cubicBezTo>
                    <a:cubicBezTo>
                      <a:pt x="745" y="387"/>
                      <a:pt x="745" y="387"/>
                      <a:pt x="745" y="387"/>
                    </a:cubicBezTo>
                    <a:cubicBezTo>
                      <a:pt x="746" y="386"/>
                      <a:pt x="746" y="386"/>
                      <a:pt x="746" y="386"/>
                    </a:cubicBezTo>
                    <a:cubicBezTo>
                      <a:pt x="747" y="385"/>
                      <a:pt x="747" y="385"/>
                      <a:pt x="747" y="385"/>
                    </a:cubicBezTo>
                    <a:cubicBezTo>
                      <a:pt x="749" y="382"/>
                      <a:pt x="749" y="382"/>
                      <a:pt x="749" y="382"/>
                    </a:cubicBezTo>
                    <a:cubicBezTo>
                      <a:pt x="750" y="383"/>
                      <a:pt x="750" y="383"/>
                      <a:pt x="750" y="383"/>
                    </a:cubicBezTo>
                    <a:cubicBezTo>
                      <a:pt x="751" y="383"/>
                      <a:pt x="751" y="383"/>
                      <a:pt x="751" y="383"/>
                    </a:cubicBezTo>
                    <a:cubicBezTo>
                      <a:pt x="752" y="382"/>
                      <a:pt x="752" y="382"/>
                      <a:pt x="752" y="382"/>
                    </a:cubicBezTo>
                    <a:cubicBezTo>
                      <a:pt x="751" y="381"/>
                      <a:pt x="751" y="381"/>
                      <a:pt x="751" y="381"/>
                    </a:cubicBezTo>
                    <a:cubicBezTo>
                      <a:pt x="751" y="379"/>
                      <a:pt x="751" y="379"/>
                      <a:pt x="751" y="379"/>
                    </a:cubicBezTo>
                    <a:cubicBezTo>
                      <a:pt x="750" y="380"/>
                      <a:pt x="750" y="380"/>
                      <a:pt x="750" y="380"/>
                    </a:cubicBezTo>
                    <a:cubicBezTo>
                      <a:pt x="750" y="379"/>
                      <a:pt x="750" y="379"/>
                      <a:pt x="750" y="379"/>
                    </a:cubicBezTo>
                    <a:cubicBezTo>
                      <a:pt x="751" y="376"/>
                      <a:pt x="751" y="376"/>
                      <a:pt x="751" y="376"/>
                    </a:cubicBezTo>
                    <a:cubicBezTo>
                      <a:pt x="752" y="376"/>
                      <a:pt x="752" y="376"/>
                      <a:pt x="752" y="376"/>
                    </a:cubicBezTo>
                    <a:cubicBezTo>
                      <a:pt x="752" y="374"/>
                      <a:pt x="752" y="374"/>
                      <a:pt x="752" y="374"/>
                    </a:cubicBezTo>
                    <a:cubicBezTo>
                      <a:pt x="752" y="372"/>
                      <a:pt x="752" y="372"/>
                      <a:pt x="752" y="372"/>
                    </a:cubicBezTo>
                    <a:cubicBezTo>
                      <a:pt x="751" y="370"/>
                      <a:pt x="751" y="370"/>
                      <a:pt x="751" y="370"/>
                    </a:cubicBezTo>
                    <a:cubicBezTo>
                      <a:pt x="751" y="366"/>
                      <a:pt x="751" y="366"/>
                      <a:pt x="751" y="366"/>
                    </a:cubicBezTo>
                    <a:cubicBezTo>
                      <a:pt x="751" y="363"/>
                      <a:pt x="751" y="363"/>
                      <a:pt x="751" y="363"/>
                    </a:cubicBezTo>
                    <a:cubicBezTo>
                      <a:pt x="749" y="360"/>
                      <a:pt x="749" y="360"/>
                      <a:pt x="749" y="360"/>
                    </a:cubicBezTo>
                    <a:cubicBezTo>
                      <a:pt x="747" y="359"/>
                      <a:pt x="747" y="359"/>
                      <a:pt x="747" y="359"/>
                    </a:cubicBezTo>
                    <a:cubicBezTo>
                      <a:pt x="747" y="358"/>
                      <a:pt x="747" y="358"/>
                      <a:pt x="747" y="358"/>
                    </a:cubicBezTo>
                    <a:cubicBezTo>
                      <a:pt x="746" y="358"/>
                      <a:pt x="746" y="358"/>
                      <a:pt x="746" y="358"/>
                    </a:cubicBezTo>
                    <a:cubicBezTo>
                      <a:pt x="745" y="357"/>
                      <a:pt x="745" y="357"/>
                      <a:pt x="745" y="357"/>
                    </a:cubicBezTo>
                    <a:cubicBezTo>
                      <a:pt x="746" y="354"/>
                      <a:pt x="746" y="354"/>
                      <a:pt x="746" y="354"/>
                    </a:cubicBezTo>
                    <a:cubicBezTo>
                      <a:pt x="747" y="354"/>
                      <a:pt x="747" y="354"/>
                      <a:pt x="747" y="354"/>
                    </a:cubicBezTo>
                    <a:cubicBezTo>
                      <a:pt x="751" y="350"/>
                      <a:pt x="751" y="350"/>
                      <a:pt x="751" y="350"/>
                    </a:cubicBezTo>
                    <a:cubicBezTo>
                      <a:pt x="752" y="350"/>
                      <a:pt x="752" y="350"/>
                      <a:pt x="752" y="350"/>
                    </a:cubicBezTo>
                    <a:cubicBezTo>
                      <a:pt x="752" y="349"/>
                      <a:pt x="752" y="349"/>
                      <a:pt x="752" y="349"/>
                    </a:cubicBezTo>
                    <a:cubicBezTo>
                      <a:pt x="752" y="348"/>
                      <a:pt x="752" y="348"/>
                      <a:pt x="752" y="348"/>
                    </a:cubicBezTo>
                    <a:cubicBezTo>
                      <a:pt x="752" y="347"/>
                      <a:pt x="752" y="347"/>
                      <a:pt x="752" y="347"/>
                    </a:cubicBezTo>
                    <a:cubicBezTo>
                      <a:pt x="753" y="346"/>
                      <a:pt x="753" y="346"/>
                      <a:pt x="753" y="346"/>
                    </a:cubicBezTo>
                    <a:cubicBezTo>
                      <a:pt x="754" y="346"/>
                      <a:pt x="754" y="346"/>
                      <a:pt x="754" y="346"/>
                    </a:cubicBezTo>
                    <a:cubicBezTo>
                      <a:pt x="755" y="347"/>
                      <a:pt x="755" y="347"/>
                      <a:pt x="755" y="347"/>
                    </a:cubicBezTo>
                    <a:cubicBezTo>
                      <a:pt x="755" y="346"/>
                      <a:pt x="755" y="346"/>
                      <a:pt x="755" y="346"/>
                    </a:cubicBezTo>
                    <a:cubicBezTo>
                      <a:pt x="756" y="345"/>
                      <a:pt x="756" y="345"/>
                      <a:pt x="756" y="345"/>
                    </a:cubicBezTo>
                    <a:cubicBezTo>
                      <a:pt x="758" y="343"/>
                      <a:pt x="758" y="343"/>
                      <a:pt x="758" y="343"/>
                    </a:cubicBezTo>
                    <a:cubicBezTo>
                      <a:pt x="757" y="342"/>
                      <a:pt x="757" y="342"/>
                      <a:pt x="757" y="342"/>
                    </a:cubicBezTo>
                    <a:cubicBezTo>
                      <a:pt x="756" y="342"/>
                      <a:pt x="756" y="342"/>
                      <a:pt x="756" y="342"/>
                    </a:cubicBezTo>
                    <a:cubicBezTo>
                      <a:pt x="756" y="341"/>
                      <a:pt x="756" y="341"/>
                      <a:pt x="756" y="341"/>
                    </a:cubicBezTo>
                    <a:cubicBezTo>
                      <a:pt x="757" y="340"/>
                      <a:pt x="757" y="340"/>
                      <a:pt x="757" y="340"/>
                    </a:cubicBezTo>
                    <a:cubicBezTo>
                      <a:pt x="756" y="339"/>
                      <a:pt x="756" y="339"/>
                      <a:pt x="756" y="339"/>
                    </a:cubicBezTo>
                    <a:cubicBezTo>
                      <a:pt x="756" y="338"/>
                      <a:pt x="756" y="338"/>
                      <a:pt x="756" y="338"/>
                    </a:cubicBezTo>
                    <a:cubicBezTo>
                      <a:pt x="757" y="337"/>
                      <a:pt x="757" y="337"/>
                      <a:pt x="757" y="337"/>
                    </a:cubicBezTo>
                    <a:cubicBezTo>
                      <a:pt x="756" y="337"/>
                      <a:pt x="756" y="337"/>
                      <a:pt x="756" y="337"/>
                    </a:cubicBezTo>
                    <a:cubicBezTo>
                      <a:pt x="756" y="336"/>
                      <a:pt x="756" y="336"/>
                      <a:pt x="756" y="336"/>
                    </a:cubicBezTo>
                    <a:cubicBezTo>
                      <a:pt x="757" y="334"/>
                      <a:pt x="757" y="334"/>
                      <a:pt x="757" y="334"/>
                    </a:cubicBezTo>
                    <a:cubicBezTo>
                      <a:pt x="758" y="334"/>
                      <a:pt x="758" y="334"/>
                      <a:pt x="758" y="334"/>
                    </a:cubicBezTo>
                    <a:cubicBezTo>
                      <a:pt x="757" y="333"/>
                      <a:pt x="757" y="333"/>
                      <a:pt x="757" y="333"/>
                    </a:cubicBezTo>
                    <a:cubicBezTo>
                      <a:pt x="755" y="334"/>
                      <a:pt x="755" y="334"/>
                      <a:pt x="755" y="334"/>
                    </a:cubicBezTo>
                    <a:cubicBezTo>
                      <a:pt x="754" y="333"/>
                      <a:pt x="754" y="333"/>
                      <a:pt x="754" y="333"/>
                    </a:cubicBezTo>
                    <a:cubicBezTo>
                      <a:pt x="754" y="332"/>
                      <a:pt x="754" y="332"/>
                      <a:pt x="754" y="332"/>
                    </a:cubicBezTo>
                    <a:cubicBezTo>
                      <a:pt x="757" y="330"/>
                      <a:pt x="757" y="330"/>
                      <a:pt x="757" y="330"/>
                    </a:cubicBezTo>
                    <a:cubicBezTo>
                      <a:pt x="759" y="328"/>
                      <a:pt x="759" y="328"/>
                      <a:pt x="759" y="328"/>
                    </a:cubicBezTo>
                    <a:cubicBezTo>
                      <a:pt x="759" y="326"/>
                      <a:pt x="759" y="326"/>
                      <a:pt x="759" y="326"/>
                    </a:cubicBezTo>
                    <a:cubicBezTo>
                      <a:pt x="760" y="327"/>
                      <a:pt x="760" y="327"/>
                      <a:pt x="760" y="327"/>
                    </a:cubicBezTo>
                    <a:cubicBezTo>
                      <a:pt x="760" y="326"/>
                      <a:pt x="760" y="326"/>
                      <a:pt x="760" y="326"/>
                    </a:cubicBezTo>
                    <a:cubicBezTo>
                      <a:pt x="760" y="324"/>
                      <a:pt x="760" y="324"/>
                      <a:pt x="760" y="324"/>
                    </a:cubicBezTo>
                    <a:cubicBezTo>
                      <a:pt x="759" y="324"/>
                      <a:pt x="759" y="324"/>
                      <a:pt x="759" y="324"/>
                    </a:cubicBezTo>
                    <a:cubicBezTo>
                      <a:pt x="758" y="322"/>
                      <a:pt x="758" y="322"/>
                      <a:pt x="758" y="322"/>
                    </a:cubicBezTo>
                    <a:cubicBezTo>
                      <a:pt x="758" y="320"/>
                      <a:pt x="758" y="320"/>
                      <a:pt x="758" y="320"/>
                    </a:cubicBezTo>
                    <a:cubicBezTo>
                      <a:pt x="759" y="318"/>
                      <a:pt x="759" y="318"/>
                      <a:pt x="759" y="318"/>
                    </a:cubicBezTo>
                    <a:cubicBezTo>
                      <a:pt x="759" y="316"/>
                      <a:pt x="759" y="316"/>
                      <a:pt x="759" y="316"/>
                    </a:cubicBezTo>
                    <a:cubicBezTo>
                      <a:pt x="760" y="316"/>
                      <a:pt x="760" y="316"/>
                      <a:pt x="760" y="316"/>
                    </a:cubicBezTo>
                    <a:cubicBezTo>
                      <a:pt x="761" y="316"/>
                      <a:pt x="761" y="316"/>
                      <a:pt x="761" y="316"/>
                    </a:cubicBezTo>
                    <a:cubicBezTo>
                      <a:pt x="761" y="315"/>
                      <a:pt x="761" y="315"/>
                      <a:pt x="761" y="315"/>
                    </a:cubicBezTo>
                    <a:cubicBezTo>
                      <a:pt x="762" y="315"/>
                      <a:pt x="762" y="315"/>
                      <a:pt x="762" y="315"/>
                    </a:cubicBezTo>
                    <a:cubicBezTo>
                      <a:pt x="763" y="315"/>
                      <a:pt x="763" y="315"/>
                      <a:pt x="763" y="315"/>
                    </a:cubicBezTo>
                    <a:cubicBezTo>
                      <a:pt x="764" y="314"/>
                      <a:pt x="764" y="314"/>
                      <a:pt x="764" y="314"/>
                    </a:cubicBezTo>
                    <a:cubicBezTo>
                      <a:pt x="765" y="315"/>
                      <a:pt x="765" y="315"/>
                      <a:pt x="765" y="315"/>
                    </a:cubicBezTo>
                    <a:cubicBezTo>
                      <a:pt x="767" y="315"/>
                      <a:pt x="767" y="315"/>
                      <a:pt x="767" y="315"/>
                    </a:cubicBezTo>
                    <a:cubicBezTo>
                      <a:pt x="769" y="316"/>
                      <a:pt x="769" y="316"/>
                      <a:pt x="769" y="316"/>
                    </a:cubicBezTo>
                    <a:cubicBezTo>
                      <a:pt x="772" y="318"/>
                      <a:pt x="772" y="318"/>
                      <a:pt x="772" y="318"/>
                    </a:cubicBezTo>
                    <a:cubicBezTo>
                      <a:pt x="773" y="318"/>
                      <a:pt x="773" y="318"/>
                      <a:pt x="773" y="318"/>
                    </a:cubicBezTo>
                    <a:cubicBezTo>
                      <a:pt x="773" y="319"/>
                      <a:pt x="773" y="319"/>
                      <a:pt x="773" y="319"/>
                    </a:cubicBezTo>
                    <a:cubicBezTo>
                      <a:pt x="775" y="318"/>
                      <a:pt x="775" y="318"/>
                      <a:pt x="775" y="318"/>
                    </a:cubicBezTo>
                    <a:cubicBezTo>
                      <a:pt x="776" y="318"/>
                      <a:pt x="776" y="318"/>
                      <a:pt x="776" y="318"/>
                    </a:cubicBezTo>
                    <a:cubicBezTo>
                      <a:pt x="777" y="319"/>
                      <a:pt x="777" y="319"/>
                      <a:pt x="777" y="319"/>
                    </a:cubicBezTo>
                    <a:cubicBezTo>
                      <a:pt x="778" y="319"/>
                      <a:pt x="778" y="319"/>
                      <a:pt x="778" y="319"/>
                    </a:cubicBezTo>
                    <a:cubicBezTo>
                      <a:pt x="779" y="320"/>
                      <a:pt x="779" y="320"/>
                      <a:pt x="779" y="320"/>
                    </a:cubicBezTo>
                    <a:cubicBezTo>
                      <a:pt x="779" y="319"/>
                      <a:pt x="779" y="319"/>
                      <a:pt x="779" y="319"/>
                    </a:cubicBezTo>
                    <a:cubicBezTo>
                      <a:pt x="780" y="319"/>
                      <a:pt x="780" y="319"/>
                      <a:pt x="780" y="319"/>
                    </a:cubicBezTo>
                    <a:cubicBezTo>
                      <a:pt x="781" y="319"/>
                      <a:pt x="781" y="319"/>
                      <a:pt x="781" y="319"/>
                    </a:cubicBezTo>
                    <a:cubicBezTo>
                      <a:pt x="782" y="319"/>
                      <a:pt x="782" y="319"/>
                      <a:pt x="782" y="319"/>
                    </a:cubicBezTo>
                    <a:cubicBezTo>
                      <a:pt x="783" y="318"/>
                      <a:pt x="783" y="318"/>
                      <a:pt x="783" y="318"/>
                    </a:cubicBezTo>
                    <a:cubicBezTo>
                      <a:pt x="785" y="319"/>
                      <a:pt x="785" y="319"/>
                      <a:pt x="785" y="319"/>
                    </a:cubicBezTo>
                    <a:cubicBezTo>
                      <a:pt x="785" y="321"/>
                      <a:pt x="785" y="321"/>
                      <a:pt x="785" y="321"/>
                    </a:cubicBezTo>
                    <a:cubicBezTo>
                      <a:pt x="787" y="322"/>
                      <a:pt x="787" y="322"/>
                      <a:pt x="787" y="322"/>
                    </a:cubicBezTo>
                    <a:cubicBezTo>
                      <a:pt x="788" y="322"/>
                      <a:pt x="788" y="322"/>
                      <a:pt x="788" y="322"/>
                    </a:cubicBezTo>
                    <a:cubicBezTo>
                      <a:pt x="788" y="324"/>
                      <a:pt x="788" y="324"/>
                      <a:pt x="788" y="324"/>
                    </a:cubicBezTo>
                    <a:cubicBezTo>
                      <a:pt x="787" y="325"/>
                      <a:pt x="787" y="325"/>
                      <a:pt x="787" y="325"/>
                    </a:cubicBezTo>
                    <a:cubicBezTo>
                      <a:pt x="787" y="326"/>
                      <a:pt x="787" y="326"/>
                      <a:pt x="787" y="326"/>
                    </a:cubicBezTo>
                    <a:cubicBezTo>
                      <a:pt x="788" y="325"/>
                      <a:pt x="788" y="325"/>
                      <a:pt x="788" y="325"/>
                    </a:cubicBezTo>
                    <a:cubicBezTo>
                      <a:pt x="789" y="326"/>
                      <a:pt x="789" y="326"/>
                      <a:pt x="789" y="326"/>
                    </a:cubicBezTo>
                    <a:cubicBezTo>
                      <a:pt x="790" y="328"/>
                      <a:pt x="790" y="328"/>
                      <a:pt x="790" y="328"/>
                    </a:cubicBezTo>
                    <a:cubicBezTo>
                      <a:pt x="789" y="328"/>
                      <a:pt x="789" y="328"/>
                      <a:pt x="789" y="328"/>
                    </a:cubicBezTo>
                    <a:cubicBezTo>
                      <a:pt x="790" y="329"/>
                      <a:pt x="790" y="329"/>
                      <a:pt x="790" y="329"/>
                    </a:cubicBezTo>
                    <a:cubicBezTo>
                      <a:pt x="791" y="328"/>
                      <a:pt x="791" y="328"/>
                      <a:pt x="791" y="328"/>
                    </a:cubicBezTo>
                    <a:cubicBezTo>
                      <a:pt x="792" y="329"/>
                      <a:pt x="792" y="329"/>
                      <a:pt x="792" y="329"/>
                    </a:cubicBezTo>
                    <a:cubicBezTo>
                      <a:pt x="792" y="330"/>
                      <a:pt x="792" y="330"/>
                      <a:pt x="792" y="330"/>
                    </a:cubicBezTo>
                    <a:cubicBezTo>
                      <a:pt x="791" y="329"/>
                      <a:pt x="791" y="329"/>
                      <a:pt x="791" y="329"/>
                    </a:cubicBezTo>
                    <a:cubicBezTo>
                      <a:pt x="790" y="331"/>
                      <a:pt x="790" y="331"/>
                      <a:pt x="790" y="331"/>
                    </a:cubicBezTo>
                    <a:cubicBezTo>
                      <a:pt x="789" y="331"/>
                      <a:pt x="789" y="331"/>
                      <a:pt x="789" y="331"/>
                    </a:cubicBezTo>
                    <a:cubicBezTo>
                      <a:pt x="791" y="332"/>
                      <a:pt x="791" y="332"/>
                      <a:pt x="791" y="332"/>
                    </a:cubicBezTo>
                    <a:cubicBezTo>
                      <a:pt x="791" y="333"/>
                      <a:pt x="791" y="333"/>
                      <a:pt x="791" y="333"/>
                    </a:cubicBezTo>
                    <a:cubicBezTo>
                      <a:pt x="792" y="332"/>
                      <a:pt x="792" y="332"/>
                      <a:pt x="792" y="332"/>
                    </a:cubicBezTo>
                    <a:cubicBezTo>
                      <a:pt x="792" y="333"/>
                      <a:pt x="792" y="333"/>
                      <a:pt x="792" y="333"/>
                    </a:cubicBezTo>
                    <a:cubicBezTo>
                      <a:pt x="793" y="333"/>
                      <a:pt x="793" y="333"/>
                      <a:pt x="793" y="333"/>
                    </a:cubicBezTo>
                    <a:cubicBezTo>
                      <a:pt x="795" y="334"/>
                      <a:pt x="795" y="334"/>
                      <a:pt x="795" y="334"/>
                    </a:cubicBezTo>
                    <a:cubicBezTo>
                      <a:pt x="796" y="334"/>
                      <a:pt x="796" y="334"/>
                      <a:pt x="796" y="334"/>
                    </a:cubicBezTo>
                    <a:cubicBezTo>
                      <a:pt x="796" y="335"/>
                      <a:pt x="796" y="335"/>
                      <a:pt x="796" y="335"/>
                    </a:cubicBezTo>
                    <a:cubicBezTo>
                      <a:pt x="797" y="334"/>
                      <a:pt x="797" y="334"/>
                      <a:pt x="797" y="334"/>
                    </a:cubicBezTo>
                    <a:cubicBezTo>
                      <a:pt x="799" y="335"/>
                      <a:pt x="799" y="335"/>
                      <a:pt x="799" y="335"/>
                    </a:cubicBezTo>
                    <a:cubicBezTo>
                      <a:pt x="799" y="337"/>
                      <a:pt x="799" y="337"/>
                      <a:pt x="799" y="337"/>
                    </a:cubicBezTo>
                    <a:cubicBezTo>
                      <a:pt x="799" y="338"/>
                      <a:pt x="799" y="338"/>
                      <a:pt x="799" y="338"/>
                    </a:cubicBezTo>
                    <a:cubicBezTo>
                      <a:pt x="801" y="337"/>
                      <a:pt x="801" y="337"/>
                      <a:pt x="801" y="337"/>
                    </a:cubicBezTo>
                    <a:cubicBezTo>
                      <a:pt x="801" y="335"/>
                      <a:pt x="801" y="335"/>
                      <a:pt x="801" y="335"/>
                    </a:cubicBezTo>
                    <a:cubicBezTo>
                      <a:pt x="802" y="335"/>
                      <a:pt x="802" y="335"/>
                      <a:pt x="802" y="335"/>
                    </a:cubicBezTo>
                    <a:cubicBezTo>
                      <a:pt x="802" y="337"/>
                      <a:pt x="802" y="337"/>
                      <a:pt x="802" y="337"/>
                    </a:cubicBezTo>
                    <a:cubicBezTo>
                      <a:pt x="802" y="339"/>
                      <a:pt x="802" y="339"/>
                      <a:pt x="802" y="339"/>
                    </a:cubicBezTo>
                    <a:cubicBezTo>
                      <a:pt x="800" y="339"/>
                      <a:pt x="800" y="339"/>
                      <a:pt x="800" y="339"/>
                    </a:cubicBezTo>
                    <a:cubicBezTo>
                      <a:pt x="799" y="341"/>
                      <a:pt x="799" y="341"/>
                      <a:pt x="799" y="341"/>
                    </a:cubicBezTo>
                    <a:cubicBezTo>
                      <a:pt x="799" y="344"/>
                      <a:pt x="799" y="344"/>
                      <a:pt x="799" y="344"/>
                    </a:cubicBezTo>
                    <a:cubicBezTo>
                      <a:pt x="798" y="345"/>
                      <a:pt x="798" y="345"/>
                      <a:pt x="798" y="345"/>
                    </a:cubicBezTo>
                    <a:cubicBezTo>
                      <a:pt x="798" y="346"/>
                      <a:pt x="798" y="346"/>
                      <a:pt x="798" y="346"/>
                    </a:cubicBezTo>
                    <a:cubicBezTo>
                      <a:pt x="795" y="346"/>
                      <a:pt x="795" y="346"/>
                      <a:pt x="795" y="346"/>
                    </a:cubicBezTo>
                    <a:cubicBezTo>
                      <a:pt x="792" y="345"/>
                      <a:pt x="792" y="345"/>
                      <a:pt x="792" y="345"/>
                    </a:cubicBezTo>
                    <a:cubicBezTo>
                      <a:pt x="795" y="347"/>
                      <a:pt x="795" y="347"/>
                      <a:pt x="795" y="347"/>
                    </a:cubicBezTo>
                    <a:cubicBezTo>
                      <a:pt x="797" y="347"/>
                      <a:pt x="797" y="347"/>
                      <a:pt x="797" y="347"/>
                    </a:cubicBezTo>
                    <a:cubicBezTo>
                      <a:pt x="799" y="348"/>
                      <a:pt x="799" y="348"/>
                      <a:pt x="799" y="348"/>
                    </a:cubicBezTo>
                    <a:cubicBezTo>
                      <a:pt x="798" y="351"/>
                      <a:pt x="798" y="351"/>
                      <a:pt x="798" y="351"/>
                    </a:cubicBezTo>
                    <a:cubicBezTo>
                      <a:pt x="797" y="352"/>
                      <a:pt x="797" y="352"/>
                      <a:pt x="797" y="352"/>
                    </a:cubicBezTo>
                    <a:cubicBezTo>
                      <a:pt x="797" y="353"/>
                      <a:pt x="797" y="353"/>
                      <a:pt x="797" y="353"/>
                    </a:cubicBezTo>
                    <a:cubicBezTo>
                      <a:pt x="796" y="355"/>
                      <a:pt x="796" y="355"/>
                      <a:pt x="796" y="355"/>
                    </a:cubicBezTo>
                    <a:cubicBezTo>
                      <a:pt x="798" y="357"/>
                      <a:pt x="798" y="357"/>
                      <a:pt x="798" y="357"/>
                    </a:cubicBezTo>
                    <a:cubicBezTo>
                      <a:pt x="799" y="358"/>
                      <a:pt x="799" y="358"/>
                      <a:pt x="799" y="358"/>
                    </a:cubicBezTo>
                    <a:cubicBezTo>
                      <a:pt x="798" y="358"/>
                      <a:pt x="798" y="358"/>
                      <a:pt x="798" y="358"/>
                    </a:cubicBezTo>
                    <a:cubicBezTo>
                      <a:pt x="796" y="357"/>
                      <a:pt x="796" y="357"/>
                      <a:pt x="796" y="357"/>
                    </a:cubicBezTo>
                    <a:cubicBezTo>
                      <a:pt x="797" y="359"/>
                      <a:pt x="797" y="359"/>
                      <a:pt x="797" y="359"/>
                    </a:cubicBezTo>
                    <a:cubicBezTo>
                      <a:pt x="799" y="360"/>
                      <a:pt x="799" y="360"/>
                      <a:pt x="799" y="360"/>
                    </a:cubicBezTo>
                    <a:cubicBezTo>
                      <a:pt x="799" y="358"/>
                      <a:pt x="799" y="358"/>
                      <a:pt x="799" y="358"/>
                    </a:cubicBezTo>
                    <a:cubicBezTo>
                      <a:pt x="800" y="358"/>
                      <a:pt x="800" y="358"/>
                      <a:pt x="800" y="358"/>
                    </a:cubicBezTo>
                    <a:cubicBezTo>
                      <a:pt x="801" y="360"/>
                      <a:pt x="801" y="360"/>
                      <a:pt x="801" y="360"/>
                    </a:cubicBezTo>
                    <a:cubicBezTo>
                      <a:pt x="802" y="361"/>
                      <a:pt x="802" y="361"/>
                      <a:pt x="802" y="361"/>
                    </a:cubicBezTo>
                    <a:cubicBezTo>
                      <a:pt x="801" y="362"/>
                      <a:pt x="801" y="362"/>
                      <a:pt x="801" y="362"/>
                    </a:cubicBezTo>
                    <a:cubicBezTo>
                      <a:pt x="801" y="364"/>
                      <a:pt x="801" y="364"/>
                      <a:pt x="801" y="364"/>
                    </a:cubicBezTo>
                    <a:cubicBezTo>
                      <a:pt x="800" y="366"/>
                      <a:pt x="800" y="366"/>
                      <a:pt x="800" y="366"/>
                    </a:cubicBezTo>
                    <a:cubicBezTo>
                      <a:pt x="800" y="367"/>
                      <a:pt x="800" y="367"/>
                      <a:pt x="800" y="367"/>
                    </a:cubicBezTo>
                    <a:cubicBezTo>
                      <a:pt x="799" y="368"/>
                      <a:pt x="799" y="368"/>
                      <a:pt x="799" y="368"/>
                    </a:cubicBezTo>
                    <a:cubicBezTo>
                      <a:pt x="800" y="368"/>
                      <a:pt x="800" y="368"/>
                      <a:pt x="800" y="368"/>
                    </a:cubicBezTo>
                    <a:cubicBezTo>
                      <a:pt x="802" y="364"/>
                      <a:pt x="802" y="364"/>
                      <a:pt x="802" y="364"/>
                    </a:cubicBezTo>
                    <a:cubicBezTo>
                      <a:pt x="804" y="363"/>
                      <a:pt x="804" y="363"/>
                      <a:pt x="804" y="363"/>
                    </a:cubicBezTo>
                    <a:cubicBezTo>
                      <a:pt x="804" y="364"/>
                      <a:pt x="804" y="364"/>
                      <a:pt x="804" y="364"/>
                    </a:cubicBezTo>
                    <a:cubicBezTo>
                      <a:pt x="804" y="366"/>
                      <a:pt x="804" y="366"/>
                      <a:pt x="804" y="366"/>
                    </a:cubicBezTo>
                    <a:cubicBezTo>
                      <a:pt x="803" y="367"/>
                      <a:pt x="803" y="367"/>
                      <a:pt x="803" y="367"/>
                    </a:cubicBezTo>
                    <a:cubicBezTo>
                      <a:pt x="804" y="368"/>
                      <a:pt x="804" y="368"/>
                      <a:pt x="804" y="368"/>
                    </a:cubicBezTo>
                    <a:cubicBezTo>
                      <a:pt x="805" y="366"/>
                      <a:pt x="805" y="366"/>
                      <a:pt x="805" y="366"/>
                    </a:cubicBezTo>
                    <a:cubicBezTo>
                      <a:pt x="806" y="365"/>
                      <a:pt x="806" y="365"/>
                      <a:pt x="806" y="365"/>
                    </a:cubicBezTo>
                    <a:cubicBezTo>
                      <a:pt x="807" y="365"/>
                      <a:pt x="807" y="365"/>
                      <a:pt x="807" y="365"/>
                    </a:cubicBezTo>
                    <a:cubicBezTo>
                      <a:pt x="808" y="364"/>
                      <a:pt x="808" y="364"/>
                      <a:pt x="808" y="364"/>
                    </a:cubicBezTo>
                    <a:cubicBezTo>
                      <a:pt x="809" y="364"/>
                      <a:pt x="809" y="364"/>
                      <a:pt x="809" y="364"/>
                    </a:cubicBezTo>
                    <a:cubicBezTo>
                      <a:pt x="809" y="365"/>
                      <a:pt x="809" y="365"/>
                      <a:pt x="809" y="365"/>
                    </a:cubicBezTo>
                    <a:cubicBezTo>
                      <a:pt x="810" y="364"/>
                      <a:pt x="810" y="364"/>
                      <a:pt x="810" y="364"/>
                    </a:cubicBezTo>
                    <a:cubicBezTo>
                      <a:pt x="811" y="364"/>
                      <a:pt x="811" y="364"/>
                      <a:pt x="811" y="364"/>
                    </a:cubicBezTo>
                    <a:cubicBezTo>
                      <a:pt x="811" y="363"/>
                      <a:pt x="811" y="363"/>
                      <a:pt x="811" y="363"/>
                    </a:cubicBezTo>
                    <a:cubicBezTo>
                      <a:pt x="812" y="362"/>
                      <a:pt x="812" y="362"/>
                      <a:pt x="812" y="362"/>
                    </a:cubicBezTo>
                    <a:cubicBezTo>
                      <a:pt x="814" y="360"/>
                      <a:pt x="814" y="360"/>
                      <a:pt x="814" y="360"/>
                    </a:cubicBezTo>
                    <a:cubicBezTo>
                      <a:pt x="814" y="361"/>
                      <a:pt x="814" y="361"/>
                      <a:pt x="814" y="361"/>
                    </a:cubicBezTo>
                    <a:cubicBezTo>
                      <a:pt x="815" y="363"/>
                      <a:pt x="815" y="363"/>
                      <a:pt x="815" y="363"/>
                    </a:cubicBezTo>
                    <a:cubicBezTo>
                      <a:pt x="815" y="362"/>
                      <a:pt x="815" y="362"/>
                      <a:pt x="815" y="362"/>
                    </a:cubicBezTo>
                    <a:cubicBezTo>
                      <a:pt x="815" y="361"/>
                      <a:pt x="815" y="361"/>
                      <a:pt x="815" y="361"/>
                    </a:cubicBezTo>
                    <a:cubicBezTo>
                      <a:pt x="816" y="360"/>
                      <a:pt x="816" y="360"/>
                      <a:pt x="816" y="360"/>
                    </a:cubicBezTo>
                    <a:cubicBezTo>
                      <a:pt x="817" y="359"/>
                      <a:pt x="817" y="359"/>
                      <a:pt x="817" y="359"/>
                    </a:cubicBezTo>
                    <a:cubicBezTo>
                      <a:pt x="818" y="358"/>
                      <a:pt x="818" y="358"/>
                      <a:pt x="818" y="358"/>
                    </a:cubicBezTo>
                    <a:cubicBezTo>
                      <a:pt x="818" y="357"/>
                      <a:pt x="818" y="357"/>
                      <a:pt x="818" y="357"/>
                    </a:cubicBezTo>
                    <a:cubicBezTo>
                      <a:pt x="819" y="356"/>
                      <a:pt x="819" y="356"/>
                      <a:pt x="819" y="356"/>
                    </a:cubicBezTo>
                    <a:cubicBezTo>
                      <a:pt x="820" y="355"/>
                      <a:pt x="820" y="355"/>
                      <a:pt x="820" y="355"/>
                    </a:cubicBezTo>
                    <a:cubicBezTo>
                      <a:pt x="820" y="354"/>
                      <a:pt x="820" y="354"/>
                      <a:pt x="820" y="354"/>
                    </a:cubicBezTo>
                    <a:cubicBezTo>
                      <a:pt x="820" y="353"/>
                      <a:pt x="820" y="353"/>
                      <a:pt x="820" y="353"/>
                    </a:cubicBezTo>
                    <a:cubicBezTo>
                      <a:pt x="821" y="351"/>
                      <a:pt x="821" y="351"/>
                      <a:pt x="821" y="351"/>
                    </a:cubicBezTo>
                    <a:cubicBezTo>
                      <a:pt x="822" y="351"/>
                      <a:pt x="822" y="351"/>
                      <a:pt x="822" y="351"/>
                    </a:cubicBezTo>
                    <a:cubicBezTo>
                      <a:pt x="822" y="350"/>
                      <a:pt x="822" y="350"/>
                      <a:pt x="822" y="350"/>
                    </a:cubicBezTo>
                    <a:cubicBezTo>
                      <a:pt x="823" y="350"/>
                      <a:pt x="823" y="350"/>
                      <a:pt x="823" y="350"/>
                    </a:cubicBezTo>
                    <a:cubicBezTo>
                      <a:pt x="823" y="349"/>
                      <a:pt x="823" y="349"/>
                      <a:pt x="823" y="349"/>
                    </a:cubicBezTo>
                    <a:cubicBezTo>
                      <a:pt x="824" y="347"/>
                      <a:pt x="824" y="347"/>
                      <a:pt x="824" y="347"/>
                    </a:cubicBezTo>
                    <a:cubicBezTo>
                      <a:pt x="825" y="346"/>
                      <a:pt x="825" y="346"/>
                      <a:pt x="825" y="346"/>
                    </a:cubicBezTo>
                    <a:cubicBezTo>
                      <a:pt x="825" y="345"/>
                      <a:pt x="825" y="345"/>
                      <a:pt x="825" y="345"/>
                    </a:cubicBezTo>
                    <a:cubicBezTo>
                      <a:pt x="826" y="344"/>
                      <a:pt x="826" y="344"/>
                      <a:pt x="826" y="344"/>
                    </a:cubicBezTo>
                    <a:cubicBezTo>
                      <a:pt x="827" y="343"/>
                      <a:pt x="827" y="343"/>
                      <a:pt x="827" y="343"/>
                    </a:cubicBezTo>
                    <a:cubicBezTo>
                      <a:pt x="828" y="344"/>
                      <a:pt x="828" y="344"/>
                      <a:pt x="828" y="344"/>
                    </a:cubicBezTo>
                    <a:cubicBezTo>
                      <a:pt x="828" y="345"/>
                      <a:pt x="828" y="345"/>
                      <a:pt x="828" y="345"/>
                    </a:cubicBezTo>
                    <a:cubicBezTo>
                      <a:pt x="827" y="345"/>
                      <a:pt x="827" y="345"/>
                      <a:pt x="827" y="345"/>
                    </a:cubicBezTo>
                    <a:cubicBezTo>
                      <a:pt x="827" y="346"/>
                      <a:pt x="827" y="346"/>
                      <a:pt x="827" y="346"/>
                    </a:cubicBezTo>
                    <a:cubicBezTo>
                      <a:pt x="828" y="347"/>
                      <a:pt x="828" y="347"/>
                      <a:pt x="828" y="347"/>
                    </a:cubicBezTo>
                    <a:cubicBezTo>
                      <a:pt x="827" y="348"/>
                      <a:pt x="827" y="348"/>
                      <a:pt x="827" y="348"/>
                    </a:cubicBezTo>
                    <a:cubicBezTo>
                      <a:pt x="828" y="348"/>
                      <a:pt x="828" y="348"/>
                      <a:pt x="828" y="348"/>
                    </a:cubicBezTo>
                    <a:cubicBezTo>
                      <a:pt x="828" y="350"/>
                      <a:pt x="828" y="350"/>
                      <a:pt x="828" y="350"/>
                    </a:cubicBezTo>
                    <a:cubicBezTo>
                      <a:pt x="828" y="351"/>
                      <a:pt x="828" y="351"/>
                      <a:pt x="828" y="351"/>
                    </a:cubicBezTo>
                    <a:cubicBezTo>
                      <a:pt x="828" y="352"/>
                      <a:pt x="828" y="352"/>
                      <a:pt x="828" y="352"/>
                    </a:cubicBezTo>
                    <a:cubicBezTo>
                      <a:pt x="828" y="353"/>
                      <a:pt x="828" y="353"/>
                      <a:pt x="828" y="353"/>
                    </a:cubicBezTo>
                    <a:cubicBezTo>
                      <a:pt x="829" y="354"/>
                      <a:pt x="829" y="354"/>
                      <a:pt x="829" y="354"/>
                    </a:cubicBezTo>
                    <a:cubicBezTo>
                      <a:pt x="829" y="355"/>
                      <a:pt x="829" y="355"/>
                      <a:pt x="829" y="355"/>
                    </a:cubicBezTo>
                    <a:cubicBezTo>
                      <a:pt x="829" y="356"/>
                      <a:pt x="829" y="356"/>
                      <a:pt x="829" y="356"/>
                    </a:cubicBezTo>
                    <a:cubicBezTo>
                      <a:pt x="828" y="355"/>
                      <a:pt x="828" y="355"/>
                      <a:pt x="828" y="355"/>
                    </a:cubicBezTo>
                    <a:cubicBezTo>
                      <a:pt x="827" y="356"/>
                      <a:pt x="827" y="356"/>
                      <a:pt x="827" y="356"/>
                    </a:cubicBezTo>
                    <a:cubicBezTo>
                      <a:pt x="828" y="357"/>
                      <a:pt x="828" y="357"/>
                      <a:pt x="828" y="357"/>
                    </a:cubicBezTo>
                    <a:cubicBezTo>
                      <a:pt x="829" y="357"/>
                      <a:pt x="829" y="357"/>
                      <a:pt x="829" y="357"/>
                    </a:cubicBezTo>
                    <a:cubicBezTo>
                      <a:pt x="830" y="356"/>
                      <a:pt x="830" y="356"/>
                      <a:pt x="830" y="356"/>
                    </a:cubicBezTo>
                    <a:cubicBezTo>
                      <a:pt x="830" y="357"/>
                      <a:pt x="830" y="357"/>
                      <a:pt x="830" y="357"/>
                    </a:cubicBezTo>
                    <a:cubicBezTo>
                      <a:pt x="831" y="358"/>
                      <a:pt x="831" y="358"/>
                      <a:pt x="831" y="358"/>
                    </a:cubicBezTo>
                    <a:cubicBezTo>
                      <a:pt x="830" y="359"/>
                      <a:pt x="830" y="359"/>
                      <a:pt x="830" y="359"/>
                    </a:cubicBezTo>
                    <a:cubicBezTo>
                      <a:pt x="829" y="360"/>
                      <a:pt x="829" y="360"/>
                      <a:pt x="829" y="360"/>
                    </a:cubicBezTo>
                    <a:cubicBezTo>
                      <a:pt x="827" y="359"/>
                      <a:pt x="827" y="359"/>
                      <a:pt x="827" y="359"/>
                    </a:cubicBezTo>
                    <a:cubicBezTo>
                      <a:pt x="827" y="360"/>
                      <a:pt x="827" y="360"/>
                      <a:pt x="827" y="360"/>
                    </a:cubicBezTo>
                    <a:cubicBezTo>
                      <a:pt x="828" y="361"/>
                      <a:pt x="828" y="361"/>
                      <a:pt x="828" y="361"/>
                    </a:cubicBezTo>
                    <a:cubicBezTo>
                      <a:pt x="830" y="360"/>
                      <a:pt x="830" y="360"/>
                      <a:pt x="830" y="360"/>
                    </a:cubicBezTo>
                    <a:cubicBezTo>
                      <a:pt x="831" y="360"/>
                      <a:pt x="831" y="360"/>
                      <a:pt x="831" y="360"/>
                    </a:cubicBezTo>
                    <a:cubicBezTo>
                      <a:pt x="831" y="361"/>
                      <a:pt x="831" y="361"/>
                      <a:pt x="831" y="361"/>
                    </a:cubicBezTo>
                    <a:cubicBezTo>
                      <a:pt x="830" y="363"/>
                      <a:pt x="830" y="363"/>
                      <a:pt x="830" y="363"/>
                    </a:cubicBezTo>
                    <a:cubicBezTo>
                      <a:pt x="831" y="363"/>
                      <a:pt x="831" y="363"/>
                      <a:pt x="831" y="363"/>
                    </a:cubicBezTo>
                    <a:cubicBezTo>
                      <a:pt x="832" y="362"/>
                      <a:pt x="832" y="362"/>
                      <a:pt x="832" y="362"/>
                    </a:cubicBezTo>
                    <a:cubicBezTo>
                      <a:pt x="832" y="364"/>
                      <a:pt x="832" y="364"/>
                      <a:pt x="832" y="364"/>
                    </a:cubicBezTo>
                    <a:cubicBezTo>
                      <a:pt x="831" y="365"/>
                      <a:pt x="831" y="365"/>
                      <a:pt x="831" y="365"/>
                    </a:cubicBezTo>
                    <a:cubicBezTo>
                      <a:pt x="829" y="365"/>
                      <a:pt x="829" y="365"/>
                      <a:pt x="829" y="365"/>
                    </a:cubicBezTo>
                    <a:cubicBezTo>
                      <a:pt x="828" y="365"/>
                      <a:pt x="828" y="365"/>
                      <a:pt x="828" y="365"/>
                    </a:cubicBezTo>
                    <a:cubicBezTo>
                      <a:pt x="828" y="366"/>
                      <a:pt x="828" y="366"/>
                      <a:pt x="828" y="366"/>
                    </a:cubicBezTo>
                    <a:cubicBezTo>
                      <a:pt x="827" y="367"/>
                      <a:pt x="827" y="367"/>
                      <a:pt x="827" y="367"/>
                    </a:cubicBezTo>
                    <a:cubicBezTo>
                      <a:pt x="829" y="367"/>
                      <a:pt x="829" y="367"/>
                      <a:pt x="829" y="367"/>
                    </a:cubicBezTo>
                    <a:cubicBezTo>
                      <a:pt x="831" y="367"/>
                      <a:pt x="831" y="367"/>
                      <a:pt x="831" y="367"/>
                    </a:cubicBezTo>
                    <a:cubicBezTo>
                      <a:pt x="832" y="366"/>
                      <a:pt x="832" y="366"/>
                      <a:pt x="832" y="366"/>
                    </a:cubicBezTo>
                    <a:cubicBezTo>
                      <a:pt x="833" y="366"/>
                      <a:pt x="833" y="366"/>
                      <a:pt x="833" y="366"/>
                    </a:cubicBezTo>
                    <a:cubicBezTo>
                      <a:pt x="832" y="367"/>
                      <a:pt x="832" y="367"/>
                      <a:pt x="832" y="367"/>
                    </a:cubicBezTo>
                    <a:cubicBezTo>
                      <a:pt x="832" y="368"/>
                      <a:pt x="832" y="368"/>
                      <a:pt x="832" y="368"/>
                    </a:cubicBezTo>
                    <a:cubicBezTo>
                      <a:pt x="831" y="368"/>
                      <a:pt x="831" y="368"/>
                      <a:pt x="831" y="368"/>
                    </a:cubicBezTo>
                    <a:cubicBezTo>
                      <a:pt x="830" y="368"/>
                      <a:pt x="830" y="368"/>
                      <a:pt x="830" y="368"/>
                    </a:cubicBezTo>
                    <a:cubicBezTo>
                      <a:pt x="828" y="371"/>
                      <a:pt x="828" y="371"/>
                      <a:pt x="828" y="371"/>
                    </a:cubicBezTo>
                    <a:cubicBezTo>
                      <a:pt x="830" y="370"/>
                      <a:pt x="830" y="370"/>
                      <a:pt x="830" y="370"/>
                    </a:cubicBezTo>
                    <a:cubicBezTo>
                      <a:pt x="831" y="370"/>
                      <a:pt x="831" y="370"/>
                      <a:pt x="831" y="370"/>
                    </a:cubicBezTo>
                    <a:cubicBezTo>
                      <a:pt x="832" y="369"/>
                      <a:pt x="832" y="369"/>
                      <a:pt x="832" y="369"/>
                    </a:cubicBezTo>
                    <a:cubicBezTo>
                      <a:pt x="833" y="370"/>
                      <a:pt x="833" y="370"/>
                      <a:pt x="833" y="370"/>
                    </a:cubicBezTo>
                    <a:cubicBezTo>
                      <a:pt x="833" y="371"/>
                      <a:pt x="833" y="371"/>
                      <a:pt x="833" y="371"/>
                    </a:cubicBezTo>
                    <a:cubicBezTo>
                      <a:pt x="832" y="371"/>
                      <a:pt x="832" y="371"/>
                      <a:pt x="832" y="371"/>
                    </a:cubicBezTo>
                    <a:cubicBezTo>
                      <a:pt x="831" y="372"/>
                      <a:pt x="831" y="372"/>
                      <a:pt x="831" y="372"/>
                    </a:cubicBezTo>
                    <a:cubicBezTo>
                      <a:pt x="833" y="373"/>
                      <a:pt x="833" y="373"/>
                      <a:pt x="833" y="373"/>
                    </a:cubicBezTo>
                    <a:cubicBezTo>
                      <a:pt x="833" y="372"/>
                      <a:pt x="833" y="372"/>
                      <a:pt x="833" y="372"/>
                    </a:cubicBezTo>
                    <a:cubicBezTo>
                      <a:pt x="834" y="373"/>
                      <a:pt x="834" y="373"/>
                      <a:pt x="834" y="373"/>
                    </a:cubicBezTo>
                    <a:cubicBezTo>
                      <a:pt x="835" y="375"/>
                      <a:pt x="835" y="375"/>
                      <a:pt x="835" y="375"/>
                    </a:cubicBezTo>
                    <a:cubicBezTo>
                      <a:pt x="834" y="376"/>
                      <a:pt x="834" y="376"/>
                      <a:pt x="834" y="376"/>
                    </a:cubicBezTo>
                    <a:cubicBezTo>
                      <a:pt x="833" y="376"/>
                      <a:pt x="833" y="376"/>
                      <a:pt x="833" y="376"/>
                    </a:cubicBezTo>
                    <a:cubicBezTo>
                      <a:pt x="832" y="376"/>
                      <a:pt x="832" y="376"/>
                      <a:pt x="832" y="376"/>
                    </a:cubicBezTo>
                    <a:cubicBezTo>
                      <a:pt x="831" y="376"/>
                      <a:pt x="831" y="376"/>
                      <a:pt x="831" y="376"/>
                    </a:cubicBezTo>
                    <a:cubicBezTo>
                      <a:pt x="832" y="377"/>
                      <a:pt x="832" y="377"/>
                      <a:pt x="832" y="377"/>
                    </a:cubicBezTo>
                    <a:cubicBezTo>
                      <a:pt x="833" y="377"/>
                      <a:pt x="833" y="377"/>
                      <a:pt x="833" y="377"/>
                    </a:cubicBezTo>
                    <a:cubicBezTo>
                      <a:pt x="835" y="377"/>
                      <a:pt x="835" y="377"/>
                      <a:pt x="835" y="377"/>
                    </a:cubicBezTo>
                    <a:cubicBezTo>
                      <a:pt x="835" y="378"/>
                      <a:pt x="835" y="378"/>
                      <a:pt x="835" y="378"/>
                    </a:cubicBezTo>
                    <a:cubicBezTo>
                      <a:pt x="835" y="379"/>
                      <a:pt x="835" y="379"/>
                      <a:pt x="835" y="379"/>
                    </a:cubicBezTo>
                    <a:cubicBezTo>
                      <a:pt x="834" y="379"/>
                      <a:pt x="834" y="379"/>
                      <a:pt x="834" y="379"/>
                    </a:cubicBezTo>
                    <a:cubicBezTo>
                      <a:pt x="835" y="380"/>
                      <a:pt x="835" y="380"/>
                      <a:pt x="835" y="380"/>
                    </a:cubicBezTo>
                    <a:cubicBezTo>
                      <a:pt x="836" y="380"/>
                      <a:pt x="836" y="380"/>
                      <a:pt x="836" y="380"/>
                    </a:cubicBezTo>
                    <a:cubicBezTo>
                      <a:pt x="837" y="381"/>
                      <a:pt x="837" y="381"/>
                      <a:pt x="837" y="381"/>
                    </a:cubicBezTo>
                    <a:cubicBezTo>
                      <a:pt x="837" y="382"/>
                      <a:pt x="837" y="382"/>
                      <a:pt x="837" y="382"/>
                    </a:cubicBezTo>
                    <a:cubicBezTo>
                      <a:pt x="836" y="382"/>
                      <a:pt x="836" y="382"/>
                      <a:pt x="836" y="382"/>
                    </a:cubicBezTo>
                    <a:cubicBezTo>
                      <a:pt x="834" y="384"/>
                      <a:pt x="834" y="384"/>
                      <a:pt x="834" y="384"/>
                    </a:cubicBezTo>
                    <a:cubicBezTo>
                      <a:pt x="834" y="383"/>
                      <a:pt x="834" y="383"/>
                      <a:pt x="834" y="383"/>
                    </a:cubicBezTo>
                    <a:cubicBezTo>
                      <a:pt x="833" y="384"/>
                      <a:pt x="833" y="384"/>
                      <a:pt x="833" y="384"/>
                    </a:cubicBezTo>
                    <a:cubicBezTo>
                      <a:pt x="834" y="384"/>
                      <a:pt x="834" y="384"/>
                      <a:pt x="834" y="384"/>
                    </a:cubicBezTo>
                    <a:cubicBezTo>
                      <a:pt x="834" y="385"/>
                      <a:pt x="834" y="385"/>
                      <a:pt x="834" y="385"/>
                    </a:cubicBezTo>
                    <a:cubicBezTo>
                      <a:pt x="833" y="385"/>
                      <a:pt x="833" y="385"/>
                      <a:pt x="833" y="385"/>
                    </a:cubicBezTo>
                    <a:cubicBezTo>
                      <a:pt x="831" y="384"/>
                      <a:pt x="831" y="384"/>
                      <a:pt x="831" y="384"/>
                    </a:cubicBezTo>
                    <a:cubicBezTo>
                      <a:pt x="830" y="384"/>
                      <a:pt x="830" y="384"/>
                      <a:pt x="830" y="384"/>
                    </a:cubicBezTo>
                    <a:cubicBezTo>
                      <a:pt x="831" y="385"/>
                      <a:pt x="831" y="385"/>
                      <a:pt x="831" y="385"/>
                    </a:cubicBezTo>
                    <a:cubicBezTo>
                      <a:pt x="831" y="386"/>
                      <a:pt x="831" y="386"/>
                      <a:pt x="831" y="386"/>
                    </a:cubicBezTo>
                    <a:cubicBezTo>
                      <a:pt x="833" y="387"/>
                      <a:pt x="833" y="387"/>
                      <a:pt x="833" y="387"/>
                    </a:cubicBezTo>
                    <a:cubicBezTo>
                      <a:pt x="833" y="388"/>
                      <a:pt x="833" y="388"/>
                      <a:pt x="833" y="388"/>
                    </a:cubicBezTo>
                    <a:cubicBezTo>
                      <a:pt x="833" y="389"/>
                      <a:pt x="833" y="389"/>
                      <a:pt x="833" y="389"/>
                    </a:cubicBezTo>
                    <a:cubicBezTo>
                      <a:pt x="832" y="389"/>
                      <a:pt x="832" y="389"/>
                      <a:pt x="832" y="389"/>
                    </a:cubicBezTo>
                    <a:cubicBezTo>
                      <a:pt x="831" y="390"/>
                      <a:pt x="831" y="390"/>
                      <a:pt x="831" y="390"/>
                    </a:cubicBezTo>
                    <a:cubicBezTo>
                      <a:pt x="832" y="390"/>
                      <a:pt x="832" y="390"/>
                      <a:pt x="832" y="390"/>
                    </a:cubicBezTo>
                    <a:cubicBezTo>
                      <a:pt x="833" y="390"/>
                      <a:pt x="833" y="390"/>
                      <a:pt x="833" y="390"/>
                    </a:cubicBezTo>
                    <a:cubicBezTo>
                      <a:pt x="834" y="389"/>
                      <a:pt x="834" y="389"/>
                      <a:pt x="834" y="389"/>
                    </a:cubicBezTo>
                    <a:cubicBezTo>
                      <a:pt x="835" y="389"/>
                      <a:pt x="835" y="389"/>
                      <a:pt x="835" y="389"/>
                    </a:cubicBezTo>
                    <a:cubicBezTo>
                      <a:pt x="835" y="390"/>
                      <a:pt x="835" y="390"/>
                      <a:pt x="835" y="390"/>
                    </a:cubicBezTo>
                    <a:cubicBezTo>
                      <a:pt x="835" y="391"/>
                      <a:pt x="835" y="391"/>
                      <a:pt x="835" y="391"/>
                    </a:cubicBezTo>
                    <a:cubicBezTo>
                      <a:pt x="836" y="391"/>
                      <a:pt x="836" y="391"/>
                      <a:pt x="836" y="391"/>
                    </a:cubicBezTo>
                    <a:cubicBezTo>
                      <a:pt x="836" y="392"/>
                      <a:pt x="836" y="392"/>
                      <a:pt x="836" y="392"/>
                    </a:cubicBezTo>
                    <a:cubicBezTo>
                      <a:pt x="836" y="393"/>
                      <a:pt x="836" y="393"/>
                      <a:pt x="836" y="393"/>
                    </a:cubicBezTo>
                    <a:cubicBezTo>
                      <a:pt x="837" y="392"/>
                      <a:pt x="837" y="392"/>
                      <a:pt x="837" y="392"/>
                    </a:cubicBezTo>
                    <a:cubicBezTo>
                      <a:pt x="838" y="393"/>
                      <a:pt x="838" y="393"/>
                      <a:pt x="838" y="393"/>
                    </a:cubicBezTo>
                    <a:cubicBezTo>
                      <a:pt x="838" y="394"/>
                      <a:pt x="838" y="394"/>
                      <a:pt x="838" y="394"/>
                    </a:cubicBezTo>
                    <a:cubicBezTo>
                      <a:pt x="838" y="395"/>
                      <a:pt x="838" y="395"/>
                      <a:pt x="838" y="395"/>
                    </a:cubicBezTo>
                    <a:cubicBezTo>
                      <a:pt x="838" y="396"/>
                      <a:pt x="838" y="396"/>
                      <a:pt x="838" y="396"/>
                    </a:cubicBezTo>
                    <a:cubicBezTo>
                      <a:pt x="840" y="394"/>
                      <a:pt x="840" y="394"/>
                      <a:pt x="840" y="394"/>
                    </a:cubicBezTo>
                    <a:cubicBezTo>
                      <a:pt x="840" y="395"/>
                      <a:pt x="840" y="395"/>
                      <a:pt x="840" y="395"/>
                    </a:cubicBezTo>
                    <a:cubicBezTo>
                      <a:pt x="840" y="396"/>
                      <a:pt x="840" y="396"/>
                      <a:pt x="840" y="396"/>
                    </a:cubicBezTo>
                    <a:cubicBezTo>
                      <a:pt x="839" y="397"/>
                      <a:pt x="839" y="397"/>
                      <a:pt x="839" y="397"/>
                    </a:cubicBezTo>
                    <a:cubicBezTo>
                      <a:pt x="837" y="399"/>
                      <a:pt x="837" y="399"/>
                      <a:pt x="837" y="399"/>
                    </a:cubicBezTo>
                    <a:cubicBezTo>
                      <a:pt x="836" y="400"/>
                      <a:pt x="836" y="400"/>
                      <a:pt x="836" y="400"/>
                    </a:cubicBezTo>
                    <a:cubicBezTo>
                      <a:pt x="835" y="400"/>
                      <a:pt x="835" y="400"/>
                      <a:pt x="835" y="400"/>
                    </a:cubicBezTo>
                    <a:cubicBezTo>
                      <a:pt x="836" y="401"/>
                      <a:pt x="836" y="401"/>
                      <a:pt x="836" y="401"/>
                    </a:cubicBezTo>
                    <a:cubicBezTo>
                      <a:pt x="837" y="400"/>
                      <a:pt x="837" y="400"/>
                      <a:pt x="837" y="400"/>
                    </a:cubicBezTo>
                    <a:cubicBezTo>
                      <a:pt x="839" y="398"/>
                      <a:pt x="839" y="398"/>
                      <a:pt x="839" y="398"/>
                    </a:cubicBezTo>
                    <a:cubicBezTo>
                      <a:pt x="840" y="398"/>
                      <a:pt x="840" y="398"/>
                      <a:pt x="840" y="398"/>
                    </a:cubicBezTo>
                    <a:cubicBezTo>
                      <a:pt x="840" y="399"/>
                      <a:pt x="840" y="399"/>
                      <a:pt x="840" y="399"/>
                    </a:cubicBezTo>
                    <a:cubicBezTo>
                      <a:pt x="839" y="400"/>
                      <a:pt x="839" y="400"/>
                      <a:pt x="839" y="400"/>
                    </a:cubicBezTo>
                    <a:cubicBezTo>
                      <a:pt x="839" y="401"/>
                      <a:pt x="839" y="401"/>
                      <a:pt x="839" y="401"/>
                    </a:cubicBezTo>
                    <a:cubicBezTo>
                      <a:pt x="840" y="400"/>
                      <a:pt x="840" y="400"/>
                      <a:pt x="840" y="400"/>
                    </a:cubicBezTo>
                    <a:cubicBezTo>
                      <a:pt x="842" y="398"/>
                      <a:pt x="842" y="398"/>
                      <a:pt x="842" y="398"/>
                    </a:cubicBezTo>
                    <a:cubicBezTo>
                      <a:pt x="843" y="398"/>
                      <a:pt x="843" y="398"/>
                      <a:pt x="843" y="398"/>
                    </a:cubicBezTo>
                    <a:cubicBezTo>
                      <a:pt x="843" y="399"/>
                      <a:pt x="843" y="399"/>
                      <a:pt x="843" y="399"/>
                    </a:cubicBezTo>
                    <a:cubicBezTo>
                      <a:pt x="842" y="399"/>
                      <a:pt x="842" y="399"/>
                      <a:pt x="842" y="399"/>
                    </a:cubicBezTo>
                    <a:cubicBezTo>
                      <a:pt x="841" y="400"/>
                      <a:pt x="841" y="400"/>
                      <a:pt x="841" y="400"/>
                    </a:cubicBezTo>
                    <a:cubicBezTo>
                      <a:pt x="842" y="400"/>
                      <a:pt x="842" y="400"/>
                      <a:pt x="842" y="400"/>
                    </a:cubicBezTo>
                    <a:cubicBezTo>
                      <a:pt x="844" y="399"/>
                      <a:pt x="844" y="399"/>
                      <a:pt x="844" y="399"/>
                    </a:cubicBezTo>
                    <a:cubicBezTo>
                      <a:pt x="844" y="400"/>
                      <a:pt x="844" y="400"/>
                      <a:pt x="844" y="400"/>
                    </a:cubicBezTo>
                    <a:cubicBezTo>
                      <a:pt x="842" y="401"/>
                      <a:pt x="842" y="401"/>
                      <a:pt x="842" y="401"/>
                    </a:cubicBezTo>
                    <a:cubicBezTo>
                      <a:pt x="841" y="402"/>
                      <a:pt x="841" y="402"/>
                      <a:pt x="841" y="402"/>
                    </a:cubicBezTo>
                    <a:cubicBezTo>
                      <a:pt x="842" y="402"/>
                      <a:pt x="842" y="402"/>
                      <a:pt x="842" y="402"/>
                    </a:cubicBezTo>
                    <a:cubicBezTo>
                      <a:pt x="843" y="401"/>
                      <a:pt x="843" y="401"/>
                      <a:pt x="843" y="401"/>
                    </a:cubicBezTo>
                    <a:cubicBezTo>
                      <a:pt x="844" y="400"/>
                      <a:pt x="844" y="400"/>
                      <a:pt x="844" y="400"/>
                    </a:cubicBezTo>
                    <a:cubicBezTo>
                      <a:pt x="845" y="399"/>
                      <a:pt x="845" y="399"/>
                      <a:pt x="845" y="399"/>
                    </a:cubicBezTo>
                    <a:cubicBezTo>
                      <a:pt x="846" y="399"/>
                      <a:pt x="846" y="399"/>
                      <a:pt x="846" y="399"/>
                    </a:cubicBezTo>
                    <a:cubicBezTo>
                      <a:pt x="845" y="400"/>
                      <a:pt x="845" y="400"/>
                      <a:pt x="845" y="400"/>
                    </a:cubicBezTo>
                    <a:cubicBezTo>
                      <a:pt x="845" y="401"/>
                      <a:pt x="845" y="401"/>
                      <a:pt x="845" y="401"/>
                    </a:cubicBezTo>
                    <a:cubicBezTo>
                      <a:pt x="847" y="399"/>
                      <a:pt x="847" y="399"/>
                      <a:pt x="847" y="399"/>
                    </a:cubicBezTo>
                    <a:cubicBezTo>
                      <a:pt x="847" y="400"/>
                      <a:pt x="847" y="400"/>
                      <a:pt x="847" y="400"/>
                    </a:cubicBezTo>
                    <a:cubicBezTo>
                      <a:pt x="847" y="402"/>
                      <a:pt x="847" y="402"/>
                      <a:pt x="847" y="402"/>
                    </a:cubicBezTo>
                    <a:cubicBezTo>
                      <a:pt x="846" y="402"/>
                      <a:pt x="846" y="402"/>
                      <a:pt x="846" y="402"/>
                    </a:cubicBezTo>
                    <a:cubicBezTo>
                      <a:pt x="846" y="403"/>
                      <a:pt x="846" y="403"/>
                      <a:pt x="846" y="403"/>
                    </a:cubicBezTo>
                    <a:cubicBezTo>
                      <a:pt x="847" y="403"/>
                      <a:pt x="847" y="403"/>
                      <a:pt x="847" y="403"/>
                    </a:cubicBezTo>
                    <a:cubicBezTo>
                      <a:pt x="849" y="404"/>
                      <a:pt x="849" y="404"/>
                      <a:pt x="849" y="404"/>
                    </a:cubicBezTo>
                    <a:cubicBezTo>
                      <a:pt x="850" y="403"/>
                      <a:pt x="850" y="403"/>
                      <a:pt x="850" y="403"/>
                    </a:cubicBezTo>
                    <a:cubicBezTo>
                      <a:pt x="852" y="402"/>
                      <a:pt x="852" y="402"/>
                      <a:pt x="852" y="402"/>
                    </a:cubicBezTo>
                    <a:cubicBezTo>
                      <a:pt x="852" y="403"/>
                      <a:pt x="852" y="403"/>
                      <a:pt x="852" y="403"/>
                    </a:cubicBezTo>
                    <a:cubicBezTo>
                      <a:pt x="852" y="404"/>
                      <a:pt x="852" y="404"/>
                      <a:pt x="852" y="404"/>
                    </a:cubicBezTo>
                    <a:cubicBezTo>
                      <a:pt x="851" y="404"/>
                      <a:pt x="851" y="404"/>
                      <a:pt x="851" y="404"/>
                    </a:cubicBezTo>
                    <a:cubicBezTo>
                      <a:pt x="854" y="405"/>
                      <a:pt x="854" y="405"/>
                      <a:pt x="854" y="405"/>
                    </a:cubicBezTo>
                    <a:cubicBezTo>
                      <a:pt x="855" y="406"/>
                      <a:pt x="855" y="406"/>
                      <a:pt x="855" y="406"/>
                    </a:cubicBezTo>
                    <a:cubicBezTo>
                      <a:pt x="853" y="406"/>
                      <a:pt x="853" y="406"/>
                      <a:pt x="853" y="406"/>
                    </a:cubicBezTo>
                    <a:cubicBezTo>
                      <a:pt x="853" y="407"/>
                      <a:pt x="853" y="407"/>
                      <a:pt x="853" y="407"/>
                    </a:cubicBezTo>
                    <a:cubicBezTo>
                      <a:pt x="850" y="407"/>
                      <a:pt x="850" y="407"/>
                      <a:pt x="850" y="407"/>
                    </a:cubicBezTo>
                    <a:cubicBezTo>
                      <a:pt x="848" y="408"/>
                      <a:pt x="848" y="408"/>
                      <a:pt x="848" y="408"/>
                    </a:cubicBezTo>
                    <a:cubicBezTo>
                      <a:pt x="847" y="409"/>
                      <a:pt x="847" y="409"/>
                      <a:pt x="847" y="409"/>
                    </a:cubicBezTo>
                    <a:cubicBezTo>
                      <a:pt x="847" y="410"/>
                      <a:pt x="847" y="410"/>
                      <a:pt x="847" y="410"/>
                    </a:cubicBezTo>
                    <a:cubicBezTo>
                      <a:pt x="844" y="410"/>
                      <a:pt x="844" y="410"/>
                      <a:pt x="844" y="410"/>
                    </a:cubicBezTo>
                    <a:cubicBezTo>
                      <a:pt x="842" y="411"/>
                      <a:pt x="842" y="411"/>
                      <a:pt x="842" y="411"/>
                    </a:cubicBezTo>
                    <a:cubicBezTo>
                      <a:pt x="840" y="412"/>
                      <a:pt x="840" y="412"/>
                      <a:pt x="840" y="412"/>
                    </a:cubicBezTo>
                    <a:cubicBezTo>
                      <a:pt x="839" y="412"/>
                      <a:pt x="839" y="412"/>
                      <a:pt x="839" y="412"/>
                    </a:cubicBezTo>
                    <a:cubicBezTo>
                      <a:pt x="838" y="412"/>
                      <a:pt x="838" y="412"/>
                      <a:pt x="838" y="412"/>
                    </a:cubicBezTo>
                    <a:cubicBezTo>
                      <a:pt x="838" y="414"/>
                      <a:pt x="838" y="414"/>
                      <a:pt x="838" y="414"/>
                    </a:cubicBezTo>
                    <a:cubicBezTo>
                      <a:pt x="837" y="414"/>
                      <a:pt x="837" y="414"/>
                      <a:pt x="837" y="414"/>
                    </a:cubicBezTo>
                    <a:cubicBezTo>
                      <a:pt x="835" y="413"/>
                      <a:pt x="835" y="413"/>
                      <a:pt x="835" y="413"/>
                    </a:cubicBezTo>
                    <a:cubicBezTo>
                      <a:pt x="834" y="410"/>
                      <a:pt x="834" y="410"/>
                      <a:pt x="834" y="410"/>
                    </a:cubicBezTo>
                    <a:cubicBezTo>
                      <a:pt x="834" y="412"/>
                      <a:pt x="834" y="412"/>
                      <a:pt x="834" y="412"/>
                    </a:cubicBezTo>
                    <a:cubicBezTo>
                      <a:pt x="833" y="412"/>
                      <a:pt x="833" y="412"/>
                      <a:pt x="833" y="412"/>
                    </a:cubicBezTo>
                    <a:cubicBezTo>
                      <a:pt x="834" y="413"/>
                      <a:pt x="834" y="413"/>
                      <a:pt x="834" y="413"/>
                    </a:cubicBezTo>
                    <a:cubicBezTo>
                      <a:pt x="837" y="415"/>
                      <a:pt x="837" y="415"/>
                      <a:pt x="837" y="415"/>
                    </a:cubicBezTo>
                    <a:cubicBezTo>
                      <a:pt x="837" y="416"/>
                      <a:pt x="837" y="416"/>
                      <a:pt x="837" y="416"/>
                    </a:cubicBezTo>
                    <a:cubicBezTo>
                      <a:pt x="836" y="416"/>
                      <a:pt x="836" y="416"/>
                      <a:pt x="836" y="416"/>
                    </a:cubicBezTo>
                    <a:cubicBezTo>
                      <a:pt x="835" y="416"/>
                      <a:pt x="835" y="416"/>
                      <a:pt x="835" y="416"/>
                    </a:cubicBezTo>
                    <a:cubicBezTo>
                      <a:pt x="836" y="417"/>
                      <a:pt x="836" y="417"/>
                      <a:pt x="836" y="417"/>
                    </a:cubicBezTo>
                    <a:cubicBezTo>
                      <a:pt x="836" y="418"/>
                      <a:pt x="836" y="418"/>
                      <a:pt x="836" y="418"/>
                    </a:cubicBezTo>
                    <a:cubicBezTo>
                      <a:pt x="837" y="417"/>
                      <a:pt x="837" y="417"/>
                      <a:pt x="837" y="417"/>
                    </a:cubicBezTo>
                    <a:cubicBezTo>
                      <a:pt x="838" y="415"/>
                      <a:pt x="838" y="415"/>
                      <a:pt x="838" y="415"/>
                    </a:cubicBezTo>
                    <a:cubicBezTo>
                      <a:pt x="840" y="415"/>
                      <a:pt x="840" y="415"/>
                      <a:pt x="840" y="415"/>
                    </a:cubicBezTo>
                    <a:cubicBezTo>
                      <a:pt x="842" y="414"/>
                      <a:pt x="842" y="414"/>
                      <a:pt x="842" y="414"/>
                    </a:cubicBezTo>
                    <a:cubicBezTo>
                      <a:pt x="843" y="414"/>
                      <a:pt x="843" y="414"/>
                      <a:pt x="843" y="414"/>
                    </a:cubicBezTo>
                    <a:cubicBezTo>
                      <a:pt x="843" y="413"/>
                      <a:pt x="843" y="413"/>
                      <a:pt x="843" y="413"/>
                    </a:cubicBezTo>
                    <a:cubicBezTo>
                      <a:pt x="844" y="411"/>
                      <a:pt x="844" y="411"/>
                      <a:pt x="844" y="411"/>
                    </a:cubicBezTo>
                    <a:cubicBezTo>
                      <a:pt x="846" y="411"/>
                      <a:pt x="846" y="411"/>
                      <a:pt x="846" y="411"/>
                    </a:cubicBezTo>
                    <a:cubicBezTo>
                      <a:pt x="848" y="410"/>
                      <a:pt x="848" y="410"/>
                      <a:pt x="848" y="410"/>
                    </a:cubicBezTo>
                    <a:cubicBezTo>
                      <a:pt x="849" y="409"/>
                      <a:pt x="849" y="409"/>
                      <a:pt x="849" y="409"/>
                    </a:cubicBezTo>
                    <a:cubicBezTo>
                      <a:pt x="852" y="409"/>
                      <a:pt x="852" y="409"/>
                      <a:pt x="852" y="409"/>
                    </a:cubicBezTo>
                    <a:cubicBezTo>
                      <a:pt x="854" y="409"/>
                      <a:pt x="854" y="409"/>
                      <a:pt x="854" y="409"/>
                    </a:cubicBezTo>
                    <a:cubicBezTo>
                      <a:pt x="855" y="411"/>
                      <a:pt x="855" y="411"/>
                      <a:pt x="855" y="411"/>
                    </a:cubicBezTo>
                    <a:cubicBezTo>
                      <a:pt x="855" y="413"/>
                      <a:pt x="855" y="413"/>
                      <a:pt x="855" y="413"/>
                    </a:cubicBezTo>
                    <a:cubicBezTo>
                      <a:pt x="853" y="414"/>
                      <a:pt x="853" y="414"/>
                      <a:pt x="853" y="414"/>
                    </a:cubicBezTo>
                    <a:cubicBezTo>
                      <a:pt x="852" y="415"/>
                      <a:pt x="852" y="415"/>
                      <a:pt x="852" y="415"/>
                    </a:cubicBezTo>
                    <a:cubicBezTo>
                      <a:pt x="853" y="415"/>
                      <a:pt x="853" y="415"/>
                      <a:pt x="853" y="415"/>
                    </a:cubicBezTo>
                    <a:cubicBezTo>
                      <a:pt x="854" y="416"/>
                      <a:pt x="854" y="416"/>
                      <a:pt x="854" y="416"/>
                    </a:cubicBezTo>
                    <a:cubicBezTo>
                      <a:pt x="854" y="415"/>
                      <a:pt x="854" y="415"/>
                      <a:pt x="854" y="415"/>
                    </a:cubicBezTo>
                    <a:cubicBezTo>
                      <a:pt x="855" y="414"/>
                      <a:pt x="855" y="414"/>
                      <a:pt x="855" y="414"/>
                    </a:cubicBezTo>
                    <a:cubicBezTo>
                      <a:pt x="857" y="413"/>
                      <a:pt x="857" y="413"/>
                      <a:pt x="857" y="413"/>
                    </a:cubicBezTo>
                    <a:cubicBezTo>
                      <a:pt x="858" y="413"/>
                      <a:pt x="858" y="413"/>
                      <a:pt x="858" y="413"/>
                    </a:cubicBezTo>
                    <a:cubicBezTo>
                      <a:pt x="858" y="414"/>
                      <a:pt x="858" y="414"/>
                      <a:pt x="858" y="414"/>
                    </a:cubicBezTo>
                    <a:cubicBezTo>
                      <a:pt x="858" y="415"/>
                      <a:pt x="858" y="415"/>
                      <a:pt x="858" y="415"/>
                    </a:cubicBezTo>
                    <a:cubicBezTo>
                      <a:pt x="859" y="415"/>
                      <a:pt x="859" y="415"/>
                      <a:pt x="859" y="415"/>
                    </a:cubicBezTo>
                    <a:cubicBezTo>
                      <a:pt x="861" y="416"/>
                      <a:pt x="861" y="416"/>
                      <a:pt x="861" y="416"/>
                    </a:cubicBezTo>
                    <a:cubicBezTo>
                      <a:pt x="860" y="416"/>
                      <a:pt x="860" y="416"/>
                      <a:pt x="860" y="416"/>
                    </a:cubicBezTo>
                    <a:cubicBezTo>
                      <a:pt x="859" y="416"/>
                      <a:pt x="859" y="416"/>
                      <a:pt x="859" y="416"/>
                    </a:cubicBezTo>
                    <a:cubicBezTo>
                      <a:pt x="860" y="417"/>
                      <a:pt x="860" y="417"/>
                      <a:pt x="860" y="417"/>
                    </a:cubicBezTo>
                    <a:cubicBezTo>
                      <a:pt x="861" y="418"/>
                      <a:pt x="861" y="418"/>
                      <a:pt x="861" y="418"/>
                    </a:cubicBezTo>
                    <a:cubicBezTo>
                      <a:pt x="862" y="419"/>
                      <a:pt x="862" y="419"/>
                      <a:pt x="862" y="419"/>
                    </a:cubicBezTo>
                    <a:cubicBezTo>
                      <a:pt x="861" y="419"/>
                      <a:pt x="861" y="419"/>
                      <a:pt x="861" y="419"/>
                    </a:cubicBezTo>
                    <a:cubicBezTo>
                      <a:pt x="860" y="419"/>
                      <a:pt x="860" y="419"/>
                      <a:pt x="860" y="419"/>
                    </a:cubicBezTo>
                    <a:cubicBezTo>
                      <a:pt x="859" y="420"/>
                      <a:pt x="859" y="420"/>
                      <a:pt x="859" y="420"/>
                    </a:cubicBezTo>
                    <a:cubicBezTo>
                      <a:pt x="861" y="421"/>
                      <a:pt x="861" y="421"/>
                      <a:pt x="861" y="421"/>
                    </a:cubicBezTo>
                    <a:cubicBezTo>
                      <a:pt x="860" y="422"/>
                      <a:pt x="860" y="422"/>
                      <a:pt x="860" y="422"/>
                    </a:cubicBezTo>
                    <a:cubicBezTo>
                      <a:pt x="859" y="422"/>
                      <a:pt x="859" y="422"/>
                      <a:pt x="859" y="422"/>
                    </a:cubicBezTo>
                    <a:cubicBezTo>
                      <a:pt x="859" y="423"/>
                      <a:pt x="859" y="423"/>
                      <a:pt x="859" y="423"/>
                    </a:cubicBezTo>
                    <a:cubicBezTo>
                      <a:pt x="858" y="424"/>
                      <a:pt x="858" y="424"/>
                      <a:pt x="858" y="424"/>
                    </a:cubicBezTo>
                    <a:cubicBezTo>
                      <a:pt x="856" y="423"/>
                      <a:pt x="856" y="423"/>
                      <a:pt x="856" y="423"/>
                    </a:cubicBezTo>
                    <a:cubicBezTo>
                      <a:pt x="857" y="424"/>
                      <a:pt x="857" y="424"/>
                      <a:pt x="857" y="424"/>
                    </a:cubicBezTo>
                    <a:cubicBezTo>
                      <a:pt x="859" y="425"/>
                      <a:pt x="859" y="425"/>
                      <a:pt x="859" y="425"/>
                    </a:cubicBezTo>
                    <a:cubicBezTo>
                      <a:pt x="860" y="424"/>
                      <a:pt x="860" y="424"/>
                      <a:pt x="860" y="424"/>
                    </a:cubicBezTo>
                    <a:cubicBezTo>
                      <a:pt x="861" y="425"/>
                      <a:pt x="861" y="425"/>
                      <a:pt x="861" y="425"/>
                    </a:cubicBezTo>
                    <a:cubicBezTo>
                      <a:pt x="860" y="426"/>
                      <a:pt x="860" y="426"/>
                      <a:pt x="860" y="426"/>
                    </a:cubicBezTo>
                    <a:cubicBezTo>
                      <a:pt x="861" y="426"/>
                      <a:pt x="861" y="426"/>
                      <a:pt x="861" y="426"/>
                    </a:cubicBezTo>
                    <a:cubicBezTo>
                      <a:pt x="860" y="428"/>
                      <a:pt x="860" y="428"/>
                      <a:pt x="860" y="428"/>
                    </a:cubicBezTo>
                    <a:cubicBezTo>
                      <a:pt x="860" y="429"/>
                      <a:pt x="860" y="429"/>
                      <a:pt x="860" y="429"/>
                    </a:cubicBezTo>
                    <a:cubicBezTo>
                      <a:pt x="859" y="429"/>
                      <a:pt x="859" y="429"/>
                      <a:pt x="859" y="429"/>
                    </a:cubicBezTo>
                    <a:cubicBezTo>
                      <a:pt x="858" y="430"/>
                      <a:pt x="858" y="430"/>
                      <a:pt x="858" y="430"/>
                    </a:cubicBezTo>
                    <a:cubicBezTo>
                      <a:pt x="857" y="431"/>
                      <a:pt x="857" y="431"/>
                      <a:pt x="857" y="431"/>
                    </a:cubicBezTo>
                    <a:cubicBezTo>
                      <a:pt x="855" y="431"/>
                      <a:pt x="855" y="431"/>
                      <a:pt x="855" y="431"/>
                    </a:cubicBezTo>
                    <a:cubicBezTo>
                      <a:pt x="854" y="432"/>
                      <a:pt x="854" y="432"/>
                      <a:pt x="854" y="432"/>
                    </a:cubicBezTo>
                    <a:cubicBezTo>
                      <a:pt x="853" y="433"/>
                      <a:pt x="853" y="433"/>
                      <a:pt x="853" y="433"/>
                    </a:cubicBezTo>
                    <a:cubicBezTo>
                      <a:pt x="852" y="433"/>
                      <a:pt x="852" y="433"/>
                      <a:pt x="852" y="433"/>
                    </a:cubicBezTo>
                    <a:cubicBezTo>
                      <a:pt x="852" y="434"/>
                      <a:pt x="852" y="434"/>
                      <a:pt x="852" y="434"/>
                    </a:cubicBezTo>
                    <a:cubicBezTo>
                      <a:pt x="851" y="434"/>
                      <a:pt x="851" y="434"/>
                      <a:pt x="851" y="434"/>
                    </a:cubicBezTo>
                    <a:cubicBezTo>
                      <a:pt x="850" y="433"/>
                      <a:pt x="850" y="433"/>
                      <a:pt x="850" y="433"/>
                    </a:cubicBezTo>
                    <a:cubicBezTo>
                      <a:pt x="849" y="434"/>
                      <a:pt x="849" y="434"/>
                      <a:pt x="849" y="434"/>
                    </a:cubicBezTo>
                    <a:cubicBezTo>
                      <a:pt x="848" y="434"/>
                      <a:pt x="848" y="434"/>
                      <a:pt x="848" y="434"/>
                    </a:cubicBezTo>
                    <a:cubicBezTo>
                      <a:pt x="848" y="433"/>
                      <a:pt x="848" y="433"/>
                      <a:pt x="848" y="433"/>
                    </a:cubicBezTo>
                    <a:cubicBezTo>
                      <a:pt x="846" y="434"/>
                      <a:pt x="846" y="434"/>
                      <a:pt x="846" y="434"/>
                    </a:cubicBezTo>
                    <a:cubicBezTo>
                      <a:pt x="845" y="434"/>
                      <a:pt x="845" y="434"/>
                      <a:pt x="845" y="434"/>
                    </a:cubicBezTo>
                    <a:cubicBezTo>
                      <a:pt x="844" y="433"/>
                      <a:pt x="844" y="433"/>
                      <a:pt x="844" y="433"/>
                    </a:cubicBezTo>
                    <a:cubicBezTo>
                      <a:pt x="844" y="434"/>
                      <a:pt x="844" y="434"/>
                      <a:pt x="844" y="434"/>
                    </a:cubicBezTo>
                    <a:cubicBezTo>
                      <a:pt x="843" y="435"/>
                      <a:pt x="843" y="435"/>
                      <a:pt x="843" y="435"/>
                    </a:cubicBezTo>
                    <a:cubicBezTo>
                      <a:pt x="842" y="434"/>
                      <a:pt x="842" y="434"/>
                      <a:pt x="842" y="434"/>
                    </a:cubicBezTo>
                    <a:cubicBezTo>
                      <a:pt x="841" y="435"/>
                      <a:pt x="841" y="435"/>
                      <a:pt x="841" y="435"/>
                    </a:cubicBezTo>
                    <a:cubicBezTo>
                      <a:pt x="842" y="435"/>
                      <a:pt x="842" y="435"/>
                      <a:pt x="842" y="435"/>
                    </a:cubicBezTo>
                    <a:cubicBezTo>
                      <a:pt x="842" y="436"/>
                      <a:pt x="842" y="436"/>
                      <a:pt x="842" y="436"/>
                    </a:cubicBezTo>
                    <a:cubicBezTo>
                      <a:pt x="841" y="437"/>
                      <a:pt x="841" y="437"/>
                      <a:pt x="841" y="437"/>
                    </a:cubicBezTo>
                    <a:cubicBezTo>
                      <a:pt x="840" y="437"/>
                      <a:pt x="840" y="437"/>
                      <a:pt x="840" y="437"/>
                    </a:cubicBezTo>
                    <a:cubicBezTo>
                      <a:pt x="840" y="438"/>
                      <a:pt x="840" y="438"/>
                      <a:pt x="840" y="438"/>
                    </a:cubicBezTo>
                    <a:cubicBezTo>
                      <a:pt x="839" y="439"/>
                      <a:pt x="839" y="439"/>
                      <a:pt x="839" y="439"/>
                    </a:cubicBezTo>
                    <a:cubicBezTo>
                      <a:pt x="838" y="439"/>
                      <a:pt x="838" y="439"/>
                      <a:pt x="838" y="439"/>
                    </a:cubicBezTo>
                    <a:cubicBezTo>
                      <a:pt x="838" y="440"/>
                      <a:pt x="838" y="440"/>
                      <a:pt x="838" y="440"/>
                    </a:cubicBezTo>
                    <a:cubicBezTo>
                      <a:pt x="837" y="440"/>
                      <a:pt x="837" y="440"/>
                      <a:pt x="837" y="440"/>
                    </a:cubicBezTo>
                    <a:cubicBezTo>
                      <a:pt x="836" y="442"/>
                      <a:pt x="836" y="442"/>
                      <a:pt x="836" y="442"/>
                    </a:cubicBezTo>
                    <a:cubicBezTo>
                      <a:pt x="835" y="441"/>
                      <a:pt x="835" y="441"/>
                      <a:pt x="835" y="441"/>
                    </a:cubicBezTo>
                    <a:cubicBezTo>
                      <a:pt x="835" y="442"/>
                      <a:pt x="835" y="442"/>
                      <a:pt x="835" y="442"/>
                    </a:cubicBezTo>
                    <a:cubicBezTo>
                      <a:pt x="833" y="442"/>
                      <a:pt x="833" y="442"/>
                      <a:pt x="833" y="442"/>
                    </a:cubicBezTo>
                    <a:cubicBezTo>
                      <a:pt x="833" y="443"/>
                      <a:pt x="833" y="443"/>
                      <a:pt x="833" y="443"/>
                    </a:cubicBezTo>
                    <a:cubicBezTo>
                      <a:pt x="832" y="443"/>
                      <a:pt x="832" y="443"/>
                      <a:pt x="832" y="443"/>
                    </a:cubicBezTo>
                    <a:cubicBezTo>
                      <a:pt x="831" y="443"/>
                      <a:pt x="831" y="443"/>
                      <a:pt x="831" y="443"/>
                    </a:cubicBezTo>
                    <a:cubicBezTo>
                      <a:pt x="829" y="443"/>
                      <a:pt x="829" y="443"/>
                      <a:pt x="829" y="443"/>
                    </a:cubicBezTo>
                    <a:cubicBezTo>
                      <a:pt x="829" y="442"/>
                      <a:pt x="829" y="442"/>
                      <a:pt x="829" y="442"/>
                    </a:cubicBezTo>
                    <a:cubicBezTo>
                      <a:pt x="827" y="443"/>
                      <a:pt x="827" y="443"/>
                      <a:pt x="827" y="443"/>
                    </a:cubicBezTo>
                    <a:cubicBezTo>
                      <a:pt x="826" y="443"/>
                      <a:pt x="826" y="443"/>
                      <a:pt x="826" y="443"/>
                    </a:cubicBezTo>
                    <a:cubicBezTo>
                      <a:pt x="824" y="444"/>
                      <a:pt x="824" y="444"/>
                      <a:pt x="824" y="444"/>
                    </a:cubicBezTo>
                    <a:cubicBezTo>
                      <a:pt x="822" y="443"/>
                      <a:pt x="822" y="443"/>
                      <a:pt x="822" y="443"/>
                    </a:cubicBezTo>
                    <a:cubicBezTo>
                      <a:pt x="823" y="443"/>
                      <a:pt x="823" y="443"/>
                      <a:pt x="823" y="443"/>
                    </a:cubicBezTo>
                    <a:cubicBezTo>
                      <a:pt x="822" y="442"/>
                      <a:pt x="822" y="442"/>
                      <a:pt x="822" y="442"/>
                    </a:cubicBezTo>
                    <a:cubicBezTo>
                      <a:pt x="821" y="443"/>
                      <a:pt x="821" y="443"/>
                      <a:pt x="821" y="443"/>
                    </a:cubicBezTo>
                    <a:cubicBezTo>
                      <a:pt x="820" y="443"/>
                      <a:pt x="820" y="443"/>
                      <a:pt x="820" y="443"/>
                    </a:cubicBezTo>
                    <a:cubicBezTo>
                      <a:pt x="818" y="442"/>
                      <a:pt x="818" y="442"/>
                      <a:pt x="818" y="442"/>
                    </a:cubicBezTo>
                    <a:cubicBezTo>
                      <a:pt x="817" y="442"/>
                      <a:pt x="817" y="442"/>
                      <a:pt x="817" y="442"/>
                    </a:cubicBezTo>
                    <a:cubicBezTo>
                      <a:pt x="816" y="442"/>
                      <a:pt x="816" y="442"/>
                      <a:pt x="816" y="442"/>
                    </a:cubicBezTo>
                    <a:cubicBezTo>
                      <a:pt x="815" y="441"/>
                      <a:pt x="815" y="441"/>
                      <a:pt x="815" y="441"/>
                    </a:cubicBezTo>
                    <a:cubicBezTo>
                      <a:pt x="814" y="441"/>
                      <a:pt x="814" y="441"/>
                      <a:pt x="814" y="441"/>
                    </a:cubicBezTo>
                    <a:cubicBezTo>
                      <a:pt x="813" y="442"/>
                      <a:pt x="813" y="442"/>
                      <a:pt x="813" y="442"/>
                    </a:cubicBezTo>
                    <a:cubicBezTo>
                      <a:pt x="811" y="442"/>
                      <a:pt x="811" y="442"/>
                      <a:pt x="811" y="442"/>
                    </a:cubicBezTo>
                    <a:cubicBezTo>
                      <a:pt x="810" y="441"/>
                      <a:pt x="810" y="441"/>
                      <a:pt x="810" y="441"/>
                    </a:cubicBezTo>
                    <a:cubicBezTo>
                      <a:pt x="809" y="442"/>
                      <a:pt x="809" y="442"/>
                      <a:pt x="809" y="442"/>
                    </a:cubicBezTo>
                    <a:cubicBezTo>
                      <a:pt x="808" y="442"/>
                      <a:pt x="808" y="442"/>
                      <a:pt x="808" y="442"/>
                    </a:cubicBezTo>
                    <a:cubicBezTo>
                      <a:pt x="807" y="441"/>
                      <a:pt x="807" y="441"/>
                      <a:pt x="807" y="441"/>
                    </a:cubicBezTo>
                    <a:cubicBezTo>
                      <a:pt x="806" y="442"/>
                      <a:pt x="806" y="442"/>
                      <a:pt x="806" y="442"/>
                    </a:cubicBezTo>
                    <a:cubicBezTo>
                      <a:pt x="805" y="441"/>
                      <a:pt x="805" y="441"/>
                      <a:pt x="805" y="441"/>
                    </a:cubicBezTo>
                    <a:cubicBezTo>
                      <a:pt x="804" y="441"/>
                      <a:pt x="804" y="441"/>
                      <a:pt x="804" y="441"/>
                    </a:cubicBezTo>
                    <a:cubicBezTo>
                      <a:pt x="802" y="441"/>
                      <a:pt x="802" y="441"/>
                      <a:pt x="802" y="441"/>
                    </a:cubicBezTo>
                    <a:cubicBezTo>
                      <a:pt x="800" y="441"/>
                      <a:pt x="800" y="441"/>
                      <a:pt x="800" y="441"/>
                    </a:cubicBezTo>
                    <a:cubicBezTo>
                      <a:pt x="798" y="441"/>
                      <a:pt x="798" y="441"/>
                      <a:pt x="798" y="441"/>
                    </a:cubicBezTo>
                    <a:cubicBezTo>
                      <a:pt x="797" y="439"/>
                      <a:pt x="797" y="439"/>
                      <a:pt x="797" y="439"/>
                    </a:cubicBezTo>
                    <a:cubicBezTo>
                      <a:pt x="796" y="440"/>
                      <a:pt x="796" y="440"/>
                      <a:pt x="796" y="440"/>
                    </a:cubicBezTo>
                    <a:cubicBezTo>
                      <a:pt x="795" y="441"/>
                      <a:pt x="795" y="441"/>
                      <a:pt x="795" y="441"/>
                    </a:cubicBezTo>
                    <a:cubicBezTo>
                      <a:pt x="796" y="441"/>
                      <a:pt x="796" y="441"/>
                      <a:pt x="796" y="441"/>
                    </a:cubicBezTo>
                    <a:cubicBezTo>
                      <a:pt x="795" y="442"/>
                      <a:pt x="795" y="442"/>
                      <a:pt x="795" y="442"/>
                    </a:cubicBezTo>
                    <a:cubicBezTo>
                      <a:pt x="794" y="442"/>
                      <a:pt x="794" y="442"/>
                      <a:pt x="794" y="442"/>
                    </a:cubicBezTo>
                    <a:cubicBezTo>
                      <a:pt x="792" y="444"/>
                      <a:pt x="792" y="444"/>
                      <a:pt x="792" y="444"/>
                    </a:cubicBezTo>
                    <a:cubicBezTo>
                      <a:pt x="790" y="445"/>
                      <a:pt x="790" y="445"/>
                      <a:pt x="790" y="445"/>
                    </a:cubicBezTo>
                    <a:cubicBezTo>
                      <a:pt x="790" y="446"/>
                      <a:pt x="790" y="446"/>
                      <a:pt x="790" y="446"/>
                    </a:cubicBezTo>
                    <a:cubicBezTo>
                      <a:pt x="790" y="448"/>
                      <a:pt x="790" y="448"/>
                      <a:pt x="790" y="448"/>
                    </a:cubicBezTo>
                    <a:cubicBezTo>
                      <a:pt x="789" y="449"/>
                      <a:pt x="789" y="449"/>
                      <a:pt x="789" y="449"/>
                    </a:cubicBezTo>
                    <a:cubicBezTo>
                      <a:pt x="787" y="449"/>
                      <a:pt x="787" y="449"/>
                      <a:pt x="787" y="449"/>
                    </a:cubicBezTo>
                    <a:cubicBezTo>
                      <a:pt x="786" y="449"/>
                      <a:pt x="786" y="449"/>
                      <a:pt x="786" y="449"/>
                    </a:cubicBezTo>
                    <a:cubicBezTo>
                      <a:pt x="784" y="450"/>
                      <a:pt x="784" y="450"/>
                      <a:pt x="784" y="450"/>
                    </a:cubicBezTo>
                    <a:cubicBezTo>
                      <a:pt x="783" y="451"/>
                      <a:pt x="783" y="451"/>
                      <a:pt x="783" y="451"/>
                    </a:cubicBezTo>
                    <a:cubicBezTo>
                      <a:pt x="782" y="451"/>
                      <a:pt x="782" y="451"/>
                      <a:pt x="782" y="451"/>
                    </a:cubicBezTo>
                    <a:cubicBezTo>
                      <a:pt x="781" y="451"/>
                      <a:pt x="781" y="451"/>
                      <a:pt x="781" y="451"/>
                    </a:cubicBezTo>
                    <a:cubicBezTo>
                      <a:pt x="780" y="453"/>
                      <a:pt x="780" y="453"/>
                      <a:pt x="780" y="453"/>
                    </a:cubicBezTo>
                    <a:cubicBezTo>
                      <a:pt x="779" y="453"/>
                      <a:pt x="779" y="453"/>
                      <a:pt x="779" y="453"/>
                    </a:cubicBezTo>
                    <a:cubicBezTo>
                      <a:pt x="777" y="454"/>
                      <a:pt x="777" y="454"/>
                      <a:pt x="777" y="454"/>
                    </a:cubicBezTo>
                    <a:cubicBezTo>
                      <a:pt x="776" y="455"/>
                      <a:pt x="776" y="455"/>
                      <a:pt x="776" y="455"/>
                    </a:cubicBezTo>
                    <a:cubicBezTo>
                      <a:pt x="775" y="457"/>
                      <a:pt x="775" y="457"/>
                      <a:pt x="775" y="457"/>
                    </a:cubicBezTo>
                    <a:cubicBezTo>
                      <a:pt x="772" y="458"/>
                      <a:pt x="772" y="458"/>
                      <a:pt x="772" y="458"/>
                    </a:cubicBezTo>
                    <a:cubicBezTo>
                      <a:pt x="772" y="460"/>
                      <a:pt x="772" y="460"/>
                      <a:pt x="772" y="460"/>
                    </a:cubicBezTo>
                    <a:cubicBezTo>
                      <a:pt x="770" y="461"/>
                      <a:pt x="770" y="461"/>
                      <a:pt x="770" y="461"/>
                    </a:cubicBezTo>
                    <a:cubicBezTo>
                      <a:pt x="769" y="463"/>
                      <a:pt x="769" y="463"/>
                      <a:pt x="769" y="463"/>
                    </a:cubicBezTo>
                    <a:cubicBezTo>
                      <a:pt x="768" y="463"/>
                      <a:pt x="768" y="463"/>
                      <a:pt x="768" y="463"/>
                    </a:cubicBezTo>
                    <a:cubicBezTo>
                      <a:pt x="767" y="465"/>
                      <a:pt x="767" y="465"/>
                      <a:pt x="767" y="465"/>
                    </a:cubicBezTo>
                    <a:cubicBezTo>
                      <a:pt x="766" y="466"/>
                      <a:pt x="766" y="466"/>
                      <a:pt x="766" y="466"/>
                    </a:cubicBezTo>
                    <a:cubicBezTo>
                      <a:pt x="763" y="468"/>
                      <a:pt x="763" y="468"/>
                      <a:pt x="763" y="468"/>
                    </a:cubicBezTo>
                    <a:cubicBezTo>
                      <a:pt x="763" y="469"/>
                      <a:pt x="763" y="469"/>
                      <a:pt x="763" y="469"/>
                    </a:cubicBezTo>
                    <a:cubicBezTo>
                      <a:pt x="760" y="470"/>
                      <a:pt x="760" y="470"/>
                      <a:pt x="760" y="470"/>
                    </a:cubicBezTo>
                    <a:cubicBezTo>
                      <a:pt x="758" y="470"/>
                      <a:pt x="758" y="470"/>
                      <a:pt x="758" y="470"/>
                    </a:cubicBezTo>
                    <a:cubicBezTo>
                      <a:pt x="759" y="471"/>
                      <a:pt x="759" y="471"/>
                      <a:pt x="759" y="471"/>
                    </a:cubicBezTo>
                    <a:cubicBezTo>
                      <a:pt x="763" y="469"/>
                      <a:pt x="763" y="469"/>
                      <a:pt x="763" y="469"/>
                    </a:cubicBezTo>
                    <a:cubicBezTo>
                      <a:pt x="765" y="468"/>
                      <a:pt x="765" y="468"/>
                      <a:pt x="765" y="468"/>
                    </a:cubicBezTo>
                    <a:cubicBezTo>
                      <a:pt x="768" y="466"/>
                      <a:pt x="768" y="466"/>
                      <a:pt x="768" y="466"/>
                    </a:cubicBezTo>
                    <a:cubicBezTo>
                      <a:pt x="769" y="464"/>
                      <a:pt x="769" y="464"/>
                      <a:pt x="769" y="464"/>
                    </a:cubicBezTo>
                    <a:cubicBezTo>
                      <a:pt x="771" y="463"/>
                      <a:pt x="771" y="463"/>
                      <a:pt x="771" y="463"/>
                    </a:cubicBezTo>
                    <a:cubicBezTo>
                      <a:pt x="772" y="462"/>
                      <a:pt x="772" y="462"/>
                      <a:pt x="772" y="462"/>
                    </a:cubicBezTo>
                    <a:cubicBezTo>
                      <a:pt x="775" y="459"/>
                      <a:pt x="775" y="459"/>
                      <a:pt x="775" y="459"/>
                    </a:cubicBezTo>
                    <a:cubicBezTo>
                      <a:pt x="779" y="457"/>
                      <a:pt x="779" y="457"/>
                      <a:pt x="779" y="457"/>
                    </a:cubicBezTo>
                    <a:cubicBezTo>
                      <a:pt x="782" y="455"/>
                      <a:pt x="782" y="455"/>
                      <a:pt x="782" y="455"/>
                    </a:cubicBezTo>
                    <a:cubicBezTo>
                      <a:pt x="784" y="454"/>
                      <a:pt x="784" y="454"/>
                      <a:pt x="784" y="454"/>
                    </a:cubicBezTo>
                    <a:cubicBezTo>
                      <a:pt x="785" y="454"/>
                      <a:pt x="785" y="454"/>
                      <a:pt x="785" y="454"/>
                    </a:cubicBezTo>
                    <a:cubicBezTo>
                      <a:pt x="789" y="453"/>
                      <a:pt x="789" y="453"/>
                      <a:pt x="789" y="453"/>
                    </a:cubicBezTo>
                    <a:cubicBezTo>
                      <a:pt x="792" y="452"/>
                      <a:pt x="792" y="452"/>
                      <a:pt x="792" y="452"/>
                    </a:cubicBezTo>
                    <a:cubicBezTo>
                      <a:pt x="794" y="452"/>
                      <a:pt x="794" y="452"/>
                      <a:pt x="794" y="452"/>
                    </a:cubicBezTo>
                    <a:cubicBezTo>
                      <a:pt x="795" y="451"/>
                      <a:pt x="795" y="451"/>
                      <a:pt x="795" y="451"/>
                    </a:cubicBezTo>
                    <a:cubicBezTo>
                      <a:pt x="799" y="451"/>
                      <a:pt x="799" y="451"/>
                      <a:pt x="799" y="451"/>
                    </a:cubicBezTo>
                    <a:cubicBezTo>
                      <a:pt x="802" y="452"/>
                      <a:pt x="802" y="452"/>
                      <a:pt x="802" y="452"/>
                    </a:cubicBezTo>
                    <a:cubicBezTo>
                      <a:pt x="804" y="453"/>
                      <a:pt x="804" y="453"/>
                      <a:pt x="804" y="453"/>
                    </a:cubicBezTo>
                    <a:cubicBezTo>
                      <a:pt x="804" y="454"/>
                      <a:pt x="804" y="454"/>
                      <a:pt x="804" y="454"/>
                    </a:cubicBezTo>
                    <a:cubicBezTo>
                      <a:pt x="803" y="454"/>
                      <a:pt x="803" y="454"/>
                      <a:pt x="803" y="454"/>
                    </a:cubicBezTo>
                    <a:cubicBezTo>
                      <a:pt x="804" y="455"/>
                      <a:pt x="804" y="455"/>
                      <a:pt x="804" y="455"/>
                    </a:cubicBezTo>
                    <a:cubicBezTo>
                      <a:pt x="805" y="455"/>
                      <a:pt x="805" y="455"/>
                      <a:pt x="805" y="455"/>
                    </a:cubicBezTo>
                    <a:cubicBezTo>
                      <a:pt x="804" y="456"/>
                      <a:pt x="804" y="456"/>
                      <a:pt x="804" y="456"/>
                    </a:cubicBezTo>
                    <a:cubicBezTo>
                      <a:pt x="805" y="456"/>
                      <a:pt x="805" y="456"/>
                      <a:pt x="805" y="456"/>
                    </a:cubicBezTo>
                    <a:cubicBezTo>
                      <a:pt x="804" y="458"/>
                      <a:pt x="804" y="458"/>
                      <a:pt x="804" y="458"/>
                    </a:cubicBezTo>
                    <a:cubicBezTo>
                      <a:pt x="802" y="459"/>
                      <a:pt x="802" y="459"/>
                      <a:pt x="802" y="459"/>
                    </a:cubicBezTo>
                    <a:cubicBezTo>
                      <a:pt x="801" y="460"/>
                      <a:pt x="801" y="460"/>
                      <a:pt x="801" y="460"/>
                    </a:cubicBezTo>
                    <a:cubicBezTo>
                      <a:pt x="800" y="460"/>
                      <a:pt x="800" y="460"/>
                      <a:pt x="800" y="460"/>
                    </a:cubicBezTo>
                    <a:cubicBezTo>
                      <a:pt x="799" y="461"/>
                      <a:pt x="799" y="461"/>
                      <a:pt x="799" y="461"/>
                    </a:cubicBezTo>
                    <a:cubicBezTo>
                      <a:pt x="797" y="461"/>
                      <a:pt x="797" y="461"/>
                      <a:pt x="797" y="461"/>
                    </a:cubicBezTo>
                    <a:cubicBezTo>
                      <a:pt x="796" y="460"/>
                      <a:pt x="796" y="460"/>
                      <a:pt x="796" y="460"/>
                    </a:cubicBezTo>
                    <a:cubicBezTo>
                      <a:pt x="795" y="460"/>
                      <a:pt x="795" y="460"/>
                      <a:pt x="795" y="460"/>
                    </a:cubicBezTo>
                    <a:cubicBezTo>
                      <a:pt x="794" y="460"/>
                      <a:pt x="794" y="460"/>
                      <a:pt x="794" y="460"/>
                    </a:cubicBezTo>
                    <a:cubicBezTo>
                      <a:pt x="792" y="461"/>
                      <a:pt x="792" y="461"/>
                      <a:pt x="792" y="461"/>
                    </a:cubicBezTo>
                    <a:cubicBezTo>
                      <a:pt x="791" y="460"/>
                      <a:pt x="791" y="460"/>
                      <a:pt x="791" y="460"/>
                    </a:cubicBezTo>
                    <a:cubicBezTo>
                      <a:pt x="789" y="461"/>
                      <a:pt x="789" y="461"/>
                      <a:pt x="789" y="461"/>
                    </a:cubicBezTo>
                    <a:cubicBezTo>
                      <a:pt x="791" y="461"/>
                      <a:pt x="791" y="461"/>
                      <a:pt x="791" y="461"/>
                    </a:cubicBezTo>
                    <a:cubicBezTo>
                      <a:pt x="792" y="461"/>
                      <a:pt x="792" y="461"/>
                      <a:pt x="792" y="461"/>
                    </a:cubicBezTo>
                    <a:cubicBezTo>
                      <a:pt x="793" y="461"/>
                      <a:pt x="793" y="461"/>
                      <a:pt x="793" y="461"/>
                    </a:cubicBezTo>
                    <a:cubicBezTo>
                      <a:pt x="795" y="462"/>
                      <a:pt x="795" y="462"/>
                      <a:pt x="795" y="462"/>
                    </a:cubicBezTo>
                    <a:cubicBezTo>
                      <a:pt x="796" y="463"/>
                      <a:pt x="796" y="463"/>
                      <a:pt x="796" y="463"/>
                    </a:cubicBezTo>
                    <a:cubicBezTo>
                      <a:pt x="796" y="464"/>
                      <a:pt x="796" y="464"/>
                      <a:pt x="796" y="464"/>
                    </a:cubicBezTo>
                    <a:cubicBezTo>
                      <a:pt x="798" y="463"/>
                      <a:pt x="798" y="463"/>
                      <a:pt x="798" y="463"/>
                    </a:cubicBezTo>
                    <a:cubicBezTo>
                      <a:pt x="799" y="462"/>
                      <a:pt x="799" y="462"/>
                      <a:pt x="799" y="462"/>
                    </a:cubicBezTo>
                    <a:cubicBezTo>
                      <a:pt x="800" y="462"/>
                      <a:pt x="800" y="462"/>
                      <a:pt x="800" y="462"/>
                    </a:cubicBezTo>
                    <a:cubicBezTo>
                      <a:pt x="800" y="463"/>
                      <a:pt x="800" y="463"/>
                      <a:pt x="800" y="463"/>
                    </a:cubicBezTo>
                    <a:cubicBezTo>
                      <a:pt x="801" y="463"/>
                      <a:pt x="801" y="463"/>
                      <a:pt x="801" y="463"/>
                    </a:cubicBezTo>
                    <a:cubicBezTo>
                      <a:pt x="802" y="463"/>
                      <a:pt x="802" y="463"/>
                      <a:pt x="802" y="463"/>
                    </a:cubicBezTo>
                    <a:cubicBezTo>
                      <a:pt x="800" y="464"/>
                      <a:pt x="800" y="464"/>
                      <a:pt x="800" y="464"/>
                    </a:cubicBezTo>
                    <a:cubicBezTo>
                      <a:pt x="799" y="468"/>
                      <a:pt x="799" y="468"/>
                      <a:pt x="799" y="468"/>
                    </a:cubicBezTo>
                    <a:cubicBezTo>
                      <a:pt x="798" y="468"/>
                      <a:pt x="798" y="468"/>
                      <a:pt x="798" y="468"/>
                    </a:cubicBezTo>
                    <a:cubicBezTo>
                      <a:pt x="797" y="469"/>
                      <a:pt x="797" y="469"/>
                      <a:pt x="797" y="469"/>
                    </a:cubicBezTo>
                    <a:cubicBezTo>
                      <a:pt x="800" y="469"/>
                      <a:pt x="800" y="469"/>
                      <a:pt x="800" y="469"/>
                    </a:cubicBezTo>
                    <a:cubicBezTo>
                      <a:pt x="799" y="470"/>
                      <a:pt x="799" y="470"/>
                      <a:pt x="799" y="470"/>
                    </a:cubicBezTo>
                    <a:cubicBezTo>
                      <a:pt x="800" y="471"/>
                      <a:pt x="800" y="471"/>
                      <a:pt x="800" y="471"/>
                    </a:cubicBezTo>
                    <a:cubicBezTo>
                      <a:pt x="800" y="472"/>
                      <a:pt x="800" y="472"/>
                      <a:pt x="800" y="472"/>
                    </a:cubicBezTo>
                    <a:cubicBezTo>
                      <a:pt x="800" y="474"/>
                      <a:pt x="800" y="474"/>
                      <a:pt x="800" y="474"/>
                    </a:cubicBezTo>
                    <a:cubicBezTo>
                      <a:pt x="801" y="476"/>
                      <a:pt x="801" y="476"/>
                      <a:pt x="801" y="476"/>
                    </a:cubicBezTo>
                    <a:cubicBezTo>
                      <a:pt x="802" y="476"/>
                      <a:pt x="802" y="476"/>
                      <a:pt x="802" y="476"/>
                    </a:cubicBezTo>
                    <a:cubicBezTo>
                      <a:pt x="803" y="477"/>
                      <a:pt x="803" y="477"/>
                      <a:pt x="803" y="477"/>
                    </a:cubicBezTo>
                    <a:cubicBezTo>
                      <a:pt x="805" y="477"/>
                      <a:pt x="805" y="477"/>
                      <a:pt x="805" y="477"/>
                    </a:cubicBezTo>
                    <a:cubicBezTo>
                      <a:pt x="804" y="478"/>
                      <a:pt x="804" y="478"/>
                      <a:pt x="804" y="478"/>
                    </a:cubicBezTo>
                    <a:cubicBezTo>
                      <a:pt x="803" y="478"/>
                      <a:pt x="803" y="478"/>
                      <a:pt x="803" y="478"/>
                    </a:cubicBezTo>
                    <a:cubicBezTo>
                      <a:pt x="805" y="479"/>
                      <a:pt x="805" y="479"/>
                      <a:pt x="805" y="479"/>
                    </a:cubicBezTo>
                    <a:cubicBezTo>
                      <a:pt x="807" y="479"/>
                      <a:pt x="807" y="479"/>
                      <a:pt x="807" y="479"/>
                    </a:cubicBezTo>
                    <a:cubicBezTo>
                      <a:pt x="808" y="480"/>
                      <a:pt x="808" y="480"/>
                      <a:pt x="808" y="480"/>
                    </a:cubicBezTo>
                    <a:cubicBezTo>
                      <a:pt x="808" y="479"/>
                      <a:pt x="808" y="479"/>
                      <a:pt x="808" y="479"/>
                    </a:cubicBezTo>
                    <a:cubicBezTo>
                      <a:pt x="810" y="480"/>
                      <a:pt x="810" y="480"/>
                      <a:pt x="810" y="480"/>
                    </a:cubicBezTo>
                    <a:cubicBezTo>
                      <a:pt x="810" y="481"/>
                      <a:pt x="810" y="481"/>
                      <a:pt x="810" y="481"/>
                    </a:cubicBezTo>
                    <a:cubicBezTo>
                      <a:pt x="812" y="481"/>
                      <a:pt x="812" y="481"/>
                      <a:pt x="812" y="481"/>
                    </a:cubicBezTo>
                    <a:cubicBezTo>
                      <a:pt x="813" y="480"/>
                      <a:pt x="813" y="480"/>
                      <a:pt x="813" y="480"/>
                    </a:cubicBezTo>
                    <a:cubicBezTo>
                      <a:pt x="815" y="479"/>
                      <a:pt x="815" y="479"/>
                      <a:pt x="815" y="479"/>
                    </a:cubicBezTo>
                    <a:cubicBezTo>
                      <a:pt x="815" y="480"/>
                      <a:pt x="815" y="480"/>
                      <a:pt x="815" y="480"/>
                    </a:cubicBezTo>
                    <a:cubicBezTo>
                      <a:pt x="814" y="481"/>
                      <a:pt x="814" y="481"/>
                      <a:pt x="814" y="481"/>
                    </a:cubicBezTo>
                    <a:cubicBezTo>
                      <a:pt x="816" y="481"/>
                      <a:pt x="816" y="481"/>
                      <a:pt x="816" y="481"/>
                    </a:cubicBezTo>
                    <a:cubicBezTo>
                      <a:pt x="818" y="482"/>
                      <a:pt x="818" y="482"/>
                      <a:pt x="818" y="482"/>
                    </a:cubicBezTo>
                    <a:cubicBezTo>
                      <a:pt x="818" y="483"/>
                      <a:pt x="818" y="483"/>
                      <a:pt x="818" y="483"/>
                    </a:cubicBezTo>
                    <a:cubicBezTo>
                      <a:pt x="817" y="483"/>
                      <a:pt x="817" y="483"/>
                      <a:pt x="817" y="483"/>
                    </a:cubicBezTo>
                    <a:cubicBezTo>
                      <a:pt x="818" y="484"/>
                      <a:pt x="818" y="484"/>
                      <a:pt x="818" y="484"/>
                    </a:cubicBezTo>
                    <a:cubicBezTo>
                      <a:pt x="817" y="485"/>
                      <a:pt x="817" y="485"/>
                      <a:pt x="817" y="485"/>
                    </a:cubicBezTo>
                    <a:cubicBezTo>
                      <a:pt x="815" y="485"/>
                      <a:pt x="815" y="485"/>
                      <a:pt x="815" y="485"/>
                    </a:cubicBezTo>
                    <a:cubicBezTo>
                      <a:pt x="812" y="487"/>
                      <a:pt x="812" y="487"/>
                      <a:pt x="812" y="487"/>
                    </a:cubicBezTo>
                    <a:cubicBezTo>
                      <a:pt x="811" y="487"/>
                      <a:pt x="811" y="487"/>
                      <a:pt x="811" y="487"/>
                    </a:cubicBezTo>
                    <a:cubicBezTo>
                      <a:pt x="809" y="487"/>
                      <a:pt x="809" y="487"/>
                      <a:pt x="809" y="487"/>
                    </a:cubicBezTo>
                    <a:cubicBezTo>
                      <a:pt x="807" y="488"/>
                      <a:pt x="807" y="488"/>
                      <a:pt x="807" y="488"/>
                    </a:cubicBezTo>
                    <a:cubicBezTo>
                      <a:pt x="805" y="489"/>
                      <a:pt x="805" y="489"/>
                      <a:pt x="805" y="489"/>
                    </a:cubicBezTo>
                    <a:cubicBezTo>
                      <a:pt x="804" y="489"/>
                      <a:pt x="804" y="489"/>
                      <a:pt x="804" y="489"/>
                    </a:cubicBezTo>
                    <a:cubicBezTo>
                      <a:pt x="802" y="489"/>
                      <a:pt x="802" y="489"/>
                      <a:pt x="802" y="489"/>
                    </a:cubicBezTo>
                    <a:cubicBezTo>
                      <a:pt x="802" y="488"/>
                      <a:pt x="802" y="488"/>
                      <a:pt x="802" y="488"/>
                    </a:cubicBezTo>
                    <a:cubicBezTo>
                      <a:pt x="801" y="488"/>
                      <a:pt x="801" y="488"/>
                      <a:pt x="801" y="488"/>
                    </a:cubicBezTo>
                    <a:cubicBezTo>
                      <a:pt x="801" y="489"/>
                      <a:pt x="801" y="489"/>
                      <a:pt x="801" y="489"/>
                    </a:cubicBezTo>
                    <a:cubicBezTo>
                      <a:pt x="800" y="488"/>
                      <a:pt x="800" y="488"/>
                      <a:pt x="800" y="488"/>
                    </a:cubicBezTo>
                    <a:cubicBezTo>
                      <a:pt x="799" y="490"/>
                      <a:pt x="799" y="490"/>
                      <a:pt x="799" y="490"/>
                    </a:cubicBezTo>
                    <a:cubicBezTo>
                      <a:pt x="800" y="491"/>
                      <a:pt x="800" y="491"/>
                      <a:pt x="800" y="491"/>
                    </a:cubicBezTo>
                    <a:cubicBezTo>
                      <a:pt x="798" y="492"/>
                      <a:pt x="798" y="492"/>
                      <a:pt x="798" y="492"/>
                    </a:cubicBezTo>
                    <a:cubicBezTo>
                      <a:pt x="796" y="494"/>
                      <a:pt x="796" y="494"/>
                      <a:pt x="796" y="494"/>
                    </a:cubicBezTo>
                    <a:cubicBezTo>
                      <a:pt x="795" y="495"/>
                      <a:pt x="795" y="495"/>
                      <a:pt x="795" y="495"/>
                    </a:cubicBezTo>
                    <a:cubicBezTo>
                      <a:pt x="793" y="496"/>
                      <a:pt x="793" y="496"/>
                      <a:pt x="793" y="496"/>
                    </a:cubicBezTo>
                    <a:cubicBezTo>
                      <a:pt x="792" y="496"/>
                      <a:pt x="792" y="496"/>
                      <a:pt x="792" y="496"/>
                    </a:cubicBezTo>
                    <a:cubicBezTo>
                      <a:pt x="792" y="497"/>
                      <a:pt x="792" y="497"/>
                      <a:pt x="792" y="497"/>
                    </a:cubicBezTo>
                    <a:cubicBezTo>
                      <a:pt x="791" y="497"/>
                      <a:pt x="791" y="497"/>
                      <a:pt x="791" y="497"/>
                    </a:cubicBezTo>
                    <a:cubicBezTo>
                      <a:pt x="790" y="497"/>
                      <a:pt x="790" y="497"/>
                      <a:pt x="790" y="497"/>
                    </a:cubicBezTo>
                    <a:cubicBezTo>
                      <a:pt x="789" y="497"/>
                      <a:pt x="789" y="497"/>
                      <a:pt x="789" y="497"/>
                    </a:cubicBezTo>
                    <a:cubicBezTo>
                      <a:pt x="789" y="495"/>
                      <a:pt x="789" y="495"/>
                      <a:pt x="789" y="495"/>
                    </a:cubicBezTo>
                    <a:cubicBezTo>
                      <a:pt x="788" y="495"/>
                      <a:pt x="788" y="495"/>
                      <a:pt x="788" y="495"/>
                    </a:cubicBezTo>
                    <a:cubicBezTo>
                      <a:pt x="788" y="494"/>
                      <a:pt x="788" y="494"/>
                      <a:pt x="788" y="494"/>
                    </a:cubicBezTo>
                    <a:cubicBezTo>
                      <a:pt x="787" y="493"/>
                      <a:pt x="787" y="493"/>
                      <a:pt x="787" y="493"/>
                    </a:cubicBezTo>
                    <a:cubicBezTo>
                      <a:pt x="787" y="491"/>
                      <a:pt x="787" y="491"/>
                      <a:pt x="787" y="491"/>
                    </a:cubicBezTo>
                    <a:cubicBezTo>
                      <a:pt x="788" y="489"/>
                      <a:pt x="788" y="489"/>
                      <a:pt x="788" y="489"/>
                    </a:cubicBezTo>
                    <a:cubicBezTo>
                      <a:pt x="790" y="488"/>
                      <a:pt x="790" y="488"/>
                      <a:pt x="790" y="488"/>
                    </a:cubicBezTo>
                    <a:cubicBezTo>
                      <a:pt x="790" y="487"/>
                      <a:pt x="790" y="487"/>
                      <a:pt x="790" y="487"/>
                    </a:cubicBezTo>
                    <a:cubicBezTo>
                      <a:pt x="792" y="486"/>
                      <a:pt x="792" y="486"/>
                      <a:pt x="792" y="486"/>
                    </a:cubicBezTo>
                    <a:cubicBezTo>
                      <a:pt x="795" y="485"/>
                      <a:pt x="795" y="485"/>
                      <a:pt x="795" y="485"/>
                    </a:cubicBezTo>
                    <a:cubicBezTo>
                      <a:pt x="797" y="484"/>
                      <a:pt x="797" y="484"/>
                      <a:pt x="797" y="484"/>
                    </a:cubicBezTo>
                    <a:cubicBezTo>
                      <a:pt x="799" y="483"/>
                      <a:pt x="799" y="483"/>
                      <a:pt x="799" y="483"/>
                    </a:cubicBezTo>
                    <a:cubicBezTo>
                      <a:pt x="800" y="484"/>
                      <a:pt x="800" y="484"/>
                      <a:pt x="800" y="484"/>
                    </a:cubicBezTo>
                    <a:cubicBezTo>
                      <a:pt x="800" y="485"/>
                      <a:pt x="800" y="485"/>
                      <a:pt x="800" y="485"/>
                    </a:cubicBezTo>
                    <a:cubicBezTo>
                      <a:pt x="801" y="485"/>
                      <a:pt x="801" y="485"/>
                      <a:pt x="801" y="485"/>
                    </a:cubicBezTo>
                    <a:cubicBezTo>
                      <a:pt x="801" y="484"/>
                      <a:pt x="801" y="484"/>
                      <a:pt x="801" y="484"/>
                    </a:cubicBezTo>
                    <a:cubicBezTo>
                      <a:pt x="802" y="484"/>
                      <a:pt x="802" y="484"/>
                      <a:pt x="802" y="484"/>
                    </a:cubicBezTo>
                    <a:cubicBezTo>
                      <a:pt x="804" y="483"/>
                      <a:pt x="804" y="483"/>
                      <a:pt x="804" y="483"/>
                    </a:cubicBezTo>
                    <a:cubicBezTo>
                      <a:pt x="803" y="483"/>
                      <a:pt x="803" y="483"/>
                      <a:pt x="803" y="483"/>
                    </a:cubicBezTo>
                    <a:cubicBezTo>
                      <a:pt x="801" y="483"/>
                      <a:pt x="801" y="483"/>
                      <a:pt x="801" y="483"/>
                    </a:cubicBezTo>
                    <a:cubicBezTo>
                      <a:pt x="800" y="482"/>
                      <a:pt x="800" y="482"/>
                      <a:pt x="800" y="482"/>
                    </a:cubicBezTo>
                    <a:cubicBezTo>
                      <a:pt x="799" y="482"/>
                      <a:pt x="799" y="482"/>
                      <a:pt x="799" y="482"/>
                    </a:cubicBezTo>
                    <a:cubicBezTo>
                      <a:pt x="798" y="483"/>
                      <a:pt x="798" y="483"/>
                      <a:pt x="798" y="483"/>
                    </a:cubicBezTo>
                    <a:cubicBezTo>
                      <a:pt x="796" y="483"/>
                      <a:pt x="796" y="483"/>
                      <a:pt x="796" y="483"/>
                    </a:cubicBezTo>
                    <a:cubicBezTo>
                      <a:pt x="798" y="481"/>
                      <a:pt x="798" y="481"/>
                      <a:pt x="798" y="481"/>
                    </a:cubicBezTo>
                    <a:cubicBezTo>
                      <a:pt x="799" y="481"/>
                      <a:pt x="799" y="481"/>
                      <a:pt x="799" y="481"/>
                    </a:cubicBezTo>
                    <a:cubicBezTo>
                      <a:pt x="800" y="480"/>
                      <a:pt x="800" y="480"/>
                      <a:pt x="800" y="480"/>
                    </a:cubicBezTo>
                    <a:cubicBezTo>
                      <a:pt x="800" y="479"/>
                      <a:pt x="800" y="479"/>
                      <a:pt x="800" y="479"/>
                    </a:cubicBezTo>
                    <a:cubicBezTo>
                      <a:pt x="799" y="479"/>
                      <a:pt x="799" y="479"/>
                      <a:pt x="799" y="479"/>
                    </a:cubicBezTo>
                    <a:cubicBezTo>
                      <a:pt x="798" y="480"/>
                      <a:pt x="798" y="480"/>
                      <a:pt x="798" y="480"/>
                    </a:cubicBezTo>
                    <a:cubicBezTo>
                      <a:pt x="797" y="481"/>
                      <a:pt x="797" y="481"/>
                      <a:pt x="797" y="481"/>
                    </a:cubicBezTo>
                    <a:cubicBezTo>
                      <a:pt x="796" y="482"/>
                      <a:pt x="796" y="482"/>
                      <a:pt x="796" y="482"/>
                    </a:cubicBezTo>
                    <a:cubicBezTo>
                      <a:pt x="794" y="482"/>
                      <a:pt x="794" y="482"/>
                      <a:pt x="794" y="482"/>
                    </a:cubicBezTo>
                    <a:cubicBezTo>
                      <a:pt x="794" y="483"/>
                      <a:pt x="794" y="483"/>
                      <a:pt x="794" y="483"/>
                    </a:cubicBezTo>
                    <a:cubicBezTo>
                      <a:pt x="791" y="484"/>
                      <a:pt x="791" y="484"/>
                      <a:pt x="791" y="484"/>
                    </a:cubicBezTo>
                    <a:cubicBezTo>
                      <a:pt x="790" y="483"/>
                      <a:pt x="790" y="483"/>
                      <a:pt x="790" y="483"/>
                    </a:cubicBezTo>
                    <a:cubicBezTo>
                      <a:pt x="789" y="484"/>
                      <a:pt x="789" y="484"/>
                      <a:pt x="789" y="484"/>
                    </a:cubicBezTo>
                    <a:cubicBezTo>
                      <a:pt x="788" y="484"/>
                      <a:pt x="788" y="484"/>
                      <a:pt x="788" y="484"/>
                    </a:cubicBezTo>
                    <a:cubicBezTo>
                      <a:pt x="787" y="484"/>
                      <a:pt x="787" y="484"/>
                      <a:pt x="787" y="484"/>
                    </a:cubicBezTo>
                    <a:cubicBezTo>
                      <a:pt x="786" y="485"/>
                      <a:pt x="786" y="485"/>
                      <a:pt x="786" y="485"/>
                    </a:cubicBezTo>
                    <a:cubicBezTo>
                      <a:pt x="785" y="484"/>
                      <a:pt x="785" y="484"/>
                      <a:pt x="785" y="484"/>
                    </a:cubicBezTo>
                    <a:cubicBezTo>
                      <a:pt x="785" y="483"/>
                      <a:pt x="785" y="483"/>
                      <a:pt x="785" y="483"/>
                    </a:cubicBezTo>
                    <a:cubicBezTo>
                      <a:pt x="784" y="484"/>
                      <a:pt x="784" y="484"/>
                      <a:pt x="784" y="484"/>
                    </a:cubicBezTo>
                    <a:cubicBezTo>
                      <a:pt x="782" y="483"/>
                      <a:pt x="782" y="483"/>
                      <a:pt x="782" y="483"/>
                    </a:cubicBezTo>
                    <a:cubicBezTo>
                      <a:pt x="784" y="485"/>
                      <a:pt x="784" y="485"/>
                      <a:pt x="784" y="485"/>
                    </a:cubicBezTo>
                    <a:cubicBezTo>
                      <a:pt x="784" y="486"/>
                      <a:pt x="784" y="486"/>
                      <a:pt x="784" y="486"/>
                    </a:cubicBezTo>
                    <a:cubicBezTo>
                      <a:pt x="785" y="487"/>
                      <a:pt x="785" y="487"/>
                      <a:pt x="785" y="487"/>
                    </a:cubicBezTo>
                    <a:cubicBezTo>
                      <a:pt x="785" y="486"/>
                      <a:pt x="785" y="486"/>
                      <a:pt x="785" y="486"/>
                    </a:cubicBezTo>
                    <a:cubicBezTo>
                      <a:pt x="786" y="487"/>
                      <a:pt x="786" y="487"/>
                      <a:pt x="786" y="487"/>
                    </a:cubicBezTo>
                    <a:cubicBezTo>
                      <a:pt x="786" y="488"/>
                      <a:pt x="786" y="488"/>
                      <a:pt x="786" y="488"/>
                    </a:cubicBezTo>
                    <a:cubicBezTo>
                      <a:pt x="784" y="488"/>
                      <a:pt x="784" y="488"/>
                      <a:pt x="784" y="488"/>
                    </a:cubicBezTo>
                    <a:cubicBezTo>
                      <a:pt x="784" y="487"/>
                      <a:pt x="784" y="487"/>
                      <a:pt x="784" y="487"/>
                    </a:cubicBezTo>
                    <a:cubicBezTo>
                      <a:pt x="782" y="488"/>
                      <a:pt x="782" y="488"/>
                      <a:pt x="782" y="488"/>
                    </a:cubicBezTo>
                    <a:cubicBezTo>
                      <a:pt x="781" y="488"/>
                      <a:pt x="781" y="488"/>
                      <a:pt x="781" y="488"/>
                    </a:cubicBezTo>
                    <a:cubicBezTo>
                      <a:pt x="780" y="489"/>
                      <a:pt x="780" y="489"/>
                      <a:pt x="780" y="489"/>
                    </a:cubicBezTo>
                    <a:cubicBezTo>
                      <a:pt x="779" y="489"/>
                      <a:pt x="779" y="489"/>
                      <a:pt x="779" y="489"/>
                    </a:cubicBezTo>
                    <a:cubicBezTo>
                      <a:pt x="778" y="490"/>
                      <a:pt x="778" y="490"/>
                      <a:pt x="778" y="490"/>
                    </a:cubicBezTo>
                    <a:cubicBezTo>
                      <a:pt x="777" y="490"/>
                      <a:pt x="777" y="490"/>
                      <a:pt x="777" y="490"/>
                    </a:cubicBezTo>
                    <a:cubicBezTo>
                      <a:pt x="776" y="489"/>
                      <a:pt x="776" y="489"/>
                      <a:pt x="776" y="489"/>
                    </a:cubicBezTo>
                    <a:cubicBezTo>
                      <a:pt x="775" y="489"/>
                      <a:pt x="775" y="489"/>
                      <a:pt x="775" y="489"/>
                    </a:cubicBezTo>
                    <a:cubicBezTo>
                      <a:pt x="774" y="490"/>
                      <a:pt x="774" y="490"/>
                      <a:pt x="774" y="490"/>
                    </a:cubicBezTo>
                    <a:cubicBezTo>
                      <a:pt x="773" y="490"/>
                      <a:pt x="773" y="490"/>
                      <a:pt x="773" y="490"/>
                    </a:cubicBezTo>
                    <a:cubicBezTo>
                      <a:pt x="772" y="489"/>
                      <a:pt x="772" y="489"/>
                      <a:pt x="772" y="489"/>
                    </a:cubicBezTo>
                    <a:cubicBezTo>
                      <a:pt x="771" y="490"/>
                      <a:pt x="771" y="490"/>
                      <a:pt x="771" y="490"/>
                    </a:cubicBezTo>
                    <a:cubicBezTo>
                      <a:pt x="770" y="492"/>
                      <a:pt x="770" y="492"/>
                      <a:pt x="770" y="492"/>
                    </a:cubicBezTo>
                    <a:cubicBezTo>
                      <a:pt x="769" y="492"/>
                      <a:pt x="769" y="492"/>
                      <a:pt x="769" y="492"/>
                    </a:cubicBezTo>
                    <a:cubicBezTo>
                      <a:pt x="768" y="493"/>
                      <a:pt x="768" y="493"/>
                      <a:pt x="768" y="493"/>
                    </a:cubicBezTo>
                    <a:cubicBezTo>
                      <a:pt x="767" y="492"/>
                      <a:pt x="767" y="492"/>
                      <a:pt x="767" y="492"/>
                    </a:cubicBezTo>
                    <a:cubicBezTo>
                      <a:pt x="767" y="493"/>
                      <a:pt x="767" y="493"/>
                      <a:pt x="767" y="493"/>
                    </a:cubicBezTo>
                    <a:cubicBezTo>
                      <a:pt x="766" y="494"/>
                      <a:pt x="766" y="494"/>
                      <a:pt x="766" y="494"/>
                    </a:cubicBezTo>
                    <a:cubicBezTo>
                      <a:pt x="765" y="494"/>
                      <a:pt x="765" y="494"/>
                      <a:pt x="765" y="494"/>
                    </a:cubicBezTo>
                    <a:cubicBezTo>
                      <a:pt x="765" y="493"/>
                      <a:pt x="765" y="493"/>
                      <a:pt x="765" y="493"/>
                    </a:cubicBezTo>
                    <a:cubicBezTo>
                      <a:pt x="764" y="494"/>
                      <a:pt x="764" y="494"/>
                      <a:pt x="764" y="494"/>
                    </a:cubicBezTo>
                    <a:cubicBezTo>
                      <a:pt x="763" y="496"/>
                      <a:pt x="763" y="496"/>
                      <a:pt x="763" y="496"/>
                    </a:cubicBezTo>
                    <a:cubicBezTo>
                      <a:pt x="761" y="497"/>
                      <a:pt x="761" y="497"/>
                      <a:pt x="761" y="497"/>
                    </a:cubicBezTo>
                    <a:cubicBezTo>
                      <a:pt x="760" y="500"/>
                      <a:pt x="760" y="500"/>
                      <a:pt x="760" y="500"/>
                    </a:cubicBezTo>
                    <a:cubicBezTo>
                      <a:pt x="759" y="501"/>
                      <a:pt x="759" y="501"/>
                      <a:pt x="759" y="501"/>
                    </a:cubicBezTo>
                    <a:cubicBezTo>
                      <a:pt x="759" y="502"/>
                      <a:pt x="759" y="502"/>
                      <a:pt x="759" y="502"/>
                    </a:cubicBezTo>
                    <a:cubicBezTo>
                      <a:pt x="758" y="502"/>
                      <a:pt x="758" y="502"/>
                      <a:pt x="758" y="502"/>
                    </a:cubicBezTo>
                    <a:cubicBezTo>
                      <a:pt x="758" y="503"/>
                      <a:pt x="758" y="503"/>
                      <a:pt x="758" y="503"/>
                    </a:cubicBezTo>
                    <a:cubicBezTo>
                      <a:pt x="759" y="503"/>
                      <a:pt x="759" y="503"/>
                      <a:pt x="759" y="503"/>
                    </a:cubicBezTo>
                    <a:cubicBezTo>
                      <a:pt x="759" y="504"/>
                      <a:pt x="759" y="504"/>
                      <a:pt x="759" y="504"/>
                    </a:cubicBezTo>
                    <a:cubicBezTo>
                      <a:pt x="757" y="506"/>
                      <a:pt x="757" y="506"/>
                      <a:pt x="757" y="506"/>
                    </a:cubicBezTo>
                    <a:cubicBezTo>
                      <a:pt x="758" y="507"/>
                      <a:pt x="758" y="507"/>
                      <a:pt x="758" y="507"/>
                    </a:cubicBezTo>
                    <a:cubicBezTo>
                      <a:pt x="759" y="509"/>
                      <a:pt x="759" y="509"/>
                      <a:pt x="759" y="509"/>
                    </a:cubicBezTo>
                    <a:cubicBezTo>
                      <a:pt x="759" y="510"/>
                      <a:pt x="759" y="510"/>
                      <a:pt x="759" y="510"/>
                    </a:cubicBezTo>
                    <a:cubicBezTo>
                      <a:pt x="761" y="510"/>
                      <a:pt x="761" y="510"/>
                      <a:pt x="761" y="510"/>
                    </a:cubicBezTo>
                    <a:cubicBezTo>
                      <a:pt x="761" y="509"/>
                      <a:pt x="761" y="509"/>
                      <a:pt x="761" y="509"/>
                    </a:cubicBezTo>
                    <a:cubicBezTo>
                      <a:pt x="761" y="508"/>
                      <a:pt x="761" y="508"/>
                      <a:pt x="761" y="508"/>
                    </a:cubicBezTo>
                    <a:cubicBezTo>
                      <a:pt x="762" y="508"/>
                      <a:pt x="762" y="508"/>
                      <a:pt x="762" y="508"/>
                    </a:cubicBezTo>
                    <a:cubicBezTo>
                      <a:pt x="762" y="510"/>
                      <a:pt x="762" y="510"/>
                      <a:pt x="762" y="510"/>
                    </a:cubicBezTo>
                    <a:cubicBezTo>
                      <a:pt x="762" y="511"/>
                      <a:pt x="762" y="511"/>
                      <a:pt x="762" y="511"/>
                    </a:cubicBezTo>
                    <a:cubicBezTo>
                      <a:pt x="759" y="512"/>
                      <a:pt x="759" y="512"/>
                      <a:pt x="759" y="512"/>
                    </a:cubicBezTo>
                    <a:cubicBezTo>
                      <a:pt x="758" y="512"/>
                      <a:pt x="758" y="512"/>
                      <a:pt x="758" y="512"/>
                    </a:cubicBezTo>
                    <a:cubicBezTo>
                      <a:pt x="758" y="511"/>
                      <a:pt x="758" y="511"/>
                      <a:pt x="758" y="511"/>
                    </a:cubicBezTo>
                    <a:cubicBezTo>
                      <a:pt x="757" y="510"/>
                      <a:pt x="757" y="510"/>
                      <a:pt x="757" y="510"/>
                    </a:cubicBezTo>
                    <a:cubicBezTo>
                      <a:pt x="756" y="512"/>
                      <a:pt x="756" y="512"/>
                      <a:pt x="756" y="512"/>
                    </a:cubicBezTo>
                    <a:cubicBezTo>
                      <a:pt x="755" y="514"/>
                      <a:pt x="755" y="514"/>
                      <a:pt x="755" y="514"/>
                    </a:cubicBezTo>
                    <a:cubicBezTo>
                      <a:pt x="754" y="513"/>
                      <a:pt x="754" y="513"/>
                      <a:pt x="754" y="513"/>
                    </a:cubicBezTo>
                    <a:cubicBezTo>
                      <a:pt x="754" y="511"/>
                      <a:pt x="754" y="511"/>
                      <a:pt x="754" y="511"/>
                    </a:cubicBezTo>
                    <a:cubicBezTo>
                      <a:pt x="753" y="510"/>
                      <a:pt x="753" y="510"/>
                      <a:pt x="753" y="510"/>
                    </a:cubicBezTo>
                    <a:cubicBezTo>
                      <a:pt x="753" y="511"/>
                      <a:pt x="753" y="511"/>
                      <a:pt x="753" y="511"/>
                    </a:cubicBezTo>
                    <a:cubicBezTo>
                      <a:pt x="753" y="513"/>
                      <a:pt x="753" y="513"/>
                      <a:pt x="753" y="513"/>
                    </a:cubicBezTo>
                    <a:cubicBezTo>
                      <a:pt x="754" y="514"/>
                      <a:pt x="754" y="514"/>
                      <a:pt x="754" y="514"/>
                    </a:cubicBezTo>
                    <a:cubicBezTo>
                      <a:pt x="753" y="514"/>
                      <a:pt x="753" y="514"/>
                      <a:pt x="753" y="514"/>
                    </a:cubicBezTo>
                    <a:cubicBezTo>
                      <a:pt x="750" y="514"/>
                      <a:pt x="750" y="514"/>
                      <a:pt x="750" y="514"/>
                    </a:cubicBezTo>
                    <a:cubicBezTo>
                      <a:pt x="749" y="514"/>
                      <a:pt x="749" y="514"/>
                      <a:pt x="749" y="514"/>
                    </a:cubicBezTo>
                    <a:cubicBezTo>
                      <a:pt x="747" y="514"/>
                      <a:pt x="747" y="514"/>
                      <a:pt x="747" y="514"/>
                    </a:cubicBezTo>
                    <a:cubicBezTo>
                      <a:pt x="745" y="514"/>
                      <a:pt x="745" y="514"/>
                      <a:pt x="745" y="514"/>
                    </a:cubicBezTo>
                    <a:cubicBezTo>
                      <a:pt x="744" y="514"/>
                      <a:pt x="744" y="514"/>
                      <a:pt x="744" y="514"/>
                    </a:cubicBezTo>
                    <a:cubicBezTo>
                      <a:pt x="742" y="515"/>
                      <a:pt x="742" y="515"/>
                      <a:pt x="742" y="515"/>
                    </a:cubicBezTo>
                    <a:cubicBezTo>
                      <a:pt x="740" y="515"/>
                      <a:pt x="740" y="515"/>
                      <a:pt x="740" y="515"/>
                    </a:cubicBezTo>
                    <a:cubicBezTo>
                      <a:pt x="738" y="516"/>
                      <a:pt x="738" y="516"/>
                      <a:pt x="738" y="516"/>
                    </a:cubicBezTo>
                    <a:cubicBezTo>
                      <a:pt x="737" y="517"/>
                      <a:pt x="737" y="517"/>
                      <a:pt x="737" y="517"/>
                    </a:cubicBezTo>
                    <a:cubicBezTo>
                      <a:pt x="736" y="518"/>
                      <a:pt x="736" y="518"/>
                      <a:pt x="736" y="518"/>
                    </a:cubicBezTo>
                    <a:cubicBezTo>
                      <a:pt x="736" y="519"/>
                      <a:pt x="736" y="519"/>
                      <a:pt x="736" y="519"/>
                    </a:cubicBezTo>
                    <a:cubicBezTo>
                      <a:pt x="735" y="519"/>
                      <a:pt x="735" y="519"/>
                      <a:pt x="735" y="519"/>
                    </a:cubicBezTo>
                    <a:cubicBezTo>
                      <a:pt x="735" y="520"/>
                      <a:pt x="735" y="520"/>
                      <a:pt x="735" y="520"/>
                    </a:cubicBezTo>
                    <a:cubicBezTo>
                      <a:pt x="736" y="521"/>
                      <a:pt x="736" y="521"/>
                      <a:pt x="736" y="521"/>
                    </a:cubicBezTo>
                    <a:cubicBezTo>
                      <a:pt x="736" y="522"/>
                      <a:pt x="736" y="522"/>
                      <a:pt x="736" y="522"/>
                    </a:cubicBezTo>
                    <a:cubicBezTo>
                      <a:pt x="735" y="523"/>
                      <a:pt x="735" y="523"/>
                      <a:pt x="735" y="523"/>
                    </a:cubicBezTo>
                    <a:cubicBezTo>
                      <a:pt x="735" y="524"/>
                      <a:pt x="735" y="524"/>
                      <a:pt x="735" y="524"/>
                    </a:cubicBezTo>
                    <a:cubicBezTo>
                      <a:pt x="735" y="525"/>
                      <a:pt x="735" y="525"/>
                      <a:pt x="735" y="525"/>
                    </a:cubicBezTo>
                    <a:cubicBezTo>
                      <a:pt x="735" y="526"/>
                      <a:pt x="735" y="526"/>
                      <a:pt x="735" y="526"/>
                    </a:cubicBezTo>
                    <a:cubicBezTo>
                      <a:pt x="734" y="527"/>
                      <a:pt x="734" y="527"/>
                      <a:pt x="734" y="527"/>
                    </a:cubicBezTo>
                    <a:cubicBezTo>
                      <a:pt x="733" y="528"/>
                      <a:pt x="733" y="528"/>
                      <a:pt x="733" y="528"/>
                    </a:cubicBezTo>
                    <a:cubicBezTo>
                      <a:pt x="732" y="530"/>
                      <a:pt x="732" y="530"/>
                      <a:pt x="732" y="530"/>
                    </a:cubicBezTo>
                    <a:cubicBezTo>
                      <a:pt x="731" y="531"/>
                      <a:pt x="731" y="531"/>
                      <a:pt x="731" y="531"/>
                    </a:cubicBezTo>
                    <a:cubicBezTo>
                      <a:pt x="731" y="530"/>
                      <a:pt x="731" y="530"/>
                      <a:pt x="731" y="530"/>
                    </a:cubicBezTo>
                    <a:cubicBezTo>
                      <a:pt x="730" y="531"/>
                      <a:pt x="730" y="531"/>
                      <a:pt x="730" y="531"/>
                    </a:cubicBezTo>
                    <a:cubicBezTo>
                      <a:pt x="729" y="533"/>
                      <a:pt x="729" y="533"/>
                      <a:pt x="729" y="533"/>
                    </a:cubicBezTo>
                    <a:cubicBezTo>
                      <a:pt x="729" y="532"/>
                      <a:pt x="729" y="532"/>
                      <a:pt x="729" y="532"/>
                    </a:cubicBezTo>
                    <a:cubicBezTo>
                      <a:pt x="728" y="533"/>
                      <a:pt x="728" y="533"/>
                      <a:pt x="728" y="533"/>
                    </a:cubicBezTo>
                    <a:cubicBezTo>
                      <a:pt x="729" y="531"/>
                      <a:pt x="729" y="531"/>
                      <a:pt x="729" y="531"/>
                    </a:cubicBezTo>
                    <a:cubicBezTo>
                      <a:pt x="728" y="531"/>
                      <a:pt x="728" y="531"/>
                      <a:pt x="728" y="531"/>
                    </a:cubicBezTo>
                    <a:cubicBezTo>
                      <a:pt x="726" y="529"/>
                      <a:pt x="726" y="529"/>
                      <a:pt x="726" y="529"/>
                    </a:cubicBezTo>
                    <a:cubicBezTo>
                      <a:pt x="726" y="528"/>
                      <a:pt x="726" y="528"/>
                      <a:pt x="726" y="528"/>
                    </a:cubicBezTo>
                    <a:cubicBezTo>
                      <a:pt x="728" y="525"/>
                      <a:pt x="728" y="525"/>
                      <a:pt x="728" y="525"/>
                    </a:cubicBezTo>
                    <a:cubicBezTo>
                      <a:pt x="727" y="526"/>
                      <a:pt x="727" y="526"/>
                      <a:pt x="727" y="526"/>
                    </a:cubicBezTo>
                    <a:cubicBezTo>
                      <a:pt x="726" y="527"/>
                      <a:pt x="726" y="527"/>
                      <a:pt x="726" y="527"/>
                    </a:cubicBezTo>
                    <a:cubicBezTo>
                      <a:pt x="725" y="528"/>
                      <a:pt x="725" y="528"/>
                      <a:pt x="725" y="528"/>
                    </a:cubicBezTo>
                    <a:cubicBezTo>
                      <a:pt x="725" y="530"/>
                      <a:pt x="725" y="530"/>
                      <a:pt x="725" y="530"/>
                    </a:cubicBezTo>
                    <a:cubicBezTo>
                      <a:pt x="726" y="530"/>
                      <a:pt x="726" y="530"/>
                      <a:pt x="726" y="530"/>
                    </a:cubicBezTo>
                    <a:cubicBezTo>
                      <a:pt x="726" y="532"/>
                      <a:pt x="726" y="532"/>
                      <a:pt x="726" y="532"/>
                    </a:cubicBezTo>
                    <a:cubicBezTo>
                      <a:pt x="726" y="533"/>
                      <a:pt x="726" y="533"/>
                      <a:pt x="726" y="533"/>
                    </a:cubicBezTo>
                    <a:cubicBezTo>
                      <a:pt x="727" y="535"/>
                      <a:pt x="727" y="535"/>
                      <a:pt x="727" y="535"/>
                    </a:cubicBezTo>
                    <a:cubicBezTo>
                      <a:pt x="727" y="536"/>
                      <a:pt x="727" y="536"/>
                      <a:pt x="727" y="536"/>
                    </a:cubicBezTo>
                    <a:cubicBezTo>
                      <a:pt x="726" y="539"/>
                      <a:pt x="726" y="539"/>
                      <a:pt x="726" y="539"/>
                    </a:cubicBezTo>
                    <a:cubicBezTo>
                      <a:pt x="725" y="539"/>
                      <a:pt x="725" y="539"/>
                      <a:pt x="725" y="539"/>
                    </a:cubicBezTo>
                    <a:cubicBezTo>
                      <a:pt x="724" y="542"/>
                      <a:pt x="724" y="542"/>
                      <a:pt x="724" y="542"/>
                    </a:cubicBezTo>
                    <a:cubicBezTo>
                      <a:pt x="723" y="543"/>
                      <a:pt x="723" y="543"/>
                      <a:pt x="723" y="543"/>
                    </a:cubicBezTo>
                    <a:cubicBezTo>
                      <a:pt x="723" y="544"/>
                      <a:pt x="723" y="544"/>
                      <a:pt x="723" y="544"/>
                    </a:cubicBezTo>
                    <a:cubicBezTo>
                      <a:pt x="722" y="543"/>
                      <a:pt x="722" y="543"/>
                      <a:pt x="722" y="543"/>
                    </a:cubicBezTo>
                    <a:cubicBezTo>
                      <a:pt x="721" y="542"/>
                      <a:pt x="721" y="542"/>
                      <a:pt x="721" y="542"/>
                    </a:cubicBezTo>
                    <a:cubicBezTo>
                      <a:pt x="722" y="541"/>
                      <a:pt x="722" y="541"/>
                      <a:pt x="722" y="541"/>
                    </a:cubicBezTo>
                    <a:cubicBezTo>
                      <a:pt x="723" y="540"/>
                      <a:pt x="723" y="540"/>
                      <a:pt x="723" y="540"/>
                    </a:cubicBezTo>
                    <a:cubicBezTo>
                      <a:pt x="722" y="540"/>
                      <a:pt x="722" y="540"/>
                      <a:pt x="722" y="540"/>
                    </a:cubicBezTo>
                    <a:cubicBezTo>
                      <a:pt x="721" y="539"/>
                      <a:pt x="721" y="539"/>
                      <a:pt x="721" y="539"/>
                    </a:cubicBezTo>
                    <a:cubicBezTo>
                      <a:pt x="721" y="538"/>
                      <a:pt x="721" y="538"/>
                      <a:pt x="721" y="538"/>
                    </a:cubicBezTo>
                    <a:cubicBezTo>
                      <a:pt x="720" y="539"/>
                      <a:pt x="720" y="539"/>
                      <a:pt x="720" y="539"/>
                    </a:cubicBezTo>
                    <a:cubicBezTo>
                      <a:pt x="719" y="537"/>
                      <a:pt x="719" y="537"/>
                      <a:pt x="719" y="537"/>
                    </a:cubicBezTo>
                    <a:cubicBezTo>
                      <a:pt x="719" y="536"/>
                      <a:pt x="719" y="536"/>
                      <a:pt x="719" y="536"/>
                    </a:cubicBezTo>
                    <a:cubicBezTo>
                      <a:pt x="720" y="535"/>
                      <a:pt x="720" y="535"/>
                      <a:pt x="720" y="535"/>
                    </a:cubicBezTo>
                    <a:cubicBezTo>
                      <a:pt x="721" y="533"/>
                      <a:pt x="721" y="533"/>
                      <a:pt x="721" y="533"/>
                    </a:cubicBezTo>
                    <a:cubicBezTo>
                      <a:pt x="720" y="531"/>
                      <a:pt x="720" y="531"/>
                      <a:pt x="720" y="531"/>
                    </a:cubicBezTo>
                    <a:cubicBezTo>
                      <a:pt x="720" y="530"/>
                      <a:pt x="720" y="530"/>
                      <a:pt x="720" y="530"/>
                    </a:cubicBezTo>
                    <a:cubicBezTo>
                      <a:pt x="721" y="529"/>
                      <a:pt x="721" y="529"/>
                      <a:pt x="721" y="529"/>
                    </a:cubicBezTo>
                    <a:cubicBezTo>
                      <a:pt x="719" y="530"/>
                      <a:pt x="719" y="530"/>
                      <a:pt x="719" y="530"/>
                    </a:cubicBezTo>
                    <a:cubicBezTo>
                      <a:pt x="718" y="530"/>
                      <a:pt x="718" y="530"/>
                      <a:pt x="718" y="530"/>
                    </a:cubicBezTo>
                    <a:cubicBezTo>
                      <a:pt x="719" y="531"/>
                      <a:pt x="719" y="531"/>
                      <a:pt x="719" y="531"/>
                    </a:cubicBezTo>
                    <a:cubicBezTo>
                      <a:pt x="718" y="532"/>
                      <a:pt x="718" y="532"/>
                      <a:pt x="718" y="532"/>
                    </a:cubicBezTo>
                    <a:cubicBezTo>
                      <a:pt x="718" y="534"/>
                      <a:pt x="718" y="534"/>
                      <a:pt x="718" y="534"/>
                    </a:cubicBezTo>
                    <a:cubicBezTo>
                      <a:pt x="718" y="535"/>
                      <a:pt x="718" y="535"/>
                      <a:pt x="718" y="535"/>
                    </a:cubicBezTo>
                    <a:cubicBezTo>
                      <a:pt x="718" y="537"/>
                      <a:pt x="718" y="537"/>
                      <a:pt x="718" y="537"/>
                    </a:cubicBezTo>
                    <a:cubicBezTo>
                      <a:pt x="718" y="539"/>
                      <a:pt x="718" y="539"/>
                      <a:pt x="718" y="539"/>
                    </a:cubicBezTo>
                    <a:cubicBezTo>
                      <a:pt x="716" y="537"/>
                      <a:pt x="716" y="537"/>
                      <a:pt x="716" y="537"/>
                    </a:cubicBezTo>
                    <a:cubicBezTo>
                      <a:pt x="715" y="537"/>
                      <a:pt x="715" y="537"/>
                      <a:pt x="715" y="537"/>
                    </a:cubicBezTo>
                    <a:cubicBezTo>
                      <a:pt x="714" y="536"/>
                      <a:pt x="714" y="536"/>
                      <a:pt x="714" y="536"/>
                    </a:cubicBezTo>
                    <a:cubicBezTo>
                      <a:pt x="714" y="535"/>
                      <a:pt x="714" y="535"/>
                      <a:pt x="714" y="535"/>
                    </a:cubicBezTo>
                    <a:cubicBezTo>
                      <a:pt x="714" y="534"/>
                      <a:pt x="714" y="534"/>
                      <a:pt x="714" y="534"/>
                    </a:cubicBezTo>
                    <a:cubicBezTo>
                      <a:pt x="713" y="535"/>
                      <a:pt x="713" y="535"/>
                      <a:pt x="713" y="535"/>
                    </a:cubicBezTo>
                    <a:cubicBezTo>
                      <a:pt x="713" y="536"/>
                      <a:pt x="713" y="536"/>
                      <a:pt x="713" y="536"/>
                    </a:cubicBezTo>
                    <a:cubicBezTo>
                      <a:pt x="714" y="537"/>
                      <a:pt x="714" y="537"/>
                      <a:pt x="714" y="537"/>
                    </a:cubicBezTo>
                    <a:cubicBezTo>
                      <a:pt x="715" y="538"/>
                      <a:pt x="715" y="538"/>
                      <a:pt x="715" y="538"/>
                    </a:cubicBezTo>
                    <a:cubicBezTo>
                      <a:pt x="716" y="538"/>
                      <a:pt x="716" y="538"/>
                      <a:pt x="716" y="538"/>
                    </a:cubicBezTo>
                    <a:cubicBezTo>
                      <a:pt x="718" y="540"/>
                      <a:pt x="718" y="540"/>
                      <a:pt x="718" y="540"/>
                    </a:cubicBezTo>
                    <a:cubicBezTo>
                      <a:pt x="719" y="541"/>
                      <a:pt x="719" y="541"/>
                      <a:pt x="719" y="541"/>
                    </a:cubicBezTo>
                    <a:cubicBezTo>
                      <a:pt x="719" y="542"/>
                      <a:pt x="719" y="542"/>
                      <a:pt x="719" y="542"/>
                    </a:cubicBezTo>
                    <a:cubicBezTo>
                      <a:pt x="718" y="543"/>
                      <a:pt x="718" y="543"/>
                      <a:pt x="718" y="543"/>
                    </a:cubicBezTo>
                    <a:cubicBezTo>
                      <a:pt x="717" y="543"/>
                      <a:pt x="717" y="543"/>
                      <a:pt x="717" y="543"/>
                    </a:cubicBezTo>
                    <a:cubicBezTo>
                      <a:pt x="717" y="542"/>
                      <a:pt x="717" y="542"/>
                      <a:pt x="717" y="542"/>
                    </a:cubicBezTo>
                    <a:cubicBezTo>
                      <a:pt x="716" y="541"/>
                      <a:pt x="716" y="541"/>
                      <a:pt x="716" y="541"/>
                    </a:cubicBezTo>
                    <a:cubicBezTo>
                      <a:pt x="717" y="543"/>
                      <a:pt x="717" y="543"/>
                      <a:pt x="717" y="543"/>
                    </a:cubicBezTo>
                    <a:cubicBezTo>
                      <a:pt x="718" y="544"/>
                      <a:pt x="718" y="544"/>
                      <a:pt x="718" y="544"/>
                    </a:cubicBezTo>
                    <a:cubicBezTo>
                      <a:pt x="719" y="545"/>
                      <a:pt x="719" y="545"/>
                      <a:pt x="719" y="545"/>
                    </a:cubicBezTo>
                    <a:cubicBezTo>
                      <a:pt x="718" y="545"/>
                      <a:pt x="718" y="545"/>
                      <a:pt x="718" y="545"/>
                    </a:cubicBezTo>
                    <a:cubicBezTo>
                      <a:pt x="718" y="546"/>
                      <a:pt x="718" y="546"/>
                      <a:pt x="718" y="546"/>
                    </a:cubicBezTo>
                    <a:cubicBezTo>
                      <a:pt x="719" y="547"/>
                      <a:pt x="719" y="547"/>
                      <a:pt x="719" y="547"/>
                    </a:cubicBezTo>
                    <a:cubicBezTo>
                      <a:pt x="718" y="548"/>
                      <a:pt x="718" y="548"/>
                      <a:pt x="718" y="548"/>
                    </a:cubicBezTo>
                    <a:cubicBezTo>
                      <a:pt x="717" y="547"/>
                      <a:pt x="717" y="547"/>
                      <a:pt x="717" y="547"/>
                    </a:cubicBezTo>
                    <a:cubicBezTo>
                      <a:pt x="717" y="546"/>
                      <a:pt x="717" y="546"/>
                      <a:pt x="717" y="546"/>
                    </a:cubicBezTo>
                    <a:cubicBezTo>
                      <a:pt x="715" y="546"/>
                      <a:pt x="715" y="546"/>
                      <a:pt x="715" y="546"/>
                    </a:cubicBezTo>
                    <a:cubicBezTo>
                      <a:pt x="714" y="546"/>
                      <a:pt x="714" y="546"/>
                      <a:pt x="714" y="546"/>
                    </a:cubicBezTo>
                    <a:cubicBezTo>
                      <a:pt x="715" y="547"/>
                      <a:pt x="715" y="547"/>
                      <a:pt x="715" y="547"/>
                    </a:cubicBezTo>
                    <a:cubicBezTo>
                      <a:pt x="716" y="547"/>
                      <a:pt x="716" y="547"/>
                      <a:pt x="716" y="547"/>
                    </a:cubicBezTo>
                    <a:cubicBezTo>
                      <a:pt x="717" y="547"/>
                      <a:pt x="717" y="547"/>
                      <a:pt x="717" y="547"/>
                    </a:cubicBezTo>
                    <a:cubicBezTo>
                      <a:pt x="717" y="549"/>
                      <a:pt x="717" y="549"/>
                      <a:pt x="717" y="549"/>
                    </a:cubicBezTo>
                    <a:cubicBezTo>
                      <a:pt x="718" y="549"/>
                      <a:pt x="718" y="549"/>
                      <a:pt x="718" y="549"/>
                    </a:cubicBezTo>
                    <a:cubicBezTo>
                      <a:pt x="719" y="549"/>
                      <a:pt x="719" y="549"/>
                      <a:pt x="719" y="549"/>
                    </a:cubicBezTo>
                    <a:cubicBezTo>
                      <a:pt x="720" y="549"/>
                      <a:pt x="720" y="549"/>
                      <a:pt x="720" y="549"/>
                    </a:cubicBezTo>
                    <a:cubicBezTo>
                      <a:pt x="720" y="550"/>
                      <a:pt x="720" y="550"/>
                      <a:pt x="720" y="550"/>
                    </a:cubicBezTo>
                    <a:cubicBezTo>
                      <a:pt x="720" y="551"/>
                      <a:pt x="720" y="551"/>
                      <a:pt x="720" y="551"/>
                    </a:cubicBezTo>
                    <a:cubicBezTo>
                      <a:pt x="719" y="551"/>
                      <a:pt x="719" y="551"/>
                      <a:pt x="719" y="551"/>
                    </a:cubicBezTo>
                    <a:cubicBezTo>
                      <a:pt x="719" y="552"/>
                      <a:pt x="719" y="552"/>
                      <a:pt x="719" y="552"/>
                    </a:cubicBezTo>
                    <a:cubicBezTo>
                      <a:pt x="720" y="554"/>
                      <a:pt x="720" y="554"/>
                      <a:pt x="720" y="554"/>
                    </a:cubicBezTo>
                    <a:cubicBezTo>
                      <a:pt x="719" y="554"/>
                      <a:pt x="719" y="554"/>
                      <a:pt x="719" y="554"/>
                    </a:cubicBezTo>
                    <a:cubicBezTo>
                      <a:pt x="718" y="554"/>
                      <a:pt x="718" y="554"/>
                      <a:pt x="718" y="554"/>
                    </a:cubicBezTo>
                    <a:cubicBezTo>
                      <a:pt x="718" y="555"/>
                      <a:pt x="718" y="555"/>
                      <a:pt x="718" y="555"/>
                    </a:cubicBezTo>
                    <a:cubicBezTo>
                      <a:pt x="716" y="555"/>
                      <a:pt x="716" y="555"/>
                      <a:pt x="716" y="555"/>
                    </a:cubicBezTo>
                    <a:cubicBezTo>
                      <a:pt x="716" y="556"/>
                      <a:pt x="716" y="556"/>
                      <a:pt x="716" y="556"/>
                    </a:cubicBezTo>
                    <a:cubicBezTo>
                      <a:pt x="715" y="555"/>
                      <a:pt x="715" y="555"/>
                      <a:pt x="715" y="555"/>
                    </a:cubicBezTo>
                    <a:cubicBezTo>
                      <a:pt x="714" y="554"/>
                      <a:pt x="714" y="554"/>
                      <a:pt x="714" y="554"/>
                    </a:cubicBezTo>
                    <a:cubicBezTo>
                      <a:pt x="714" y="556"/>
                      <a:pt x="714" y="556"/>
                      <a:pt x="714" y="556"/>
                    </a:cubicBezTo>
                    <a:cubicBezTo>
                      <a:pt x="714" y="557"/>
                      <a:pt x="714" y="557"/>
                      <a:pt x="714" y="557"/>
                    </a:cubicBezTo>
                    <a:cubicBezTo>
                      <a:pt x="715" y="557"/>
                      <a:pt x="715" y="557"/>
                      <a:pt x="715" y="557"/>
                    </a:cubicBezTo>
                    <a:cubicBezTo>
                      <a:pt x="717" y="556"/>
                      <a:pt x="717" y="556"/>
                      <a:pt x="717" y="556"/>
                    </a:cubicBezTo>
                    <a:cubicBezTo>
                      <a:pt x="718" y="556"/>
                      <a:pt x="718" y="556"/>
                      <a:pt x="718" y="556"/>
                    </a:cubicBezTo>
                    <a:cubicBezTo>
                      <a:pt x="718" y="558"/>
                      <a:pt x="718" y="558"/>
                      <a:pt x="718" y="558"/>
                    </a:cubicBezTo>
                    <a:cubicBezTo>
                      <a:pt x="719" y="559"/>
                      <a:pt x="719" y="559"/>
                      <a:pt x="719" y="559"/>
                    </a:cubicBezTo>
                    <a:cubicBezTo>
                      <a:pt x="719" y="558"/>
                      <a:pt x="719" y="558"/>
                      <a:pt x="719" y="558"/>
                    </a:cubicBezTo>
                    <a:cubicBezTo>
                      <a:pt x="719" y="557"/>
                      <a:pt x="719" y="557"/>
                      <a:pt x="719" y="557"/>
                    </a:cubicBezTo>
                    <a:cubicBezTo>
                      <a:pt x="720" y="556"/>
                      <a:pt x="720" y="556"/>
                      <a:pt x="720" y="556"/>
                    </a:cubicBezTo>
                    <a:cubicBezTo>
                      <a:pt x="720" y="557"/>
                      <a:pt x="720" y="557"/>
                      <a:pt x="720" y="557"/>
                    </a:cubicBezTo>
                    <a:cubicBezTo>
                      <a:pt x="720" y="559"/>
                      <a:pt x="720" y="559"/>
                      <a:pt x="720" y="559"/>
                    </a:cubicBezTo>
                    <a:cubicBezTo>
                      <a:pt x="718" y="560"/>
                      <a:pt x="718" y="560"/>
                      <a:pt x="718" y="560"/>
                    </a:cubicBezTo>
                    <a:cubicBezTo>
                      <a:pt x="718" y="561"/>
                      <a:pt x="718" y="561"/>
                      <a:pt x="718" y="561"/>
                    </a:cubicBezTo>
                    <a:cubicBezTo>
                      <a:pt x="717" y="561"/>
                      <a:pt x="717" y="561"/>
                      <a:pt x="717" y="561"/>
                    </a:cubicBezTo>
                    <a:cubicBezTo>
                      <a:pt x="716" y="561"/>
                      <a:pt x="716" y="561"/>
                      <a:pt x="716" y="561"/>
                    </a:cubicBezTo>
                    <a:cubicBezTo>
                      <a:pt x="715" y="560"/>
                      <a:pt x="715" y="560"/>
                      <a:pt x="715" y="560"/>
                    </a:cubicBezTo>
                    <a:cubicBezTo>
                      <a:pt x="714" y="561"/>
                      <a:pt x="714" y="561"/>
                      <a:pt x="714" y="561"/>
                    </a:cubicBezTo>
                    <a:cubicBezTo>
                      <a:pt x="713" y="560"/>
                      <a:pt x="713" y="560"/>
                      <a:pt x="713" y="560"/>
                    </a:cubicBezTo>
                    <a:cubicBezTo>
                      <a:pt x="712" y="560"/>
                      <a:pt x="712" y="560"/>
                      <a:pt x="712" y="560"/>
                    </a:cubicBezTo>
                    <a:cubicBezTo>
                      <a:pt x="713" y="561"/>
                      <a:pt x="713" y="561"/>
                      <a:pt x="713" y="561"/>
                    </a:cubicBezTo>
                    <a:cubicBezTo>
                      <a:pt x="714" y="561"/>
                      <a:pt x="714" y="561"/>
                      <a:pt x="714" y="561"/>
                    </a:cubicBezTo>
                    <a:cubicBezTo>
                      <a:pt x="715" y="561"/>
                      <a:pt x="715" y="561"/>
                      <a:pt x="715" y="561"/>
                    </a:cubicBezTo>
                    <a:cubicBezTo>
                      <a:pt x="715" y="562"/>
                      <a:pt x="715" y="562"/>
                      <a:pt x="715" y="562"/>
                    </a:cubicBezTo>
                    <a:cubicBezTo>
                      <a:pt x="714" y="563"/>
                      <a:pt x="714" y="563"/>
                      <a:pt x="714" y="563"/>
                    </a:cubicBezTo>
                    <a:cubicBezTo>
                      <a:pt x="715" y="563"/>
                      <a:pt x="715" y="563"/>
                      <a:pt x="715" y="563"/>
                    </a:cubicBezTo>
                    <a:cubicBezTo>
                      <a:pt x="713" y="564"/>
                      <a:pt x="713" y="564"/>
                      <a:pt x="713" y="564"/>
                    </a:cubicBezTo>
                    <a:cubicBezTo>
                      <a:pt x="714" y="564"/>
                      <a:pt x="714" y="564"/>
                      <a:pt x="714" y="564"/>
                    </a:cubicBezTo>
                    <a:cubicBezTo>
                      <a:pt x="715" y="563"/>
                      <a:pt x="715" y="563"/>
                      <a:pt x="715" y="563"/>
                    </a:cubicBezTo>
                    <a:cubicBezTo>
                      <a:pt x="716" y="564"/>
                      <a:pt x="716" y="564"/>
                      <a:pt x="716" y="564"/>
                    </a:cubicBezTo>
                    <a:cubicBezTo>
                      <a:pt x="715" y="565"/>
                      <a:pt x="715" y="565"/>
                      <a:pt x="715" y="565"/>
                    </a:cubicBezTo>
                    <a:cubicBezTo>
                      <a:pt x="714" y="565"/>
                      <a:pt x="714" y="565"/>
                      <a:pt x="714" y="565"/>
                    </a:cubicBezTo>
                    <a:cubicBezTo>
                      <a:pt x="713" y="565"/>
                      <a:pt x="713" y="565"/>
                      <a:pt x="713" y="565"/>
                    </a:cubicBezTo>
                    <a:cubicBezTo>
                      <a:pt x="711" y="566"/>
                      <a:pt x="711" y="566"/>
                      <a:pt x="711" y="566"/>
                    </a:cubicBezTo>
                    <a:cubicBezTo>
                      <a:pt x="708" y="567"/>
                      <a:pt x="708" y="567"/>
                      <a:pt x="708" y="567"/>
                    </a:cubicBezTo>
                    <a:cubicBezTo>
                      <a:pt x="705" y="570"/>
                      <a:pt x="705" y="570"/>
                      <a:pt x="705" y="570"/>
                    </a:cubicBezTo>
                    <a:cubicBezTo>
                      <a:pt x="704" y="572"/>
                      <a:pt x="704" y="572"/>
                      <a:pt x="704" y="572"/>
                    </a:cubicBezTo>
                    <a:cubicBezTo>
                      <a:pt x="703" y="572"/>
                      <a:pt x="703" y="572"/>
                      <a:pt x="703" y="572"/>
                    </a:cubicBezTo>
                    <a:cubicBezTo>
                      <a:pt x="703" y="571"/>
                      <a:pt x="703" y="571"/>
                      <a:pt x="703" y="571"/>
                    </a:cubicBezTo>
                    <a:cubicBezTo>
                      <a:pt x="701" y="572"/>
                      <a:pt x="701" y="572"/>
                      <a:pt x="701" y="572"/>
                    </a:cubicBezTo>
                    <a:cubicBezTo>
                      <a:pt x="700" y="573"/>
                      <a:pt x="700" y="573"/>
                      <a:pt x="700" y="573"/>
                    </a:cubicBezTo>
                    <a:cubicBezTo>
                      <a:pt x="697" y="576"/>
                      <a:pt x="697" y="576"/>
                      <a:pt x="697" y="576"/>
                    </a:cubicBezTo>
                    <a:cubicBezTo>
                      <a:pt x="697" y="577"/>
                      <a:pt x="697" y="577"/>
                      <a:pt x="697" y="577"/>
                    </a:cubicBezTo>
                    <a:cubicBezTo>
                      <a:pt x="696" y="577"/>
                      <a:pt x="696" y="577"/>
                      <a:pt x="696" y="577"/>
                    </a:cubicBezTo>
                    <a:cubicBezTo>
                      <a:pt x="696" y="578"/>
                      <a:pt x="696" y="578"/>
                      <a:pt x="696" y="578"/>
                    </a:cubicBezTo>
                    <a:cubicBezTo>
                      <a:pt x="695" y="579"/>
                      <a:pt x="695" y="579"/>
                      <a:pt x="695" y="579"/>
                    </a:cubicBezTo>
                    <a:cubicBezTo>
                      <a:pt x="694" y="579"/>
                      <a:pt x="694" y="579"/>
                      <a:pt x="694" y="579"/>
                    </a:cubicBezTo>
                    <a:cubicBezTo>
                      <a:pt x="693" y="579"/>
                      <a:pt x="693" y="579"/>
                      <a:pt x="693" y="579"/>
                    </a:cubicBezTo>
                    <a:cubicBezTo>
                      <a:pt x="693" y="580"/>
                      <a:pt x="693" y="580"/>
                      <a:pt x="693" y="580"/>
                    </a:cubicBezTo>
                    <a:cubicBezTo>
                      <a:pt x="691" y="580"/>
                      <a:pt x="691" y="580"/>
                      <a:pt x="691" y="580"/>
                    </a:cubicBezTo>
                    <a:cubicBezTo>
                      <a:pt x="691" y="581"/>
                      <a:pt x="691" y="581"/>
                      <a:pt x="691" y="581"/>
                    </a:cubicBezTo>
                    <a:cubicBezTo>
                      <a:pt x="689" y="581"/>
                      <a:pt x="689" y="581"/>
                      <a:pt x="689" y="581"/>
                    </a:cubicBezTo>
                    <a:cubicBezTo>
                      <a:pt x="689" y="582"/>
                      <a:pt x="689" y="582"/>
                      <a:pt x="689" y="582"/>
                    </a:cubicBezTo>
                    <a:cubicBezTo>
                      <a:pt x="687" y="582"/>
                      <a:pt x="687" y="582"/>
                      <a:pt x="687" y="582"/>
                    </a:cubicBezTo>
                    <a:cubicBezTo>
                      <a:pt x="686" y="582"/>
                      <a:pt x="686" y="582"/>
                      <a:pt x="686" y="582"/>
                    </a:cubicBezTo>
                    <a:cubicBezTo>
                      <a:pt x="685" y="583"/>
                      <a:pt x="685" y="583"/>
                      <a:pt x="685" y="583"/>
                    </a:cubicBezTo>
                    <a:cubicBezTo>
                      <a:pt x="686" y="583"/>
                      <a:pt x="686" y="583"/>
                      <a:pt x="686" y="583"/>
                    </a:cubicBezTo>
                    <a:cubicBezTo>
                      <a:pt x="686" y="584"/>
                      <a:pt x="686" y="584"/>
                      <a:pt x="686" y="584"/>
                    </a:cubicBezTo>
                    <a:cubicBezTo>
                      <a:pt x="685" y="585"/>
                      <a:pt x="685" y="585"/>
                      <a:pt x="685" y="585"/>
                    </a:cubicBezTo>
                    <a:cubicBezTo>
                      <a:pt x="684" y="585"/>
                      <a:pt x="684" y="585"/>
                      <a:pt x="684" y="585"/>
                    </a:cubicBezTo>
                    <a:cubicBezTo>
                      <a:pt x="684" y="586"/>
                      <a:pt x="684" y="586"/>
                      <a:pt x="684" y="586"/>
                    </a:cubicBezTo>
                    <a:cubicBezTo>
                      <a:pt x="683" y="586"/>
                      <a:pt x="683" y="586"/>
                      <a:pt x="683" y="586"/>
                    </a:cubicBezTo>
                    <a:cubicBezTo>
                      <a:pt x="682" y="588"/>
                      <a:pt x="682" y="588"/>
                      <a:pt x="682" y="588"/>
                    </a:cubicBezTo>
                    <a:cubicBezTo>
                      <a:pt x="681" y="590"/>
                      <a:pt x="681" y="590"/>
                      <a:pt x="681" y="590"/>
                    </a:cubicBezTo>
                    <a:cubicBezTo>
                      <a:pt x="681" y="592"/>
                      <a:pt x="681" y="592"/>
                      <a:pt x="681" y="592"/>
                    </a:cubicBezTo>
                    <a:cubicBezTo>
                      <a:pt x="680" y="596"/>
                      <a:pt x="680" y="596"/>
                      <a:pt x="680" y="596"/>
                    </a:cubicBezTo>
                    <a:cubicBezTo>
                      <a:pt x="680" y="598"/>
                      <a:pt x="680" y="598"/>
                      <a:pt x="680" y="598"/>
                    </a:cubicBezTo>
                    <a:cubicBezTo>
                      <a:pt x="680" y="600"/>
                      <a:pt x="680" y="600"/>
                      <a:pt x="680" y="600"/>
                    </a:cubicBezTo>
                    <a:cubicBezTo>
                      <a:pt x="681" y="602"/>
                      <a:pt x="681" y="602"/>
                      <a:pt x="681" y="602"/>
                    </a:cubicBezTo>
                    <a:cubicBezTo>
                      <a:pt x="681" y="605"/>
                      <a:pt x="681" y="605"/>
                      <a:pt x="681" y="605"/>
                    </a:cubicBezTo>
                    <a:cubicBezTo>
                      <a:pt x="682" y="606"/>
                      <a:pt x="682" y="606"/>
                      <a:pt x="682" y="606"/>
                    </a:cubicBezTo>
                    <a:cubicBezTo>
                      <a:pt x="682" y="609"/>
                      <a:pt x="682" y="609"/>
                      <a:pt x="682" y="609"/>
                    </a:cubicBezTo>
                    <a:cubicBezTo>
                      <a:pt x="683" y="610"/>
                      <a:pt x="683" y="610"/>
                      <a:pt x="683" y="610"/>
                    </a:cubicBezTo>
                    <a:cubicBezTo>
                      <a:pt x="684" y="611"/>
                      <a:pt x="684" y="611"/>
                      <a:pt x="684" y="611"/>
                    </a:cubicBezTo>
                    <a:cubicBezTo>
                      <a:pt x="683" y="613"/>
                      <a:pt x="683" y="613"/>
                      <a:pt x="683" y="613"/>
                    </a:cubicBezTo>
                    <a:cubicBezTo>
                      <a:pt x="683" y="615"/>
                      <a:pt x="683" y="615"/>
                      <a:pt x="683" y="615"/>
                    </a:cubicBezTo>
                    <a:cubicBezTo>
                      <a:pt x="684" y="619"/>
                      <a:pt x="684" y="619"/>
                      <a:pt x="684" y="619"/>
                    </a:cubicBezTo>
                    <a:cubicBezTo>
                      <a:pt x="685" y="620"/>
                      <a:pt x="685" y="620"/>
                      <a:pt x="685" y="620"/>
                    </a:cubicBezTo>
                    <a:cubicBezTo>
                      <a:pt x="686" y="622"/>
                      <a:pt x="686" y="622"/>
                      <a:pt x="686" y="622"/>
                    </a:cubicBezTo>
                    <a:cubicBezTo>
                      <a:pt x="685" y="623"/>
                      <a:pt x="685" y="623"/>
                      <a:pt x="685" y="623"/>
                    </a:cubicBezTo>
                    <a:cubicBezTo>
                      <a:pt x="685" y="625"/>
                      <a:pt x="685" y="625"/>
                      <a:pt x="685" y="625"/>
                    </a:cubicBezTo>
                    <a:cubicBezTo>
                      <a:pt x="685" y="626"/>
                      <a:pt x="685" y="626"/>
                      <a:pt x="685" y="626"/>
                    </a:cubicBezTo>
                    <a:cubicBezTo>
                      <a:pt x="685" y="627"/>
                      <a:pt x="685" y="627"/>
                      <a:pt x="685" y="627"/>
                    </a:cubicBezTo>
                    <a:cubicBezTo>
                      <a:pt x="684" y="629"/>
                      <a:pt x="684" y="629"/>
                      <a:pt x="684" y="629"/>
                    </a:cubicBezTo>
                    <a:cubicBezTo>
                      <a:pt x="683" y="631"/>
                      <a:pt x="683" y="631"/>
                      <a:pt x="683" y="631"/>
                    </a:cubicBezTo>
                    <a:cubicBezTo>
                      <a:pt x="682" y="632"/>
                      <a:pt x="682" y="632"/>
                      <a:pt x="682" y="632"/>
                    </a:cubicBezTo>
                    <a:cubicBezTo>
                      <a:pt x="682" y="633"/>
                      <a:pt x="682" y="633"/>
                      <a:pt x="682" y="633"/>
                    </a:cubicBezTo>
                    <a:cubicBezTo>
                      <a:pt x="681" y="634"/>
                      <a:pt x="681" y="634"/>
                      <a:pt x="681" y="634"/>
                    </a:cubicBezTo>
                    <a:cubicBezTo>
                      <a:pt x="680" y="634"/>
                      <a:pt x="680" y="634"/>
                      <a:pt x="680" y="634"/>
                    </a:cubicBezTo>
                    <a:cubicBezTo>
                      <a:pt x="679" y="634"/>
                      <a:pt x="679" y="634"/>
                      <a:pt x="679" y="634"/>
                    </a:cubicBezTo>
                    <a:cubicBezTo>
                      <a:pt x="678" y="633"/>
                      <a:pt x="678" y="633"/>
                      <a:pt x="678" y="633"/>
                    </a:cubicBezTo>
                    <a:cubicBezTo>
                      <a:pt x="677" y="633"/>
                      <a:pt x="677" y="633"/>
                      <a:pt x="677" y="633"/>
                    </a:cubicBezTo>
                    <a:cubicBezTo>
                      <a:pt x="678" y="632"/>
                      <a:pt x="678" y="632"/>
                      <a:pt x="678" y="632"/>
                    </a:cubicBezTo>
                    <a:cubicBezTo>
                      <a:pt x="676" y="631"/>
                      <a:pt x="676" y="631"/>
                      <a:pt x="676" y="631"/>
                    </a:cubicBezTo>
                    <a:cubicBezTo>
                      <a:pt x="676" y="630"/>
                      <a:pt x="676" y="630"/>
                      <a:pt x="676" y="630"/>
                    </a:cubicBezTo>
                    <a:cubicBezTo>
                      <a:pt x="676" y="629"/>
                      <a:pt x="676" y="629"/>
                      <a:pt x="676" y="629"/>
                    </a:cubicBezTo>
                    <a:cubicBezTo>
                      <a:pt x="675" y="629"/>
                      <a:pt x="675" y="629"/>
                      <a:pt x="675" y="629"/>
                    </a:cubicBezTo>
                    <a:cubicBezTo>
                      <a:pt x="674" y="629"/>
                      <a:pt x="674" y="629"/>
                      <a:pt x="674" y="629"/>
                    </a:cubicBezTo>
                    <a:cubicBezTo>
                      <a:pt x="674" y="627"/>
                      <a:pt x="674" y="627"/>
                      <a:pt x="674" y="627"/>
                    </a:cubicBezTo>
                    <a:cubicBezTo>
                      <a:pt x="674" y="626"/>
                      <a:pt x="674" y="626"/>
                      <a:pt x="674" y="626"/>
                    </a:cubicBezTo>
                    <a:cubicBezTo>
                      <a:pt x="673" y="625"/>
                      <a:pt x="673" y="625"/>
                      <a:pt x="673" y="625"/>
                    </a:cubicBezTo>
                    <a:cubicBezTo>
                      <a:pt x="672" y="624"/>
                      <a:pt x="672" y="624"/>
                      <a:pt x="672" y="624"/>
                    </a:cubicBezTo>
                    <a:cubicBezTo>
                      <a:pt x="673" y="623"/>
                      <a:pt x="673" y="623"/>
                      <a:pt x="673" y="623"/>
                    </a:cubicBezTo>
                    <a:cubicBezTo>
                      <a:pt x="673" y="622"/>
                      <a:pt x="673" y="622"/>
                      <a:pt x="673" y="622"/>
                    </a:cubicBezTo>
                    <a:cubicBezTo>
                      <a:pt x="672" y="621"/>
                      <a:pt x="672" y="621"/>
                      <a:pt x="672" y="621"/>
                    </a:cubicBezTo>
                    <a:cubicBezTo>
                      <a:pt x="671" y="621"/>
                      <a:pt x="671" y="621"/>
                      <a:pt x="671" y="621"/>
                    </a:cubicBezTo>
                    <a:cubicBezTo>
                      <a:pt x="670" y="620"/>
                      <a:pt x="670" y="620"/>
                      <a:pt x="670" y="620"/>
                    </a:cubicBezTo>
                    <a:cubicBezTo>
                      <a:pt x="670" y="619"/>
                      <a:pt x="670" y="619"/>
                      <a:pt x="670" y="619"/>
                    </a:cubicBezTo>
                    <a:cubicBezTo>
                      <a:pt x="670" y="618"/>
                      <a:pt x="670" y="618"/>
                      <a:pt x="670" y="618"/>
                    </a:cubicBezTo>
                    <a:cubicBezTo>
                      <a:pt x="671" y="616"/>
                      <a:pt x="671" y="616"/>
                      <a:pt x="671" y="616"/>
                    </a:cubicBezTo>
                    <a:cubicBezTo>
                      <a:pt x="671" y="615"/>
                      <a:pt x="671" y="615"/>
                      <a:pt x="671" y="615"/>
                    </a:cubicBezTo>
                    <a:cubicBezTo>
                      <a:pt x="670" y="614"/>
                      <a:pt x="670" y="614"/>
                      <a:pt x="670" y="614"/>
                    </a:cubicBezTo>
                    <a:cubicBezTo>
                      <a:pt x="670" y="615"/>
                      <a:pt x="670" y="615"/>
                      <a:pt x="670" y="615"/>
                    </a:cubicBezTo>
                    <a:cubicBezTo>
                      <a:pt x="669" y="616"/>
                      <a:pt x="669" y="616"/>
                      <a:pt x="669" y="616"/>
                    </a:cubicBezTo>
                    <a:cubicBezTo>
                      <a:pt x="668" y="615"/>
                      <a:pt x="668" y="615"/>
                      <a:pt x="668" y="615"/>
                    </a:cubicBezTo>
                    <a:cubicBezTo>
                      <a:pt x="668" y="614"/>
                      <a:pt x="668" y="614"/>
                      <a:pt x="668" y="614"/>
                    </a:cubicBezTo>
                    <a:cubicBezTo>
                      <a:pt x="670" y="612"/>
                      <a:pt x="670" y="612"/>
                      <a:pt x="670" y="612"/>
                    </a:cubicBezTo>
                    <a:cubicBezTo>
                      <a:pt x="670" y="609"/>
                      <a:pt x="670" y="609"/>
                      <a:pt x="670" y="609"/>
                    </a:cubicBezTo>
                    <a:cubicBezTo>
                      <a:pt x="670" y="608"/>
                      <a:pt x="670" y="608"/>
                      <a:pt x="670" y="608"/>
                    </a:cubicBezTo>
                    <a:cubicBezTo>
                      <a:pt x="670" y="606"/>
                      <a:pt x="670" y="606"/>
                      <a:pt x="670" y="606"/>
                    </a:cubicBezTo>
                    <a:cubicBezTo>
                      <a:pt x="669" y="606"/>
                      <a:pt x="669" y="606"/>
                      <a:pt x="669" y="606"/>
                    </a:cubicBezTo>
                    <a:cubicBezTo>
                      <a:pt x="668" y="605"/>
                      <a:pt x="668" y="605"/>
                      <a:pt x="668" y="605"/>
                    </a:cubicBezTo>
                    <a:cubicBezTo>
                      <a:pt x="668" y="604"/>
                      <a:pt x="668" y="604"/>
                      <a:pt x="668" y="604"/>
                    </a:cubicBezTo>
                    <a:cubicBezTo>
                      <a:pt x="667" y="604"/>
                      <a:pt x="667" y="604"/>
                      <a:pt x="667" y="604"/>
                    </a:cubicBezTo>
                    <a:cubicBezTo>
                      <a:pt x="667" y="602"/>
                      <a:pt x="667" y="602"/>
                      <a:pt x="667" y="602"/>
                    </a:cubicBezTo>
                    <a:cubicBezTo>
                      <a:pt x="666" y="602"/>
                      <a:pt x="666" y="602"/>
                      <a:pt x="666" y="602"/>
                    </a:cubicBezTo>
                    <a:cubicBezTo>
                      <a:pt x="665" y="599"/>
                      <a:pt x="665" y="599"/>
                      <a:pt x="665" y="599"/>
                    </a:cubicBezTo>
                    <a:cubicBezTo>
                      <a:pt x="663" y="599"/>
                      <a:pt x="663" y="599"/>
                      <a:pt x="663" y="599"/>
                    </a:cubicBezTo>
                    <a:cubicBezTo>
                      <a:pt x="661" y="599"/>
                      <a:pt x="661" y="599"/>
                      <a:pt x="661" y="599"/>
                    </a:cubicBezTo>
                    <a:cubicBezTo>
                      <a:pt x="661" y="600"/>
                      <a:pt x="661" y="600"/>
                      <a:pt x="661" y="600"/>
                    </a:cubicBezTo>
                    <a:cubicBezTo>
                      <a:pt x="660" y="600"/>
                      <a:pt x="660" y="600"/>
                      <a:pt x="660" y="600"/>
                    </a:cubicBezTo>
                    <a:cubicBezTo>
                      <a:pt x="658" y="601"/>
                      <a:pt x="658" y="601"/>
                      <a:pt x="658" y="601"/>
                    </a:cubicBezTo>
                    <a:cubicBezTo>
                      <a:pt x="657" y="601"/>
                      <a:pt x="657" y="601"/>
                      <a:pt x="657" y="601"/>
                    </a:cubicBezTo>
                    <a:cubicBezTo>
                      <a:pt x="655" y="602"/>
                      <a:pt x="655" y="602"/>
                      <a:pt x="655" y="602"/>
                    </a:cubicBezTo>
                    <a:cubicBezTo>
                      <a:pt x="655" y="601"/>
                      <a:pt x="655" y="601"/>
                      <a:pt x="655" y="601"/>
                    </a:cubicBezTo>
                    <a:cubicBezTo>
                      <a:pt x="656" y="601"/>
                      <a:pt x="656" y="601"/>
                      <a:pt x="656" y="601"/>
                    </a:cubicBezTo>
                    <a:cubicBezTo>
                      <a:pt x="655" y="600"/>
                      <a:pt x="655" y="600"/>
                      <a:pt x="655" y="600"/>
                    </a:cubicBezTo>
                    <a:cubicBezTo>
                      <a:pt x="653" y="599"/>
                      <a:pt x="653" y="599"/>
                      <a:pt x="653" y="599"/>
                    </a:cubicBezTo>
                    <a:cubicBezTo>
                      <a:pt x="653" y="598"/>
                      <a:pt x="653" y="598"/>
                      <a:pt x="653" y="598"/>
                    </a:cubicBezTo>
                    <a:cubicBezTo>
                      <a:pt x="654" y="599"/>
                      <a:pt x="654" y="599"/>
                      <a:pt x="654" y="599"/>
                    </a:cubicBezTo>
                    <a:cubicBezTo>
                      <a:pt x="654" y="598"/>
                      <a:pt x="654" y="598"/>
                      <a:pt x="654" y="598"/>
                    </a:cubicBezTo>
                    <a:cubicBezTo>
                      <a:pt x="653" y="598"/>
                      <a:pt x="653" y="598"/>
                      <a:pt x="653" y="598"/>
                    </a:cubicBezTo>
                    <a:cubicBezTo>
                      <a:pt x="653" y="597"/>
                      <a:pt x="653" y="597"/>
                      <a:pt x="653" y="597"/>
                    </a:cubicBezTo>
                    <a:cubicBezTo>
                      <a:pt x="652" y="597"/>
                      <a:pt x="652" y="597"/>
                      <a:pt x="652" y="597"/>
                    </a:cubicBezTo>
                    <a:cubicBezTo>
                      <a:pt x="653" y="598"/>
                      <a:pt x="653" y="598"/>
                      <a:pt x="653" y="598"/>
                    </a:cubicBezTo>
                    <a:cubicBezTo>
                      <a:pt x="652" y="598"/>
                      <a:pt x="652" y="598"/>
                      <a:pt x="652" y="598"/>
                    </a:cubicBezTo>
                    <a:cubicBezTo>
                      <a:pt x="651" y="597"/>
                      <a:pt x="651" y="597"/>
                      <a:pt x="651" y="597"/>
                    </a:cubicBezTo>
                    <a:cubicBezTo>
                      <a:pt x="649" y="597"/>
                      <a:pt x="649" y="597"/>
                      <a:pt x="649" y="597"/>
                    </a:cubicBezTo>
                    <a:cubicBezTo>
                      <a:pt x="648" y="597"/>
                      <a:pt x="648" y="597"/>
                      <a:pt x="648" y="597"/>
                    </a:cubicBezTo>
                    <a:cubicBezTo>
                      <a:pt x="648" y="596"/>
                      <a:pt x="648" y="596"/>
                      <a:pt x="648" y="596"/>
                    </a:cubicBezTo>
                    <a:cubicBezTo>
                      <a:pt x="647" y="597"/>
                      <a:pt x="647" y="597"/>
                      <a:pt x="647" y="597"/>
                    </a:cubicBezTo>
                    <a:cubicBezTo>
                      <a:pt x="647" y="596"/>
                      <a:pt x="647" y="596"/>
                      <a:pt x="647" y="596"/>
                    </a:cubicBezTo>
                    <a:cubicBezTo>
                      <a:pt x="645" y="597"/>
                      <a:pt x="645" y="597"/>
                      <a:pt x="645" y="597"/>
                    </a:cubicBezTo>
                    <a:cubicBezTo>
                      <a:pt x="644" y="596"/>
                      <a:pt x="644" y="596"/>
                      <a:pt x="644" y="596"/>
                    </a:cubicBezTo>
                    <a:cubicBezTo>
                      <a:pt x="643" y="596"/>
                      <a:pt x="643" y="596"/>
                      <a:pt x="643" y="596"/>
                    </a:cubicBezTo>
                    <a:cubicBezTo>
                      <a:pt x="641" y="596"/>
                      <a:pt x="641" y="596"/>
                      <a:pt x="641" y="596"/>
                    </a:cubicBezTo>
                    <a:cubicBezTo>
                      <a:pt x="640" y="597"/>
                      <a:pt x="640" y="597"/>
                      <a:pt x="640" y="597"/>
                    </a:cubicBezTo>
                    <a:cubicBezTo>
                      <a:pt x="639" y="596"/>
                      <a:pt x="639" y="596"/>
                      <a:pt x="639" y="596"/>
                    </a:cubicBezTo>
                    <a:cubicBezTo>
                      <a:pt x="639" y="595"/>
                      <a:pt x="639" y="595"/>
                      <a:pt x="639" y="595"/>
                    </a:cubicBezTo>
                    <a:cubicBezTo>
                      <a:pt x="639" y="594"/>
                      <a:pt x="639" y="594"/>
                      <a:pt x="639" y="594"/>
                    </a:cubicBezTo>
                    <a:cubicBezTo>
                      <a:pt x="638" y="594"/>
                      <a:pt x="638" y="594"/>
                      <a:pt x="638" y="594"/>
                    </a:cubicBezTo>
                    <a:cubicBezTo>
                      <a:pt x="638" y="595"/>
                      <a:pt x="638" y="595"/>
                      <a:pt x="638" y="595"/>
                    </a:cubicBezTo>
                    <a:cubicBezTo>
                      <a:pt x="637" y="596"/>
                      <a:pt x="637" y="596"/>
                      <a:pt x="637" y="596"/>
                    </a:cubicBezTo>
                    <a:cubicBezTo>
                      <a:pt x="636" y="596"/>
                      <a:pt x="636" y="596"/>
                      <a:pt x="636" y="596"/>
                    </a:cubicBezTo>
                    <a:cubicBezTo>
                      <a:pt x="634" y="596"/>
                      <a:pt x="634" y="596"/>
                      <a:pt x="634" y="596"/>
                    </a:cubicBezTo>
                    <a:cubicBezTo>
                      <a:pt x="630" y="597"/>
                      <a:pt x="630" y="597"/>
                      <a:pt x="630" y="597"/>
                    </a:cubicBezTo>
                    <a:cubicBezTo>
                      <a:pt x="629" y="598"/>
                      <a:pt x="629" y="598"/>
                      <a:pt x="629" y="598"/>
                    </a:cubicBezTo>
                    <a:cubicBezTo>
                      <a:pt x="627" y="598"/>
                      <a:pt x="627" y="598"/>
                      <a:pt x="627" y="598"/>
                    </a:cubicBezTo>
                    <a:cubicBezTo>
                      <a:pt x="626" y="600"/>
                      <a:pt x="626" y="600"/>
                      <a:pt x="626" y="600"/>
                    </a:cubicBezTo>
                    <a:cubicBezTo>
                      <a:pt x="626" y="601"/>
                      <a:pt x="626" y="601"/>
                      <a:pt x="626" y="601"/>
                    </a:cubicBezTo>
                    <a:cubicBezTo>
                      <a:pt x="627" y="600"/>
                      <a:pt x="627" y="600"/>
                      <a:pt x="627" y="600"/>
                    </a:cubicBezTo>
                    <a:cubicBezTo>
                      <a:pt x="628" y="599"/>
                      <a:pt x="628" y="599"/>
                      <a:pt x="628" y="599"/>
                    </a:cubicBezTo>
                    <a:cubicBezTo>
                      <a:pt x="628" y="600"/>
                      <a:pt x="628" y="600"/>
                      <a:pt x="628" y="600"/>
                    </a:cubicBezTo>
                    <a:cubicBezTo>
                      <a:pt x="629" y="600"/>
                      <a:pt x="629" y="600"/>
                      <a:pt x="629" y="600"/>
                    </a:cubicBezTo>
                    <a:cubicBezTo>
                      <a:pt x="630" y="601"/>
                      <a:pt x="630" y="601"/>
                      <a:pt x="630" y="601"/>
                    </a:cubicBezTo>
                    <a:cubicBezTo>
                      <a:pt x="629" y="601"/>
                      <a:pt x="629" y="601"/>
                      <a:pt x="629" y="601"/>
                    </a:cubicBezTo>
                    <a:cubicBezTo>
                      <a:pt x="627" y="602"/>
                      <a:pt x="627" y="602"/>
                      <a:pt x="627" y="602"/>
                    </a:cubicBezTo>
                    <a:cubicBezTo>
                      <a:pt x="627" y="603"/>
                      <a:pt x="627" y="603"/>
                      <a:pt x="627" y="603"/>
                    </a:cubicBezTo>
                    <a:cubicBezTo>
                      <a:pt x="628" y="604"/>
                      <a:pt x="628" y="604"/>
                      <a:pt x="628" y="604"/>
                    </a:cubicBezTo>
                    <a:cubicBezTo>
                      <a:pt x="630" y="604"/>
                      <a:pt x="630" y="604"/>
                      <a:pt x="630" y="604"/>
                    </a:cubicBezTo>
                    <a:cubicBezTo>
                      <a:pt x="631" y="606"/>
                      <a:pt x="631" y="606"/>
                      <a:pt x="631" y="606"/>
                    </a:cubicBezTo>
                    <a:cubicBezTo>
                      <a:pt x="630" y="606"/>
                      <a:pt x="630" y="606"/>
                      <a:pt x="630" y="606"/>
                    </a:cubicBezTo>
                    <a:cubicBezTo>
                      <a:pt x="629" y="605"/>
                      <a:pt x="629" y="605"/>
                      <a:pt x="629" y="605"/>
                    </a:cubicBezTo>
                    <a:cubicBezTo>
                      <a:pt x="628" y="606"/>
                      <a:pt x="628" y="606"/>
                      <a:pt x="628" y="606"/>
                    </a:cubicBezTo>
                    <a:cubicBezTo>
                      <a:pt x="628" y="605"/>
                      <a:pt x="628" y="605"/>
                      <a:pt x="628" y="605"/>
                    </a:cubicBezTo>
                    <a:cubicBezTo>
                      <a:pt x="627" y="604"/>
                      <a:pt x="627" y="604"/>
                      <a:pt x="627" y="604"/>
                    </a:cubicBezTo>
                    <a:cubicBezTo>
                      <a:pt x="626" y="603"/>
                      <a:pt x="626" y="603"/>
                      <a:pt x="626" y="603"/>
                    </a:cubicBezTo>
                    <a:cubicBezTo>
                      <a:pt x="625" y="603"/>
                      <a:pt x="625" y="603"/>
                      <a:pt x="625" y="603"/>
                    </a:cubicBezTo>
                    <a:cubicBezTo>
                      <a:pt x="625" y="604"/>
                      <a:pt x="625" y="604"/>
                      <a:pt x="625" y="604"/>
                    </a:cubicBezTo>
                    <a:cubicBezTo>
                      <a:pt x="625" y="606"/>
                      <a:pt x="625" y="606"/>
                      <a:pt x="625" y="606"/>
                    </a:cubicBezTo>
                    <a:cubicBezTo>
                      <a:pt x="624" y="606"/>
                      <a:pt x="624" y="606"/>
                      <a:pt x="624" y="606"/>
                    </a:cubicBezTo>
                    <a:cubicBezTo>
                      <a:pt x="624" y="605"/>
                      <a:pt x="624" y="605"/>
                      <a:pt x="624" y="605"/>
                    </a:cubicBezTo>
                    <a:cubicBezTo>
                      <a:pt x="623" y="605"/>
                      <a:pt x="623" y="605"/>
                      <a:pt x="623" y="605"/>
                    </a:cubicBezTo>
                    <a:cubicBezTo>
                      <a:pt x="622" y="605"/>
                      <a:pt x="622" y="605"/>
                      <a:pt x="622" y="605"/>
                    </a:cubicBezTo>
                    <a:cubicBezTo>
                      <a:pt x="621" y="606"/>
                      <a:pt x="621" y="606"/>
                      <a:pt x="621" y="606"/>
                    </a:cubicBezTo>
                    <a:cubicBezTo>
                      <a:pt x="620" y="606"/>
                      <a:pt x="620" y="606"/>
                      <a:pt x="620" y="606"/>
                    </a:cubicBezTo>
                    <a:cubicBezTo>
                      <a:pt x="619" y="605"/>
                      <a:pt x="619" y="605"/>
                      <a:pt x="619" y="605"/>
                    </a:cubicBezTo>
                    <a:cubicBezTo>
                      <a:pt x="618" y="605"/>
                      <a:pt x="618" y="605"/>
                      <a:pt x="618" y="605"/>
                    </a:cubicBezTo>
                    <a:cubicBezTo>
                      <a:pt x="617" y="605"/>
                      <a:pt x="617" y="605"/>
                      <a:pt x="617" y="605"/>
                    </a:cubicBezTo>
                    <a:cubicBezTo>
                      <a:pt x="618" y="604"/>
                      <a:pt x="618" y="604"/>
                      <a:pt x="618" y="604"/>
                    </a:cubicBezTo>
                    <a:cubicBezTo>
                      <a:pt x="618" y="603"/>
                      <a:pt x="618" y="603"/>
                      <a:pt x="618" y="603"/>
                    </a:cubicBezTo>
                    <a:cubicBezTo>
                      <a:pt x="617" y="603"/>
                      <a:pt x="617" y="603"/>
                      <a:pt x="617" y="603"/>
                    </a:cubicBezTo>
                    <a:cubicBezTo>
                      <a:pt x="616" y="603"/>
                      <a:pt x="616" y="603"/>
                      <a:pt x="616" y="603"/>
                    </a:cubicBezTo>
                    <a:cubicBezTo>
                      <a:pt x="616" y="602"/>
                      <a:pt x="616" y="602"/>
                      <a:pt x="616" y="602"/>
                    </a:cubicBezTo>
                    <a:cubicBezTo>
                      <a:pt x="616" y="601"/>
                      <a:pt x="616" y="601"/>
                      <a:pt x="616" y="601"/>
                    </a:cubicBezTo>
                    <a:cubicBezTo>
                      <a:pt x="615" y="602"/>
                      <a:pt x="615" y="602"/>
                      <a:pt x="615" y="602"/>
                    </a:cubicBezTo>
                    <a:cubicBezTo>
                      <a:pt x="614" y="601"/>
                      <a:pt x="614" y="601"/>
                      <a:pt x="614" y="601"/>
                    </a:cubicBezTo>
                    <a:cubicBezTo>
                      <a:pt x="615" y="601"/>
                      <a:pt x="615" y="601"/>
                      <a:pt x="615" y="601"/>
                    </a:cubicBezTo>
                    <a:cubicBezTo>
                      <a:pt x="614" y="600"/>
                      <a:pt x="614" y="600"/>
                      <a:pt x="614" y="600"/>
                    </a:cubicBezTo>
                    <a:cubicBezTo>
                      <a:pt x="613" y="601"/>
                      <a:pt x="613" y="601"/>
                      <a:pt x="613" y="601"/>
                    </a:cubicBezTo>
                    <a:cubicBezTo>
                      <a:pt x="613" y="602"/>
                      <a:pt x="613" y="602"/>
                      <a:pt x="613" y="602"/>
                    </a:cubicBezTo>
                    <a:cubicBezTo>
                      <a:pt x="612" y="602"/>
                      <a:pt x="612" y="602"/>
                      <a:pt x="612" y="602"/>
                    </a:cubicBezTo>
                    <a:cubicBezTo>
                      <a:pt x="608" y="602"/>
                      <a:pt x="608" y="602"/>
                      <a:pt x="608" y="602"/>
                    </a:cubicBezTo>
                    <a:cubicBezTo>
                      <a:pt x="608" y="601"/>
                      <a:pt x="608" y="601"/>
                      <a:pt x="608" y="601"/>
                    </a:cubicBezTo>
                    <a:cubicBezTo>
                      <a:pt x="605" y="601"/>
                      <a:pt x="605" y="601"/>
                      <a:pt x="605" y="601"/>
                    </a:cubicBezTo>
                    <a:cubicBezTo>
                      <a:pt x="603" y="601"/>
                      <a:pt x="603" y="601"/>
                      <a:pt x="603" y="601"/>
                    </a:cubicBezTo>
                    <a:cubicBezTo>
                      <a:pt x="601" y="601"/>
                      <a:pt x="601" y="601"/>
                      <a:pt x="601" y="601"/>
                    </a:cubicBezTo>
                    <a:cubicBezTo>
                      <a:pt x="600" y="602"/>
                      <a:pt x="600" y="602"/>
                      <a:pt x="600" y="602"/>
                    </a:cubicBezTo>
                    <a:cubicBezTo>
                      <a:pt x="599" y="602"/>
                      <a:pt x="599" y="602"/>
                      <a:pt x="599" y="602"/>
                    </a:cubicBezTo>
                    <a:cubicBezTo>
                      <a:pt x="598" y="603"/>
                      <a:pt x="598" y="603"/>
                      <a:pt x="598" y="603"/>
                    </a:cubicBezTo>
                    <a:cubicBezTo>
                      <a:pt x="597" y="603"/>
                      <a:pt x="597" y="603"/>
                      <a:pt x="597" y="603"/>
                    </a:cubicBezTo>
                    <a:cubicBezTo>
                      <a:pt x="597" y="602"/>
                      <a:pt x="597" y="602"/>
                      <a:pt x="597" y="602"/>
                    </a:cubicBezTo>
                    <a:cubicBezTo>
                      <a:pt x="597" y="601"/>
                      <a:pt x="597" y="601"/>
                      <a:pt x="597" y="601"/>
                    </a:cubicBezTo>
                    <a:cubicBezTo>
                      <a:pt x="598" y="600"/>
                      <a:pt x="598" y="600"/>
                      <a:pt x="598" y="600"/>
                    </a:cubicBezTo>
                    <a:cubicBezTo>
                      <a:pt x="597" y="599"/>
                      <a:pt x="597" y="599"/>
                      <a:pt x="597" y="599"/>
                    </a:cubicBezTo>
                    <a:cubicBezTo>
                      <a:pt x="597" y="600"/>
                      <a:pt x="597" y="600"/>
                      <a:pt x="597" y="600"/>
                    </a:cubicBezTo>
                    <a:cubicBezTo>
                      <a:pt x="596" y="601"/>
                      <a:pt x="596" y="601"/>
                      <a:pt x="596" y="601"/>
                    </a:cubicBezTo>
                    <a:cubicBezTo>
                      <a:pt x="595" y="601"/>
                      <a:pt x="595" y="601"/>
                      <a:pt x="595" y="601"/>
                    </a:cubicBezTo>
                    <a:cubicBezTo>
                      <a:pt x="594" y="600"/>
                      <a:pt x="594" y="600"/>
                      <a:pt x="594" y="600"/>
                    </a:cubicBezTo>
                    <a:cubicBezTo>
                      <a:pt x="595" y="602"/>
                      <a:pt x="595" y="602"/>
                      <a:pt x="595" y="602"/>
                    </a:cubicBezTo>
                    <a:cubicBezTo>
                      <a:pt x="595" y="603"/>
                      <a:pt x="595" y="603"/>
                      <a:pt x="595" y="603"/>
                    </a:cubicBezTo>
                    <a:cubicBezTo>
                      <a:pt x="595" y="604"/>
                      <a:pt x="595" y="604"/>
                      <a:pt x="595" y="604"/>
                    </a:cubicBezTo>
                    <a:cubicBezTo>
                      <a:pt x="595" y="605"/>
                      <a:pt x="595" y="605"/>
                      <a:pt x="595" y="605"/>
                    </a:cubicBezTo>
                    <a:cubicBezTo>
                      <a:pt x="594" y="605"/>
                      <a:pt x="594" y="605"/>
                      <a:pt x="594" y="605"/>
                    </a:cubicBezTo>
                    <a:cubicBezTo>
                      <a:pt x="592" y="607"/>
                      <a:pt x="592" y="607"/>
                      <a:pt x="592" y="607"/>
                    </a:cubicBezTo>
                    <a:cubicBezTo>
                      <a:pt x="589" y="608"/>
                      <a:pt x="589" y="608"/>
                      <a:pt x="589" y="608"/>
                    </a:cubicBezTo>
                    <a:cubicBezTo>
                      <a:pt x="588" y="608"/>
                      <a:pt x="588" y="608"/>
                      <a:pt x="588" y="608"/>
                    </a:cubicBezTo>
                    <a:cubicBezTo>
                      <a:pt x="587" y="609"/>
                      <a:pt x="587" y="609"/>
                      <a:pt x="587" y="609"/>
                    </a:cubicBezTo>
                    <a:cubicBezTo>
                      <a:pt x="586" y="609"/>
                      <a:pt x="586" y="609"/>
                      <a:pt x="586" y="609"/>
                    </a:cubicBezTo>
                    <a:cubicBezTo>
                      <a:pt x="587" y="608"/>
                      <a:pt x="587" y="608"/>
                      <a:pt x="587" y="608"/>
                    </a:cubicBezTo>
                    <a:cubicBezTo>
                      <a:pt x="586" y="608"/>
                      <a:pt x="586" y="608"/>
                      <a:pt x="586" y="608"/>
                    </a:cubicBezTo>
                    <a:cubicBezTo>
                      <a:pt x="585" y="608"/>
                      <a:pt x="585" y="608"/>
                      <a:pt x="585" y="608"/>
                    </a:cubicBezTo>
                    <a:cubicBezTo>
                      <a:pt x="584" y="608"/>
                      <a:pt x="584" y="608"/>
                      <a:pt x="584" y="608"/>
                    </a:cubicBezTo>
                    <a:cubicBezTo>
                      <a:pt x="585" y="609"/>
                      <a:pt x="585" y="609"/>
                      <a:pt x="585" y="609"/>
                    </a:cubicBezTo>
                    <a:cubicBezTo>
                      <a:pt x="584" y="609"/>
                      <a:pt x="584" y="609"/>
                      <a:pt x="584" y="609"/>
                    </a:cubicBezTo>
                    <a:cubicBezTo>
                      <a:pt x="583" y="609"/>
                      <a:pt x="583" y="609"/>
                      <a:pt x="583" y="609"/>
                    </a:cubicBezTo>
                    <a:cubicBezTo>
                      <a:pt x="583" y="610"/>
                      <a:pt x="583" y="610"/>
                      <a:pt x="583" y="610"/>
                    </a:cubicBezTo>
                    <a:cubicBezTo>
                      <a:pt x="582" y="611"/>
                      <a:pt x="582" y="611"/>
                      <a:pt x="582" y="611"/>
                    </a:cubicBezTo>
                    <a:cubicBezTo>
                      <a:pt x="581" y="611"/>
                      <a:pt x="581" y="611"/>
                      <a:pt x="581" y="611"/>
                    </a:cubicBezTo>
                    <a:cubicBezTo>
                      <a:pt x="580" y="612"/>
                      <a:pt x="580" y="612"/>
                      <a:pt x="580" y="612"/>
                    </a:cubicBezTo>
                    <a:cubicBezTo>
                      <a:pt x="581" y="613"/>
                      <a:pt x="581" y="613"/>
                      <a:pt x="581" y="613"/>
                    </a:cubicBezTo>
                    <a:cubicBezTo>
                      <a:pt x="580" y="614"/>
                      <a:pt x="580" y="614"/>
                      <a:pt x="580" y="614"/>
                    </a:cubicBezTo>
                    <a:cubicBezTo>
                      <a:pt x="579" y="614"/>
                      <a:pt x="579" y="614"/>
                      <a:pt x="579" y="614"/>
                    </a:cubicBezTo>
                    <a:cubicBezTo>
                      <a:pt x="579" y="617"/>
                      <a:pt x="579" y="617"/>
                      <a:pt x="579" y="617"/>
                    </a:cubicBezTo>
                    <a:cubicBezTo>
                      <a:pt x="578" y="618"/>
                      <a:pt x="578" y="618"/>
                      <a:pt x="578" y="618"/>
                    </a:cubicBezTo>
                    <a:cubicBezTo>
                      <a:pt x="578" y="620"/>
                      <a:pt x="578" y="620"/>
                      <a:pt x="578" y="620"/>
                    </a:cubicBezTo>
                    <a:cubicBezTo>
                      <a:pt x="577" y="621"/>
                      <a:pt x="577" y="621"/>
                      <a:pt x="577" y="621"/>
                    </a:cubicBezTo>
                    <a:cubicBezTo>
                      <a:pt x="577" y="622"/>
                      <a:pt x="577" y="622"/>
                      <a:pt x="577" y="622"/>
                    </a:cubicBezTo>
                    <a:cubicBezTo>
                      <a:pt x="577" y="625"/>
                      <a:pt x="577" y="625"/>
                      <a:pt x="577" y="625"/>
                    </a:cubicBezTo>
                    <a:cubicBezTo>
                      <a:pt x="578" y="626"/>
                      <a:pt x="578" y="626"/>
                      <a:pt x="578" y="626"/>
                    </a:cubicBezTo>
                    <a:cubicBezTo>
                      <a:pt x="577" y="627"/>
                      <a:pt x="577" y="627"/>
                      <a:pt x="577" y="627"/>
                    </a:cubicBezTo>
                    <a:cubicBezTo>
                      <a:pt x="577" y="629"/>
                      <a:pt x="577" y="629"/>
                      <a:pt x="577" y="629"/>
                    </a:cubicBezTo>
                    <a:cubicBezTo>
                      <a:pt x="577" y="629"/>
                      <a:pt x="577" y="629"/>
                      <a:pt x="578" y="627"/>
                    </a:cubicBezTo>
                    <a:cubicBezTo>
                      <a:pt x="578" y="627"/>
                      <a:pt x="578" y="627"/>
                      <a:pt x="578" y="629"/>
                    </a:cubicBezTo>
                    <a:cubicBezTo>
                      <a:pt x="578" y="629"/>
                      <a:pt x="578" y="629"/>
                      <a:pt x="577" y="631"/>
                    </a:cubicBezTo>
                    <a:cubicBezTo>
                      <a:pt x="577" y="631"/>
                      <a:pt x="577" y="631"/>
                      <a:pt x="576" y="632"/>
                    </a:cubicBezTo>
                    <a:cubicBezTo>
                      <a:pt x="576" y="632"/>
                      <a:pt x="576" y="632"/>
                      <a:pt x="575" y="631"/>
                    </a:cubicBezTo>
                    <a:cubicBezTo>
                      <a:pt x="575" y="631"/>
                      <a:pt x="575" y="631"/>
                      <a:pt x="575" y="633"/>
                    </a:cubicBezTo>
                    <a:cubicBezTo>
                      <a:pt x="575" y="633"/>
                      <a:pt x="575" y="633"/>
                      <a:pt x="574" y="634"/>
                    </a:cubicBezTo>
                    <a:cubicBezTo>
                      <a:pt x="574" y="634"/>
                      <a:pt x="574" y="634"/>
                      <a:pt x="575" y="635"/>
                    </a:cubicBezTo>
                    <a:cubicBezTo>
                      <a:pt x="575" y="635"/>
                      <a:pt x="575" y="635"/>
                      <a:pt x="574" y="637"/>
                    </a:cubicBezTo>
                    <a:cubicBezTo>
                      <a:pt x="574" y="637"/>
                      <a:pt x="574" y="637"/>
                      <a:pt x="574" y="638"/>
                    </a:cubicBezTo>
                    <a:cubicBezTo>
                      <a:pt x="574" y="638"/>
                      <a:pt x="574" y="638"/>
                      <a:pt x="574" y="639"/>
                    </a:cubicBezTo>
                    <a:cubicBezTo>
                      <a:pt x="574" y="639"/>
                      <a:pt x="574" y="639"/>
                      <a:pt x="574" y="640"/>
                    </a:cubicBezTo>
                    <a:cubicBezTo>
                      <a:pt x="574" y="640"/>
                      <a:pt x="574" y="640"/>
                      <a:pt x="574" y="641"/>
                    </a:cubicBezTo>
                    <a:cubicBezTo>
                      <a:pt x="574" y="641"/>
                      <a:pt x="574" y="641"/>
                      <a:pt x="574" y="642"/>
                    </a:cubicBezTo>
                    <a:cubicBezTo>
                      <a:pt x="574" y="642"/>
                      <a:pt x="574" y="642"/>
                      <a:pt x="573" y="645"/>
                    </a:cubicBezTo>
                    <a:cubicBezTo>
                      <a:pt x="573" y="645"/>
                      <a:pt x="573" y="645"/>
                      <a:pt x="573" y="647"/>
                    </a:cubicBezTo>
                    <a:cubicBezTo>
                      <a:pt x="573" y="647"/>
                      <a:pt x="573" y="647"/>
                      <a:pt x="573" y="650"/>
                    </a:cubicBezTo>
                    <a:cubicBezTo>
                      <a:pt x="573" y="650"/>
                      <a:pt x="573" y="650"/>
                      <a:pt x="572" y="651"/>
                    </a:cubicBezTo>
                    <a:cubicBezTo>
                      <a:pt x="572" y="651"/>
                      <a:pt x="572" y="651"/>
                      <a:pt x="572" y="652"/>
                    </a:cubicBezTo>
                    <a:cubicBezTo>
                      <a:pt x="572" y="652"/>
                      <a:pt x="572" y="652"/>
                      <a:pt x="573" y="654"/>
                    </a:cubicBezTo>
                    <a:cubicBezTo>
                      <a:pt x="573" y="654"/>
                      <a:pt x="573" y="654"/>
                      <a:pt x="572" y="656"/>
                    </a:cubicBezTo>
                    <a:cubicBezTo>
                      <a:pt x="572" y="656"/>
                      <a:pt x="572" y="656"/>
                      <a:pt x="572" y="658"/>
                    </a:cubicBezTo>
                    <a:cubicBezTo>
                      <a:pt x="572" y="658"/>
                      <a:pt x="572" y="658"/>
                      <a:pt x="573" y="659"/>
                    </a:cubicBezTo>
                    <a:cubicBezTo>
                      <a:pt x="573" y="659"/>
                      <a:pt x="573" y="659"/>
                      <a:pt x="574" y="661"/>
                    </a:cubicBezTo>
                    <a:cubicBezTo>
                      <a:pt x="574" y="661"/>
                      <a:pt x="574" y="661"/>
                      <a:pt x="574" y="662"/>
                    </a:cubicBezTo>
                    <a:cubicBezTo>
                      <a:pt x="574" y="662"/>
                      <a:pt x="574" y="662"/>
                      <a:pt x="574" y="663"/>
                    </a:cubicBezTo>
                    <a:cubicBezTo>
                      <a:pt x="574" y="663"/>
                      <a:pt x="574" y="663"/>
                      <a:pt x="574" y="664"/>
                    </a:cubicBezTo>
                    <a:cubicBezTo>
                      <a:pt x="574" y="664"/>
                      <a:pt x="574" y="664"/>
                      <a:pt x="575" y="665"/>
                    </a:cubicBezTo>
                    <a:cubicBezTo>
                      <a:pt x="575" y="665"/>
                      <a:pt x="575" y="665"/>
                      <a:pt x="578" y="669"/>
                    </a:cubicBezTo>
                    <a:cubicBezTo>
                      <a:pt x="578" y="669"/>
                      <a:pt x="578" y="669"/>
                      <a:pt x="579" y="670"/>
                    </a:cubicBezTo>
                    <a:cubicBezTo>
                      <a:pt x="579" y="670"/>
                      <a:pt x="579" y="670"/>
                      <a:pt x="580" y="672"/>
                    </a:cubicBezTo>
                    <a:cubicBezTo>
                      <a:pt x="580" y="672"/>
                      <a:pt x="580" y="672"/>
                      <a:pt x="580" y="673"/>
                    </a:cubicBezTo>
                    <a:cubicBezTo>
                      <a:pt x="580" y="673"/>
                      <a:pt x="580" y="673"/>
                      <a:pt x="580" y="674"/>
                    </a:cubicBezTo>
                    <a:cubicBezTo>
                      <a:pt x="580" y="674"/>
                      <a:pt x="580" y="674"/>
                      <a:pt x="583" y="677"/>
                    </a:cubicBezTo>
                    <a:cubicBezTo>
                      <a:pt x="583" y="677"/>
                      <a:pt x="583" y="677"/>
                      <a:pt x="583" y="678"/>
                    </a:cubicBezTo>
                    <a:cubicBezTo>
                      <a:pt x="583" y="678"/>
                      <a:pt x="583" y="678"/>
                      <a:pt x="584" y="678"/>
                    </a:cubicBezTo>
                    <a:cubicBezTo>
                      <a:pt x="584" y="678"/>
                      <a:pt x="584" y="678"/>
                      <a:pt x="586" y="678"/>
                    </a:cubicBezTo>
                    <a:cubicBezTo>
                      <a:pt x="586" y="678"/>
                      <a:pt x="586" y="678"/>
                      <a:pt x="588" y="679"/>
                    </a:cubicBezTo>
                    <a:cubicBezTo>
                      <a:pt x="588" y="679"/>
                      <a:pt x="588" y="679"/>
                      <a:pt x="589" y="681"/>
                    </a:cubicBezTo>
                    <a:cubicBezTo>
                      <a:pt x="589" y="681"/>
                      <a:pt x="589" y="681"/>
                      <a:pt x="590" y="683"/>
                    </a:cubicBezTo>
                    <a:cubicBezTo>
                      <a:pt x="590" y="683"/>
                      <a:pt x="590" y="683"/>
                      <a:pt x="591" y="682"/>
                    </a:cubicBezTo>
                    <a:cubicBezTo>
                      <a:pt x="591" y="682"/>
                      <a:pt x="591" y="682"/>
                      <a:pt x="593" y="682"/>
                    </a:cubicBezTo>
                    <a:cubicBezTo>
                      <a:pt x="593" y="682"/>
                      <a:pt x="593" y="682"/>
                      <a:pt x="594" y="682"/>
                    </a:cubicBezTo>
                    <a:cubicBezTo>
                      <a:pt x="594" y="682"/>
                      <a:pt x="594" y="682"/>
                      <a:pt x="595" y="682"/>
                    </a:cubicBezTo>
                    <a:cubicBezTo>
                      <a:pt x="595" y="682"/>
                      <a:pt x="595" y="682"/>
                      <a:pt x="597" y="681"/>
                    </a:cubicBezTo>
                    <a:cubicBezTo>
                      <a:pt x="597" y="681"/>
                      <a:pt x="597" y="681"/>
                      <a:pt x="598" y="680"/>
                    </a:cubicBezTo>
                    <a:cubicBezTo>
                      <a:pt x="598" y="680"/>
                      <a:pt x="598" y="680"/>
                      <a:pt x="600" y="680"/>
                    </a:cubicBezTo>
                    <a:cubicBezTo>
                      <a:pt x="600" y="680"/>
                      <a:pt x="600" y="680"/>
                      <a:pt x="601" y="680"/>
                    </a:cubicBezTo>
                    <a:cubicBezTo>
                      <a:pt x="601" y="680"/>
                      <a:pt x="601" y="680"/>
                      <a:pt x="603" y="679"/>
                    </a:cubicBezTo>
                    <a:cubicBezTo>
                      <a:pt x="603" y="679"/>
                      <a:pt x="603" y="679"/>
                      <a:pt x="604" y="679"/>
                    </a:cubicBezTo>
                    <a:cubicBezTo>
                      <a:pt x="604" y="679"/>
                      <a:pt x="604" y="679"/>
                      <a:pt x="606" y="679"/>
                    </a:cubicBezTo>
                    <a:cubicBezTo>
                      <a:pt x="606" y="679"/>
                      <a:pt x="606" y="679"/>
                      <a:pt x="608" y="679"/>
                    </a:cubicBezTo>
                    <a:cubicBezTo>
                      <a:pt x="608" y="679"/>
                      <a:pt x="608" y="679"/>
                      <a:pt x="607" y="680"/>
                    </a:cubicBezTo>
                    <a:cubicBezTo>
                      <a:pt x="607" y="680"/>
                      <a:pt x="607" y="680"/>
                      <a:pt x="606" y="681"/>
                    </a:cubicBezTo>
                    <a:cubicBezTo>
                      <a:pt x="606" y="681"/>
                      <a:pt x="606" y="681"/>
                      <a:pt x="608" y="681"/>
                    </a:cubicBezTo>
                    <a:cubicBezTo>
                      <a:pt x="608" y="681"/>
                      <a:pt x="608" y="681"/>
                      <a:pt x="609" y="682"/>
                    </a:cubicBezTo>
                    <a:cubicBezTo>
                      <a:pt x="609" y="682"/>
                      <a:pt x="609" y="682"/>
                      <a:pt x="609" y="681"/>
                    </a:cubicBezTo>
                    <a:cubicBezTo>
                      <a:pt x="609" y="681"/>
                      <a:pt x="609" y="681"/>
                      <a:pt x="610" y="681"/>
                    </a:cubicBezTo>
                    <a:cubicBezTo>
                      <a:pt x="610" y="681"/>
                      <a:pt x="610" y="681"/>
                      <a:pt x="611" y="680"/>
                    </a:cubicBezTo>
                    <a:cubicBezTo>
                      <a:pt x="611" y="680"/>
                      <a:pt x="611" y="680"/>
                      <a:pt x="611" y="678"/>
                    </a:cubicBezTo>
                    <a:cubicBezTo>
                      <a:pt x="611" y="678"/>
                      <a:pt x="611" y="678"/>
                      <a:pt x="611" y="677"/>
                    </a:cubicBezTo>
                    <a:cubicBezTo>
                      <a:pt x="611" y="677"/>
                      <a:pt x="611" y="677"/>
                      <a:pt x="610" y="678"/>
                    </a:cubicBezTo>
                    <a:cubicBezTo>
                      <a:pt x="610" y="678"/>
                      <a:pt x="610" y="678"/>
                      <a:pt x="610" y="677"/>
                    </a:cubicBezTo>
                    <a:cubicBezTo>
                      <a:pt x="610" y="677"/>
                      <a:pt x="610" y="677"/>
                      <a:pt x="612" y="676"/>
                    </a:cubicBezTo>
                    <a:cubicBezTo>
                      <a:pt x="612" y="676"/>
                      <a:pt x="612" y="676"/>
                      <a:pt x="613" y="676"/>
                    </a:cubicBezTo>
                    <a:cubicBezTo>
                      <a:pt x="613" y="676"/>
                      <a:pt x="613" y="676"/>
                      <a:pt x="615" y="674"/>
                    </a:cubicBezTo>
                    <a:cubicBezTo>
                      <a:pt x="615" y="674"/>
                      <a:pt x="615" y="674"/>
                      <a:pt x="615" y="672"/>
                    </a:cubicBezTo>
                    <a:cubicBezTo>
                      <a:pt x="615" y="672"/>
                      <a:pt x="615" y="672"/>
                      <a:pt x="617" y="670"/>
                    </a:cubicBezTo>
                    <a:cubicBezTo>
                      <a:pt x="617" y="670"/>
                      <a:pt x="617" y="670"/>
                      <a:pt x="617" y="669"/>
                    </a:cubicBezTo>
                    <a:cubicBezTo>
                      <a:pt x="617" y="669"/>
                      <a:pt x="617" y="669"/>
                      <a:pt x="617" y="665"/>
                    </a:cubicBezTo>
                    <a:cubicBezTo>
                      <a:pt x="617" y="665"/>
                      <a:pt x="617" y="665"/>
                      <a:pt x="619" y="663"/>
                    </a:cubicBezTo>
                    <a:cubicBezTo>
                      <a:pt x="619" y="663"/>
                      <a:pt x="619" y="663"/>
                      <a:pt x="618" y="663"/>
                    </a:cubicBezTo>
                    <a:cubicBezTo>
                      <a:pt x="618" y="663"/>
                      <a:pt x="618" y="663"/>
                      <a:pt x="618" y="662"/>
                    </a:cubicBezTo>
                    <a:cubicBezTo>
                      <a:pt x="618" y="662"/>
                      <a:pt x="618" y="662"/>
                      <a:pt x="622" y="661"/>
                    </a:cubicBezTo>
                    <a:cubicBezTo>
                      <a:pt x="622" y="661"/>
                      <a:pt x="622" y="661"/>
                      <a:pt x="628" y="661"/>
                    </a:cubicBezTo>
                    <a:cubicBezTo>
                      <a:pt x="628" y="661"/>
                      <a:pt x="628" y="661"/>
                      <a:pt x="629" y="659"/>
                    </a:cubicBezTo>
                    <a:cubicBezTo>
                      <a:pt x="629" y="659"/>
                      <a:pt x="629" y="659"/>
                      <a:pt x="630" y="659"/>
                    </a:cubicBezTo>
                    <a:cubicBezTo>
                      <a:pt x="630" y="659"/>
                      <a:pt x="630" y="659"/>
                      <a:pt x="631" y="660"/>
                    </a:cubicBezTo>
                    <a:cubicBezTo>
                      <a:pt x="631" y="660"/>
                      <a:pt x="631" y="660"/>
                      <a:pt x="632" y="659"/>
                    </a:cubicBezTo>
                    <a:cubicBezTo>
                      <a:pt x="632" y="659"/>
                      <a:pt x="632" y="659"/>
                      <a:pt x="632" y="658"/>
                    </a:cubicBezTo>
                    <a:cubicBezTo>
                      <a:pt x="632" y="658"/>
                      <a:pt x="632" y="658"/>
                      <a:pt x="635" y="658"/>
                    </a:cubicBezTo>
                    <a:cubicBezTo>
                      <a:pt x="635" y="658"/>
                      <a:pt x="635" y="658"/>
                      <a:pt x="637" y="659"/>
                    </a:cubicBezTo>
                    <a:cubicBezTo>
                      <a:pt x="637" y="659"/>
                      <a:pt x="637" y="659"/>
                      <a:pt x="638" y="659"/>
                    </a:cubicBezTo>
                    <a:cubicBezTo>
                      <a:pt x="638" y="659"/>
                      <a:pt x="638" y="659"/>
                      <a:pt x="638" y="658"/>
                    </a:cubicBezTo>
                    <a:cubicBezTo>
                      <a:pt x="638" y="658"/>
                      <a:pt x="638" y="658"/>
                      <a:pt x="639" y="658"/>
                    </a:cubicBezTo>
                    <a:cubicBezTo>
                      <a:pt x="639" y="658"/>
                      <a:pt x="639" y="658"/>
                      <a:pt x="641" y="660"/>
                    </a:cubicBezTo>
                    <a:cubicBezTo>
                      <a:pt x="641" y="660"/>
                      <a:pt x="641" y="660"/>
                      <a:pt x="641" y="662"/>
                    </a:cubicBezTo>
                    <a:cubicBezTo>
                      <a:pt x="641" y="662"/>
                      <a:pt x="641" y="662"/>
                      <a:pt x="640" y="663"/>
                    </a:cubicBezTo>
                    <a:cubicBezTo>
                      <a:pt x="640" y="663"/>
                      <a:pt x="640" y="663"/>
                      <a:pt x="639" y="666"/>
                    </a:cubicBezTo>
                    <a:cubicBezTo>
                      <a:pt x="639" y="666"/>
                      <a:pt x="639" y="666"/>
                      <a:pt x="636" y="668"/>
                    </a:cubicBezTo>
                    <a:cubicBezTo>
                      <a:pt x="636" y="668"/>
                      <a:pt x="636" y="668"/>
                      <a:pt x="635" y="669"/>
                    </a:cubicBezTo>
                    <a:cubicBezTo>
                      <a:pt x="635" y="669"/>
                      <a:pt x="635" y="669"/>
                      <a:pt x="635" y="671"/>
                    </a:cubicBezTo>
                    <a:cubicBezTo>
                      <a:pt x="635" y="671"/>
                      <a:pt x="635" y="671"/>
                      <a:pt x="634" y="671"/>
                    </a:cubicBezTo>
                    <a:cubicBezTo>
                      <a:pt x="634" y="671"/>
                      <a:pt x="634" y="671"/>
                      <a:pt x="634" y="672"/>
                    </a:cubicBezTo>
                    <a:cubicBezTo>
                      <a:pt x="634" y="672"/>
                      <a:pt x="634" y="672"/>
                      <a:pt x="634" y="673"/>
                    </a:cubicBezTo>
                    <a:cubicBezTo>
                      <a:pt x="634" y="673"/>
                      <a:pt x="634" y="673"/>
                      <a:pt x="635" y="673"/>
                    </a:cubicBezTo>
                    <a:cubicBezTo>
                      <a:pt x="635" y="673"/>
                      <a:pt x="635" y="673"/>
                      <a:pt x="635" y="674"/>
                    </a:cubicBezTo>
                    <a:cubicBezTo>
                      <a:pt x="635" y="674"/>
                      <a:pt x="635" y="674"/>
                      <a:pt x="634" y="675"/>
                    </a:cubicBezTo>
                    <a:cubicBezTo>
                      <a:pt x="634" y="675"/>
                      <a:pt x="634" y="675"/>
                      <a:pt x="634" y="676"/>
                    </a:cubicBezTo>
                    <a:cubicBezTo>
                      <a:pt x="634" y="676"/>
                      <a:pt x="634" y="676"/>
                      <a:pt x="635" y="675"/>
                    </a:cubicBezTo>
                    <a:cubicBezTo>
                      <a:pt x="635" y="675"/>
                      <a:pt x="635" y="675"/>
                      <a:pt x="636" y="675"/>
                    </a:cubicBezTo>
                    <a:cubicBezTo>
                      <a:pt x="636" y="675"/>
                      <a:pt x="636" y="675"/>
                      <a:pt x="635" y="676"/>
                    </a:cubicBezTo>
                    <a:cubicBezTo>
                      <a:pt x="635" y="676"/>
                      <a:pt x="635" y="676"/>
                      <a:pt x="634" y="680"/>
                    </a:cubicBezTo>
                    <a:cubicBezTo>
                      <a:pt x="634" y="680"/>
                      <a:pt x="634" y="680"/>
                      <a:pt x="633" y="682"/>
                    </a:cubicBezTo>
                    <a:cubicBezTo>
                      <a:pt x="633" y="682"/>
                      <a:pt x="633" y="682"/>
                      <a:pt x="632" y="682"/>
                    </a:cubicBezTo>
                    <a:cubicBezTo>
                      <a:pt x="632" y="682"/>
                      <a:pt x="632" y="682"/>
                      <a:pt x="632" y="681"/>
                    </a:cubicBezTo>
                    <a:cubicBezTo>
                      <a:pt x="632" y="681"/>
                      <a:pt x="632" y="681"/>
                      <a:pt x="631" y="680"/>
                    </a:cubicBezTo>
                    <a:cubicBezTo>
                      <a:pt x="631" y="680"/>
                      <a:pt x="631" y="680"/>
                      <a:pt x="630" y="680"/>
                    </a:cubicBezTo>
                    <a:cubicBezTo>
                      <a:pt x="630" y="680"/>
                      <a:pt x="630" y="680"/>
                      <a:pt x="631" y="679"/>
                    </a:cubicBezTo>
                    <a:cubicBezTo>
                      <a:pt x="631" y="679"/>
                      <a:pt x="631" y="679"/>
                      <a:pt x="631" y="678"/>
                    </a:cubicBezTo>
                    <a:cubicBezTo>
                      <a:pt x="631" y="678"/>
                      <a:pt x="631" y="678"/>
                      <a:pt x="630" y="678"/>
                    </a:cubicBezTo>
                    <a:cubicBezTo>
                      <a:pt x="630" y="678"/>
                      <a:pt x="630" y="678"/>
                      <a:pt x="629" y="680"/>
                    </a:cubicBezTo>
                    <a:cubicBezTo>
                      <a:pt x="629" y="680"/>
                      <a:pt x="629" y="680"/>
                      <a:pt x="628" y="681"/>
                    </a:cubicBezTo>
                    <a:cubicBezTo>
                      <a:pt x="628" y="681"/>
                      <a:pt x="628" y="681"/>
                      <a:pt x="629" y="681"/>
                    </a:cubicBezTo>
                    <a:cubicBezTo>
                      <a:pt x="629" y="681"/>
                      <a:pt x="629" y="681"/>
                      <a:pt x="630" y="681"/>
                    </a:cubicBezTo>
                    <a:cubicBezTo>
                      <a:pt x="630" y="681"/>
                      <a:pt x="630" y="681"/>
                      <a:pt x="630" y="682"/>
                    </a:cubicBezTo>
                    <a:cubicBezTo>
                      <a:pt x="630" y="682"/>
                      <a:pt x="630" y="682"/>
                      <a:pt x="630" y="685"/>
                    </a:cubicBezTo>
                    <a:cubicBezTo>
                      <a:pt x="630" y="685"/>
                      <a:pt x="630" y="685"/>
                      <a:pt x="629" y="686"/>
                    </a:cubicBezTo>
                    <a:cubicBezTo>
                      <a:pt x="629" y="686"/>
                      <a:pt x="629" y="686"/>
                      <a:pt x="629" y="688"/>
                    </a:cubicBezTo>
                    <a:cubicBezTo>
                      <a:pt x="629" y="688"/>
                      <a:pt x="629" y="688"/>
                      <a:pt x="629" y="689"/>
                    </a:cubicBezTo>
                    <a:cubicBezTo>
                      <a:pt x="629" y="689"/>
                      <a:pt x="629" y="689"/>
                      <a:pt x="629" y="691"/>
                    </a:cubicBezTo>
                    <a:cubicBezTo>
                      <a:pt x="629" y="691"/>
                      <a:pt x="629" y="691"/>
                      <a:pt x="629" y="693"/>
                    </a:cubicBezTo>
                    <a:cubicBezTo>
                      <a:pt x="629" y="693"/>
                      <a:pt x="629" y="693"/>
                      <a:pt x="627" y="695"/>
                    </a:cubicBezTo>
                    <a:cubicBezTo>
                      <a:pt x="627" y="695"/>
                      <a:pt x="627" y="695"/>
                      <a:pt x="626" y="695"/>
                    </a:cubicBezTo>
                    <a:cubicBezTo>
                      <a:pt x="626" y="695"/>
                      <a:pt x="626" y="695"/>
                      <a:pt x="625" y="696"/>
                    </a:cubicBezTo>
                    <a:cubicBezTo>
                      <a:pt x="625" y="696"/>
                      <a:pt x="625" y="696"/>
                      <a:pt x="625" y="697"/>
                    </a:cubicBezTo>
                    <a:cubicBezTo>
                      <a:pt x="625" y="697"/>
                      <a:pt x="625" y="697"/>
                      <a:pt x="625" y="698"/>
                    </a:cubicBezTo>
                    <a:cubicBezTo>
                      <a:pt x="625" y="698"/>
                      <a:pt x="625" y="698"/>
                      <a:pt x="626" y="698"/>
                    </a:cubicBezTo>
                    <a:cubicBezTo>
                      <a:pt x="626" y="698"/>
                      <a:pt x="626" y="698"/>
                      <a:pt x="627" y="698"/>
                    </a:cubicBezTo>
                    <a:cubicBezTo>
                      <a:pt x="627" y="698"/>
                      <a:pt x="627" y="698"/>
                      <a:pt x="628" y="698"/>
                    </a:cubicBezTo>
                    <a:cubicBezTo>
                      <a:pt x="628" y="698"/>
                      <a:pt x="628" y="698"/>
                      <a:pt x="629" y="698"/>
                    </a:cubicBezTo>
                    <a:cubicBezTo>
                      <a:pt x="629" y="698"/>
                      <a:pt x="629" y="698"/>
                      <a:pt x="630" y="699"/>
                    </a:cubicBezTo>
                    <a:cubicBezTo>
                      <a:pt x="630" y="699"/>
                      <a:pt x="630" y="699"/>
                      <a:pt x="631" y="698"/>
                    </a:cubicBezTo>
                    <a:cubicBezTo>
                      <a:pt x="631" y="698"/>
                      <a:pt x="631" y="698"/>
                      <a:pt x="635" y="698"/>
                    </a:cubicBezTo>
                    <a:cubicBezTo>
                      <a:pt x="635" y="698"/>
                      <a:pt x="635" y="698"/>
                      <a:pt x="638" y="698"/>
                    </a:cubicBezTo>
                    <a:cubicBezTo>
                      <a:pt x="638" y="698"/>
                      <a:pt x="638" y="698"/>
                      <a:pt x="640" y="697"/>
                    </a:cubicBezTo>
                    <a:cubicBezTo>
                      <a:pt x="640" y="697"/>
                      <a:pt x="640" y="697"/>
                      <a:pt x="641" y="698"/>
                    </a:cubicBezTo>
                    <a:cubicBezTo>
                      <a:pt x="641" y="698"/>
                      <a:pt x="641" y="698"/>
                      <a:pt x="641" y="697"/>
                    </a:cubicBezTo>
                    <a:cubicBezTo>
                      <a:pt x="641" y="697"/>
                      <a:pt x="641" y="697"/>
                      <a:pt x="642" y="697"/>
                    </a:cubicBezTo>
                    <a:cubicBezTo>
                      <a:pt x="642" y="697"/>
                      <a:pt x="642" y="697"/>
                      <a:pt x="642" y="696"/>
                    </a:cubicBezTo>
                    <a:cubicBezTo>
                      <a:pt x="642" y="696"/>
                      <a:pt x="642" y="696"/>
                      <a:pt x="643" y="696"/>
                    </a:cubicBezTo>
                    <a:cubicBezTo>
                      <a:pt x="643" y="696"/>
                      <a:pt x="643" y="696"/>
                      <a:pt x="645" y="698"/>
                    </a:cubicBezTo>
                    <a:cubicBezTo>
                      <a:pt x="645" y="698"/>
                      <a:pt x="645" y="698"/>
                      <a:pt x="648" y="698"/>
                    </a:cubicBezTo>
                    <a:cubicBezTo>
                      <a:pt x="648" y="698"/>
                      <a:pt x="648" y="698"/>
                      <a:pt x="650" y="698"/>
                    </a:cubicBezTo>
                    <a:cubicBezTo>
                      <a:pt x="650" y="698"/>
                      <a:pt x="650" y="698"/>
                      <a:pt x="651" y="699"/>
                    </a:cubicBezTo>
                    <a:cubicBezTo>
                      <a:pt x="651" y="699"/>
                      <a:pt x="651" y="699"/>
                      <a:pt x="651" y="698"/>
                    </a:cubicBezTo>
                    <a:cubicBezTo>
                      <a:pt x="651" y="698"/>
                      <a:pt x="651" y="698"/>
                      <a:pt x="652" y="698"/>
                    </a:cubicBezTo>
                    <a:cubicBezTo>
                      <a:pt x="652" y="698"/>
                      <a:pt x="652" y="698"/>
                      <a:pt x="653" y="698"/>
                    </a:cubicBezTo>
                    <a:cubicBezTo>
                      <a:pt x="653" y="698"/>
                      <a:pt x="653" y="698"/>
                      <a:pt x="654" y="698"/>
                    </a:cubicBezTo>
                    <a:cubicBezTo>
                      <a:pt x="654" y="698"/>
                      <a:pt x="654" y="698"/>
                      <a:pt x="656" y="699"/>
                    </a:cubicBezTo>
                    <a:cubicBezTo>
                      <a:pt x="656" y="699"/>
                      <a:pt x="656" y="699"/>
                      <a:pt x="657" y="700"/>
                    </a:cubicBezTo>
                    <a:cubicBezTo>
                      <a:pt x="657" y="700"/>
                      <a:pt x="657" y="700"/>
                      <a:pt x="655" y="699"/>
                    </a:cubicBezTo>
                    <a:cubicBezTo>
                      <a:pt x="655" y="699"/>
                      <a:pt x="655" y="699"/>
                      <a:pt x="654" y="699"/>
                    </a:cubicBezTo>
                    <a:cubicBezTo>
                      <a:pt x="654" y="699"/>
                      <a:pt x="654" y="699"/>
                      <a:pt x="653" y="699"/>
                    </a:cubicBezTo>
                    <a:cubicBezTo>
                      <a:pt x="653" y="699"/>
                      <a:pt x="653" y="699"/>
                      <a:pt x="653" y="700"/>
                    </a:cubicBezTo>
                    <a:cubicBezTo>
                      <a:pt x="653" y="700"/>
                      <a:pt x="653" y="700"/>
                      <a:pt x="652" y="701"/>
                    </a:cubicBezTo>
                    <a:cubicBezTo>
                      <a:pt x="652" y="701"/>
                      <a:pt x="652" y="701"/>
                      <a:pt x="653" y="701"/>
                    </a:cubicBezTo>
                    <a:cubicBezTo>
                      <a:pt x="653" y="701"/>
                      <a:pt x="653" y="701"/>
                      <a:pt x="655" y="701"/>
                    </a:cubicBezTo>
                    <a:cubicBezTo>
                      <a:pt x="655" y="701"/>
                      <a:pt x="655" y="701"/>
                      <a:pt x="657" y="701"/>
                    </a:cubicBezTo>
                    <a:cubicBezTo>
                      <a:pt x="657" y="701"/>
                      <a:pt x="657" y="701"/>
                      <a:pt x="658" y="702"/>
                    </a:cubicBezTo>
                    <a:cubicBezTo>
                      <a:pt x="658" y="702"/>
                      <a:pt x="658" y="702"/>
                      <a:pt x="658" y="700"/>
                    </a:cubicBezTo>
                    <a:cubicBezTo>
                      <a:pt x="658" y="700"/>
                      <a:pt x="658" y="700"/>
                      <a:pt x="659" y="701"/>
                    </a:cubicBezTo>
                    <a:cubicBezTo>
                      <a:pt x="659" y="701"/>
                      <a:pt x="659" y="701"/>
                      <a:pt x="661" y="702"/>
                    </a:cubicBezTo>
                    <a:cubicBezTo>
                      <a:pt x="661" y="702"/>
                      <a:pt x="661" y="702"/>
                      <a:pt x="661" y="703"/>
                    </a:cubicBezTo>
                    <a:cubicBezTo>
                      <a:pt x="661" y="703"/>
                      <a:pt x="661" y="703"/>
                      <a:pt x="660" y="703"/>
                    </a:cubicBezTo>
                    <a:cubicBezTo>
                      <a:pt x="660" y="703"/>
                      <a:pt x="660" y="703"/>
                      <a:pt x="660" y="704"/>
                    </a:cubicBezTo>
                    <a:cubicBezTo>
                      <a:pt x="660" y="704"/>
                      <a:pt x="660" y="704"/>
                      <a:pt x="660" y="706"/>
                    </a:cubicBezTo>
                    <a:cubicBezTo>
                      <a:pt x="660" y="706"/>
                      <a:pt x="660" y="706"/>
                      <a:pt x="660" y="707"/>
                    </a:cubicBezTo>
                    <a:cubicBezTo>
                      <a:pt x="660" y="707"/>
                      <a:pt x="660" y="707"/>
                      <a:pt x="660" y="708"/>
                    </a:cubicBezTo>
                    <a:cubicBezTo>
                      <a:pt x="660" y="708"/>
                      <a:pt x="660" y="708"/>
                      <a:pt x="660" y="709"/>
                    </a:cubicBezTo>
                    <a:cubicBezTo>
                      <a:pt x="660" y="709"/>
                      <a:pt x="660" y="709"/>
                      <a:pt x="660" y="710"/>
                    </a:cubicBezTo>
                    <a:cubicBezTo>
                      <a:pt x="660" y="710"/>
                      <a:pt x="660" y="710"/>
                      <a:pt x="659" y="711"/>
                    </a:cubicBezTo>
                    <a:cubicBezTo>
                      <a:pt x="659" y="711"/>
                      <a:pt x="659" y="711"/>
                      <a:pt x="658" y="713"/>
                    </a:cubicBezTo>
                    <a:cubicBezTo>
                      <a:pt x="658" y="713"/>
                      <a:pt x="658" y="713"/>
                      <a:pt x="657" y="713"/>
                    </a:cubicBezTo>
                    <a:cubicBezTo>
                      <a:pt x="657" y="713"/>
                      <a:pt x="657" y="713"/>
                      <a:pt x="657" y="714"/>
                    </a:cubicBezTo>
                    <a:cubicBezTo>
                      <a:pt x="657" y="714"/>
                      <a:pt x="657" y="714"/>
                      <a:pt x="658" y="714"/>
                    </a:cubicBezTo>
                    <a:cubicBezTo>
                      <a:pt x="658" y="714"/>
                      <a:pt x="658" y="714"/>
                      <a:pt x="658" y="715"/>
                    </a:cubicBezTo>
                    <a:cubicBezTo>
                      <a:pt x="658" y="715"/>
                      <a:pt x="658" y="715"/>
                      <a:pt x="658" y="718"/>
                    </a:cubicBezTo>
                    <a:cubicBezTo>
                      <a:pt x="658" y="718"/>
                      <a:pt x="658" y="718"/>
                      <a:pt x="658" y="721"/>
                    </a:cubicBezTo>
                    <a:cubicBezTo>
                      <a:pt x="658" y="721"/>
                      <a:pt x="658" y="721"/>
                      <a:pt x="657" y="721"/>
                    </a:cubicBezTo>
                    <a:cubicBezTo>
                      <a:pt x="657" y="721"/>
                      <a:pt x="657" y="721"/>
                      <a:pt x="657" y="720"/>
                    </a:cubicBezTo>
                    <a:cubicBezTo>
                      <a:pt x="657" y="720"/>
                      <a:pt x="657" y="720"/>
                      <a:pt x="657" y="719"/>
                    </a:cubicBezTo>
                    <a:cubicBezTo>
                      <a:pt x="657" y="719"/>
                      <a:pt x="657" y="719"/>
                      <a:pt x="657" y="718"/>
                    </a:cubicBezTo>
                    <a:cubicBezTo>
                      <a:pt x="657" y="718"/>
                      <a:pt x="657" y="718"/>
                      <a:pt x="656" y="718"/>
                    </a:cubicBezTo>
                    <a:cubicBezTo>
                      <a:pt x="656" y="718"/>
                      <a:pt x="656" y="718"/>
                      <a:pt x="656" y="720"/>
                    </a:cubicBezTo>
                    <a:cubicBezTo>
                      <a:pt x="656" y="720"/>
                      <a:pt x="656" y="720"/>
                      <a:pt x="656" y="721"/>
                    </a:cubicBezTo>
                    <a:cubicBezTo>
                      <a:pt x="656" y="721"/>
                      <a:pt x="656" y="721"/>
                      <a:pt x="656" y="722"/>
                    </a:cubicBezTo>
                    <a:cubicBezTo>
                      <a:pt x="656" y="722"/>
                      <a:pt x="656" y="722"/>
                      <a:pt x="655" y="723"/>
                    </a:cubicBezTo>
                    <a:cubicBezTo>
                      <a:pt x="655" y="723"/>
                      <a:pt x="655" y="723"/>
                      <a:pt x="655" y="724"/>
                    </a:cubicBezTo>
                    <a:cubicBezTo>
                      <a:pt x="655" y="724"/>
                      <a:pt x="655" y="724"/>
                      <a:pt x="655" y="725"/>
                    </a:cubicBezTo>
                    <a:cubicBezTo>
                      <a:pt x="655" y="725"/>
                      <a:pt x="655" y="725"/>
                      <a:pt x="656" y="725"/>
                    </a:cubicBezTo>
                    <a:cubicBezTo>
                      <a:pt x="656" y="725"/>
                      <a:pt x="656" y="725"/>
                      <a:pt x="656" y="726"/>
                    </a:cubicBezTo>
                    <a:cubicBezTo>
                      <a:pt x="656" y="726"/>
                      <a:pt x="656" y="726"/>
                      <a:pt x="655" y="727"/>
                    </a:cubicBezTo>
                    <a:cubicBezTo>
                      <a:pt x="655" y="727"/>
                      <a:pt x="655" y="727"/>
                      <a:pt x="655" y="729"/>
                    </a:cubicBezTo>
                    <a:cubicBezTo>
                      <a:pt x="655" y="729"/>
                      <a:pt x="655" y="729"/>
                      <a:pt x="656" y="729"/>
                    </a:cubicBezTo>
                    <a:cubicBezTo>
                      <a:pt x="656" y="729"/>
                      <a:pt x="656" y="729"/>
                      <a:pt x="656" y="730"/>
                    </a:cubicBezTo>
                    <a:cubicBezTo>
                      <a:pt x="656" y="730"/>
                      <a:pt x="656" y="730"/>
                      <a:pt x="655" y="731"/>
                    </a:cubicBezTo>
                    <a:cubicBezTo>
                      <a:pt x="655" y="731"/>
                      <a:pt x="655" y="731"/>
                      <a:pt x="656" y="731"/>
                    </a:cubicBezTo>
                    <a:cubicBezTo>
                      <a:pt x="656" y="731"/>
                      <a:pt x="656" y="731"/>
                      <a:pt x="657" y="731"/>
                    </a:cubicBezTo>
                    <a:cubicBezTo>
                      <a:pt x="657" y="731"/>
                      <a:pt x="657" y="731"/>
                      <a:pt x="658" y="732"/>
                    </a:cubicBezTo>
                    <a:cubicBezTo>
                      <a:pt x="658" y="732"/>
                      <a:pt x="658" y="732"/>
                      <a:pt x="658" y="733"/>
                    </a:cubicBezTo>
                    <a:cubicBezTo>
                      <a:pt x="658" y="733"/>
                      <a:pt x="658" y="733"/>
                      <a:pt x="659" y="734"/>
                    </a:cubicBezTo>
                    <a:cubicBezTo>
                      <a:pt x="659" y="734"/>
                      <a:pt x="659" y="734"/>
                      <a:pt x="660" y="736"/>
                    </a:cubicBezTo>
                    <a:cubicBezTo>
                      <a:pt x="660" y="736"/>
                      <a:pt x="660" y="736"/>
                      <a:pt x="660" y="737"/>
                    </a:cubicBezTo>
                    <a:cubicBezTo>
                      <a:pt x="660" y="737"/>
                      <a:pt x="660" y="737"/>
                      <a:pt x="661" y="737"/>
                    </a:cubicBezTo>
                    <a:cubicBezTo>
                      <a:pt x="661" y="737"/>
                      <a:pt x="661" y="737"/>
                      <a:pt x="662" y="738"/>
                    </a:cubicBezTo>
                    <a:cubicBezTo>
                      <a:pt x="662" y="738"/>
                      <a:pt x="662" y="738"/>
                      <a:pt x="663" y="738"/>
                    </a:cubicBezTo>
                    <a:cubicBezTo>
                      <a:pt x="663" y="738"/>
                      <a:pt x="663" y="738"/>
                      <a:pt x="663" y="739"/>
                    </a:cubicBezTo>
                    <a:cubicBezTo>
                      <a:pt x="663" y="739"/>
                      <a:pt x="663" y="739"/>
                      <a:pt x="664" y="740"/>
                    </a:cubicBezTo>
                    <a:cubicBezTo>
                      <a:pt x="664" y="740"/>
                      <a:pt x="664" y="740"/>
                      <a:pt x="665" y="740"/>
                    </a:cubicBezTo>
                    <a:cubicBezTo>
                      <a:pt x="665" y="740"/>
                      <a:pt x="665" y="740"/>
                      <a:pt x="665" y="741"/>
                    </a:cubicBezTo>
                    <a:cubicBezTo>
                      <a:pt x="665" y="741"/>
                      <a:pt x="665" y="741"/>
                      <a:pt x="665" y="742"/>
                    </a:cubicBezTo>
                    <a:cubicBezTo>
                      <a:pt x="665" y="742"/>
                      <a:pt x="665" y="742"/>
                      <a:pt x="666" y="742"/>
                    </a:cubicBezTo>
                    <a:cubicBezTo>
                      <a:pt x="666" y="742"/>
                      <a:pt x="666" y="742"/>
                      <a:pt x="667" y="742"/>
                    </a:cubicBezTo>
                    <a:cubicBezTo>
                      <a:pt x="667" y="742"/>
                      <a:pt x="667" y="742"/>
                      <a:pt x="667" y="741"/>
                    </a:cubicBezTo>
                    <a:cubicBezTo>
                      <a:pt x="667" y="741"/>
                      <a:pt x="667" y="741"/>
                      <a:pt x="668" y="741"/>
                    </a:cubicBezTo>
                    <a:cubicBezTo>
                      <a:pt x="668" y="741"/>
                      <a:pt x="668" y="741"/>
                      <a:pt x="670" y="743"/>
                    </a:cubicBezTo>
                    <a:cubicBezTo>
                      <a:pt x="670" y="743"/>
                      <a:pt x="670" y="743"/>
                      <a:pt x="672" y="743"/>
                    </a:cubicBezTo>
                    <a:cubicBezTo>
                      <a:pt x="672" y="743"/>
                      <a:pt x="672" y="743"/>
                      <a:pt x="674" y="743"/>
                    </a:cubicBezTo>
                    <a:cubicBezTo>
                      <a:pt x="674" y="743"/>
                      <a:pt x="674" y="743"/>
                      <a:pt x="675" y="742"/>
                    </a:cubicBezTo>
                    <a:cubicBezTo>
                      <a:pt x="675" y="742"/>
                      <a:pt x="675" y="742"/>
                      <a:pt x="678" y="740"/>
                    </a:cubicBezTo>
                    <a:cubicBezTo>
                      <a:pt x="678" y="740"/>
                      <a:pt x="678" y="740"/>
                      <a:pt x="680" y="739"/>
                    </a:cubicBezTo>
                    <a:cubicBezTo>
                      <a:pt x="680" y="739"/>
                      <a:pt x="680" y="739"/>
                      <a:pt x="682" y="738"/>
                    </a:cubicBezTo>
                    <a:cubicBezTo>
                      <a:pt x="682" y="738"/>
                      <a:pt x="682" y="738"/>
                      <a:pt x="683" y="738"/>
                    </a:cubicBezTo>
                    <a:cubicBezTo>
                      <a:pt x="683" y="738"/>
                      <a:pt x="683" y="738"/>
                      <a:pt x="684" y="738"/>
                    </a:cubicBezTo>
                    <a:cubicBezTo>
                      <a:pt x="684" y="738"/>
                      <a:pt x="684" y="738"/>
                      <a:pt x="684" y="739"/>
                    </a:cubicBezTo>
                    <a:cubicBezTo>
                      <a:pt x="684" y="739"/>
                      <a:pt x="684" y="739"/>
                      <a:pt x="685" y="739"/>
                    </a:cubicBezTo>
                    <a:cubicBezTo>
                      <a:pt x="685" y="739"/>
                      <a:pt x="685" y="739"/>
                      <a:pt x="688" y="739"/>
                    </a:cubicBezTo>
                    <a:cubicBezTo>
                      <a:pt x="688" y="739"/>
                      <a:pt x="688" y="739"/>
                      <a:pt x="689" y="739"/>
                    </a:cubicBezTo>
                    <a:cubicBezTo>
                      <a:pt x="689" y="739"/>
                      <a:pt x="689" y="739"/>
                      <a:pt x="692" y="741"/>
                    </a:cubicBezTo>
                    <a:cubicBezTo>
                      <a:pt x="692" y="741"/>
                      <a:pt x="692" y="741"/>
                      <a:pt x="693" y="742"/>
                    </a:cubicBezTo>
                    <a:cubicBezTo>
                      <a:pt x="693" y="742"/>
                      <a:pt x="693" y="742"/>
                      <a:pt x="693" y="743"/>
                    </a:cubicBezTo>
                    <a:cubicBezTo>
                      <a:pt x="693" y="743"/>
                      <a:pt x="693" y="743"/>
                      <a:pt x="694" y="743"/>
                    </a:cubicBezTo>
                    <a:cubicBezTo>
                      <a:pt x="694" y="743"/>
                      <a:pt x="694" y="743"/>
                      <a:pt x="695" y="744"/>
                    </a:cubicBezTo>
                    <a:cubicBezTo>
                      <a:pt x="695" y="744"/>
                      <a:pt x="695" y="744"/>
                      <a:pt x="696" y="745"/>
                    </a:cubicBezTo>
                    <a:cubicBezTo>
                      <a:pt x="696" y="745"/>
                      <a:pt x="696" y="745"/>
                      <a:pt x="696" y="746"/>
                    </a:cubicBezTo>
                    <a:cubicBezTo>
                      <a:pt x="696" y="746"/>
                      <a:pt x="696" y="746"/>
                      <a:pt x="697" y="747"/>
                    </a:cubicBezTo>
                    <a:cubicBezTo>
                      <a:pt x="697" y="747"/>
                      <a:pt x="697" y="747"/>
                      <a:pt x="697" y="748"/>
                    </a:cubicBezTo>
                    <a:cubicBezTo>
                      <a:pt x="697" y="748"/>
                      <a:pt x="697" y="748"/>
                      <a:pt x="698" y="749"/>
                    </a:cubicBezTo>
                    <a:cubicBezTo>
                      <a:pt x="698" y="749"/>
                      <a:pt x="698" y="749"/>
                      <a:pt x="699" y="749"/>
                    </a:cubicBezTo>
                    <a:cubicBezTo>
                      <a:pt x="699" y="749"/>
                      <a:pt x="699" y="749"/>
                      <a:pt x="699" y="747"/>
                    </a:cubicBezTo>
                    <a:cubicBezTo>
                      <a:pt x="699" y="747"/>
                      <a:pt x="699" y="747"/>
                      <a:pt x="699" y="746"/>
                    </a:cubicBezTo>
                    <a:cubicBezTo>
                      <a:pt x="699" y="746"/>
                      <a:pt x="699" y="746"/>
                      <a:pt x="698" y="745"/>
                    </a:cubicBezTo>
                    <a:cubicBezTo>
                      <a:pt x="698" y="745"/>
                      <a:pt x="698" y="745"/>
                      <a:pt x="698" y="744"/>
                    </a:cubicBezTo>
                    <a:cubicBezTo>
                      <a:pt x="698" y="744"/>
                      <a:pt x="698" y="744"/>
                      <a:pt x="699" y="744"/>
                    </a:cubicBezTo>
                    <a:cubicBezTo>
                      <a:pt x="699" y="744"/>
                      <a:pt x="699" y="744"/>
                      <a:pt x="700" y="743"/>
                    </a:cubicBezTo>
                    <a:cubicBezTo>
                      <a:pt x="700" y="743"/>
                      <a:pt x="700" y="743"/>
                      <a:pt x="701" y="742"/>
                    </a:cubicBezTo>
                    <a:cubicBezTo>
                      <a:pt x="701" y="742"/>
                      <a:pt x="701" y="742"/>
                      <a:pt x="702" y="741"/>
                    </a:cubicBezTo>
                    <a:cubicBezTo>
                      <a:pt x="702" y="741"/>
                      <a:pt x="702" y="741"/>
                      <a:pt x="703" y="740"/>
                    </a:cubicBezTo>
                    <a:cubicBezTo>
                      <a:pt x="703" y="740"/>
                      <a:pt x="703" y="740"/>
                      <a:pt x="704" y="739"/>
                    </a:cubicBezTo>
                    <a:cubicBezTo>
                      <a:pt x="704" y="739"/>
                      <a:pt x="704" y="739"/>
                      <a:pt x="705" y="739"/>
                    </a:cubicBezTo>
                    <a:cubicBezTo>
                      <a:pt x="705" y="739"/>
                      <a:pt x="705" y="739"/>
                      <a:pt x="706" y="739"/>
                    </a:cubicBezTo>
                    <a:cubicBezTo>
                      <a:pt x="706" y="739"/>
                      <a:pt x="706" y="739"/>
                      <a:pt x="706" y="737"/>
                    </a:cubicBezTo>
                    <a:cubicBezTo>
                      <a:pt x="706" y="737"/>
                      <a:pt x="706" y="737"/>
                      <a:pt x="706" y="736"/>
                    </a:cubicBezTo>
                    <a:cubicBezTo>
                      <a:pt x="706" y="736"/>
                      <a:pt x="706" y="736"/>
                      <a:pt x="705" y="736"/>
                    </a:cubicBezTo>
                    <a:cubicBezTo>
                      <a:pt x="705" y="736"/>
                      <a:pt x="705" y="736"/>
                      <a:pt x="706" y="735"/>
                    </a:cubicBezTo>
                    <a:cubicBezTo>
                      <a:pt x="706" y="735"/>
                      <a:pt x="706" y="735"/>
                      <a:pt x="707" y="732"/>
                    </a:cubicBezTo>
                    <a:cubicBezTo>
                      <a:pt x="707" y="732"/>
                      <a:pt x="707" y="732"/>
                      <a:pt x="709" y="730"/>
                    </a:cubicBezTo>
                    <a:cubicBezTo>
                      <a:pt x="709" y="730"/>
                      <a:pt x="709" y="730"/>
                      <a:pt x="711" y="728"/>
                    </a:cubicBezTo>
                    <a:cubicBezTo>
                      <a:pt x="711" y="728"/>
                      <a:pt x="711" y="728"/>
                      <a:pt x="712" y="728"/>
                    </a:cubicBezTo>
                    <a:cubicBezTo>
                      <a:pt x="712" y="728"/>
                      <a:pt x="712" y="728"/>
                      <a:pt x="714" y="729"/>
                    </a:cubicBezTo>
                    <a:cubicBezTo>
                      <a:pt x="714" y="729"/>
                      <a:pt x="714" y="729"/>
                      <a:pt x="714" y="730"/>
                    </a:cubicBezTo>
                    <a:cubicBezTo>
                      <a:pt x="714" y="730"/>
                      <a:pt x="714" y="730"/>
                      <a:pt x="714" y="731"/>
                    </a:cubicBezTo>
                    <a:cubicBezTo>
                      <a:pt x="714" y="731"/>
                      <a:pt x="714" y="731"/>
                      <a:pt x="715" y="731"/>
                    </a:cubicBezTo>
                    <a:cubicBezTo>
                      <a:pt x="715" y="731"/>
                      <a:pt x="715" y="731"/>
                      <a:pt x="716" y="730"/>
                    </a:cubicBezTo>
                    <a:cubicBezTo>
                      <a:pt x="716" y="730"/>
                      <a:pt x="716" y="730"/>
                      <a:pt x="716" y="729"/>
                    </a:cubicBezTo>
                    <a:cubicBezTo>
                      <a:pt x="716" y="729"/>
                      <a:pt x="716" y="729"/>
                      <a:pt x="715" y="728"/>
                    </a:cubicBezTo>
                    <a:cubicBezTo>
                      <a:pt x="715" y="728"/>
                      <a:pt x="715" y="728"/>
                      <a:pt x="715" y="727"/>
                    </a:cubicBezTo>
                    <a:cubicBezTo>
                      <a:pt x="715" y="727"/>
                      <a:pt x="715" y="727"/>
                      <a:pt x="716" y="727"/>
                    </a:cubicBezTo>
                    <a:cubicBezTo>
                      <a:pt x="716" y="727"/>
                      <a:pt x="716" y="727"/>
                      <a:pt x="718" y="727"/>
                    </a:cubicBezTo>
                    <a:cubicBezTo>
                      <a:pt x="718" y="727"/>
                      <a:pt x="718" y="727"/>
                      <a:pt x="720" y="727"/>
                    </a:cubicBezTo>
                    <a:cubicBezTo>
                      <a:pt x="720" y="727"/>
                      <a:pt x="720" y="727"/>
                      <a:pt x="722" y="726"/>
                    </a:cubicBezTo>
                    <a:cubicBezTo>
                      <a:pt x="722" y="726"/>
                      <a:pt x="722" y="726"/>
                      <a:pt x="723" y="725"/>
                    </a:cubicBezTo>
                    <a:cubicBezTo>
                      <a:pt x="723" y="725"/>
                      <a:pt x="723" y="725"/>
                      <a:pt x="726" y="724"/>
                    </a:cubicBezTo>
                    <a:cubicBezTo>
                      <a:pt x="726" y="724"/>
                      <a:pt x="726" y="724"/>
                      <a:pt x="727" y="723"/>
                    </a:cubicBezTo>
                    <a:cubicBezTo>
                      <a:pt x="727" y="723"/>
                      <a:pt x="727" y="723"/>
                      <a:pt x="728" y="723"/>
                    </a:cubicBezTo>
                    <a:cubicBezTo>
                      <a:pt x="728" y="723"/>
                      <a:pt x="728" y="723"/>
                      <a:pt x="727" y="722"/>
                    </a:cubicBezTo>
                    <a:cubicBezTo>
                      <a:pt x="727" y="722"/>
                      <a:pt x="727" y="722"/>
                      <a:pt x="728" y="721"/>
                    </a:cubicBezTo>
                    <a:cubicBezTo>
                      <a:pt x="728" y="721"/>
                      <a:pt x="728" y="721"/>
                      <a:pt x="729" y="721"/>
                    </a:cubicBezTo>
                    <a:cubicBezTo>
                      <a:pt x="729" y="721"/>
                      <a:pt x="729" y="721"/>
                      <a:pt x="730" y="721"/>
                    </a:cubicBezTo>
                    <a:cubicBezTo>
                      <a:pt x="730" y="721"/>
                      <a:pt x="730" y="721"/>
                      <a:pt x="731" y="721"/>
                    </a:cubicBezTo>
                    <a:cubicBezTo>
                      <a:pt x="731" y="721"/>
                      <a:pt x="731" y="721"/>
                      <a:pt x="731" y="720"/>
                    </a:cubicBezTo>
                    <a:cubicBezTo>
                      <a:pt x="731" y="720"/>
                      <a:pt x="731" y="720"/>
                      <a:pt x="732" y="720"/>
                    </a:cubicBezTo>
                    <a:cubicBezTo>
                      <a:pt x="732" y="720"/>
                      <a:pt x="732" y="720"/>
                      <a:pt x="735" y="721"/>
                    </a:cubicBezTo>
                    <a:cubicBezTo>
                      <a:pt x="735" y="721"/>
                      <a:pt x="735" y="721"/>
                      <a:pt x="735" y="722"/>
                    </a:cubicBezTo>
                    <a:cubicBezTo>
                      <a:pt x="735" y="722"/>
                      <a:pt x="735" y="722"/>
                      <a:pt x="735" y="723"/>
                    </a:cubicBezTo>
                    <a:cubicBezTo>
                      <a:pt x="735" y="723"/>
                      <a:pt x="735" y="723"/>
                      <a:pt x="734" y="723"/>
                    </a:cubicBezTo>
                    <a:cubicBezTo>
                      <a:pt x="734" y="723"/>
                      <a:pt x="734" y="723"/>
                      <a:pt x="733" y="725"/>
                    </a:cubicBezTo>
                    <a:cubicBezTo>
                      <a:pt x="733" y="725"/>
                      <a:pt x="733" y="725"/>
                      <a:pt x="731" y="725"/>
                    </a:cubicBezTo>
                    <a:cubicBezTo>
                      <a:pt x="731" y="725"/>
                      <a:pt x="731" y="725"/>
                      <a:pt x="730" y="726"/>
                    </a:cubicBezTo>
                    <a:cubicBezTo>
                      <a:pt x="730" y="726"/>
                      <a:pt x="730" y="726"/>
                      <a:pt x="730" y="727"/>
                    </a:cubicBezTo>
                    <a:cubicBezTo>
                      <a:pt x="730" y="727"/>
                      <a:pt x="730" y="727"/>
                      <a:pt x="730" y="728"/>
                    </a:cubicBezTo>
                    <a:cubicBezTo>
                      <a:pt x="730" y="728"/>
                      <a:pt x="730" y="728"/>
                      <a:pt x="731" y="728"/>
                    </a:cubicBezTo>
                    <a:cubicBezTo>
                      <a:pt x="731" y="728"/>
                      <a:pt x="731" y="728"/>
                      <a:pt x="731" y="729"/>
                    </a:cubicBezTo>
                    <a:cubicBezTo>
                      <a:pt x="731" y="729"/>
                      <a:pt x="731" y="729"/>
                      <a:pt x="731" y="730"/>
                    </a:cubicBezTo>
                    <a:cubicBezTo>
                      <a:pt x="731" y="730"/>
                      <a:pt x="731" y="730"/>
                      <a:pt x="732" y="731"/>
                    </a:cubicBezTo>
                    <a:cubicBezTo>
                      <a:pt x="732" y="731"/>
                      <a:pt x="732" y="731"/>
                      <a:pt x="733" y="730"/>
                    </a:cubicBezTo>
                    <a:cubicBezTo>
                      <a:pt x="733" y="730"/>
                      <a:pt x="733" y="730"/>
                      <a:pt x="736" y="728"/>
                    </a:cubicBezTo>
                    <a:cubicBezTo>
                      <a:pt x="736" y="728"/>
                      <a:pt x="736" y="728"/>
                      <a:pt x="739" y="728"/>
                    </a:cubicBezTo>
                    <a:cubicBezTo>
                      <a:pt x="739" y="728"/>
                      <a:pt x="739" y="728"/>
                      <a:pt x="740" y="727"/>
                    </a:cubicBezTo>
                    <a:cubicBezTo>
                      <a:pt x="740" y="727"/>
                      <a:pt x="740" y="727"/>
                      <a:pt x="741" y="726"/>
                    </a:cubicBezTo>
                    <a:cubicBezTo>
                      <a:pt x="741" y="726"/>
                      <a:pt x="741" y="726"/>
                      <a:pt x="741" y="727"/>
                    </a:cubicBezTo>
                    <a:cubicBezTo>
                      <a:pt x="741" y="727"/>
                      <a:pt x="741" y="727"/>
                      <a:pt x="742" y="727"/>
                    </a:cubicBezTo>
                    <a:cubicBezTo>
                      <a:pt x="742" y="727"/>
                      <a:pt x="742" y="727"/>
                      <a:pt x="743" y="727"/>
                    </a:cubicBezTo>
                    <a:cubicBezTo>
                      <a:pt x="743" y="727"/>
                      <a:pt x="743" y="727"/>
                      <a:pt x="744" y="726"/>
                    </a:cubicBezTo>
                    <a:cubicBezTo>
                      <a:pt x="744" y="726"/>
                      <a:pt x="744" y="726"/>
                      <a:pt x="743" y="725"/>
                    </a:cubicBezTo>
                    <a:cubicBezTo>
                      <a:pt x="743" y="725"/>
                      <a:pt x="743" y="725"/>
                      <a:pt x="742" y="725"/>
                    </a:cubicBezTo>
                    <a:cubicBezTo>
                      <a:pt x="742" y="725"/>
                      <a:pt x="742" y="725"/>
                      <a:pt x="740" y="726"/>
                    </a:cubicBezTo>
                    <a:cubicBezTo>
                      <a:pt x="740" y="726"/>
                      <a:pt x="740" y="726"/>
                      <a:pt x="740" y="725"/>
                    </a:cubicBezTo>
                    <a:cubicBezTo>
                      <a:pt x="740" y="725"/>
                      <a:pt x="740" y="725"/>
                      <a:pt x="739" y="724"/>
                    </a:cubicBezTo>
                    <a:cubicBezTo>
                      <a:pt x="739" y="724"/>
                      <a:pt x="739" y="724"/>
                      <a:pt x="741" y="722"/>
                    </a:cubicBezTo>
                    <a:cubicBezTo>
                      <a:pt x="741" y="722"/>
                      <a:pt x="741" y="722"/>
                      <a:pt x="743" y="721"/>
                    </a:cubicBezTo>
                    <a:cubicBezTo>
                      <a:pt x="743" y="721"/>
                      <a:pt x="743" y="721"/>
                      <a:pt x="744" y="723"/>
                    </a:cubicBezTo>
                    <a:cubicBezTo>
                      <a:pt x="744" y="723"/>
                      <a:pt x="744" y="723"/>
                      <a:pt x="744" y="725"/>
                    </a:cubicBezTo>
                    <a:cubicBezTo>
                      <a:pt x="744" y="725"/>
                      <a:pt x="744" y="725"/>
                      <a:pt x="745" y="727"/>
                    </a:cubicBezTo>
                    <a:cubicBezTo>
                      <a:pt x="745" y="727"/>
                      <a:pt x="745" y="727"/>
                      <a:pt x="746" y="726"/>
                    </a:cubicBezTo>
                    <a:cubicBezTo>
                      <a:pt x="746" y="726"/>
                      <a:pt x="746" y="726"/>
                      <a:pt x="747" y="726"/>
                    </a:cubicBezTo>
                    <a:cubicBezTo>
                      <a:pt x="747" y="726"/>
                      <a:pt x="747" y="726"/>
                      <a:pt x="748" y="727"/>
                    </a:cubicBezTo>
                    <a:cubicBezTo>
                      <a:pt x="748" y="727"/>
                      <a:pt x="748" y="727"/>
                      <a:pt x="751" y="727"/>
                    </a:cubicBezTo>
                    <a:cubicBezTo>
                      <a:pt x="751" y="727"/>
                      <a:pt x="751" y="727"/>
                      <a:pt x="752" y="727"/>
                    </a:cubicBezTo>
                    <a:cubicBezTo>
                      <a:pt x="752" y="727"/>
                      <a:pt x="752" y="727"/>
                      <a:pt x="754" y="729"/>
                    </a:cubicBezTo>
                    <a:cubicBezTo>
                      <a:pt x="754" y="729"/>
                      <a:pt x="754" y="729"/>
                      <a:pt x="754" y="730"/>
                    </a:cubicBezTo>
                    <a:cubicBezTo>
                      <a:pt x="754" y="730"/>
                      <a:pt x="754" y="730"/>
                      <a:pt x="753" y="730"/>
                    </a:cubicBezTo>
                    <a:cubicBezTo>
                      <a:pt x="753" y="730"/>
                      <a:pt x="753" y="730"/>
                      <a:pt x="753" y="731"/>
                    </a:cubicBezTo>
                    <a:cubicBezTo>
                      <a:pt x="753" y="731"/>
                      <a:pt x="753" y="731"/>
                      <a:pt x="753" y="732"/>
                    </a:cubicBezTo>
                    <a:cubicBezTo>
                      <a:pt x="753" y="732"/>
                      <a:pt x="753" y="732"/>
                      <a:pt x="755" y="733"/>
                    </a:cubicBezTo>
                    <a:cubicBezTo>
                      <a:pt x="755" y="733"/>
                      <a:pt x="755" y="733"/>
                      <a:pt x="757" y="733"/>
                    </a:cubicBezTo>
                    <a:cubicBezTo>
                      <a:pt x="757" y="733"/>
                      <a:pt x="757" y="733"/>
                      <a:pt x="763" y="732"/>
                    </a:cubicBezTo>
                    <a:cubicBezTo>
                      <a:pt x="763" y="732"/>
                      <a:pt x="763" y="732"/>
                      <a:pt x="766" y="732"/>
                    </a:cubicBezTo>
                    <a:cubicBezTo>
                      <a:pt x="766" y="732"/>
                      <a:pt x="766" y="732"/>
                      <a:pt x="767" y="732"/>
                    </a:cubicBezTo>
                    <a:cubicBezTo>
                      <a:pt x="767" y="732"/>
                      <a:pt x="767" y="732"/>
                      <a:pt x="768" y="733"/>
                    </a:cubicBezTo>
                    <a:cubicBezTo>
                      <a:pt x="768" y="733"/>
                      <a:pt x="768" y="733"/>
                      <a:pt x="771" y="735"/>
                    </a:cubicBezTo>
                    <a:cubicBezTo>
                      <a:pt x="771" y="735"/>
                      <a:pt x="771" y="735"/>
                      <a:pt x="772" y="735"/>
                    </a:cubicBezTo>
                    <a:cubicBezTo>
                      <a:pt x="772" y="735"/>
                      <a:pt x="772" y="735"/>
                      <a:pt x="774" y="734"/>
                    </a:cubicBezTo>
                    <a:cubicBezTo>
                      <a:pt x="774" y="734"/>
                      <a:pt x="774" y="734"/>
                      <a:pt x="776" y="733"/>
                    </a:cubicBezTo>
                    <a:cubicBezTo>
                      <a:pt x="776" y="733"/>
                      <a:pt x="776" y="733"/>
                      <a:pt x="777" y="733"/>
                    </a:cubicBezTo>
                    <a:cubicBezTo>
                      <a:pt x="777" y="733"/>
                      <a:pt x="777" y="733"/>
                      <a:pt x="779" y="731"/>
                    </a:cubicBezTo>
                    <a:cubicBezTo>
                      <a:pt x="779" y="731"/>
                      <a:pt x="779" y="731"/>
                      <a:pt x="781" y="731"/>
                    </a:cubicBezTo>
                    <a:cubicBezTo>
                      <a:pt x="781" y="731"/>
                      <a:pt x="781" y="731"/>
                      <a:pt x="784" y="730"/>
                    </a:cubicBezTo>
                    <a:cubicBezTo>
                      <a:pt x="784" y="730"/>
                      <a:pt x="784" y="730"/>
                      <a:pt x="786" y="731"/>
                    </a:cubicBezTo>
                    <a:cubicBezTo>
                      <a:pt x="786" y="731"/>
                      <a:pt x="786" y="731"/>
                      <a:pt x="788" y="730"/>
                    </a:cubicBezTo>
                    <a:cubicBezTo>
                      <a:pt x="788" y="730"/>
                      <a:pt x="788" y="730"/>
                      <a:pt x="790" y="731"/>
                    </a:cubicBezTo>
                    <a:cubicBezTo>
                      <a:pt x="790" y="731"/>
                      <a:pt x="790" y="731"/>
                      <a:pt x="792" y="731"/>
                    </a:cubicBezTo>
                    <a:cubicBezTo>
                      <a:pt x="792" y="731"/>
                      <a:pt x="792" y="731"/>
                      <a:pt x="792" y="732"/>
                    </a:cubicBezTo>
                    <a:cubicBezTo>
                      <a:pt x="792" y="732"/>
                      <a:pt x="792" y="732"/>
                      <a:pt x="790" y="732"/>
                    </a:cubicBezTo>
                    <a:cubicBezTo>
                      <a:pt x="790" y="732"/>
                      <a:pt x="790" y="732"/>
                      <a:pt x="789" y="732"/>
                    </a:cubicBezTo>
                    <a:cubicBezTo>
                      <a:pt x="789" y="732"/>
                      <a:pt x="789" y="732"/>
                      <a:pt x="786" y="732"/>
                    </a:cubicBezTo>
                    <a:cubicBezTo>
                      <a:pt x="786" y="732"/>
                      <a:pt x="786" y="732"/>
                      <a:pt x="786" y="733"/>
                    </a:cubicBezTo>
                    <a:cubicBezTo>
                      <a:pt x="786" y="733"/>
                      <a:pt x="786" y="733"/>
                      <a:pt x="786" y="734"/>
                    </a:cubicBezTo>
                    <a:cubicBezTo>
                      <a:pt x="786" y="734"/>
                      <a:pt x="786" y="734"/>
                      <a:pt x="787" y="734"/>
                    </a:cubicBezTo>
                    <a:cubicBezTo>
                      <a:pt x="787" y="734"/>
                      <a:pt x="787" y="734"/>
                      <a:pt x="788" y="735"/>
                    </a:cubicBezTo>
                    <a:cubicBezTo>
                      <a:pt x="788" y="735"/>
                      <a:pt x="788" y="735"/>
                      <a:pt x="789" y="735"/>
                    </a:cubicBezTo>
                    <a:cubicBezTo>
                      <a:pt x="789" y="735"/>
                      <a:pt x="789" y="735"/>
                      <a:pt x="790" y="736"/>
                    </a:cubicBezTo>
                    <a:cubicBezTo>
                      <a:pt x="790" y="736"/>
                      <a:pt x="790" y="736"/>
                      <a:pt x="791" y="737"/>
                    </a:cubicBezTo>
                    <a:cubicBezTo>
                      <a:pt x="791" y="737"/>
                      <a:pt x="791" y="737"/>
                      <a:pt x="792" y="737"/>
                    </a:cubicBezTo>
                    <a:cubicBezTo>
                      <a:pt x="792" y="737"/>
                      <a:pt x="792" y="737"/>
                      <a:pt x="793" y="737"/>
                    </a:cubicBezTo>
                    <a:cubicBezTo>
                      <a:pt x="793" y="737"/>
                      <a:pt x="793" y="737"/>
                      <a:pt x="793" y="738"/>
                    </a:cubicBezTo>
                    <a:cubicBezTo>
                      <a:pt x="793" y="738"/>
                      <a:pt x="793" y="738"/>
                      <a:pt x="796" y="738"/>
                    </a:cubicBezTo>
                    <a:cubicBezTo>
                      <a:pt x="796" y="738"/>
                      <a:pt x="796" y="738"/>
                      <a:pt x="797" y="739"/>
                    </a:cubicBezTo>
                    <a:cubicBezTo>
                      <a:pt x="797" y="739"/>
                      <a:pt x="797" y="739"/>
                      <a:pt x="798" y="740"/>
                    </a:cubicBezTo>
                    <a:cubicBezTo>
                      <a:pt x="798" y="740"/>
                      <a:pt x="798" y="740"/>
                      <a:pt x="798" y="741"/>
                    </a:cubicBezTo>
                    <a:cubicBezTo>
                      <a:pt x="798" y="741"/>
                      <a:pt x="798" y="741"/>
                      <a:pt x="798" y="742"/>
                    </a:cubicBezTo>
                    <a:cubicBezTo>
                      <a:pt x="798" y="742"/>
                      <a:pt x="798" y="742"/>
                      <a:pt x="797" y="743"/>
                    </a:cubicBezTo>
                    <a:cubicBezTo>
                      <a:pt x="797" y="743"/>
                      <a:pt x="797" y="743"/>
                      <a:pt x="796" y="744"/>
                    </a:cubicBezTo>
                    <a:cubicBezTo>
                      <a:pt x="796" y="744"/>
                      <a:pt x="796" y="744"/>
                      <a:pt x="795" y="744"/>
                    </a:cubicBezTo>
                    <a:cubicBezTo>
                      <a:pt x="795" y="744"/>
                      <a:pt x="795" y="744"/>
                      <a:pt x="793" y="745"/>
                    </a:cubicBezTo>
                    <a:cubicBezTo>
                      <a:pt x="793" y="745"/>
                      <a:pt x="793" y="745"/>
                      <a:pt x="794" y="745"/>
                    </a:cubicBezTo>
                    <a:cubicBezTo>
                      <a:pt x="794" y="745"/>
                      <a:pt x="794" y="745"/>
                      <a:pt x="796" y="745"/>
                    </a:cubicBezTo>
                    <a:cubicBezTo>
                      <a:pt x="796" y="745"/>
                      <a:pt x="796" y="745"/>
                      <a:pt x="798" y="744"/>
                    </a:cubicBezTo>
                    <a:cubicBezTo>
                      <a:pt x="798" y="744"/>
                      <a:pt x="798" y="744"/>
                      <a:pt x="799" y="744"/>
                    </a:cubicBezTo>
                    <a:cubicBezTo>
                      <a:pt x="799" y="744"/>
                      <a:pt x="799" y="744"/>
                      <a:pt x="801" y="744"/>
                    </a:cubicBezTo>
                    <a:cubicBezTo>
                      <a:pt x="801" y="744"/>
                      <a:pt x="801" y="744"/>
                      <a:pt x="802" y="744"/>
                    </a:cubicBezTo>
                    <a:cubicBezTo>
                      <a:pt x="802" y="744"/>
                      <a:pt x="802" y="744"/>
                      <a:pt x="805" y="745"/>
                    </a:cubicBezTo>
                    <a:cubicBezTo>
                      <a:pt x="805" y="745"/>
                      <a:pt x="805" y="745"/>
                      <a:pt x="806" y="746"/>
                    </a:cubicBezTo>
                    <a:cubicBezTo>
                      <a:pt x="806" y="746"/>
                      <a:pt x="806" y="746"/>
                      <a:pt x="808" y="747"/>
                    </a:cubicBezTo>
                    <a:cubicBezTo>
                      <a:pt x="808" y="747"/>
                      <a:pt x="808" y="747"/>
                      <a:pt x="808" y="748"/>
                    </a:cubicBezTo>
                    <a:cubicBezTo>
                      <a:pt x="808" y="748"/>
                      <a:pt x="808" y="748"/>
                      <a:pt x="809" y="750"/>
                    </a:cubicBezTo>
                    <a:cubicBezTo>
                      <a:pt x="809" y="750"/>
                      <a:pt x="809" y="750"/>
                      <a:pt x="812" y="751"/>
                    </a:cubicBezTo>
                    <a:cubicBezTo>
                      <a:pt x="812" y="751"/>
                      <a:pt x="812" y="751"/>
                      <a:pt x="813" y="752"/>
                    </a:cubicBezTo>
                    <a:cubicBezTo>
                      <a:pt x="813" y="752"/>
                      <a:pt x="813" y="752"/>
                      <a:pt x="814" y="754"/>
                    </a:cubicBezTo>
                    <a:cubicBezTo>
                      <a:pt x="814" y="754"/>
                      <a:pt x="814" y="754"/>
                      <a:pt x="813" y="755"/>
                    </a:cubicBezTo>
                    <a:cubicBezTo>
                      <a:pt x="813" y="755"/>
                      <a:pt x="813" y="755"/>
                      <a:pt x="813" y="757"/>
                    </a:cubicBezTo>
                    <a:cubicBezTo>
                      <a:pt x="813" y="757"/>
                      <a:pt x="813" y="757"/>
                      <a:pt x="814" y="756"/>
                    </a:cubicBezTo>
                    <a:cubicBezTo>
                      <a:pt x="814" y="756"/>
                      <a:pt x="814" y="756"/>
                      <a:pt x="815" y="756"/>
                    </a:cubicBezTo>
                    <a:cubicBezTo>
                      <a:pt x="815" y="756"/>
                      <a:pt x="815" y="756"/>
                      <a:pt x="816" y="756"/>
                    </a:cubicBezTo>
                    <a:cubicBezTo>
                      <a:pt x="816" y="756"/>
                      <a:pt x="816" y="756"/>
                      <a:pt x="817" y="757"/>
                    </a:cubicBezTo>
                    <a:cubicBezTo>
                      <a:pt x="817" y="757"/>
                      <a:pt x="817" y="757"/>
                      <a:pt x="819" y="759"/>
                    </a:cubicBezTo>
                    <a:cubicBezTo>
                      <a:pt x="819" y="759"/>
                      <a:pt x="819" y="759"/>
                      <a:pt x="822" y="759"/>
                    </a:cubicBezTo>
                    <a:cubicBezTo>
                      <a:pt x="822" y="759"/>
                      <a:pt x="822" y="759"/>
                      <a:pt x="822" y="760"/>
                    </a:cubicBezTo>
                    <a:cubicBezTo>
                      <a:pt x="822" y="760"/>
                      <a:pt x="822" y="760"/>
                      <a:pt x="822" y="762"/>
                    </a:cubicBezTo>
                    <a:cubicBezTo>
                      <a:pt x="822" y="762"/>
                      <a:pt x="822" y="762"/>
                      <a:pt x="823" y="763"/>
                    </a:cubicBezTo>
                    <a:cubicBezTo>
                      <a:pt x="823" y="763"/>
                      <a:pt x="823" y="763"/>
                      <a:pt x="823" y="762"/>
                    </a:cubicBezTo>
                    <a:cubicBezTo>
                      <a:pt x="823" y="762"/>
                      <a:pt x="823" y="762"/>
                      <a:pt x="824" y="761"/>
                    </a:cubicBezTo>
                    <a:cubicBezTo>
                      <a:pt x="824" y="761"/>
                      <a:pt x="824" y="761"/>
                      <a:pt x="827" y="761"/>
                    </a:cubicBezTo>
                    <a:cubicBezTo>
                      <a:pt x="827" y="761"/>
                      <a:pt x="827" y="761"/>
                      <a:pt x="829" y="762"/>
                    </a:cubicBezTo>
                    <a:cubicBezTo>
                      <a:pt x="829" y="762"/>
                      <a:pt x="829" y="762"/>
                      <a:pt x="832" y="761"/>
                    </a:cubicBezTo>
                    <a:cubicBezTo>
                      <a:pt x="832" y="761"/>
                      <a:pt x="832" y="761"/>
                      <a:pt x="834" y="761"/>
                    </a:cubicBezTo>
                    <a:cubicBezTo>
                      <a:pt x="834" y="761"/>
                      <a:pt x="834" y="761"/>
                      <a:pt x="835" y="761"/>
                    </a:cubicBezTo>
                    <a:cubicBezTo>
                      <a:pt x="835" y="761"/>
                      <a:pt x="835" y="761"/>
                      <a:pt x="836" y="761"/>
                    </a:cubicBezTo>
                    <a:cubicBezTo>
                      <a:pt x="836" y="761"/>
                      <a:pt x="836" y="761"/>
                      <a:pt x="838" y="762"/>
                    </a:cubicBezTo>
                    <a:cubicBezTo>
                      <a:pt x="838" y="762"/>
                      <a:pt x="838" y="762"/>
                      <a:pt x="840" y="762"/>
                    </a:cubicBezTo>
                    <a:cubicBezTo>
                      <a:pt x="840" y="762"/>
                      <a:pt x="840" y="762"/>
                      <a:pt x="842" y="763"/>
                    </a:cubicBezTo>
                    <a:cubicBezTo>
                      <a:pt x="842" y="763"/>
                      <a:pt x="842" y="763"/>
                      <a:pt x="840" y="765"/>
                    </a:cubicBezTo>
                    <a:cubicBezTo>
                      <a:pt x="840" y="765"/>
                      <a:pt x="840" y="765"/>
                      <a:pt x="842" y="764"/>
                    </a:cubicBezTo>
                    <a:cubicBezTo>
                      <a:pt x="842" y="764"/>
                      <a:pt x="842" y="764"/>
                      <a:pt x="843" y="763"/>
                    </a:cubicBezTo>
                    <a:cubicBezTo>
                      <a:pt x="843" y="763"/>
                      <a:pt x="843" y="763"/>
                      <a:pt x="845" y="764"/>
                    </a:cubicBezTo>
                    <a:cubicBezTo>
                      <a:pt x="845" y="764"/>
                      <a:pt x="845" y="764"/>
                      <a:pt x="846" y="765"/>
                    </a:cubicBezTo>
                    <a:cubicBezTo>
                      <a:pt x="846" y="765"/>
                      <a:pt x="846" y="765"/>
                      <a:pt x="850" y="766"/>
                    </a:cubicBezTo>
                    <a:cubicBezTo>
                      <a:pt x="850" y="766"/>
                      <a:pt x="850" y="766"/>
                      <a:pt x="851" y="767"/>
                    </a:cubicBezTo>
                    <a:cubicBezTo>
                      <a:pt x="851" y="767"/>
                      <a:pt x="851" y="767"/>
                      <a:pt x="852" y="767"/>
                    </a:cubicBezTo>
                    <a:cubicBezTo>
                      <a:pt x="852" y="767"/>
                      <a:pt x="852" y="767"/>
                      <a:pt x="854" y="769"/>
                    </a:cubicBezTo>
                    <a:cubicBezTo>
                      <a:pt x="854" y="769"/>
                      <a:pt x="854" y="769"/>
                      <a:pt x="854" y="770"/>
                    </a:cubicBezTo>
                    <a:cubicBezTo>
                      <a:pt x="854" y="770"/>
                      <a:pt x="854" y="770"/>
                      <a:pt x="855" y="771"/>
                    </a:cubicBezTo>
                    <a:cubicBezTo>
                      <a:pt x="855" y="771"/>
                      <a:pt x="855" y="771"/>
                      <a:pt x="856" y="772"/>
                    </a:cubicBezTo>
                    <a:cubicBezTo>
                      <a:pt x="856" y="772"/>
                      <a:pt x="856" y="772"/>
                      <a:pt x="857" y="773"/>
                    </a:cubicBezTo>
                    <a:cubicBezTo>
                      <a:pt x="857" y="773"/>
                      <a:pt x="857" y="773"/>
                      <a:pt x="855" y="775"/>
                    </a:cubicBezTo>
                    <a:cubicBezTo>
                      <a:pt x="855" y="775"/>
                      <a:pt x="855" y="775"/>
                      <a:pt x="857" y="774"/>
                    </a:cubicBezTo>
                    <a:cubicBezTo>
                      <a:pt x="857" y="774"/>
                      <a:pt x="857" y="774"/>
                      <a:pt x="857" y="773"/>
                    </a:cubicBezTo>
                    <a:cubicBezTo>
                      <a:pt x="857" y="773"/>
                      <a:pt x="857" y="773"/>
                      <a:pt x="857" y="772"/>
                    </a:cubicBezTo>
                    <a:cubicBezTo>
                      <a:pt x="857" y="772"/>
                      <a:pt x="857" y="772"/>
                      <a:pt x="858" y="772"/>
                    </a:cubicBezTo>
                    <a:cubicBezTo>
                      <a:pt x="858" y="772"/>
                      <a:pt x="858" y="772"/>
                      <a:pt x="858" y="773"/>
                    </a:cubicBezTo>
                    <a:cubicBezTo>
                      <a:pt x="858" y="773"/>
                      <a:pt x="858" y="773"/>
                      <a:pt x="859" y="775"/>
                    </a:cubicBezTo>
                    <a:cubicBezTo>
                      <a:pt x="859" y="775"/>
                      <a:pt x="859" y="775"/>
                      <a:pt x="859" y="776"/>
                    </a:cubicBezTo>
                    <a:cubicBezTo>
                      <a:pt x="859" y="776"/>
                      <a:pt x="859" y="776"/>
                      <a:pt x="859" y="778"/>
                    </a:cubicBezTo>
                    <a:cubicBezTo>
                      <a:pt x="859" y="778"/>
                      <a:pt x="859" y="778"/>
                      <a:pt x="860" y="780"/>
                    </a:cubicBezTo>
                    <a:cubicBezTo>
                      <a:pt x="860" y="780"/>
                      <a:pt x="860" y="780"/>
                      <a:pt x="862" y="782"/>
                    </a:cubicBezTo>
                    <a:cubicBezTo>
                      <a:pt x="862" y="782"/>
                      <a:pt x="862" y="782"/>
                      <a:pt x="863" y="785"/>
                    </a:cubicBezTo>
                    <a:cubicBezTo>
                      <a:pt x="863" y="785"/>
                      <a:pt x="863" y="785"/>
                      <a:pt x="864" y="788"/>
                    </a:cubicBezTo>
                    <a:cubicBezTo>
                      <a:pt x="864" y="788"/>
                      <a:pt x="864" y="788"/>
                      <a:pt x="864" y="789"/>
                    </a:cubicBezTo>
                    <a:cubicBezTo>
                      <a:pt x="864" y="789"/>
                      <a:pt x="864" y="789"/>
                      <a:pt x="865" y="788"/>
                    </a:cubicBezTo>
                    <a:cubicBezTo>
                      <a:pt x="865" y="788"/>
                      <a:pt x="865" y="788"/>
                      <a:pt x="866" y="788"/>
                    </a:cubicBezTo>
                    <a:cubicBezTo>
                      <a:pt x="866" y="788"/>
                      <a:pt x="866" y="788"/>
                      <a:pt x="867" y="789"/>
                    </a:cubicBezTo>
                    <a:cubicBezTo>
                      <a:pt x="867" y="789"/>
                      <a:pt x="867" y="789"/>
                      <a:pt x="867" y="790"/>
                    </a:cubicBezTo>
                    <a:cubicBezTo>
                      <a:pt x="867" y="790"/>
                      <a:pt x="867" y="790"/>
                      <a:pt x="867" y="791"/>
                    </a:cubicBezTo>
                    <a:cubicBezTo>
                      <a:pt x="867" y="791"/>
                      <a:pt x="867" y="791"/>
                      <a:pt x="867" y="792"/>
                    </a:cubicBezTo>
                    <a:cubicBezTo>
                      <a:pt x="867" y="792"/>
                      <a:pt x="867" y="792"/>
                      <a:pt x="867" y="793"/>
                    </a:cubicBezTo>
                    <a:cubicBezTo>
                      <a:pt x="867" y="793"/>
                      <a:pt x="867" y="793"/>
                      <a:pt x="866" y="794"/>
                    </a:cubicBezTo>
                    <a:cubicBezTo>
                      <a:pt x="866" y="794"/>
                      <a:pt x="866" y="794"/>
                      <a:pt x="864" y="797"/>
                    </a:cubicBezTo>
                    <a:cubicBezTo>
                      <a:pt x="864" y="797"/>
                      <a:pt x="864" y="797"/>
                      <a:pt x="862" y="798"/>
                    </a:cubicBezTo>
                    <a:cubicBezTo>
                      <a:pt x="862" y="798"/>
                      <a:pt x="862" y="798"/>
                      <a:pt x="861" y="799"/>
                    </a:cubicBezTo>
                    <a:cubicBezTo>
                      <a:pt x="861" y="799"/>
                      <a:pt x="861" y="799"/>
                      <a:pt x="860" y="800"/>
                    </a:cubicBezTo>
                    <a:cubicBezTo>
                      <a:pt x="860" y="800"/>
                      <a:pt x="860" y="800"/>
                      <a:pt x="859" y="800"/>
                    </a:cubicBezTo>
                    <a:cubicBezTo>
                      <a:pt x="859" y="800"/>
                      <a:pt x="859" y="800"/>
                      <a:pt x="858" y="801"/>
                    </a:cubicBezTo>
                    <a:cubicBezTo>
                      <a:pt x="858" y="801"/>
                      <a:pt x="858" y="801"/>
                      <a:pt x="858" y="803"/>
                    </a:cubicBezTo>
                    <a:cubicBezTo>
                      <a:pt x="858" y="803"/>
                      <a:pt x="858" y="803"/>
                      <a:pt x="855" y="806"/>
                    </a:cubicBezTo>
                    <a:cubicBezTo>
                      <a:pt x="855" y="806"/>
                      <a:pt x="855" y="806"/>
                      <a:pt x="855" y="808"/>
                    </a:cubicBezTo>
                    <a:cubicBezTo>
                      <a:pt x="855" y="808"/>
                      <a:pt x="855" y="808"/>
                      <a:pt x="854" y="809"/>
                    </a:cubicBezTo>
                    <a:cubicBezTo>
                      <a:pt x="854" y="809"/>
                      <a:pt x="854" y="809"/>
                      <a:pt x="855" y="809"/>
                    </a:cubicBezTo>
                    <a:cubicBezTo>
                      <a:pt x="855" y="809"/>
                      <a:pt x="855" y="809"/>
                      <a:pt x="856" y="807"/>
                    </a:cubicBezTo>
                    <a:cubicBezTo>
                      <a:pt x="856" y="807"/>
                      <a:pt x="856" y="807"/>
                      <a:pt x="856" y="806"/>
                    </a:cubicBezTo>
                    <a:cubicBezTo>
                      <a:pt x="856" y="806"/>
                      <a:pt x="856" y="806"/>
                      <a:pt x="858" y="805"/>
                    </a:cubicBezTo>
                    <a:cubicBezTo>
                      <a:pt x="858" y="805"/>
                      <a:pt x="858" y="805"/>
                      <a:pt x="858" y="806"/>
                    </a:cubicBezTo>
                    <a:cubicBezTo>
                      <a:pt x="858" y="806"/>
                      <a:pt x="858" y="806"/>
                      <a:pt x="858" y="807"/>
                    </a:cubicBezTo>
                    <a:cubicBezTo>
                      <a:pt x="856" y="810"/>
                      <a:pt x="856" y="810"/>
                      <a:pt x="856" y="810"/>
                    </a:cubicBezTo>
                    <a:cubicBezTo>
                      <a:pt x="858" y="808"/>
                      <a:pt x="858" y="808"/>
                      <a:pt x="858" y="808"/>
                    </a:cubicBezTo>
                    <a:cubicBezTo>
                      <a:pt x="858" y="807"/>
                      <a:pt x="858" y="807"/>
                      <a:pt x="858" y="807"/>
                    </a:cubicBezTo>
                    <a:cubicBezTo>
                      <a:pt x="858" y="807"/>
                      <a:pt x="858" y="807"/>
                      <a:pt x="860" y="805"/>
                    </a:cubicBezTo>
                    <a:cubicBezTo>
                      <a:pt x="860" y="805"/>
                      <a:pt x="860" y="805"/>
                      <a:pt x="861" y="805"/>
                    </a:cubicBezTo>
                    <a:cubicBezTo>
                      <a:pt x="861" y="805"/>
                      <a:pt x="861" y="805"/>
                      <a:pt x="862" y="805"/>
                    </a:cubicBezTo>
                    <a:cubicBezTo>
                      <a:pt x="862" y="805"/>
                      <a:pt x="862" y="805"/>
                      <a:pt x="862" y="806"/>
                    </a:cubicBezTo>
                    <a:cubicBezTo>
                      <a:pt x="862" y="806"/>
                      <a:pt x="862" y="806"/>
                      <a:pt x="863" y="805"/>
                    </a:cubicBezTo>
                    <a:cubicBezTo>
                      <a:pt x="863" y="805"/>
                      <a:pt x="863" y="805"/>
                      <a:pt x="864" y="805"/>
                    </a:cubicBezTo>
                    <a:cubicBezTo>
                      <a:pt x="864" y="805"/>
                      <a:pt x="864" y="805"/>
                      <a:pt x="864" y="804"/>
                    </a:cubicBezTo>
                    <a:cubicBezTo>
                      <a:pt x="864" y="804"/>
                      <a:pt x="864" y="804"/>
                      <a:pt x="863" y="804"/>
                    </a:cubicBezTo>
                    <a:cubicBezTo>
                      <a:pt x="863" y="804"/>
                      <a:pt x="863" y="804"/>
                      <a:pt x="863" y="803"/>
                    </a:cubicBezTo>
                    <a:cubicBezTo>
                      <a:pt x="863" y="803"/>
                      <a:pt x="863" y="803"/>
                      <a:pt x="865" y="801"/>
                    </a:cubicBezTo>
                    <a:cubicBezTo>
                      <a:pt x="865" y="801"/>
                      <a:pt x="865" y="801"/>
                      <a:pt x="867" y="801"/>
                    </a:cubicBezTo>
                    <a:cubicBezTo>
                      <a:pt x="867" y="801"/>
                      <a:pt x="867" y="801"/>
                      <a:pt x="869" y="802"/>
                    </a:cubicBezTo>
                    <a:cubicBezTo>
                      <a:pt x="869" y="802"/>
                      <a:pt x="869" y="802"/>
                      <a:pt x="871" y="802"/>
                    </a:cubicBezTo>
                    <a:cubicBezTo>
                      <a:pt x="871" y="802"/>
                      <a:pt x="871" y="802"/>
                      <a:pt x="872" y="801"/>
                    </a:cubicBezTo>
                    <a:cubicBezTo>
                      <a:pt x="872" y="801"/>
                      <a:pt x="872" y="801"/>
                      <a:pt x="874" y="801"/>
                    </a:cubicBezTo>
                    <a:cubicBezTo>
                      <a:pt x="874" y="801"/>
                      <a:pt x="874" y="801"/>
                      <a:pt x="875" y="802"/>
                    </a:cubicBezTo>
                    <a:cubicBezTo>
                      <a:pt x="875" y="802"/>
                      <a:pt x="875" y="802"/>
                      <a:pt x="877" y="802"/>
                    </a:cubicBezTo>
                    <a:cubicBezTo>
                      <a:pt x="877" y="802"/>
                      <a:pt x="877" y="802"/>
                      <a:pt x="877" y="803"/>
                    </a:cubicBezTo>
                    <a:cubicBezTo>
                      <a:pt x="877" y="803"/>
                      <a:pt x="877" y="803"/>
                      <a:pt x="876" y="804"/>
                    </a:cubicBezTo>
                    <a:cubicBezTo>
                      <a:pt x="876" y="804"/>
                      <a:pt x="876" y="804"/>
                      <a:pt x="876" y="806"/>
                    </a:cubicBezTo>
                    <a:cubicBezTo>
                      <a:pt x="876" y="806"/>
                      <a:pt x="876" y="806"/>
                      <a:pt x="874" y="808"/>
                    </a:cubicBezTo>
                    <a:cubicBezTo>
                      <a:pt x="874" y="808"/>
                      <a:pt x="874" y="808"/>
                      <a:pt x="874" y="809"/>
                    </a:cubicBezTo>
                    <a:cubicBezTo>
                      <a:pt x="874" y="809"/>
                      <a:pt x="874" y="809"/>
                      <a:pt x="873" y="810"/>
                    </a:cubicBezTo>
                    <a:cubicBezTo>
                      <a:pt x="873" y="810"/>
                      <a:pt x="873" y="810"/>
                      <a:pt x="872" y="810"/>
                    </a:cubicBezTo>
                    <a:cubicBezTo>
                      <a:pt x="872" y="810"/>
                      <a:pt x="872" y="810"/>
                      <a:pt x="871" y="811"/>
                    </a:cubicBezTo>
                    <a:cubicBezTo>
                      <a:pt x="871" y="811"/>
                      <a:pt x="871" y="811"/>
                      <a:pt x="870" y="810"/>
                    </a:cubicBezTo>
                    <a:cubicBezTo>
                      <a:pt x="870" y="810"/>
                      <a:pt x="870" y="810"/>
                      <a:pt x="869" y="811"/>
                    </a:cubicBezTo>
                    <a:cubicBezTo>
                      <a:pt x="869" y="811"/>
                      <a:pt x="869" y="811"/>
                      <a:pt x="868" y="812"/>
                    </a:cubicBezTo>
                    <a:cubicBezTo>
                      <a:pt x="868" y="812"/>
                      <a:pt x="868" y="812"/>
                      <a:pt x="866" y="811"/>
                    </a:cubicBezTo>
                    <a:cubicBezTo>
                      <a:pt x="866" y="811"/>
                      <a:pt x="866" y="811"/>
                      <a:pt x="865" y="812"/>
                    </a:cubicBezTo>
                    <a:cubicBezTo>
                      <a:pt x="865" y="812"/>
                      <a:pt x="865" y="812"/>
                      <a:pt x="864" y="812"/>
                    </a:cubicBezTo>
                    <a:cubicBezTo>
                      <a:pt x="864" y="812"/>
                      <a:pt x="864" y="812"/>
                      <a:pt x="863" y="812"/>
                    </a:cubicBezTo>
                    <a:cubicBezTo>
                      <a:pt x="863" y="812"/>
                      <a:pt x="863" y="812"/>
                      <a:pt x="864" y="813"/>
                    </a:cubicBezTo>
                    <a:cubicBezTo>
                      <a:pt x="864" y="813"/>
                      <a:pt x="864" y="813"/>
                      <a:pt x="865" y="813"/>
                    </a:cubicBezTo>
                    <a:cubicBezTo>
                      <a:pt x="865" y="813"/>
                      <a:pt x="865" y="813"/>
                      <a:pt x="866" y="813"/>
                    </a:cubicBezTo>
                    <a:cubicBezTo>
                      <a:pt x="866" y="813"/>
                      <a:pt x="866" y="813"/>
                      <a:pt x="868" y="813"/>
                    </a:cubicBezTo>
                    <a:cubicBezTo>
                      <a:pt x="868" y="813"/>
                      <a:pt x="868" y="813"/>
                      <a:pt x="869" y="812"/>
                    </a:cubicBezTo>
                    <a:cubicBezTo>
                      <a:pt x="869" y="812"/>
                      <a:pt x="869" y="812"/>
                      <a:pt x="870" y="812"/>
                    </a:cubicBezTo>
                    <a:cubicBezTo>
                      <a:pt x="870" y="812"/>
                      <a:pt x="870" y="812"/>
                      <a:pt x="870" y="813"/>
                    </a:cubicBezTo>
                    <a:cubicBezTo>
                      <a:pt x="870" y="813"/>
                      <a:pt x="870" y="813"/>
                      <a:pt x="870" y="815"/>
                    </a:cubicBezTo>
                    <a:cubicBezTo>
                      <a:pt x="870" y="815"/>
                      <a:pt x="870" y="815"/>
                      <a:pt x="870" y="816"/>
                    </a:cubicBezTo>
                    <a:cubicBezTo>
                      <a:pt x="870" y="816"/>
                      <a:pt x="870" y="816"/>
                      <a:pt x="869" y="817"/>
                    </a:cubicBezTo>
                    <a:cubicBezTo>
                      <a:pt x="869" y="817"/>
                      <a:pt x="869" y="817"/>
                      <a:pt x="868" y="818"/>
                    </a:cubicBezTo>
                    <a:cubicBezTo>
                      <a:pt x="868" y="818"/>
                      <a:pt x="868" y="818"/>
                      <a:pt x="868" y="819"/>
                    </a:cubicBezTo>
                    <a:cubicBezTo>
                      <a:pt x="868" y="819"/>
                      <a:pt x="868" y="819"/>
                      <a:pt x="869" y="821"/>
                    </a:cubicBezTo>
                    <a:cubicBezTo>
                      <a:pt x="869" y="820"/>
                      <a:pt x="869" y="820"/>
                      <a:pt x="869" y="820"/>
                    </a:cubicBezTo>
                    <a:cubicBezTo>
                      <a:pt x="869" y="820"/>
                      <a:pt x="869" y="820"/>
                      <a:pt x="869" y="819"/>
                    </a:cubicBezTo>
                    <a:cubicBezTo>
                      <a:pt x="869" y="819"/>
                      <a:pt x="869" y="819"/>
                      <a:pt x="869" y="818"/>
                    </a:cubicBezTo>
                    <a:cubicBezTo>
                      <a:pt x="869" y="818"/>
                      <a:pt x="869" y="818"/>
                      <a:pt x="870" y="817"/>
                    </a:cubicBezTo>
                    <a:cubicBezTo>
                      <a:pt x="870" y="817"/>
                      <a:pt x="870" y="817"/>
                      <a:pt x="871" y="816"/>
                    </a:cubicBezTo>
                    <a:cubicBezTo>
                      <a:pt x="871" y="816"/>
                      <a:pt x="871" y="816"/>
                      <a:pt x="871" y="814"/>
                    </a:cubicBezTo>
                    <a:cubicBezTo>
                      <a:pt x="871" y="814"/>
                      <a:pt x="871" y="814"/>
                      <a:pt x="872" y="812"/>
                    </a:cubicBezTo>
                    <a:cubicBezTo>
                      <a:pt x="872" y="812"/>
                      <a:pt x="872" y="812"/>
                      <a:pt x="873" y="811"/>
                    </a:cubicBezTo>
                    <a:cubicBezTo>
                      <a:pt x="873" y="811"/>
                      <a:pt x="873" y="811"/>
                      <a:pt x="875" y="810"/>
                    </a:cubicBezTo>
                    <a:cubicBezTo>
                      <a:pt x="875" y="810"/>
                      <a:pt x="875" y="810"/>
                      <a:pt x="877" y="809"/>
                    </a:cubicBezTo>
                    <a:cubicBezTo>
                      <a:pt x="877" y="809"/>
                      <a:pt x="877" y="809"/>
                      <a:pt x="878" y="807"/>
                    </a:cubicBezTo>
                    <a:cubicBezTo>
                      <a:pt x="878" y="807"/>
                      <a:pt x="878" y="807"/>
                      <a:pt x="879" y="805"/>
                    </a:cubicBezTo>
                    <a:cubicBezTo>
                      <a:pt x="879" y="805"/>
                      <a:pt x="879" y="805"/>
                      <a:pt x="880" y="805"/>
                    </a:cubicBezTo>
                    <a:cubicBezTo>
                      <a:pt x="880" y="805"/>
                      <a:pt x="880" y="805"/>
                      <a:pt x="881" y="805"/>
                    </a:cubicBezTo>
                    <a:cubicBezTo>
                      <a:pt x="881" y="805"/>
                      <a:pt x="881" y="805"/>
                      <a:pt x="882" y="806"/>
                    </a:cubicBezTo>
                    <a:cubicBezTo>
                      <a:pt x="882" y="806"/>
                      <a:pt x="882" y="806"/>
                      <a:pt x="882" y="805"/>
                    </a:cubicBezTo>
                    <a:cubicBezTo>
                      <a:pt x="882" y="805"/>
                      <a:pt x="882" y="805"/>
                      <a:pt x="883" y="805"/>
                    </a:cubicBezTo>
                    <a:cubicBezTo>
                      <a:pt x="883" y="805"/>
                      <a:pt x="883" y="805"/>
                      <a:pt x="884" y="805"/>
                    </a:cubicBezTo>
                    <a:cubicBezTo>
                      <a:pt x="884" y="805"/>
                      <a:pt x="884" y="805"/>
                      <a:pt x="885" y="805"/>
                    </a:cubicBezTo>
                    <a:cubicBezTo>
                      <a:pt x="885" y="805"/>
                      <a:pt x="885" y="805"/>
                      <a:pt x="887" y="806"/>
                    </a:cubicBezTo>
                    <a:cubicBezTo>
                      <a:pt x="887" y="806"/>
                      <a:pt x="887" y="806"/>
                      <a:pt x="888" y="806"/>
                    </a:cubicBezTo>
                    <a:cubicBezTo>
                      <a:pt x="888" y="806"/>
                      <a:pt x="888" y="806"/>
                      <a:pt x="889" y="806"/>
                    </a:cubicBezTo>
                    <a:cubicBezTo>
                      <a:pt x="889" y="806"/>
                      <a:pt x="889" y="806"/>
                      <a:pt x="890" y="807"/>
                    </a:cubicBezTo>
                    <a:cubicBezTo>
                      <a:pt x="890" y="807"/>
                      <a:pt x="890" y="807"/>
                      <a:pt x="890" y="808"/>
                    </a:cubicBezTo>
                    <a:cubicBezTo>
                      <a:pt x="890" y="808"/>
                      <a:pt x="890" y="808"/>
                      <a:pt x="891" y="807"/>
                    </a:cubicBezTo>
                    <a:cubicBezTo>
                      <a:pt x="891" y="807"/>
                      <a:pt x="891" y="807"/>
                      <a:pt x="892" y="808"/>
                    </a:cubicBezTo>
                    <a:cubicBezTo>
                      <a:pt x="892" y="808"/>
                      <a:pt x="892" y="808"/>
                      <a:pt x="893" y="808"/>
                    </a:cubicBezTo>
                    <a:cubicBezTo>
                      <a:pt x="893" y="808"/>
                      <a:pt x="893" y="808"/>
                      <a:pt x="894" y="809"/>
                    </a:cubicBezTo>
                    <a:cubicBezTo>
                      <a:pt x="894" y="809"/>
                      <a:pt x="894" y="809"/>
                      <a:pt x="894" y="810"/>
                    </a:cubicBezTo>
                    <a:cubicBezTo>
                      <a:pt x="894" y="810"/>
                      <a:pt x="894" y="810"/>
                      <a:pt x="895" y="810"/>
                    </a:cubicBezTo>
                    <a:cubicBezTo>
                      <a:pt x="895" y="810"/>
                      <a:pt x="895" y="810"/>
                      <a:pt x="895" y="811"/>
                    </a:cubicBezTo>
                    <a:cubicBezTo>
                      <a:pt x="895" y="811"/>
                      <a:pt x="895" y="811"/>
                      <a:pt x="896" y="811"/>
                    </a:cubicBezTo>
                    <a:cubicBezTo>
                      <a:pt x="896" y="811"/>
                      <a:pt x="896" y="811"/>
                      <a:pt x="897" y="810"/>
                    </a:cubicBezTo>
                    <a:cubicBezTo>
                      <a:pt x="897" y="810"/>
                      <a:pt x="897" y="810"/>
                      <a:pt x="898" y="810"/>
                    </a:cubicBezTo>
                    <a:cubicBezTo>
                      <a:pt x="898" y="810"/>
                      <a:pt x="898" y="810"/>
                      <a:pt x="899" y="810"/>
                    </a:cubicBezTo>
                    <a:cubicBezTo>
                      <a:pt x="899" y="810"/>
                      <a:pt x="899" y="810"/>
                      <a:pt x="900" y="811"/>
                    </a:cubicBezTo>
                    <a:cubicBezTo>
                      <a:pt x="900" y="811"/>
                      <a:pt x="900" y="811"/>
                      <a:pt x="902" y="813"/>
                    </a:cubicBezTo>
                    <a:cubicBezTo>
                      <a:pt x="902" y="813"/>
                      <a:pt x="902" y="813"/>
                      <a:pt x="901" y="815"/>
                    </a:cubicBezTo>
                    <a:cubicBezTo>
                      <a:pt x="901" y="815"/>
                      <a:pt x="901" y="815"/>
                      <a:pt x="902" y="815"/>
                    </a:cubicBezTo>
                    <a:cubicBezTo>
                      <a:pt x="902" y="815"/>
                      <a:pt x="902" y="815"/>
                      <a:pt x="901" y="816"/>
                    </a:cubicBezTo>
                    <a:cubicBezTo>
                      <a:pt x="901" y="816"/>
                      <a:pt x="901" y="816"/>
                      <a:pt x="901" y="818"/>
                    </a:cubicBezTo>
                    <a:cubicBezTo>
                      <a:pt x="901" y="818"/>
                      <a:pt x="901" y="818"/>
                      <a:pt x="901" y="819"/>
                    </a:cubicBezTo>
                    <a:cubicBezTo>
                      <a:pt x="901" y="819"/>
                      <a:pt x="901" y="819"/>
                      <a:pt x="901" y="821"/>
                    </a:cubicBezTo>
                    <a:cubicBezTo>
                      <a:pt x="901" y="821"/>
                      <a:pt x="901" y="821"/>
                      <a:pt x="902" y="819"/>
                    </a:cubicBezTo>
                    <a:cubicBezTo>
                      <a:pt x="902" y="819"/>
                      <a:pt x="902" y="819"/>
                      <a:pt x="902" y="817"/>
                    </a:cubicBezTo>
                    <a:cubicBezTo>
                      <a:pt x="902" y="817"/>
                      <a:pt x="902" y="817"/>
                      <a:pt x="903" y="817"/>
                    </a:cubicBezTo>
                    <a:cubicBezTo>
                      <a:pt x="903" y="817"/>
                      <a:pt x="903" y="817"/>
                      <a:pt x="903" y="818"/>
                    </a:cubicBezTo>
                    <a:cubicBezTo>
                      <a:pt x="903" y="818"/>
                      <a:pt x="903" y="818"/>
                      <a:pt x="904" y="819"/>
                    </a:cubicBezTo>
                    <a:cubicBezTo>
                      <a:pt x="904" y="819"/>
                      <a:pt x="904" y="819"/>
                      <a:pt x="904" y="818"/>
                    </a:cubicBezTo>
                    <a:cubicBezTo>
                      <a:pt x="904" y="818"/>
                      <a:pt x="904" y="818"/>
                      <a:pt x="904" y="817"/>
                    </a:cubicBezTo>
                    <a:cubicBezTo>
                      <a:pt x="904" y="817"/>
                      <a:pt x="904" y="817"/>
                      <a:pt x="905" y="816"/>
                    </a:cubicBezTo>
                    <a:cubicBezTo>
                      <a:pt x="905" y="816"/>
                      <a:pt x="905" y="816"/>
                      <a:pt x="906" y="816"/>
                    </a:cubicBezTo>
                    <a:cubicBezTo>
                      <a:pt x="906" y="816"/>
                      <a:pt x="906" y="816"/>
                      <a:pt x="907" y="816"/>
                    </a:cubicBezTo>
                    <a:cubicBezTo>
                      <a:pt x="907" y="816"/>
                      <a:pt x="907" y="816"/>
                      <a:pt x="907" y="815"/>
                    </a:cubicBezTo>
                    <a:cubicBezTo>
                      <a:pt x="907" y="815"/>
                      <a:pt x="907" y="815"/>
                      <a:pt x="908" y="815"/>
                    </a:cubicBezTo>
                    <a:cubicBezTo>
                      <a:pt x="908" y="815"/>
                      <a:pt x="908" y="815"/>
                      <a:pt x="912" y="816"/>
                    </a:cubicBezTo>
                    <a:cubicBezTo>
                      <a:pt x="912" y="816"/>
                      <a:pt x="912" y="816"/>
                      <a:pt x="913" y="817"/>
                    </a:cubicBezTo>
                    <a:cubicBezTo>
                      <a:pt x="913" y="817"/>
                      <a:pt x="913" y="817"/>
                      <a:pt x="914" y="816"/>
                    </a:cubicBezTo>
                    <a:cubicBezTo>
                      <a:pt x="914" y="816"/>
                      <a:pt x="914" y="816"/>
                      <a:pt x="916" y="817"/>
                    </a:cubicBezTo>
                    <a:cubicBezTo>
                      <a:pt x="916" y="817"/>
                      <a:pt x="916" y="817"/>
                      <a:pt x="917" y="817"/>
                    </a:cubicBezTo>
                    <a:cubicBezTo>
                      <a:pt x="917" y="817"/>
                      <a:pt x="917" y="817"/>
                      <a:pt x="918" y="818"/>
                    </a:cubicBezTo>
                    <a:cubicBezTo>
                      <a:pt x="918" y="818"/>
                      <a:pt x="918" y="818"/>
                      <a:pt x="918" y="817"/>
                    </a:cubicBezTo>
                    <a:cubicBezTo>
                      <a:pt x="918" y="817"/>
                      <a:pt x="918" y="817"/>
                      <a:pt x="919" y="817"/>
                    </a:cubicBezTo>
                    <a:cubicBezTo>
                      <a:pt x="919" y="817"/>
                      <a:pt x="919" y="817"/>
                      <a:pt x="921" y="818"/>
                    </a:cubicBezTo>
                    <a:cubicBezTo>
                      <a:pt x="921" y="818"/>
                      <a:pt x="921" y="818"/>
                      <a:pt x="921" y="819"/>
                    </a:cubicBezTo>
                    <a:cubicBezTo>
                      <a:pt x="921" y="819"/>
                      <a:pt x="921" y="819"/>
                      <a:pt x="922" y="818"/>
                    </a:cubicBezTo>
                    <a:cubicBezTo>
                      <a:pt x="922" y="818"/>
                      <a:pt x="922" y="818"/>
                      <a:pt x="923" y="817"/>
                    </a:cubicBezTo>
                    <a:cubicBezTo>
                      <a:pt x="923" y="817"/>
                      <a:pt x="923" y="817"/>
                      <a:pt x="924" y="818"/>
                    </a:cubicBezTo>
                    <a:cubicBezTo>
                      <a:pt x="924" y="818"/>
                      <a:pt x="924" y="818"/>
                      <a:pt x="926" y="818"/>
                    </a:cubicBezTo>
                    <a:cubicBezTo>
                      <a:pt x="926" y="818"/>
                      <a:pt x="926" y="818"/>
                      <a:pt x="927" y="817"/>
                    </a:cubicBezTo>
                    <a:cubicBezTo>
                      <a:pt x="927" y="817"/>
                      <a:pt x="927" y="817"/>
                      <a:pt x="929" y="818"/>
                    </a:cubicBezTo>
                    <a:cubicBezTo>
                      <a:pt x="929" y="818"/>
                      <a:pt x="929" y="818"/>
                      <a:pt x="931" y="818"/>
                    </a:cubicBezTo>
                    <a:cubicBezTo>
                      <a:pt x="931" y="818"/>
                      <a:pt x="931" y="818"/>
                      <a:pt x="935" y="821"/>
                    </a:cubicBezTo>
                    <a:cubicBezTo>
                      <a:pt x="935" y="821"/>
                      <a:pt x="935" y="821"/>
                      <a:pt x="936" y="821"/>
                    </a:cubicBezTo>
                    <a:cubicBezTo>
                      <a:pt x="936" y="821"/>
                      <a:pt x="936" y="821"/>
                      <a:pt x="937" y="822"/>
                    </a:cubicBezTo>
                    <a:cubicBezTo>
                      <a:pt x="937" y="822"/>
                      <a:pt x="937" y="822"/>
                      <a:pt x="939" y="822"/>
                    </a:cubicBezTo>
                    <a:cubicBezTo>
                      <a:pt x="939" y="822"/>
                      <a:pt x="939" y="822"/>
                      <a:pt x="941" y="825"/>
                    </a:cubicBezTo>
                    <a:cubicBezTo>
                      <a:pt x="941" y="825"/>
                      <a:pt x="941" y="825"/>
                      <a:pt x="944" y="828"/>
                    </a:cubicBezTo>
                    <a:cubicBezTo>
                      <a:pt x="944" y="828"/>
                      <a:pt x="944" y="828"/>
                      <a:pt x="945" y="829"/>
                    </a:cubicBezTo>
                    <a:cubicBezTo>
                      <a:pt x="945" y="829"/>
                      <a:pt x="945" y="829"/>
                      <a:pt x="947" y="830"/>
                    </a:cubicBezTo>
                    <a:cubicBezTo>
                      <a:pt x="947" y="830"/>
                      <a:pt x="947" y="830"/>
                      <a:pt x="948" y="831"/>
                    </a:cubicBezTo>
                    <a:cubicBezTo>
                      <a:pt x="948" y="831"/>
                      <a:pt x="948" y="831"/>
                      <a:pt x="949" y="831"/>
                    </a:cubicBezTo>
                    <a:cubicBezTo>
                      <a:pt x="949" y="831"/>
                      <a:pt x="949" y="831"/>
                      <a:pt x="951" y="833"/>
                    </a:cubicBezTo>
                    <a:cubicBezTo>
                      <a:pt x="951" y="833"/>
                      <a:pt x="951" y="833"/>
                      <a:pt x="952" y="832"/>
                    </a:cubicBezTo>
                    <a:cubicBezTo>
                      <a:pt x="952" y="832"/>
                      <a:pt x="952" y="832"/>
                      <a:pt x="955" y="832"/>
                    </a:cubicBezTo>
                    <a:cubicBezTo>
                      <a:pt x="955" y="832"/>
                      <a:pt x="955" y="832"/>
                      <a:pt x="959" y="834"/>
                    </a:cubicBezTo>
                    <a:cubicBezTo>
                      <a:pt x="959" y="834"/>
                      <a:pt x="959" y="834"/>
                      <a:pt x="959" y="836"/>
                    </a:cubicBezTo>
                    <a:cubicBezTo>
                      <a:pt x="959" y="836"/>
                      <a:pt x="959" y="836"/>
                      <a:pt x="959" y="838"/>
                    </a:cubicBezTo>
                    <a:close/>
                    <a:moveTo>
                      <a:pt x="841" y="409"/>
                    </a:moveTo>
                    <a:cubicBezTo>
                      <a:pt x="841" y="410"/>
                      <a:pt x="841" y="410"/>
                      <a:pt x="841" y="410"/>
                    </a:cubicBezTo>
                    <a:cubicBezTo>
                      <a:pt x="843" y="410"/>
                      <a:pt x="843" y="410"/>
                      <a:pt x="843" y="410"/>
                    </a:cubicBezTo>
                    <a:cubicBezTo>
                      <a:pt x="846" y="409"/>
                      <a:pt x="846" y="409"/>
                      <a:pt x="846" y="409"/>
                    </a:cubicBezTo>
                    <a:cubicBezTo>
                      <a:pt x="844" y="409"/>
                      <a:pt x="844" y="409"/>
                      <a:pt x="844" y="409"/>
                    </a:cubicBezTo>
                    <a:cubicBezTo>
                      <a:pt x="841" y="409"/>
                      <a:pt x="841" y="409"/>
                      <a:pt x="841" y="409"/>
                    </a:cubicBezTo>
                    <a:close/>
                    <a:moveTo>
                      <a:pt x="687" y="293"/>
                    </a:moveTo>
                    <a:cubicBezTo>
                      <a:pt x="687" y="294"/>
                      <a:pt x="687" y="294"/>
                      <a:pt x="687" y="294"/>
                    </a:cubicBezTo>
                    <a:cubicBezTo>
                      <a:pt x="688" y="293"/>
                      <a:pt x="688" y="293"/>
                      <a:pt x="688" y="293"/>
                    </a:cubicBezTo>
                    <a:cubicBezTo>
                      <a:pt x="687" y="293"/>
                      <a:pt x="687" y="293"/>
                      <a:pt x="687" y="293"/>
                    </a:cubicBezTo>
                    <a:close/>
                    <a:moveTo>
                      <a:pt x="652" y="352"/>
                    </a:moveTo>
                    <a:cubicBezTo>
                      <a:pt x="652" y="354"/>
                      <a:pt x="652" y="354"/>
                      <a:pt x="652" y="354"/>
                    </a:cubicBezTo>
                    <a:cubicBezTo>
                      <a:pt x="653" y="352"/>
                      <a:pt x="653" y="352"/>
                      <a:pt x="653" y="352"/>
                    </a:cubicBezTo>
                    <a:cubicBezTo>
                      <a:pt x="652" y="352"/>
                      <a:pt x="652" y="352"/>
                      <a:pt x="652" y="352"/>
                    </a:cubicBezTo>
                    <a:close/>
                    <a:moveTo>
                      <a:pt x="288" y="242"/>
                    </a:moveTo>
                    <a:cubicBezTo>
                      <a:pt x="288" y="242"/>
                      <a:pt x="288" y="242"/>
                      <a:pt x="290" y="240"/>
                    </a:cubicBezTo>
                    <a:cubicBezTo>
                      <a:pt x="289" y="240"/>
                      <a:pt x="289" y="240"/>
                      <a:pt x="289" y="240"/>
                    </a:cubicBezTo>
                    <a:cubicBezTo>
                      <a:pt x="289" y="240"/>
                      <a:pt x="289" y="240"/>
                      <a:pt x="288" y="241"/>
                    </a:cubicBezTo>
                    <a:cubicBezTo>
                      <a:pt x="288" y="241"/>
                      <a:pt x="288" y="241"/>
                      <a:pt x="288" y="242"/>
                    </a:cubicBezTo>
                    <a:close/>
                    <a:moveTo>
                      <a:pt x="383" y="270"/>
                    </a:moveTo>
                    <a:cubicBezTo>
                      <a:pt x="383" y="270"/>
                      <a:pt x="383" y="270"/>
                      <a:pt x="383" y="269"/>
                    </a:cubicBezTo>
                    <a:cubicBezTo>
                      <a:pt x="383" y="269"/>
                      <a:pt x="383" y="269"/>
                      <a:pt x="382" y="269"/>
                    </a:cubicBezTo>
                    <a:cubicBezTo>
                      <a:pt x="382" y="269"/>
                      <a:pt x="382" y="269"/>
                      <a:pt x="383" y="270"/>
                    </a:cubicBezTo>
                    <a:close/>
                    <a:moveTo>
                      <a:pt x="445" y="349"/>
                    </a:moveTo>
                    <a:cubicBezTo>
                      <a:pt x="446" y="347"/>
                      <a:pt x="446" y="347"/>
                      <a:pt x="446" y="347"/>
                    </a:cubicBezTo>
                    <a:cubicBezTo>
                      <a:pt x="445" y="347"/>
                      <a:pt x="445" y="347"/>
                      <a:pt x="445" y="347"/>
                    </a:cubicBezTo>
                    <a:cubicBezTo>
                      <a:pt x="445" y="347"/>
                      <a:pt x="445" y="347"/>
                      <a:pt x="445" y="348"/>
                    </a:cubicBezTo>
                    <a:cubicBezTo>
                      <a:pt x="445" y="348"/>
                      <a:pt x="445" y="348"/>
                      <a:pt x="443" y="351"/>
                    </a:cubicBezTo>
                    <a:cubicBezTo>
                      <a:pt x="443" y="351"/>
                      <a:pt x="443" y="351"/>
                      <a:pt x="443" y="352"/>
                    </a:cubicBezTo>
                    <a:cubicBezTo>
                      <a:pt x="445" y="349"/>
                      <a:pt x="445" y="349"/>
                      <a:pt x="445" y="349"/>
                    </a:cubicBezTo>
                    <a:close/>
                    <a:moveTo>
                      <a:pt x="732" y="733"/>
                    </a:moveTo>
                    <a:cubicBezTo>
                      <a:pt x="732" y="733"/>
                      <a:pt x="732" y="733"/>
                      <a:pt x="729" y="735"/>
                    </a:cubicBezTo>
                    <a:cubicBezTo>
                      <a:pt x="729" y="735"/>
                      <a:pt x="729" y="735"/>
                      <a:pt x="729" y="736"/>
                    </a:cubicBezTo>
                    <a:cubicBezTo>
                      <a:pt x="729" y="736"/>
                      <a:pt x="729" y="736"/>
                      <a:pt x="728" y="737"/>
                    </a:cubicBezTo>
                    <a:cubicBezTo>
                      <a:pt x="728" y="737"/>
                      <a:pt x="728" y="737"/>
                      <a:pt x="728" y="738"/>
                    </a:cubicBezTo>
                    <a:cubicBezTo>
                      <a:pt x="728" y="738"/>
                      <a:pt x="728" y="738"/>
                      <a:pt x="730" y="740"/>
                    </a:cubicBezTo>
                    <a:cubicBezTo>
                      <a:pt x="730" y="740"/>
                      <a:pt x="730" y="740"/>
                      <a:pt x="730" y="742"/>
                    </a:cubicBezTo>
                    <a:cubicBezTo>
                      <a:pt x="730" y="742"/>
                      <a:pt x="730" y="742"/>
                      <a:pt x="731" y="742"/>
                    </a:cubicBezTo>
                    <a:cubicBezTo>
                      <a:pt x="731" y="742"/>
                      <a:pt x="731" y="742"/>
                      <a:pt x="733" y="741"/>
                    </a:cubicBezTo>
                    <a:cubicBezTo>
                      <a:pt x="733" y="741"/>
                      <a:pt x="733" y="741"/>
                      <a:pt x="734" y="739"/>
                    </a:cubicBezTo>
                    <a:cubicBezTo>
                      <a:pt x="734" y="739"/>
                      <a:pt x="734" y="739"/>
                      <a:pt x="733" y="737"/>
                    </a:cubicBezTo>
                    <a:cubicBezTo>
                      <a:pt x="733" y="737"/>
                      <a:pt x="733" y="737"/>
                      <a:pt x="733" y="736"/>
                    </a:cubicBezTo>
                    <a:cubicBezTo>
                      <a:pt x="733" y="736"/>
                      <a:pt x="733" y="736"/>
                      <a:pt x="733" y="733"/>
                    </a:cubicBezTo>
                    <a:cubicBezTo>
                      <a:pt x="733" y="733"/>
                      <a:pt x="733" y="733"/>
                      <a:pt x="732" y="732"/>
                    </a:cubicBezTo>
                    <a:cubicBezTo>
                      <a:pt x="732" y="733"/>
                      <a:pt x="732" y="733"/>
                      <a:pt x="732" y="733"/>
                    </a:cubicBezTo>
                    <a:close/>
                    <a:moveTo>
                      <a:pt x="866" y="797"/>
                    </a:moveTo>
                    <a:cubicBezTo>
                      <a:pt x="866" y="797"/>
                      <a:pt x="866" y="797"/>
                      <a:pt x="867" y="796"/>
                    </a:cubicBezTo>
                    <a:cubicBezTo>
                      <a:pt x="867" y="796"/>
                      <a:pt x="867" y="796"/>
                      <a:pt x="867" y="795"/>
                    </a:cubicBezTo>
                    <a:cubicBezTo>
                      <a:pt x="867" y="795"/>
                      <a:pt x="867" y="795"/>
                      <a:pt x="866" y="796"/>
                    </a:cubicBezTo>
                    <a:cubicBezTo>
                      <a:pt x="866" y="796"/>
                      <a:pt x="866" y="796"/>
                      <a:pt x="865" y="796"/>
                    </a:cubicBezTo>
                    <a:cubicBezTo>
                      <a:pt x="865" y="796"/>
                      <a:pt x="865" y="796"/>
                      <a:pt x="864" y="797"/>
                    </a:cubicBezTo>
                    <a:cubicBezTo>
                      <a:pt x="864" y="797"/>
                      <a:pt x="864" y="797"/>
                      <a:pt x="865" y="798"/>
                    </a:cubicBezTo>
                    <a:cubicBezTo>
                      <a:pt x="865" y="798"/>
                      <a:pt x="865" y="798"/>
                      <a:pt x="866" y="797"/>
                    </a:cubicBezTo>
                    <a:close/>
                    <a:moveTo>
                      <a:pt x="871" y="801"/>
                    </a:moveTo>
                    <a:cubicBezTo>
                      <a:pt x="871" y="801"/>
                      <a:pt x="871" y="801"/>
                      <a:pt x="871" y="800"/>
                    </a:cubicBezTo>
                    <a:cubicBezTo>
                      <a:pt x="871" y="800"/>
                      <a:pt x="871" y="800"/>
                      <a:pt x="870" y="800"/>
                    </a:cubicBezTo>
                    <a:cubicBezTo>
                      <a:pt x="870" y="800"/>
                      <a:pt x="870" y="800"/>
                      <a:pt x="869" y="801"/>
                    </a:cubicBezTo>
                    <a:cubicBezTo>
                      <a:pt x="869" y="801"/>
                      <a:pt x="869" y="801"/>
                      <a:pt x="870" y="801"/>
                    </a:cubicBezTo>
                    <a:cubicBezTo>
                      <a:pt x="870" y="801"/>
                      <a:pt x="870" y="801"/>
                      <a:pt x="871" y="801"/>
                    </a:cubicBezTo>
                    <a:close/>
                    <a:moveTo>
                      <a:pt x="861" y="802"/>
                    </a:moveTo>
                    <a:cubicBezTo>
                      <a:pt x="862" y="802"/>
                      <a:pt x="862" y="802"/>
                      <a:pt x="862" y="802"/>
                    </a:cubicBezTo>
                    <a:cubicBezTo>
                      <a:pt x="863" y="801"/>
                      <a:pt x="863" y="801"/>
                      <a:pt x="863" y="801"/>
                    </a:cubicBezTo>
                    <a:cubicBezTo>
                      <a:pt x="862" y="801"/>
                      <a:pt x="862" y="801"/>
                      <a:pt x="862" y="801"/>
                    </a:cubicBezTo>
                    <a:cubicBezTo>
                      <a:pt x="861" y="801"/>
                      <a:pt x="861" y="801"/>
                      <a:pt x="861" y="801"/>
                    </a:cubicBezTo>
                    <a:cubicBezTo>
                      <a:pt x="860" y="802"/>
                      <a:pt x="860" y="802"/>
                      <a:pt x="860" y="802"/>
                    </a:cubicBezTo>
                    <a:cubicBezTo>
                      <a:pt x="859" y="804"/>
                      <a:pt x="859" y="804"/>
                      <a:pt x="859" y="804"/>
                    </a:cubicBezTo>
                    <a:cubicBezTo>
                      <a:pt x="860" y="804"/>
                      <a:pt x="860" y="804"/>
                      <a:pt x="860" y="804"/>
                    </a:cubicBezTo>
                    <a:cubicBezTo>
                      <a:pt x="860" y="803"/>
                      <a:pt x="860" y="803"/>
                      <a:pt x="860" y="803"/>
                    </a:cubicBezTo>
                    <a:cubicBezTo>
                      <a:pt x="861" y="802"/>
                      <a:pt x="861" y="802"/>
                      <a:pt x="861" y="802"/>
                    </a:cubicBezTo>
                    <a:close/>
                    <a:moveTo>
                      <a:pt x="866" y="799"/>
                    </a:moveTo>
                    <a:cubicBezTo>
                      <a:pt x="867" y="800"/>
                      <a:pt x="867" y="800"/>
                      <a:pt x="867" y="800"/>
                    </a:cubicBezTo>
                    <a:cubicBezTo>
                      <a:pt x="868" y="800"/>
                      <a:pt x="868" y="800"/>
                      <a:pt x="868" y="800"/>
                    </a:cubicBezTo>
                    <a:cubicBezTo>
                      <a:pt x="868" y="799"/>
                      <a:pt x="868" y="799"/>
                      <a:pt x="868" y="799"/>
                    </a:cubicBezTo>
                    <a:cubicBezTo>
                      <a:pt x="869" y="799"/>
                      <a:pt x="869" y="799"/>
                      <a:pt x="869" y="799"/>
                    </a:cubicBezTo>
                    <a:cubicBezTo>
                      <a:pt x="868" y="798"/>
                      <a:pt x="868" y="798"/>
                      <a:pt x="868" y="798"/>
                    </a:cubicBezTo>
                    <a:cubicBezTo>
                      <a:pt x="866" y="799"/>
                      <a:pt x="866" y="799"/>
                      <a:pt x="866" y="799"/>
                    </a:cubicBezTo>
                    <a:close/>
                    <a:moveTo>
                      <a:pt x="865" y="1008"/>
                    </a:moveTo>
                    <a:cubicBezTo>
                      <a:pt x="864" y="1009"/>
                      <a:pt x="864" y="1009"/>
                      <a:pt x="864" y="1009"/>
                    </a:cubicBezTo>
                    <a:cubicBezTo>
                      <a:pt x="864" y="1010"/>
                      <a:pt x="864" y="1010"/>
                      <a:pt x="864" y="1010"/>
                    </a:cubicBezTo>
                    <a:cubicBezTo>
                      <a:pt x="863" y="1010"/>
                      <a:pt x="863" y="1010"/>
                      <a:pt x="863" y="1010"/>
                    </a:cubicBezTo>
                    <a:cubicBezTo>
                      <a:pt x="862" y="1011"/>
                      <a:pt x="862" y="1011"/>
                      <a:pt x="862" y="1011"/>
                    </a:cubicBezTo>
                    <a:cubicBezTo>
                      <a:pt x="864" y="1012"/>
                      <a:pt x="864" y="1012"/>
                      <a:pt x="864" y="1012"/>
                    </a:cubicBezTo>
                    <a:cubicBezTo>
                      <a:pt x="867" y="1008"/>
                      <a:pt x="867" y="1008"/>
                      <a:pt x="867" y="1008"/>
                    </a:cubicBezTo>
                    <a:cubicBezTo>
                      <a:pt x="866" y="1008"/>
                      <a:pt x="866" y="1008"/>
                      <a:pt x="866" y="1008"/>
                    </a:cubicBezTo>
                    <a:cubicBezTo>
                      <a:pt x="865" y="1008"/>
                      <a:pt x="865" y="1008"/>
                      <a:pt x="865" y="1008"/>
                    </a:cubicBezTo>
                    <a:close/>
                    <a:moveTo>
                      <a:pt x="864" y="800"/>
                    </a:moveTo>
                    <a:cubicBezTo>
                      <a:pt x="865" y="800"/>
                      <a:pt x="865" y="800"/>
                      <a:pt x="865" y="800"/>
                    </a:cubicBezTo>
                    <a:cubicBezTo>
                      <a:pt x="864" y="799"/>
                      <a:pt x="864" y="799"/>
                      <a:pt x="864" y="799"/>
                    </a:cubicBezTo>
                    <a:cubicBezTo>
                      <a:pt x="864" y="800"/>
                      <a:pt x="864" y="800"/>
                      <a:pt x="864" y="800"/>
                    </a:cubicBezTo>
                    <a:close/>
                    <a:moveTo>
                      <a:pt x="862" y="804"/>
                    </a:moveTo>
                    <a:cubicBezTo>
                      <a:pt x="862" y="804"/>
                      <a:pt x="862" y="804"/>
                      <a:pt x="862" y="803"/>
                    </a:cubicBezTo>
                    <a:cubicBezTo>
                      <a:pt x="862" y="803"/>
                      <a:pt x="862" y="803"/>
                      <a:pt x="861" y="803"/>
                    </a:cubicBezTo>
                    <a:cubicBezTo>
                      <a:pt x="861" y="803"/>
                      <a:pt x="861" y="803"/>
                      <a:pt x="860" y="804"/>
                    </a:cubicBezTo>
                    <a:cubicBezTo>
                      <a:pt x="860" y="804"/>
                      <a:pt x="860" y="804"/>
                      <a:pt x="861" y="804"/>
                    </a:cubicBezTo>
                    <a:cubicBezTo>
                      <a:pt x="861" y="804"/>
                      <a:pt x="861" y="804"/>
                      <a:pt x="862" y="804"/>
                    </a:cubicBezTo>
                    <a:close/>
                    <a:moveTo>
                      <a:pt x="741" y="719"/>
                    </a:moveTo>
                    <a:cubicBezTo>
                      <a:pt x="742" y="720"/>
                      <a:pt x="742" y="720"/>
                      <a:pt x="742" y="720"/>
                    </a:cubicBezTo>
                    <a:cubicBezTo>
                      <a:pt x="743" y="720"/>
                      <a:pt x="743" y="720"/>
                      <a:pt x="743" y="720"/>
                    </a:cubicBezTo>
                    <a:cubicBezTo>
                      <a:pt x="742" y="719"/>
                      <a:pt x="742" y="719"/>
                      <a:pt x="742" y="719"/>
                    </a:cubicBezTo>
                    <a:cubicBezTo>
                      <a:pt x="741" y="719"/>
                      <a:pt x="741" y="719"/>
                      <a:pt x="741" y="719"/>
                    </a:cubicBezTo>
                    <a:close/>
                    <a:moveTo>
                      <a:pt x="754" y="722"/>
                    </a:moveTo>
                    <a:cubicBezTo>
                      <a:pt x="754" y="722"/>
                      <a:pt x="754" y="722"/>
                      <a:pt x="753" y="721"/>
                    </a:cubicBezTo>
                    <a:cubicBezTo>
                      <a:pt x="753" y="721"/>
                      <a:pt x="753" y="721"/>
                      <a:pt x="751" y="721"/>
                    </a:cubicBezTo>
                    <a:cubicBezTo>
                      <a:pt x="751" y="721"/>
                      <a:pt x="751" y="721"/>
                      <a:pt x="752" y="722"/>
                    </a:cubicBezTo>
                    <a:cubicBezTo>
                      <a:pt x="752" y="722"/>
                      <a:pt x="752" y="722"/>
                      <a:pt x="753" y="722"/>
                    </a:cubicBezTo>
                    <a:cubicBezTo>
                      <a:pt x="753" y="722"/>
                      <a:pt x="753" y="722"/>
                      <a:pt x="753" y="723"/>
                    </a:cubicBezTo>
                    <a:cubicBezTo>
                      <a:pt x="753" y="723"/>
                      <a:pt x="753" y="723"/>
                      <a:pt x="754" y="722"/>
                    </a:cubicBezTo>
                    <a:close/>
                    <a:moveTo>
                      <a:pt x="780" y="730"/>
                    </a:moveTo>
                    <a:cubicBezTo>
                      <a:pt x="780" y="730"/>
                      <a:pt x="780" y="730"/>
                      <a:pt x="781" y="729"/>
                    </a:cubicBezTo>
                    <a:cubicBezTo>
                      <a:pt x="781" y="729"/>
                      <a:pt x="781" y="729"/>
                      <a:pt x="780" y="728"/>
                    </a:cubicBezTo>
                    <a:cubicBezTo>
                      <a:pt x="780" y="728"/>
                      <a:pt x="780" y="728"/>
                      <a:pt x="778" y="729"/>
                    </a:cubicBezTo>
                    <a:cubicBezTo>
                      <a:pt x="778" y="729"/>
                      <a:pt x="778" y="729"/>
                      <a:pt x="778" y="728"/>
                    </a:cubicBezTo>
                    <a:cubicBezTo>
                      <a:pt x="778" y="728"/>
                      <a:pt x="778" y="728"/>
                      <a:pt x="777" y="729"/>
                    </a:cubicBezTo>
                    <a:cubicBezTo>
                      <a:pt x="777" y="730"/>
                      <a:pt x="777" y="730"/>
                      <a:pt x="777" y="730"/>
                    </a:cubicBezTo>
                    <a:cubicBezTo>
                      <a:pt x="777" y="730"/>
                      <a:pt x="777" y="730"/>
                      <a:pt x="779" y="730"/>
                    </a:cubicBezTo>
                    <a:cubicBezTo>
                      <a:pt x="779" y="730"/>
                      <a:pt x="779" y="730"/>
                      <a:pt x="780" y="730"/>
                    </a:cubicBezTo>
                    <a:close/>
                    <a:moveTo>
                      <a:pt x="747" y="720"/>
                    </a:moveTo>
                    <a:cubicBezTo>
                      <a:pt x="747" y="720"/>
                      <a:pt x="747" y="720"/>
                      <a:pt x="747" y="721"/>
                    </a:cubicBezTo>
                    <a:cubicBezTo>
                      <a:pt x="747" y="721"/>
                      <a:pt x="747" y="721"/>
                      <a:pt x="747" y="722"/>
                    </a:cubicBezTo>
                    <a:cubicBezTo>
                      <a:pt x="747" y="722"/>
                      <a:pt x="747" y="722"/>
                      <a:pt x="749" y="722"/>
                    </a:cubicBezTo>
                    <a:cubicBezTo>
                      <a:pt x="749" y="722"/>
                      <a:pt x="749" y="722"/>
                      <a:pt x="748" y="721"/>
                    </a:cubicBezTo>
                    <a:cubicBezTo>
                      <a:pt x="748" y="721"/>
                      <a:pt x="748" y="721"/>
                      <a:pt x="747" y="720"/>
                    </a:cubicBezTo>
                    <a:close/>
                    <a:moveTo>
                      <a:pt x="676" y="821"/>
                    </a:moveTo>
                    <a:cubicBezTo>
                      <a:pt x="677" y="821"/>
                      <a:pt x="677" y="821"/>
                      <a:pt x="677" y="821"/>
                    </a:cubicBezTo>
                    <a:cubicBezTo>
                      <a:pt x="677" y="820"/>
                      <a:pt x="677" y="820"/>
                      <a:pt x="677" y="820"/>
                    </a:cubicBezTo>
                    <a:cubicBezTo>
                      <a:pt x="677" y="819"/>
                      <a:pt x="677" y="819"/>
                      <a:pt x="677" y="819"/>
                    </a:cubicBezTo>
                    <a:cubicBezTo>
                      <a:pt x="677" y="818"/>
                      <a:pt x="677" y="818"/>
                      <a:pt x="677" y="818"/>
                    </a:cubicBezTo>
                    <a:cubicBezTo>
                      <a:pt x="676" y="819"/>
                      <a:pt x="676" y="819"/>
                      <a:pt x="676" y="819"/>
                    </a:cubicBezTo>
                    <a:cubicBezTo>
                      <a:pt x="676" y="820"/>
                      <a:pt x="676" y="820"/>
                      <a:pt x="676" y="820"/>
                    </a:cubicBezTo>
                    <a:cubicBezTo>
                      <a:pt x="676" y="821"/>
                      <a:pt x="676" y="821"/>
                      <a:pt x="676" y="821"/>
                    </a:cubicBezTo>
                    <a:close/>
                    <a:moveTo>
                      <a:pt x="819" y="1199"/>
                    </a:moveTo>
                    <a:cubicBezTo>
                      <a:pt x="817" y="1199"/>
                      <a:pt x="817" y="1199"/>
                      <a:pt x="817" y="1199"/>
                    </a:cubicBezTo>
                    <a:cubicBezTo>
                      <a:pt x="816" y="1200"/>
                      <a:pt x="816" y="1200"/>
                      <a:pt x="816" y="1200"/>
                    </a:cubicBezTo>
                    <a:cubicBezTo>
                      <a:pt x="817" y="1201"/>
                      <a:pt x="817" y="1201"/>
                      <a:pt x="817" y="1201"/>
                    </a:cubicBezTo>
                    <a:cubicBezTo>
                      <a:pt x="819" y="1200"/>
                      <a:pt x="819" y="1200"/>
                      <a:pt x="819" y="1200"/>
                    </a:cubicBezTo>
                    <a:cubicBezTo>
                      <a:pt x="820" y="1200"/>
                      <a:pt x="820" y="1200"/>
                      <a:pt x="820" y="1200"/>
                    </a:cubicBezTo>
                    <a:cubicBezTo>
                      <a:pt x="821" y="1198"/>
                      <a:pt x="821" y="1198"/>
                      <a:pt x="821" y="1198"/>
                    </a:cubicBezTo>
                    <a:cubicBezTo>
                      <a:pt x="820" y="1198"/>
                      <a:pt x="820" y="1198"/>
                      <a:pt x="820" y="1198"/>
                    </a:cubicBezTo>
                    <a:cubicBezTo>
                      <a:pt x="819" y="1199"/>
                      <a:pt x="819" y="1199"/>
                      <a:pt x="819" y="1199"/>
                    </a:cubicBezTo>
                    <a:close/>
                    <a:moveTo>
                      <a:pt x="744" y="1111"/>
                    </a:moveTo>
                    <a:cubicBezTo>
                      <a:pt x="744" y="1111"/>
                      <a:pt x="744" y="1111"/>
                      <a:pt x="743" y="1112"/>
                    </a:cubicBezTo>
                    <a:cubicBezTo>
                      <a:pt x="743" y="1112"/>
                      <a:pt x="743" y="1112"/>
                      <a:pt x="744" y="1113"/>
                    </a:cubicBezTo>
                    <a:cubicBezTo>
                      <a:pt x="744" y="1113"/>
                      <a:pt x="744" y="1113"/>
                      <a:pt x="744" y="1111"/>
                    </a:cubicBezTo>
                    <a:close/>
                    <a:moveTo>
                      <a:pt x="742" y="1110"/>
                    </a:moveTo>
                    <a:cubicBezTo>
                      <a:pt x="742" y="1110"/>
                      <a:pt x="742" y="1110"/>
                      <a:pt x="743" y="1109"/>
                    </a:cubicBezTo>
                    <a:cubicBezTo>
                      <a:pt x="743" y="1109"/>
                      <a:pt x="743" y="1109"/>
                      <a:pt x="742" y="1109"/>
                    </a:cubicBezTo>
                    <a:cubicBezTo>
                      <a:pt x="742" y="1109"/>
                      <a:pt x="742" y="1109"/>
                      <a:pt x="742" y="1110"/>
                    </a:cubicBezTo>
                    <a:close/>
                    <a:moveTo>
                      <a:pt x="742" y="1106"/>
                    </a:moveTo>
                    <a:cubicBezTo>
                      <a:pt x="742" y="1106"/>
                      <a:pt x="742" y="1106"/>
                      <a:pt x="741" y="1107"/>
                    </a:cubicBezTo>
                    <a:cubicBezTo>
                      <a:pt x="741" y="1107"/>
                      <a:pt x="741" y="1107"/>
                      <a:pt x="742" y="1107"/>
                    </a:cubicBezTo>
                    <a:cubicBezTo>
                      <a:pt x="742" y="1107"/>
                      <a:pt x="742" y="1107"/>
                      <a:pt x="743" y="1107"/>
                    </a:cubicBezTo>
                    <a:cubicBezTo>
                      <a:pt x="743" y="1107"/>
                      <a:pt x="743" y="1107"/>
                      <a:pt x="742" y="1106"/>
                    </a:cubicBezTo>
                    <a:close/>
                    <a:moveTo>
                      <a:pt x="740" y="1111"/>
                    </a:moveTo>
                    <a:cubicBezTo>
                      <a:pt x="740" y="1111"/>
                      <a:pt x="740" y="1111"/>
                      <a:pt x="741" y="1111"/>
                    </a:cubicBezTo>
                    <a:cubicBezTo>
                      <a:pt x="741" y="1111"/>
                      <a:pt x="741" y="1111"/>
                      <a:pt x="742" y="1111"/>
                    </a:cubicBezTo>
                    <a:cubicBezTo>
                      <a:pt x="742" y="1111"/>
                      <a:pt x="742" y="1111"/>
                      <a:pt x="741" y="1110"/>
                    </a:cubicBezTo>
                    <a:cubicBezTo>
                      <a:pt x="741" y="1110"/>
                      <a:pt x="741" y="1110"/>
                      <a:pt x="740" y="1111"/>
                    </a:cubicBezTo>
                    <a:close/>
                    <a:moveTo>
                      <a:pt x="741" y="1115"/>
                    </a:moveTo>
                    <a:cubicBezTo>
                      <a:pt x="742" y="1116"/>
                      <a:pt x="742" y="1116"/>
                      <a:pt x="742" y="1116"/>
                    </a:cubicBezTo>
                    <a:cubicBezTo>
                      <a:pt x="742" y="1116"/>
                      <a:pt x="742" y="1116"/>
                      <a:pt x="742" y="1115"/>
                    </a:cubicBezTo>
                    <a:cubicBezTo>
                      <a:pt x="742" y="1115"/>
                      <a:pt x="742" y="1115"/>
                      <a:pt x="744" y="1115"/>
                    </a:cubicBezTo>
                    <a:cubicBezTo>
                      <a:pt x="744" y="1115"/>
                      <a:pt x="744" y="1115"/>
                      <a:pt x="744" y="1114"/>
                    </a:cubicBezTo>
                    <a:cubicBezTo>
                      <a:pt x="744" y="1114"/>
                      <a:pt x="744" y="1114"/>
                      <a:pt x="742" y="1114"/>
                    </a:cubicBezTo>
                    <a:cubicBezTo>
                      <a:pt x="742" y="1114"/>
                      <a:pt x="742" y="1114"/>
                      <a:pt x="741" y="1115"/>
                    </a:cubicBezTo>
                    <a:close/>
                    <a:moveTo>
                      <a:pt x="743" y="1118"/>
                    </a:moveTo>
                    <a:cubicBezTo>
                      <a:pt x="743" y="1118"/>
                      <a:pt x="743" y="1118"/>
                      <a:pt x="744" y="1119"/>
                    </a:cubicBezTo>
                    <a:cubicBezTo>
                      <a:pt x="744" y="1119"/>
                      <a:pt x="744" y="1119"/>
                      <a:pt x="744" y="1120"/>
                    </a:cubicBezTo>
                    <a:cubicBezTo>
                      <a:pt x="744" y="1120"/>
                      <a:pt x="744" y="1120"/>
                      <a:pt x="745" y="1121"/>
                    </a:cubicBezTo>
                    <a:cubicBezTo>
                      <a:pt x="745" y="1121"/>
                      <a:pt x="745" y="1121"/>
                      <a:pt x="746" y="1120"/>
                    </a:cubicBezTo>
                    <a:cubicBezTo>
                      <a:pt x="746" y="1120"/>
                      <a:pt x="746" y="1120"/>
                      <a:pt x="746" y="1118"/>
                    </a:cubicBezTo>
                    <a:cubicBezTo>
                      <a:pt x="746" y="1118"/>
                      <a:pt x="746" y="1118"/>
                      <a:pt x="744" y="1118"/>
                    </a:cubicBezTo>
                    <a:cubicBezTo>
                      <a:pt x="744" y="1118"/>
                      <a:pt x="744" y="1118"/>
                      <a:pt x="743" y="1118"/>
                    </a:cubicBezTo>
                    <a:close/>
                    <a:moveTo>
                      <a:pt x="743" y="1092"/>
                    </a:moveTo>
                    <a:cubicBezTo>
                      <a:pt x="743" y="1092"/>
                      <a:pt x="743" y="1092"/>
                      <a:pt x="742" y="1091"/>
                    </a:cubicBezTo>
                    <a:cubicBezTo>
                      <a:pt x="742" y="1091"/>
                      <a:pt x="742" y="1091"/>
                      <a:pt x="741" y="1090"/>
                    </a:cubicBezTo>
                    <a:cubicBezTo>
                      <a:pt x="741" y="1090"/>
                      <a:pt x="741" y="1090"/>
                      <a:pt x="740" y="1090"/>
                    </a:cubicBezTo>
                    <a:cubicBezTo>
                      <a:pt x="740" y="1090"/>
                      <a:pt x="740" y="1090"/>
                      <a:pt x="739" y="1091"/>
                    </a:cubicBezTo>
                    <a:cubicBezTo>
                      <a:pt x="739" y="1091"/>
                      <a:pt x="739" y="1091"/>
                      <a:pt x="739" y="1092"/>
                    </a:cubicBezTo>
                    <a:cubicBezTo>
                      <a:pt x="739" y="1092"/>
                      <a:pt x="739" y="1092"/>
                      <a:pt x="739" y="1093"/>
                    </a:cubicBezTo>
                    <a:cubicBezTo>
                      <a:pt x="739" y="1093"/>
                      <a:pt x="739" y="1093"/>
                      <a:pt x="738" y="1094"/>
                    </a:cubicBezTo>
                    <a:cubicBezTo>
                      <a:pt x="738" y="1094"/>
                      <a:pt x="738" y="1094"/>
                      <a:pt x="738" y="1095"/>
                    </a:cubicBezTo>
                    <a:cubicBezTo>
                      <a:pt x="738" y="1095"/>
                      <a:pt x="738" y="1095"/>
                      <a:pt x="738" y="1096"/>
                    </a:cubicBezTo>
                    <a:cubicBezTo>
                      <a:pt x="738" y="1096"/>
                      <a:pt x="738" y="1096"/>
                      <a:pt x="739" y="1096"/>
                    </a:cubicBezTo>
                    <a:cubicBezTo>
                      <a:pt x="739" y="1096"/>
                      <a:pt x="739" y="1096"/>
                      <a:pt x="739" y="1097"/>
                    </a:cubicBezTo>
                    <a:cubicBezTo>
                      <a:pt x="739" y="1097"/>
                      <a:pt x="739" y="1097"/>
                      <a:pt x="739" y="1101"/>
                    </a:cubicBezTo>
                    <a:cubicBezTo>
                      <a:pt x="739" y="1101"/>
                      <a:pt x="739" y="1101"/>
                      <a:pt x="739" y="1103"/>
                    </a:cubicBezTo>
                    <a:cubicBezTo>
                      <a:pt x="739" y="1103"/>
                      <a:pt x="739" y="1103"/>
                      <a:pt x="740" y="1103"/>
                    </a:cubicBezTo>
                    <a:cubicBezTo>
                      <a:pt x="740" y="1103"/>
                      <a:pt x="740" y="1103"/>
                      <a:pt x="742" y="1103"/>
                    </a:cubicBezTo>
                    <a:cubicBezTo>
                      <a:pt x="742" y="1103"/>
                      <a:pt x="742" y="1103"/>
                      <a:pt x="742" y="1101"/>
                    </a:cubicBezTo>
                    <a:cubicBezTo>
                      <a:pt x="742" y="1101"/>
                      <a:pt x="742" y="1101"/>
                      <a:pt x="743" y="1100"/>
                    </a:cubicBezTo>
                    <a:cubicBezTo>
                      <a:pt x="743" y="1100"/>
                      <a:pt x="743" y="1100"/>
                      <a:pt x="744" y="1101"/>
                    </a:cubicBezTo>
                    <a:cubicBezTo>
                      <a:pt x="744" y="1101"/>
                      <a:pt x="744" y="1101"/>
                      <a:pt x="743" y="1099"/>
                    </a:cubicBezTo>
                    <a:cubicBezTo>
                      <a:pt x="743" y="1099"/>
                      <a:pt x="743" y="1099"/>
                      <a:pt x="742" y="1097"/>
                    </a:cubicBezTo>
                    <a:cubicBezTo>
                      <a:pt x="742" y="1097"/>
                      <a:pt x="742" y="1097"/>
                      <a:pt x="743" y="1097"/>
                    </a:cubicBezTo>
                    <a:cubicBezTo>
                      <a:pt x="743" y="1097"/>
                      <a:pt x="743" y="1097"/>
                      <a:pt x="744" y="1097"/>
                    </a:cubicBezTo>
                    <a:cubicBezTo>
                      <a:pt x="744" y="1097"/>
                      <a:pt x="744" y="1097"/>
                      <a:pt x="743" y="1096"/>
                    </a:cubicBezTo>
                    <a:cubicBezTo>
                      <a:pt x="743" y="1096"/>
                      <a:pt x="743" y="1096"/>
                      <a:pt x="743" y="1094"/>
                    </a:cubicBezTo>
                    <a:cubicBezTo>
                      <a:pt x="743" y="1094"/>
                      <a:pt x="743" y="1094"/>
                      <a:pt x="743" y="1092"/>
                    </a:cubicBezTo>
                    <a:close/>
                    <a:moveTo>
                      <a:pt x="746" y="1095"/>
                    </a:moveTo>
                    <a:cubicBezTo>
                      <a:pt x="746" y="1095"/>
                      <a:pt x="746" y="1095"/>
                      <a:pt x="746" y="1094"/>
                    </a:cubicBezTo>
                    <a:cubicBezTo>
                      <a:pt x="746" y="1094"/>
                      <a:pt x="746" y="1094"/>
                      <a:pt x="745" y="1094"/>
                    </a:cubicBezTo>
                    <a:cubicBezTo>
                      <a:pt x="745" y="1094"/>
                      <a:pt x="745" y="1094"/>
                      <a:pt x="746" y="1095"/>
                    </a:cubicBezTo>
                    <a:close/>
                    <a:moveTo>
                      <a:pt x="745" y="1143"/>
                    </a:moveTo>
                    <a:cubicBezTo>
                      <a:pt x="745" y="1143"/>
                      <a:pt x="745" y="1143"/>
                      <a:pt x="744" y="1141"/>
                    </a:cubicBezTo>
                    <a:cubicBezTo>
                      <a:pt x="744" y="1141"/>
                      <a:pt x="744" y="1141"/>
                      <a:pt x="743" y="1141"/>
                    </a:cubicBezTo>
                    <a:cubicBezTo>
                      <a:pt x="743" y="1141"/>
                      <a:pt x="743" y="1141"/>
                      <a:pt x="742" y="1141"/>
                    </a:cubicBezTo>
                    <a:cubicBezTo>
                      <a:pt x="742" y="1141"/>
                      <a:pt x="742" y="1141"/>
                      <a:pt x="742" y="1142"/>
                    </a:cubicBezTo>
                    <a:cubicBezTo>
                      <a:pt x="742" y="1142"/>
                      <a:pt x="742" y="1142"/>
                      <a:pt x="743" y="1143"/>
                    </a:cubicBezTo>
                    <a:cubicBezTo>
                      <a:pt x="743" y="1143"/>
                      <a:pt x="743" y="1143"/>
                      <a:pt x="745" y="1145"/>
                    </a:cubicBezTo>
                    <a:cubicBezTo>
                      <a:pt x="745" y="1145"/>
                      <a:pt x="745" y="1145"/>
                      <a:pt x="745" y="1146"/>
                    </a:cubicBezTo>
                    <a:cubicBezTo>
                      <a:pt x="745" y="1146"/>
                      <a:pt x="745" y="1146"/>
                      <a:pt x="745" y="1147"/>
                    </a:cubicBezTo>
                    <a:cubicBezTo>
                      <a:pt x="745" y="1147"/>
                      <a:pt x="745" y="1147"/>
                      <a:pt x="746" y="1147"/>
                    </a:cubicBezTo>
                    <a:cubicBezTo>
                      <a:pt x="746" y="1147"/>
                      <a:pt x="746" y="1147"/>
                      <a:pt x="748" y="1147"/>
                    </a:cubicBezTo>
                    <a:cubicBezTo>
                      <a:pt x="748" y="1147"/>
                      <a:pt x="748" y="1147"/>
                      <a:pt x="747" y="1145"/>
                    </a:cubicBezTo>
                    <a:cubicBezTo>
                      <a:pt x="747" y="1145"/>
                      <a:pt x="747" y="1145"/>
                      <a:pt x="746" y="1144"/>
                    </a:cubicBezTo>
                    <a:cubicBezTo>
                      <a:pt x="746" y="1144"/>
                      <a:pt x="746" y="1144"/>
                      <a:pt x="746" y="1143"/>
                    </a:cubicBezTo>
                    <a:cubicBezTo>
                      <a:pt x="746" y="1143"/>
                      <a:pt x="746" y="1143"/>
                      <a:pt x="745" y="1143"/>
                    </a:cubicBezTo>
                    <a:close/>
                    <a:moveTo>
                      <a:pt x="744" y="1117"/>
                    </a:moveTo>
                    <a:cubicBezTo>
                      <a:pt x="744" y="1117"/>
                      <a:pt x="744" y="1117"/>
                      <a:pt x="744" y="1116"/>
                    </a:cubicBezTo>
                    <a:cubicBezTo>
                      <a:pt x="744" y="1116"/>
                      <a:pt x="744" y="1116"/>
                      <a:pt x="743" y="1116"/>
                    </a:cubicBezTo>
                    <a:cubicBezTo>
                      <a:pt x="743" y="1116"/>
                      <a:pt x="743" y="1116"/>
                      <a:pt x="742" y="1117"/>
                    </a:cubicBezTo>
                    <a:cubicBezTo>
                      <a:pt x="742" y="1117"/>
                      <a:pt x="742" y="1117"/>
                      <a:pt x="743" y="1117"/>
                    </a:cubicBezTo>
                    <a:cubicBezTo>
                      <a:pt x="743" y="1117"/>
                      <a:pt x="743" y="1117"/>
                      <a:pt x="744" y="1117"/>
                    </a:cubicBezTo>
                    <a:close/>
                    <a:moveTo>
                      <a:pt x="753" y="1180"/>
                    </a:moveTo>
                    <a:cubicBezTo>
                      <a:pt x="753" y="1180"/>
                      <a:pt x="753" y="1180"/>
                      <a:pt x="753" y="1181"/>
                    </a:cubicBezTo>
                    <a:cubicBezTo>
                      <a:pt x="753" y="1181"/>
                      <a:pt x="753" y="1181"/>
                      <a:pt x="754" y="1181"/>
                    </a:cubicBezTo>
                    <a:cubicBezTo>
                      <a:pt x="754" y="1181"/>
                      <a:pt x="754" y="1181"/>
                      <a:pt x="754" y="1179"/>
                    </a:cubicBezTo>
                    <a:cubicBezTo>
                      <a:pt x="754" y="1179"/>
                      <a:pt x="754" y="1179"/>
                      <a:pt x="754" y="1178"/>
                    </a:cubicBezTo>
                    <a:cubicBezTo>
                      <a:pt x="754" y="1178"/>
                      <a:pt x="754" y="1178"/>
                      <a:pt x="753" y="1179"/>
                    </a:cubicBezTo>
                    <a:cubicBezTo>
                      <a:pt x="753" y="1179"/>
                      <a:pt x="753" y="1179"/>
                      <a:pt x="753" y="1180"/>
                    </a:cubicBezTo>
                    <a:close/>
                    <a:moveTo>
                      <a:pt x="746" y="1108"/>
                    </a:moveTo>
                    <a:cubicBezTo>
                      <a:pt x="746" y="1108"/>
                      <a:pt x="746" y="1108"/>
                      <a:pt x="747" y="1107"/>
                    </a:cubicBezTo>
                    <a:cubicBezTo>
                      <a:pt x="747" y="1107"/>
                      <a:pt x="747" y="1107"/>
                      <a:pt x="746" y="1107"/>
                    </a:cubicBezTo>
                    <a:cubicBezTo>
                      <a:pt x="746" y="1107"/>
                      <a:pt x="746" y="1107"/>
                      <a:pt x="746" y="1108"/>
                    </a:cubicBezTo>
                    <a:close/>
                    <a:moveTo>
                      <a:pt x="776" y="1198"/>
                    </a:moveTo>
                    <a:cubicBezTo>
                      <a:pt x="776" y="1198"/>
                      <a:pt x="776" y="1198"/>
                      <a:pt x="777" y="1197"/>
                    </a:cubicBezTo>
                    <a:cubicBezTo>
                      <a:pt x="777" y="1197"/>
                      <a:pt x="777" y="1197"/>
                      <a:pt x="777" y="1198"/>
                    </a:cubicBezTo>
                    <a:cubicBezTo>
                      <a:pt x="777" y="1198"/>
                      <a:pt x="777" y="1198"/>
                      <a:pt x="778" y="1198"/>
                    </a:cubicBezTo>
                    <a:cubicBezTo>
                      <a:pt x="778" y="1198"/>
                      <a:pt x="778" y="1198"/>
                      <a:pt x="779" y="1198"/>
                    </a:cubicBezTo>
                    <a:cubicBezTo>
                      <a:pt x="779" y="1198"/>
                      <a:pt x="779" y="1198"/>
                      <a:pt x="779" y="1197"/>
                    </a:cubicBezTo>
                    <a:cubicBezTo>
                      <a:pt x="779" y="1197"/>
                      <a:pt x="779" y="1197"/>
                      <a:pt x="779" y="1196"/>
                    </a:cubicBezTo>
                    <a:cubicBezTo>
                      <a:pt x="779" y="1196"/>
                      <a:pt x="779" y="1196"/>
                      <a:pt x="778" y="1196"/>
                    </a:cubicBezTo>
                    <a:cubicBezTo>
                      <a:pt x="778" y="1196"/>
                      <a:pt x="778" y="1196"/>
                      <a:pt x="777" y="1196"/>
                    </a:cubicBezTo>
                    <a:cubicBezTo>
                      <a:pt x="777" y="1196"/>
                      <a:pt x="777" y="1196"/>
                      <a:pt x="775" y="1195"/>
                    </a:cubicBezTo>
                    <a:cubicBezTo>
                      <a:pt x="775" y="1195"/>
                      <a:pt x="775" y="1195"/>
                      <a:pt x="774" y="1195"/>
                    </a:cubicBezTo>
                    <a:cubicBezTo>
                      <a:pt x="774" y="1195"/>
                      <a:pt x="774" y="1195"/>
                      <a:pt x="773" y="1196"/>
                    </a:cubicBezTo>
                    <a:cubicBezTo>
                      <a:pt x="773" y="1196"/>
                      <a:pt x="773" y="1196"/>
                      <a:pt x="773" y="1197"/>
                    </a:cubicBezTo>
                    <a:cubicBezTo>
                      <a:pt x="773" y="1197"/>
                      <a:pt x="773" y="1197"/>
                      <a:pt x="774" y="1198"/>
                    </a:cubicBezTo>
                    <a:cubicBezTo>
                      <a:pt x="774" y="1198"/>
                      <a:pt x="774" y="1198"/>
                      <a:pt x="774" y="1197"/>
                    </a:cubicBezTo>
                    <a:cubicBezTo>
                      <a:pt x="774" y="1197"/>
                      <a:pt x="774" y="1197"/>
                      <a:pt x="776" y="1197"/>
                    </a:cubicBezTo>
                    <a:cubicBezTo>
                      <a:pt x="776" y="1197"/>
                      <a:pt x="776" y="1197"/>
                      <a:pt x="776" y="1198"/>
                    </a:cubicBezTo>
                    <a:close/>
                    <a:moveTo>
                      <a:pt x="765" y="1191"/>
                    </a:moveTo>
                    <a:cubicBezTo>
                      <a:pt x="765" y="1191"/>
                      <a:pt x="765" y="1191"/>
                      <a:pt x="765" y="1190"/>
                    </a:cubicBezTo>
                    <a:cubicBezTo>
                      <a:pt x="765" y="1190"/>
                      <a:pt x="765" y="1190"/>
                      <a:pt x="764" y="1190"/>
                    </a:cubicBezTo>
                    <a:cubicBezTo>
                      <a:pt x="764" y="1190"/>
                      <a:pt x="764" y="1190"/>
                      <a:pt x="763" y="1189"/>
                    </a:cubicBezTo>
                    <a:cubicBezTo>
                      <a:pt x="763" y="1189"/>
                      <a:pt x="763" y="1189"/>
                      <a:pt x="761" y="1189"/>
                    </a:cubicBezTo>
                    <a:cubicBezTo>
                      <a:pt x="761" y="1189"/>
                      <a:pt x="761" y="1189"/>
                      <a:pt x="760" y="1188"/>
                    </a:cubicBezTo>
                    <a:cubicBezTo>
                      <a:pt x="760" y="1188"/>
                      <a:pt x="760" y="1188"/>
                      <a:pt x="759" y="1188"/>
                    </a:cubicBezTo>
                    <a:cubicBezTo>
                      <a:pt x="759" y="1188"/>
                      <a:pt x="759" y="1188"/>
                      <a:pt x="758" y="1188"/>
                    </a:cubicBezTo>
                    <a:cubicBezTo>
                      <a:pt x="758" y="1188"/>
                      <a:pt x="758" y="1188"/>
                      <a:pt x="757" y="1187"/>
                    </a:cubicBezTo>
                    <a:cubicBezTo>
                      <a:pt x="757" y="1187"/>
                      <a:pt x="757" y="1187"/>
                      <a:pt x="756" y="1186"/>
                    </a:cubicBezTo>
                    <a:cubicBezTo>
                      <a:pt x="756" y="1186"/>
                      <a:pt x="756" y="1186"/>
                      <a:pt x="755" y="1185"/>
                    </a:cubicBezTo>
                    <a:cubicBezTo>
                      <a:pt x="755" y="1185"/>
                      <a:pt x="755" y="1185"/>
                      <a:pt x="755" y="1186"/>
                    </a:cubicBezTo>
                    <a:cubicBezTo>
                      <a:pt x="755" y="1186"/>
                      <a:pt x="755" y="1186"/>
                      <a:pt x="755" y="1187"/>
                    </a:cubicBezTo>
                    <a:cubicBezTo>
                      <a:pt x="755" y="1187"/>
                      <a:pt x="755" y="1187"/>
                      <a:pt x="756" y="1189"/>
                    </a:cubicBezTo>
                    <a:cubicBezTo>
                      <a:pt x="756" y="1189"/>
                      <a:pt x="756" y="1189"/>
                      <a:pt x="757" y="1189"/>
                    </a:cubicBezTo>
                    <a:cubicBezTo>
                      <a:pt x="757" y="1189"/>
                      <a:pt x="757" y="1189"/>
                      <a:pt x="759" y="1190"/>
                    </a:cubicBezTo>
                    <a:cubicBezTo>
                      <a:pt x="759" y="1190"/>
                      <a:pt x="759" y="1190"/>
                      <a:pt x="760" y="1190"/>
                    </a:cubicBezTo>
                    <a:cubicBezTo>
                      <a:pt x="760" y="1190"/>
                      <a:pt x="760" y="1190"/>
                      <a:pt x="761" y="1190"/>
                    </a:cubicBezTo>
                    <a:cubicBezTo>
                      <a:pt x="761" y="1190"/>
                      <a:pt x="761" y="1190"/>
                      <a:pt x="763" y="1191"/>
                    </a:cubicBezTo>
                    <a:cubicBezTo>
                      <a:pt x="763" y="1191"/>
                      <a:pt x="763" y="1191"/>
                      <a:pt x="764" y="1191"/>
                    </a:cubicBezTo>
                    <a:cubicBezTo>
                      <a:pt x="764" y="1191"/>
                      <a:pt x="764" y="1191"/>
                      <a:pt x="765" y="1191"/>
                    </a:cubicBezTo>
                    <a:close/>
                    <a:moveTo>
                      <a:pt x="743" y="1121"/>
                    </a:moveTo>
                    <a:cubicBezTo>
                      <a:pt x="743" y="1121"/>
                      <a:pt x="743" y="1121"/>
                      <a:pt x="743" y="1120"/>
                    </a:cubicBezTo>
                    <a:cubicBezTo>
                      <a:pt x="743" y="1120"/>
                      <a:pt x="743" y="1120"/>
                      <a:pt x="742" y="1120"/>
                    </a:cubicBezTo>
                    <a:cubicBezTo>
                      <a:pt x="742" y="1120"/>
                      <a:pt x="742" y="1120"/>
                      <a:pt x="743" y="1121"/>
                    </a:cubicBezTo>
                    <a:close/>
                    <a:moveTo>
                      <a:pt x="771" y="1198"/>
                    </a:moveTo>
                    <a:cubicBezTo>
                      <a:pt x="771" y="1199"/>
                      <a:pt x="771" y="1199"/>
                      <a:pt x="771" y="1199"/>
                    </a:cubicBezTo>
                    <a:cubicBezTo>
                      <a:pt x="772" y="1199"/>
                      <a:pt x="772" y="1199"/>
                      <a:pt x="772" y="1199"/>
                    </a:cubicBezTo>
                    <a:cubicBezTo>
                      <a:pt x="773" y="1198"/>
                      <a:pt x="773" y="1198"/>
                      <a:pt x="773" y="1198"/>
                    </a:cubicBezTo>
                    <a:cubicBezTo>
                      <a:pt x="773" y="1197"/>
                      <a:pt x="773" y="1197"/>
                      <a:pt x="773" y="1197"/>
                    </a:cubicBezTo>
                    <a:cubicBezTo>
                      <a:pt x="772" y="1197"/>
                      <a:pt x="772" y="1197"/>
                      <a:pt x="772" y="1197"/>
                    </a:cubicBezTo>
                    <a:cubicBezTo>
                      <a:pt x="771" y="1198"/>
                      <a:pt x="771" y="1198"/>
                      <a:pt x="771" y="1198"/>
                    </a:cubicBezTo>
                    <a:close/>
                    <a:moveTo>
                      <a:pt x="771" y="1196"/>
                    </a:moveTo>
                    <a:cubicBezTo>
                      <a:pt x="771" y="1196"/>
                      <a:pt x="771" y="1196"/>
                      <a:pt x="771" y="1195"/>
                    </a:cubicBezTo>
                    <a:cubicBezTo>
                      <a:pt x="771" y="1195"/>
                      <a:pt x="771" y="1195"/>
                      <a:pt x="772" y="1195"/>
                    </a:cubicBezTo>
                    <a:cubicBezTo>
                      <a:pt x="772" y="1195"/>
                      <a:pt x="772" y="1195"/>
                      <a:pt x="772" y="1194"/>
                    </a:cubicBezTo>
                    <a:cubicBezTo>
                      <a:pt x="772" y="1194"/>
                      <a:pt x="772" y="1194"/>
                      <a:pt x="771" y="1194"/>
                    </a:cubicBezTo>
                    <a:cubicBezTo>
                      <a:pt x="771" y="1194"/>
                      <a:pt x="771" y="1194"/>
                      <a:pt x="770" y="1194"/>
                    </a:cubicBezTo>
                    <a:cubicBezTo>
                      <a:pt x="770" y="1194"/>
                      <a:pt x="770" y="1194"/>
                      <a:pt x="769" y="1193"/>
                    </a:cubicBezTo>
                    <a:cubicBezTo>
                      <a:pt x="769" y="1193"/>
                      <a:pt x="769" y="1193"/>
                      <a:pt x="768" y="1193"/>
                    </a:cubicBezTo>
                    <a:cubicBezTo>
                      <a:pt x="768" y="1193"/>
                      <a:pt x="768" y="1193"/>
                      <a:pt x="767" y="1192"/>
                    </a:cubicBezTo>
                    <a:cubicBezTo>
                      <a:pt x="767" y="1192"/>
                      <a:pt x="767" y="1192"/>
                      <a:pt x="765" y="1192"/>
                    </a:cubicBezTo>
                    <a:cubicBezTo>
                      <a:pt x="765" y="1192"/>
                      <a:pt x="765" y="1192"/>
                      <a:pt x="764" y="1192"/>
                    </a:cubicBezTo>
                    <a:cubicBezTo>
                      <a:pt x="764" y="1192"/>
                      <a:pt x="764" y="1192"/>
                      <a:pt x="763" y="1191"/>
                    </a:cubicBezTo>
                    <a:cubicBezTo>
                      <a:pt x="763" y="1191"/>
                      <a:pt x="763" y="1191"/>
                      <a:pt x="762" y="1191"/>
                    </a:cubicBezTo>
                    <a:cubicBezTo>
                      <a:pt x="762" y="1191"/>
                      <a:pt x="762" y="1191"/>
                      <a:pt x="762" y="1192"/>
                    </a:cubicBezTo>
                    <a:cubicBezTo>
                      <a:pt x="762" y="1192"/>
                      <a:pt x="762" y="1192"/>
                      <a:pt x="763" y="1193"/>
                    </a:cubicBezTo>
                    <a:cubicBezTo>
                      <a:pt x="763" y="1193"/>
                      <a:pt x="763" y="1193"/>
                      <a:pt x="763" y="1194"/>
                    </a:cubicBezTo>
                    <a:cubicBezTo>
                      <a:pt x="763" y="1194"/>
                      <a:pt x="763" y="1194"/>
                      <a:pt x="765" y="1195"/>
                    </a:cubicBezTo>
                    <a:cubicBezTo>
                      <a:pt x="765" y="1195"/>
                      <a:pt x="765" y="1195"/>
                      <a:pt x="766" y="1196"/>
                    </a:cubicBezTo>
                    <a:cubicBezTo>
                      <a:pt x="766" y="1196"/>
                      <a:pt x="766" y="1196"/>
                      <a:pt x="767" y="1196"/>
                    </a:cubicBezTo>
                    <a:cubicBezTo>
                      <a:pt x="767" y="1196"/>
                      <a:pt x="767" y="1196"/>
                      <a:pt x="768" y="1196"/>
                    </a:cubicBezTo>
                    <a:cubicBezTo>
                      <a:pt x="768" y="1196"/>
                      <a:pt x="768" y="1196"/>
                      <a:pt x="769" y="1196"/>
                    </a:cubicBezTo>
                    <a:cubicBezTo>
                      <a:pt x="769" y="1196"/>
                      <a:pt x="769" y="1196"/>
                      <a:pt x="769" y="1197"/>
                    </a:cubicBezTo>
                    <a:cubicBezTo>
                      <a:pt x="769" y="1197"/>
                      <a:pt x="769" y="1197"/>
                      <a:pt x="770" y="1198"/>
                    </a:cubicBezTo>
                    <a:cubicBezTo>
                      <a:pt x="770" y="1198"/>
                      <a:pt x="770" y="1198"/>
                      <a:pt x="771" y="1198"/>
                    </a:cubicBezTo>
                    <a:cubicBezTo>
                      <a:pt x="771" y="1198"/>
                      <a:pt x="771" y="1198"/>
                      <a:pt x="770" y="1197"/>
                    </a:cubicBezTo>
                    <a:cubicBezTo>
                      <a:pt x="770" y="1197"/>
                      <a:pt x="770" y="1197"/>
                      <a:pt x="771" y="1196"/>
                    </a:cubicBezTo>
                    <a:close/>
                    <a:moveTo>
                      <a:pt x="768" y="1197"/>
                    </a:moveTo>
                    <a:cubicBezTo>
                      <a:pt x="768" y="1196"/>
                      <a:pt x="768" y="1196"/>
                      <a:pt x="768" y="1196"/>
                    </a:cubicBezTo>
                    <a:cubicBezTo>
                      <a:pt x="767" y="1197"/>
                      <a:pt x="767" y="1197"/>
                      <a:pt x="767" y="1197"/>
                    </a:cubicBezTo>
                    <a:cubicBezTo>
                      <a:pt x="768" y="1197"/>
                      <a:pt x="768" y="1197"/>
                      <a:pt x="768" y="1197"/>
                    </a:cubicBezTo>
                    <a:close/>
                    <a:moveTo>
                      <a:pt x="758" y="1192"/>
                    </a:moveTo>
                    <a:cubicBezTo>
                      <a:pt x="758" y="1192"/>
                      <a:pt x="758" y="1192"/>
                      <a:pt x="760" y="1192"/>
                    </a:cubicBezTo>
                    <a:cubicBezTo>
                      <a:pt x="759" y="1191"/>
                      <a:pt x="759" y="1191"/>
                      <a:pt x="759" y="1191"/>
                    </a:cubicBezTo>
                    <a:cubicBezTo>
                      <a:pt x="759" y="1191"/>
                      <a:pt x="759" y="1191"/>
                      <a:pt x="758" y="1192"/>
                    </a:cubicBezTo>
                    <a:close/>
                    <a:moveTo>
                      <a:pt x="748" y="1162"/>
                    </a:moveTo>
                    <a:cubicBezTo>
                      <a:pt x="748" y="1162"/>
                      <a:pt x="748" y="1162"/>
                      <a:pt x="748" y="1161"/>
                    </a:cubicBezTo>
                    <a:cubicBezTo>
                      <a:pt x="748" y="1161"/>
                      <a:pt x="748" y="1161"/>
                      <a:pt x="747" y="1161"/>
                    </a:cubicBezTo>
                    <a:cubicBezTo>
                      <a:pt x="747" y="1161"/>
                      <a:pt x="747" y="1161"/>
                      <a:pt x="746" y="1161"/>
                    </a:cubicBezTo>
                    <a:cubicBezTo>
                      <a:pt x="746" y="1161"/>
                      <a:pt x="746" y="1161"/>
                      <a:pt x="746" y="1162"/>
                    </a:cubicBezTo>
                    <a:cubicBezTo>
                      <a:pt x="746" y="1162"/>
                      <a:pt x="746" y="1162"/>
                      <a:pt x="745" y="1162"/>
                    </a:cubicBezTo>
                    <a:cubicBezTo>
                      <a:pt x="745" y="1162"/>
                      <a:pt x="745" y="1162"/>
                      <a:pt x="746" y="1163"/>
                    </a:cubicBezTo>
                    <a:cubicBezTo>
                      <a:pt x="746" y="1163"/>
                      <a:pt x="746" y="1163"/>
                      <a:pt x="746" y="1164"/>
                    </a:cubicBezTo>
                    <a:cubicBezTo>
                      <a:pt x="746" y="1164"/>
                      <a:pt x="746" y="1164"/>
                      <a:pt x="747" y="1164"/>
                    </a:cubicBezTo>
                    <a:cubicBezTo>
                      <a:pt x="747" y="1164"/>
                      <a:pt x="747" y="1164"/>
                      <a:pt x="748" y="1163"/>
                    </a:cubicBezTo>
                    <a:cubicBezTo>
                      <a:pt x="748" y="1163"/>
                      <a:pt x="748" y="1163"/>
                      <a:pt x="748" y="1162"/>
                    </a:cubicBezTo>
                    <a:close/>
                    <a:moveTo>
                      <a:pt x="741" y="1113"/>
                    </a:moveTo>
                    <a:cubicBezTo>
                      <a:pt x="741" y="1113"/>
                      <a:pt x="741" y="1113"/>
                      <a:pt x="742" y="1113"/>
                    </a:cubicBezTo>
                    <a:cubicBezTo>
                      <a:pt x="742" y="1113"/>
                      <a:pt x="742" y="1113"/>
                      <a:pt x="741" y="1112"/>
                    </a:cubicBezTo>
                    <a:cubicBezTo>
                      <a:pt x="741" y="1112"/>
                      <a:pt x="741" y="1112"/>
                      <a:pt x="740" y="1112"/>
                    </a:cubicBezTo>
                    <a:cubicBezTo>
                      <a:pt x="740" y="1112"/>
                      <a:pt x="740" y="1112"/>
                      <a:pt x="740" y="1113"/>
                    </a:cubicBezTo>
                    <a:cubicBezTo>
                      <a:pt x="740" y="1113"/>
                      <a:pt x="740" y="1113"/>
                      <a:pt x="740" y="1114"/>
                    </a:cubicBezTo>
                    <a:cubicBezTo>
                      <a:pt x="740" y="1114"/>
                      <a:pt x="740" y="1114"/>
                      <a:pt x="741" y="1113"/>
                    </a:cubicBezTo>
                    <a:close/>
                    <a:moveTo>
                      <a:pt x="737" y="1106"/>
                    </a:moveTo>
                    <a:cubicBezTo>
                      <a:pt x="737" y="1106"/>
                      <a:pt x="737" y="1106"/>
                      <a:pt x="738" y="1107"/>
                    </a:cubicBezTo>
                    <a:cubicBezTo>
                      <a:pt x="738" y="1107"/>
                      <a:pt x="738" y="1107"/>
                      <a:pt x="740" y="1106"/>
                    </a:cubicBezTo>
                    <a:cubicBezTo>
                      <a:pt x="740" y="1106"/>
                      <a:pt x="740" y="1106"/>
                      <a:pt x="739" y="1105"/>
                    </a:cubicBezTo>
                    <a:cubicBezTo>
                      <a:pt x="739" y="1105"/>
                      <a:pt x="739" y="1105"/>
                      <a:pt x="738" y="1105"/>
                    </a:cubicBezTo>
                    <a:cubicBezTo>
                      <a:pt x="738" y="1105"/>
                      <a:pt x="738" y="1105"/>
                      <a:pt x="737" y="1106"/>
                    </a:cubicBezTo>
                    <a:close/>
                    <a:moveTo>
                      <a:pt x="743" y="1108"/>
                    </a:moveTo>
                    <a:cubicBezTo>
                      <a:pt x="743" y="1108"/>
                      <a:pt x="743" y="1108"/>
                      <a:pt x="744" y="1108"/>
                    </a:cubicBezTo>
                    <a:cubicBezTo>
                      <a:pt x="744" y="1108"/>
                      <a:pt x="744" y="1108"/>
                      <a:pt x="744" y="1109"/>
                    </a:cubicBezTo>
                    <a:cubicBezTo>
                      <a:pt x="744" y="1109"/>
                      <a:pt x="744" y="1109"/>
                      <a:pt x="745" y="1109"/>
                    </a:cubicBezTo>
                    <a:cubicBezTo>
                      <a:pt x="745" y="1109"/>
                      <a:pt x="745" y="1109"/>
                      <a:pt x="745" y="1107"/>
                    </a:cubicBezTo>
                    <a:cubicBezTo>
                      <a:pt x="745" y="1107"/>
                      <a:pt x="745" y="1107"/>
                      <a:pt x="744" y="1107"/>
                    </a:cubicBezTo>
                    <a:cubicBezTo>
                      <a:pt x="744" y="1107"/>
                      <a:pt x="744" y="1107"/>
                      <a:pt x="743" y="1108"/>
                    </a:cubicBezTo>
                    <a:close/>
                    <a:moveTo>
                      <a:pt x="736" y="1115"/>
                    </a:moveTo>
                    <a:cubicBezTo>
                      <a:pt x="736" y="1115"/>
                      <a:pt x="736" y="1115"/>
                      <a:pt x="738" y="1116"/>
                    </a:cubicBezTo>
                    <a:cubicBezTo>
                      <a:pt x="738" y="1116"/>
                      <a:pt x="738" y="1116"/>
                      <a:pt x="738" y="1115"/>
                    </a:cubicBezTo>
                    <a:cubicBezTo>
                      <a:pt x="738" y="1115"/>
                      <a:pt x="738" y="1115"/>
                      <a:pt x="738" y="1114"/>
                    </a:cubicBezTo>
                    <a:cubicBezTo>
                      <a:pt x="738" y="1114"/>
                      <a:pt x="738" y="1114"/>
                      <a:pt x="736" y="1114"/>
                    </a:cubicBezTo>
                    <a:cubicBezTo>
                      <a:pt x="736" y="1114"/>
                      <a:pt x="736" y="1114"/>
                      <a:pt x="736" y="1115"/>
                    </a:cubicBezTo>
                    <a:close/>
                    <a:moveTo>
                      <a:pt x="755" y="1174"/>
                    </a:moveTo>
                    <a:cubicBezTo>
                      <a:pt x="755" y="1174"/>
                      <a:pt x="755" y="1174"/>
                      <a:pt x="755" y="1176"/>
                    </a:cubicBezTo>
                    <a:cubicBezTo>
                      <a:pt x="755" y="1176"/>
                      <a:pt x="755" y="1176"/>
                      <a:pt x="756" y="1177"/>
                    </a:cubicBezTo>
                    <a:cubicBezTo>
                      <a:pt x="756" y="1177"/>
                      <a:pt x="756" y="1177"/>
                      <a:pt x="757" y="1177"/>
                    </a:cubicBezTo>
                    <a:cubicBezTo>
                      <a:pt x="757" y="1177"/>
                      <a:pt x="757" y="1177"/>
                      <a:pt x="756" y="1175"/>
                    </a:cubicBezTo>
                    <a:cubicBezTo>
                      <a:pt x="756" y="1175"/>
                      <a:pt x="756" y="1175"/>
                      <a:pt x="756" y="1174"/>
                    </a:cubicBezTo>
                    <a:cubicBezTo>
                      <a:pt x="756" y="1174"/>
                      <a:pt x="756" y="1174"/>
                      <a:pt x="755" y="1174"/>
                    </a:cubicBezTo>
                    <a:close/>
                    <a:moveTo>
                      <a:pt x="740" y="1113"/>
                    </a:moveTo>
                    <a:cubicBezTo>
                      <a:pt x="740" y="1113"/>
                      <a:pt x="740" y="1113"/>
                      <a:pt x="739" y="1113"/>
                    </a:cubicBezTo>
                    <a:cubicBezTo>
                      <a:pt x="739" y="1113"/>
                      <a:pt x="739" y="1113"/>
                      <a:pt x="738" y="1114"/>
                    </a:cubicBezTo>
                    <a:cubicBezTo>
                      <a:pt x="738" y="1114"/>
                      <a:pt x="738" y="1114"/>
                      <a:pt x="739" y="1114"/>
                    </a:cubicBezTo>
                    <a:cubicBezTo>
                      <a:pt x="739" y="1114"/>
                      <a:pt x="739" y="1114"/>
                      <a:pt x="740" y="1113"/>
                    </a:cubicBezTo>
                    <a:close/>
                    <a:moveTo>
                      <a:pt x="744" y="1122"/>
                    </a:moveTo>
                    <a:cubicBezTo>
                      <a:pt x="744" y="1122"/>
                      <a:pt x="744" y="1122"/>
                      <a:pt x="745" y="1121"/>
                    </a:cubicBezTo>
                    <a:cubicBezTo>
                      <a:pt x="745" y="1121"/>
                      <a:pt x="745" y="1121"/>
                      <a:pt x="744" y="1121"/>
                    </a:cubicBezTo>
                    <a:cubicBezTo>
                      <a:pt x="744" y="1121"/>
                      <a:pt x="744" y="1121"/>
                      <a:pt x="744" y="1122"/>
                    </a:cubicBezTo>
                    <a:close/>
                    <a:moveTo>
                      <a:pt x="756" y="1178"/>
                    </a:moveTo>
                    <a:cubicBezTo>
                      <a:pt x="756" y="1178"/>
                      <a:pt x="756" y="1178"/>
                      <a:pt x="757" y="1179"/>
                    </a:cubicBezTo>
                    <a:cubicBezTo>
                      <a:pt x="757" y="1179"/>
                      <a:pt x="757" y="1179"/>
                      <a:pt x="758" y="1179"/>
                    </a:cubicBezTo>
                    <a:cubicBezTo>
                      <a:pt x="758" y="1179"/>
                      <a:pt x="758" y="1179"/>
                      <a:pt x="757" y="1178"/>
                    </a:cubicBezTo>
                    <a:cubicBezTo>
                      <a:pt x="757" y="1178"/>
                      <a:pt x="757" y="1178"/>
                      <a:pt x="756" y="1178"/>
                    </a:cubicBezTo>
                    <a:close/>
                    <a:moveTo>
                      <a:pt x="742" y="1156"/>
                    </a:moveTo>
                    <a:cubicBezTo>
                      <a:pt x="742" y="1156"/>
                      <a:pt x="742" y="1156"/>
                      <a:pt x="743" y="1157"/>
                    </a:cubicBezTo>
                    <a:cubicBezTo>
                      <a:pt x="743" y="1157"/>
                      <a:pt x="743" y="1157"/>
                      <a:pt x="743" y="1158"/>
                    </a:cubicBezTo>
                    <a:cubicBezTo>
                      <a:pt x="743" y="1158"/>
                      <a:pt x="743" y="1158"/>
                      <a:pt x="744" y="1158"/>
                    </a:cubicBezTo>
                    <a:cubicBezTo>
                      <a:pt x="744" y="1158"/>
                      <a:pt x="744" y="1158"/>
                      <a:pt x="745" y="1157"/>
                    </a:cubicBezTo>
                    <a:cubicBezTo>
                      <a:pt x="745" y="1157"/>
                      <a:pt x="745" y="1157"/>
                      <a:pt x="744" y="1156"/>
                    </a:cubicBezTo>
                    <a:cubicBezTo>
                      <a:pt x="744" y="1156"/>
                      <a:pt x="744" y="1156"/>
                      <a:pt x="742" y="1156"/>
                    </a:cubicBezTo>
                    <a:close/>
                    <a:moveTo>
                      <a:pt x="749" y="1169"/>
                    </a:moveTo>
                    <a:cubicBezTo>
                      <a:pt x="749" y="1169"/>
                      <a:pt x="749" y="1169"/>
                      <a:pt x="748" y="1170"/>
                    </a:cubicBezTo>
                    <a:cubicBezTo>
                      <a:pt x="748" y="1170"/>
                      <a:pt x="748" y="1170"/>
                      <a:pt x="749" y="1171"/>
                    </a:cubicBezTo>
                    <a:cubicBezTo>
                      <a:pt x="749" y="1171"/>
                      <a:pt x="749" y="1171"/>
                      <a:pt x="749" y="1172"/>
                    </a:cubicBezTo>
                    <a:cubicBezTo>
                      <a:pt x="749" y="1172"/>
                      <a:pt x="749" y="1172"/>
                      <a:pt x="748" y="1172"/>
                    </a:cubicBezTo>
                    <a:cubicBezTo>
                      <a:pt x="748" y="1172"/>
                      <a:pt x="748" y="1172"/>
                      <a:pt x="749" y="1173"/>
                    </a:cubicBezTo>
                    <a:cubicBezTo>
                      <a:pt x="749" y="1173"/>
                      <a:pt x="749" y="1173"/>
                      <a:pt x="750" y="1173"/>
                    </a:cubicBezTo>
                    <a:cubicBezTo>
                      <a:pt x="750" y="1173"/>
                      <a:pt x="750" y="1173"/>
                      <a:pt x="752" y="1172"/>
                    </a:cubicBezTo>
                    <a:cubicBezTo>
                      <a:pt x="752" y="1172"/>
                      <a:pt x="752" y="1172"/>
                      <a:pt x="753" y="1172"/>
                    </a:cubicBezTo>
                    <a:cubicBezTo>
                      <a:pt x="753" y="1172"/>
                      <a:pt x="753" y="1172"/>
                      <a:pt x="753" y="1171"/>
                    </a:cubicBezTo>
                    <a:cubicBezTo>
                      <a:pt x="753" y="1171"/>
                      <a:pt x="753" y="1171"/>
                      <a:pt x="751" y="1170"/>
                    </a:cubicBezTo>
                    <a:cubicBezTo>
                      <a:pt x="751" y="1170"/>
                      <a:pt x="751" y="1170"/>
                      <a:pt x="750" y="1170"/>
                    </a:cubicBezTo>
                    <a:cubicBezTo>
                      <a:pt x="750" y="1170"/>
                      <a:pt x="750" y="1170"/>
                      <a:pt x="749" y="1169"/>
                    </a:cubicBezTo>
                    <a:close/>
                    <a:moveTo>
                      <a:pt x="787" y="1204"/>
                    </a:moveTo>
                    <a:cubicBezTo>
                      <a:pt x="788" y="1205"/>
                      <a:pt x="788" y="1205"/>
                      <a:pt x="788" y="1205"/>
                    </a:cubicBezTo>
                    <a:cubicBezTo>
                      <a:pt x="788" y="1205"/>
                      <a:pt x="788" y="1205"/>
                      <a:pt x="789" y="1204"/>
                    </a:cubicBezTo>
                    <a:cubicBezTo>
                      <a:pt x="789" y="1204"/>
                      <a:pt x="789" y="1204"/>
                      <a:pt x="788" y="1204"/>
                    </a:cubicBezTo>
                    <a:cubicBezTo>
                      <a:pt x="788" y="1204"/>
                      <a:pt x="788" y="1204"/>
                      <a:pt x="787" y="1204"/>
                    </a:cubicBezTo>
                    <a:close/>
                    <a:moveTo>
                      <a:pt x="748" y="1165"/>
                    </a:moveTo>
                    <a:cubicBezTo>
                      <a:pt x="748" y="1165"/>
                      <a:pt x="748" y="1165"/>
                      <a:pt x="748" y="1166"/>
                    </a:cubicBezTo>
                    <a:cubicBezTo>
                      <a:pt x="748" y="1166"/>
                      <a:pt x="748" y="1166"/>
                      <a:pt x="748" y="1167"/>
                    </a:cubicBezTo>
                    <a:cubicBezTo>
                      <a:pt x="748" y="1167"/>
                      <a:pt x="748" y="1167"/>
                      <a:pt x="749" y="1167"/>
                    </a:cubicBezTo>
                    <a:cubicBezTo>
                      <a:pt x="749" y="1168"/>
                      <a:pt x="749" y="1168"/>
                      <a:pt x="749" y="1168"/>
                    </a:cubicBezTo>
                    <a:cubicBezTo>
                      <a:pt x="749" y="1168"/>
                      <a:pt x="749" y="1168"/>
                      <a:pt x="751" y="1170"/>
                    </a:cubicBezTo>
                    <a:cubicBezTo>
                      <a:pt x="751" y="1170"/>
                      <a:pt x="751" y="1170"/>
                      <a:pt x="752" y="1170"/>
                    </a:cubicBezTo>
                    <a:cubicBezTo>
                      <a:pt x="752" y="1170"/>
                      <a:pt x="752" y="1170"/>
                      <a:pt x="752" y="1169"/>
                    </a:cubicBezTo>
                    <a:cubicBezTo>
                      <a:pt x="752" y="1169"/>
                      <a:pt x="752" y="1169"/>
                      <a:pt x="751" y="1167"/>
                    </a:cubicBezTo>
                    <a:cubicBezTo>
                      <a:pt x="751" y="1167"/>
                      <a:pt x="751" y="1167"/>
                      <a:pt x="750" y="1166"/>
                    </a:cubicBezTo>
                    <a:cubicBezTo>
                      <a:pt x="750" y="1166"/>
                      <a:pt x="750" y="1166"/>
                      <a:pt x="749" y="1166"/>
                    </a:cubicBezTo>
                    <a:cubicBezTo>
                      <a:pt x="749" y="1166"/>
                      <a:pt x="749" y="1166"/>
                      <a:pt x="748" y="1165"/>
                    </a:cubicBezTo>
                    <a:close/>
                    <a:moveTo>
                      <a:pt x="749" y="1164"/>
                    </a:moveTo>
                    <a:cubicBezTo>
                      <a:pt x="749" y="1164"/>
                      <a:pt x="749" y="1164"/>
                      <a:pt x="750" y="1166"/>
                    </a:cubicBezTo>
                    <a:cubicBezTo>
                      <a:pt x="750" y="1166"/>
                      <a:pt x="750" y="1166"/>
                      <a:pt x="751" y="1166"/>
                    </a:cubicBezTo>
                    <a:cubicBezTo>
                      <a:pt x="751" y="1166"/>
                      <a:pt x="751" y="1166"/>
                      <a:pt x="753" y="1168"/>
                    </a:cubicBezTo>
                    <a:cubicBezTo>
                      <a:pt x="753" y="1168"/>
                      <a:pt x="753" y="1168"/>
                      <a:pt x="752" y="1166"/>
                    </a:cubicBezTo>
                    <a:cubicBezTo>
                      <a:pt x="752" y="1166"/>
                      <a:pt x="752" y="1166"/>
                      <a:pt x="751" y="1164"/>
                    </a:cubicBezTo>
                    <a:cubicBezTo>
                      <a:pt x="751" y="1164"/>
                      <a:pt x="751" y="1164"/>
                      <a:pt x="750" y="1164"/>
                    </a:cubicBezTo>
                    <a:cubicBezTo>
                      <a:pt x="750" y="1164"/>
                      <a:pt x="750" y="1164"/>
                      <a:pt x="749" y="1164"/>
                    </a:cubicBezTo>
                    <a:close/>
                    <a:moveTo>
                      <a:pt x="754" y="1176"/>
                    </a:moveTo>
                    <a:cubicBezTo>
                      <a:pt x="754" y="1176"/>
                      <a:pt x="754" y="1176"/>
                      <a:pt x="753" y="1175"/>
                    </a:cubicBezTo>
                    <a:cubicBezTo>
                      <a:pt x="753" y="1175"/>
                      <a:pt x="753" y="1175"/>
                      <a:pt x="752" y="1175"/>
                    </a:cubicBezTo>
                    <a:cubicBezTo>
                      <a:pt x="752" y="1175"/>
                      <a:pt x="752" y="1175"/>
                      <a:pt x="751" y="1174"/>
                    </a:cubicBezTo>
                    <a:cubicBezTo>
                      <a:pt x="751" y="1174"/>
                      <a:pt x="751" y="1174"/>
                      <a:pt x="750" y="1174"/>
                    </a:cubicBezTo>
                    <a:cubicBezTo>
                      <a:pt x="750" y="1174"/>
                      <a:pt x="750" y="1174"/>
                      <a:pt x="751" y="1175"/>
                    </a:cubicBezTo>
                    <a:cubicBezTo>
                      <a:pt x="751" y="1175"/>
                      <a:pt x="751" y="1175"/>
                      <a:pt x="750" y="1176"/>
                    </a:cubicBezTo>
                    <a:cubicBezTo>
                      <a:pt x="750" y="1176"/>
                      <a:pt x="750" y="1176"/>
                      <a:pt x="750" y="1177"/>
                    </a:cubicBezTo>
                    <a:cubicBezTo>
                      <a:pt x="750" y="1177"/>
                      <a:pt x="750" y="1177"/>
                      <a:pt x="751" y="1178"/>
                    </a:cubicBezTo>
                    <a:cubicBezTo>
                      <a:pt x="751" y="1178"/>
                      <a:pt x="751" y="1178"/>
                      <a:pt x="752" y="1178"/>
                    </a:cubicBezTo>
                    <a:cubicBezTo>
                      <a:pt x="752" y="1178"/>
                      <a:pt x="752" y="1178"/>
                      <a:pt x="751" y="1177"/>
                    </a:cubicBezTo>
                    <a:cubicBezTo>
                      <a:pt x="751" y="1177"/>
                      <a:pt x="751" y="1177"/>
                      <a:pt x="752" y="1176"/>
                    </a:cubicBezTo>
                    <a:cubicBezTo>
                      <a:pt x="752" y="1176"/>
                      <a:pt x="752" y="1176"/>
                      <a:pt x="752" y="1177"/>
                    </a:cubicBezTo>
                    <a:cubicBezTo>
                      <a:pt x="752" y="1177"/>
                      <a:pt x="752" y="1177"/>
                      <a:pt x="753" y="1178"/>
                    </a:cubicBezTo>
                    <a:cubicBezTo>
                      <a:pt x="753" y="1178"/>
                      <a:pt x="753" y="1178"/>
                      <a:pt x="754" y="1177"/>
                    </a:cubicBezTo>
                    <a:cubicBezTo>
                      <a:pt x="754" y="1177"/>
                      <a:pt x="754" y="1177"/>
                      <a:pt x="755" y="1178"/>
                    </a:cubicBezTo>
                    <a:cubicBezTo>
                      <a:pt x="755" y="1178"/>
                      <a:pt x="755" y="1178"/>
                      <a:pt x="756" y="1178"/>
                    </a:cubicBezTo>
                    <a:cubicBezTo>
                      <a:pt x="756" y="1178"/>
                      <a:pt x="756" y="1178"/>
                      <a:pt x="755" y="1177"/>
                    </a:cubicBezTo>
                    <a:cubicBezTo>
                      <a:pt x="755" y="1177"/>
                      <a:pt x="755" y="1177"/>
                      <a:pt x="754" y="1176"/>
                    </a:cubicBezTo>
                    <a:close/>
                    <a:moveTo>
                      <a:pt x="796" y="1202"/>
                    </a:moveTo>
                    <a:cubicBezTo>
                      <a:pt x="796" y="1202"/>
                      <a:pt x="796" y="1202"/>
                      <a:pt x="794" y="1203"/>
                    </a:cubicBezTo>
                    <a:cubicBezTo>
                      <a:pt x="794" y="1203"/>
                      <a:pt x="794" y="1203"/>
                      <a:pt x="791" y="1204"/>
                    </a:cubicBezTo>
                    <a:cubicBezTo>
                      <a:pt x="791" y="1204"/>
                      <a:pt x="791" y="1204"/>
                      <a:pt x="790" y="1204"/>
                    </a:cubicBezTo>
                    <a:cubicBezTo>
                      <a:pt x="790" y="1204"/>
                      <a:pt x="790" y="1204"/>
                      <a:pt x="789" y="1204"/>
                    </a:cubicBezTo>
                    <a:cubicBezTo>
                      <a:pt x="789" y="1204"/>
                      <a:pt x="789" y="1204"/>
                      <a:pt x="790" y="1205"/>
                    </a:cubicBezTo>
                    <a:cubicBezTo>
                      <a:pt x="790" y="1205"/>
                      <a:pt x="790" y="1205"/>
                      <a:pt x="788" y="1206"/>
                    </a:cubicBezTo>
                    <a:cubicBezTo>
                      <a:pt x="788" y="1206"/>
                      <a:pt x="788" y="1206"/>
                      <a:pt x="787" y="1206"/>
                    </a:cubicBezTo>
                    <a:cubicBezTo>
                      <a:pt x="787" y="1206"/>
                      <a:pt x="787" y="1206"/>
                      <a:pt x="787" y="1207"/>
                    </a:cubicBezTo>
                    <a:cubicBezTo>
                      <a:pt x="787" y="1207"/>
                      <a:pt x="787" y="1207"/>
                      <a:pt x="788" y="1207"/>
                    </a:cubicBezTo>
                    <a:cubicBezTo>
                      <a:pt x="788" y="1207"/>
                      <a:pt x="788" y="1207"/>
                      <a:pt x="789" y="1207"/>
                    </a:cubicBezTo>
                    <a:cubicBezTo>
                      <a:pt x="789" y="1207"/>
                      <a:pt x="789" y="1207"/>
                      <a:pt x="788" y="1208"/>
                    </a:cubicBezTo>
                    <a:cubicBezTo>
                      <a:pt x="788" y="1208"/>
                      <a:pt x="788" y="1208"/>
                      <a:pt x="789" y="1208"/>
                    </a:cubicBezTo>
                    <a:cubicBezTo>
                      <a:pt x="789" y="1208"/>
                      <a:pt x="789" y="1208"/>
                      <a:pt x="790" y="1209"/>
                    </a:cubicBezTo>
                    <a:cubicBezTo>
                      <a:pt x="790" y="1209"/>
                      <a:pt x="790" y="1209"/>
                      <a:pt x="790" y="1208"/>
                    </a:cubicBezTo>
                    <a:cubicBezTo>
                      <a:pt x="790" y="1208"/>
                      <a:pt x="790" y="1208"/>
                      <a:pt x="792" y="1209"/>
                    </a:cubicBezTo>
                    <a:cubicBezTo>
                      <a:pt x="792" y="1209"/>
                      <a:pt x="792" y="1209"/>
                      <a:pt x="793" y="1208"/>
                    </a:cubicBezTo>
                    <a:cubicBezTo>
                      <a:pt x="793" y="1208"/>
                      <a:pt x="793" y="1208"/>
                      <a:pt x="792" y="1207"/>
                    </a:cubicBezTo>
                    <a:cubicBezTo>
                      <a:pt x="792" y="1207"/>
                      <a:pt x="792" y="1207"/>
                      <a:pt x="793" y="1207"/>
                    </a:cubicBezTo>
                    <a:cubicBezTo>
                      <a:pt x="793" y="1207"/>
                      <a:pt x="793" y="1207"/>
                      <a:pt x="793" y="1208"/>
                    </a:cubicBezTo>
                    <a:cubicBezTo>
                      <a:pt x="793" y="1208"/>
                      <a:pt x="793" y="1208"/>
                      <a:pt x="794" y="1208"/>
                    </a:cubicBezTo>
                    <a:cubicBezTo>
                      <a:pt x="794" y="1208"/>
                      <a:pt x="794" y="1208"/>
                      <a:pt x="795" y="1208"/>
                    </a:cubicBezTo>
                    <a:cubicBezTo>
                      <a:pt x="795" y="1208"/>
                      <a:pt x="795" y="1208"/>
                      <a:pt x="796" y="1208"/>
                    </a:cubicBezTo>
                    <a:cubicBezTo>
                      <a:pt x="796" y="1208"/>
                      <a:pt x="796" y="1208"/>
                      <a:pt x="798" y="1209"/>
                    </a:cubicBezTo>
                    <a:cubicBezTo>
                      <a:pt x="798" y="1209"/>
                      <a:pt x="798" y="1209"/>
                      <a:pt x="798" y="1208"/>
                    </a:cubicBezTo>
                    <a:cubicBezTo>
                      <a:pt x="798" y="1208"/>
                      <a:pt x="798" y="1208"/>
                      <a:pt x="797" y="1207"/>
                    </a:cubicBezTo>
                    <a:cubicBezTo>
                      <a:pt x="797" y="1207"/>
                      <a:pt x="797" y="1207"/>
                      <a:pt x="796" y="1207"/>
                    </a:cubicBezTo>
                    <a:cubicBezTo>
                      <a:pt x="796" y="1207"/>
                      <a:pt x="796" y="1207"/>
                      <a:pt x="796" y="1206"/>
                    </a:cubicBezTo>
                    <a:cubicBezTo>
                      <a:pt x="796" y="1206"/>
                      <a:pt x="796" y="1206"/>
                      <a:pt x="794" y="1206"/>
                    </a:cubicBezTo>
                    <a:cubicBezTo>
                      <a:pt x="794" y="1206"/>
                      <a:pt x="794" y="1206"/>
                      <a:pt x="793" y="1205"/>
                    </a:cubicBezTo>
                    <a:cubicBezTo>
                      <a:pt x="793" y="1205"/>
                      <a:pt x="793" y="1205"/>
                      <a:pt x="794" y="1205"/>
                    </a:cubicBezTo>
                    <a:cubicBezTo>
                      <a:pt x="794" y="1205"/>
                      <a:pt x="794" y="1205"/>
                      <a:pt x="795" y="1205"/>
                    </a:cubicBezTo>
                    <a:cubicBezTo>
                      <a:pt x="795" y="1205"/>
                      <a:pt x="795" y="1205"/>
                      <a:pt x="796" y="1204"/>
                    </a:cubicBezTo>
                    <a:cubicBezTo>
                      <a:pt x="796" y="1204"/>
                      <a:pt x="796" y="1204"/>
                      <a:pt x="797" y="1204"/>
                    </a:cubicBezTo>
                    <a:cubicBezTo>
                      <a:pt x="797" y="1204"/>
                      <a:pt x="797" y="1204"/>
                      <a:pt x="797" y="1205"/>
                    </a:cubicBezTo>
                    <a:cubicBezTo>
                      <a:pt x="797" y="1205"/>
                      <a:pt x="797" y="1205"/>
                      <a:pt x="798" y="1206"/>
                    </a:cubicBezTo>
                    <a:cubicBezTo>
                      <a:pt x="798" y="1206"/>
                      <a:pt x="798" y="1206"/>
                      <a:pt x="799" y="1205"/>
                    </a:cubicBezTo>
                    <a:cubicBezTo>
                      <a:pt x="799" y="1205"/>
                      <a:pt x="799" y="1205"/>
                      <a:pt x="800" y="1205"/>
                    </a:cubicBezTo>
                    <a:cubicBezTo>
                      <a:pt x="800" y="1205"/>
                      <a:pt x="800" y="1205"/>
                      <a:pt x="801" y="1205"/>
                    </a:cubicBezTo>
                    <a:cubicBezTo>
                      <a:pt x="801" y="1205"/>
                      <a:pt x="801" y="1205"/>
                      <a:pt x="802" y="1206"/>
                    </a:cubicBezTo>
                    <a:cubicBezTo>
                      <a:pt x="802" y="1206"/>
                      <a:pt x="802" y="1206"/>
                      <a:pt x="803" y="1205"/>
                    </a:cubicBezTo>
                    <a:cubicBezTo>
                      <a:pt x="803" y="1205"/>
                      <a:pt x="803" y="1205"/>
                      <a:pt x="803" y="1204"/>
                    </a:cubicBezTo>
                    <a:cubicBezTo>
                      <a:pt x="803" y="1204"/>
                      <a:pt x="803" y="1204"/>
                      <a:pt x="802" y="1203"/>
                    </a:cubicBezTo>
                    <a:cubicBezTo>
                      <a:pt x="802" y="1203"/>
                      <a:pt x="802" y="1203"/>
                      <a:pt x="801" y="1202"/>
                    </a:cubicBezTo>
                    <a:cubicBezTo>
                      <a:pt x="801" y="1202"/>
                      <a:pt x="801" y="1202"/>
                      <a:pt x="799" y="1202"/>
                    </a:cubicBezTo>
                    <a:cubicBezTo>
                      <a:pt x="799" y="1202"/>
                      <a:pt x="799" y="1202"/>
                      <a:pt x="798" y="1203"/>
                    </a:cubicBezTo>
                    <a:cubicBezTo>
                      <a:pt x="798" y="1203"/>
                      <a:pt x="798" y="1203"/>
                      <a:pt x="796" y="1202"/>
                    </a:cubicBezTo>
                    <a:close/>
                    <a:moveTo>
                      <a:pt x="779" y="1206"/>
                    </a:moveTo>
                    <a:cubicBezTo>
                      <a:pt x="779" y="1206"/>
                      <a:pt x="779" y="1206"/>
                      <a:pt x="779" y="1205"/>
                    </a:cubicBezTo>
                    <a:cubicBezTo>
                      <a:pt x="779" y="1205"/>
                      <a:pt x="779" y="1205"/>
                      <a:pt x="778" y="1205"/>
                    </a:cubicBezTo>
                    <a:cubicBezTo>
                      <a:pt x="778" y="1205"/>
                      <a:pt x="778" y="1205"/>
                      <a:pt x="779" y="1206"/>
                    </a:cubicBezTo>
                    <a:close/>
                    <a:moveTo>
                      <a:pt x="758" y="1182"/>
                    </a:moveTo>
                    <a:cubicBezTo>
                      <a:pt x="758" y="1182"/>
                      <a:pt x="758" y="1182"/>
                      <a:pt x="757" y="1182"/>
                    </a:cubicBezTo>
                    <a:cubicBezTo>
                      <a:pt x="757" y="1182"/>
                      <a:pt x="757" y="1182"/>
                      <a:pt x="756" y="1183"/>
                    </a:cubicBezTo>
                    <a:cubicBezTo>
                      <a:pt x="756" y="1183"/>
                      <a:pt x="756" y="1183"/>
                      <a:pt x="758" y="1183"/>
                    </a:cubicBezTo>
                    <a:cubicBezTo>
                      <a:pt x="758" y="1183"/>
                      <a:pt x="758" y="1183"/>
                      <a:pt x="758" y="1184"/>
                    </a:cubicBezTo>
                    <a:cubicBezTo>
                      <a:pt x="758" y="1184"/>
                      <a:pt x="758" y="1184"/>
                      <a:pt x="759" y="1184"/>
                    </a:cubicBezTo>
                    <a:cubicBezTo>
                      <a:pt x="759" y="1184"/>
                      <a:pt x="759" y="1184"/>
                      <a:pt x="760" y="1183"/>
                    </a:cubicBezTo>
                    <a:cubicBezTo>
                      <a:pt x="760" y="1183"/>
                      <a:pt x="760" y="1183"/>
                      <a:pt x="759" y="1182"/>
                    </a:cubicBezTo>
                    <a:cubicBezTo>
                      <a:pt x="759" y="1182"/>
                      <a:pt x="759" y="1182"/>
                      <a:pt x="758" y="1182"/>
                    </a:cubicBezTo>
                    <a:close/>
                    <a:moveTo>
                      <a:pt x="758" y="1180"/>
                    </a:moveTo>
                    <a:cubicBezTo>
                      <a:pt x="758" y="1180"/>
                      <a:pt x="758" y="1180"/>
                      <a:pt x="756" y="1179"/>
                    </a:cubicBezTo>
                    <a:cubicBezTo>
                      <a:pt x="756" y="1179"/>
                      <a:pt x="756" y="1179"/>
                      <a:pt x="756" y="1180"/>
                    </a:cubicBezTo>
                    <a:cubicBezTo>
                      <a:pt x="756" y="1180"/>
                      <a:pt x="756" y="1180"/>
                      <a:pt x="758" y="1182"/>
                    </a:cubicBezTo>
                    <a:cubicBezTo>
                      <a:pt x="758" y="1182"/>
                      <a:pt x="758" y="1182"/>
                      <a:pt x="758" y="1181"/>
                    </a:cubicBezTo>
                    <a:cubicBezTo>
                      <a:pt x="758" y="1181"/>
                      <a:pt x="758" y="1181"/>
                      <a:pt x="758" y="1180"/>
                    </a:cubicBezTo>
                    <a:close/>
                    <a:moveTo>
                      <a:pt x="784" y="1182"/>
                    </a:moveTo>
                    <a:cubicBezTo>
                      <a:pt x="784" y="1182"/>
                      <a:pt x="784" y="1182"/>
                      <a:pt x="784" y="1183"/>
                    </a:cubicBezTo>
                    <a:cubicBezTo>
                      <a:pt x="784" y="1183"/>
                      <a:pt x="784" y="1183"/>
                      <a:pt x="783" y="1184"/>
                    </a:cubicBezTo>
                    <a:cubicBezTo>
                      <a:pt x="783" y="1184"/>
                      <a:pt x="783" y="1184"/>
                      <a:pt x="782" y="1184"/>
                    </a:cubicBezTo>
                    <a:cubicBezTo>
                      <a:pt x="782" y="1184"/>
                      <a:pt x="782" y="1184"/>
                      <a:pt x="781" y="1184"/>
                    </a:cubicBezTo>
                    <a:cubicBezTo>
                      <a:pt x="781" y="1184"/>
                      <a:pt x="781" y="1184"/>
                      <a:pt x="780" y="1183"/>
                    </a:cubicBezTo>
                    <a:cubicBezTo>
                      <a:pt x="780" y="1183"/>
                      <a:pt x="780" y="1183"/>
                      <a:pt x="780" y="1184"/>
                    </a:cubicBezTo>
                    <a:cubicBezTo>
                      <a:pt x="780" y="1184"/>
                      <a:pt x="780" y="1184"/>
                      <a:pt x="780" y="1185"/>
                    </a:cubicBezTo>
                    <a:cubicBezTo>
                      <a:pt x="780" y="1185"/>
                      <a:pt x="780" y="1185"/>
                      <a:pt x="781" y="1185"/>
                    </a:cubicBezTo>
                    <a:cubicBezTo>
                      <a:pt x="781" y="1185"/>
                      <a:pt x="781" y="1185"/>
                      <a:pt x="781" y="1186"/>
                    </a:cubicBezTo>
                    <a:cubicBezTo>
                      <a:pt x="781" y="1186"/>
                      <a:pt x="781" y="1186"/>
                      <a:pt x="780" y="1187"/>
                    </a:cubicBezTo>
                    <a:cubicBezTo>
                      <a:pt x="780" y="1187"/>
                      <a:pt x="780" y="1187"/>
                      <a:pt x="780" y="1188"/>
                    </a:cubicBezTo>
                    <a:cubicBezTo>
                      <a:pt x="780" y="1188"/>
                      <a:pt x="780" y="1188"/>
                      <a:pt x="781" y="1189"/>
                    </a:cubicBezTo>
                    <a:cubicBezTo>
                      <a:pt x="781" y="1189"/>
                      <a:pt x="781" y="1189"/>
                      <a:pt x="782" y="1191"/>
                    </a:cubicBezTo>
                    <a:cubicBezTo>
                      <a:pt x="782" y="1191"/>
                      <a:pt x="782" y="1191"/>
                      <a:pt x="783" y="1190"/>
                    </a:cubicBezTo>
                    <a:cubicBezTo>
                      <a:pt x="783" y="1190"/>
                      <a:pt x="783" y="1190"/>
                      <a:pt x="784" y="1189"/>
                    </a:cubicBezTo>
                    <a:cubicBezTo>
                      <a:pt x="784" y="1189"/>
                      <a:pt x="784" y="1189"/>
                      <a:pt x="785" y="1188"/>
                    </a:cubicBezTo>
                    <a:cubicBezTo>
                      <a:pt x="785" y="1188"/>
                      <a:pt x="785" y="1188"/>
                      <a:pt x="787" y="1188"/>
                    </a:cubicBezTo>
                    <a:cubicBezTo>
                      <a:pt x="787" y="1188"/>
                      <a:pt x="787" y="1188"/>
                      <a:pt x="787" y="1190"/>
                    </a:cubicBezTo>
                    <a:cubicBezTo>
                      <a:pt x="787" y="1190"/>
                      <a:pt x="787" y="1190"/>
                      <a:pt x="786" y="1191"/>
                    </a:cubicBezTo>
                    <a:cubicBezTo>
                      <a:pt x="786" y="1191"/>
                      <a:pt x="786" y="1191"/>
                      <a:pt x="785" y="1191"/>
                    </a:cubicBezTo>
                    <a:cubicBezTo>
                      <a:pt x="785" y="1191"/>
                      <a:pt x="785" y="1191"/>
                      <a:pt x="785" y="1192"/>
                    </a:cubicBezTo>
                    <a:cubicBezTo>
                      <a:pt x="785" y="1192"/>
                      <a:pt x="785" y="1192"/>
                      <a:pt x="783" y="1193"/>
                    </a:cubicBezTo>
                    <a:cubicBezTo>
                      <a:pt x="783" y="1193"/>
                      <a:pt x="783" y="1193"/>
                      <a:pt x="783" y="1194"/>
                    </a:cubicBezTo>
                    <a:cubicBezTo>
                      <a:pt x="783" y="1194"/>
                      <a:pt x="783" y="1194"/>
                      <a:pt x="784" y="1195"/>
                    </a:cubicBezTo>
                    <a:cubicBezTo>
                      <a:pt x="784" y="1195"/>
                      <a:pt x="784" y="1195"/>
                      <a:pt x="785" y="1196"/>
                    </a:cubicBezTo>
                    <a:cubicBezTo>
                      <a:pt x="785" y="1196"/>
                      <a:pt x="785" y="1196"/>
                      <a:pt x="787" y="1196"/>
                    </a:cubicBezTo>
                    <a:cubicBezTo>
                      <a:pt x="787" y="1196"/>
                      <a:pt x="787" y="1196"/>
                      <a:pt x="789" y="1197"/>
                    </a:cubicBezTo>
                    <a:cubicBezTo>
                      <a:pt x="789" y="1197"/>
                      <a:pt x="789" y="1197"/>
                      <a:pt x="792" y="1199"/>
                    </a:cubicBezTo>
                    <a:cubicBezTo>
                      <a:pt x="792" y="1199"/>
                      <a:pt x="792" y="1199"/>
                      <a:pt x="793" y="1199"/>
                    </a:cubicBezTo>
                    <a:cubicBezTo>
                      <a:pt x="794" y="1199"/>
                      <a:pt x="794" y="1199"/>
                      <a:pt x="794" y="1199"/>
                    </a:cubicBezTo>
                    <a:cubicBezTo>
                      <a:pt x="796" y="1199"/>
                      <a:pt x="796" y="1199"/>
                      <a:pt x="796" y="1199"/>
                    </a:cubicBezTo>
                    <a:cubicBezTo>
                      <a:pt x="797" y="1199"/>
                      <a:pt x="797" y="1199"/>
                      <a:pt x="797" y="1199"/>
                    </a:cubicBezTo>
                    <a:cubicBezTo>
                      <a:pt x="799" y="1198"/>
                      <a:pt x="799" y="1198"/>
                      <a:pt x="799" y="1198"/>
                    </a:cubicBezTo>
                    <a:cubicBezTo>
                      <a:pt x="799" y="1199"/>
                      <a:pt x="799" y="1199"/>
                      <a:pt x="799" y="1199"/>
                    </a:cubicBezTo>
                    <a:cubicBezTo>
                      <a:pt x="798" y="1199"/>
                      <a:pt x="798" y="1199"/>
                      <a:pt x="798" y="1199"/>
                    </a:cubicBezTo>
                    <a:cubicBezTo>
                      <a:pt x="796" y="1200"/>
                      <a:pt x="796" y="1200"/>
                      <a:pt x="796" y="1200"/>
                    </a:cubicBezTo>
                    <a:cubicBezTo>
                      <a:pt x="793" y="1200"/>
                      <a:pt x="793" y="1200"/>
                      <a:pt x="793" y="1200"/>
                    </a:cubicBezTo>
                    <a:cubicBezTo>
                      <a:pt x="791" y="1199"/>
                      <a:pt x="791" y="1199"/>
                      <a:pt x="791" y="1199"/>
                    </a:cubicBezTo>
                    <a:cubicBezTo>
                      <a:pt x="789" y="1198"/>
                      <a:pt x="789" y="1198"/>
                      <a:pt x="789" y="1198"/>
                    </a:cubicBezTo>
                    <a:cubicBezTo>
                      <a:pt x="786" y="1197"/>
                      <a:pt x="786" y="1197"/>
                      <a:pt x="786" y="1197"/>
                    </a:cubicBezTo>
                    <a:cubicBezTo>
                      <a:pt x="785" y="1197"/>
                      <a:pt x="785" y="1197"/>
                      <a:pt x="785" y="1197"/>
                    </a:cubicBezTo>
                    <a:cubicBezTo>
                      <a:pt x="784" y="1197"/>
                      <a:pt x="784" y="1197"/>
                      <a:pt x="784" y="1197"/>
                    </a:cubicBezTo>
                    <a:cubicBezTo>
                      <a:pt x="785" y="1198"/>
                      <a:pt x="785" y="1198"/>
                      <a:pt x="785" y="1198"/>
                    </a:cubicBezTo>
                    <a:cubicBezTo>
                      <a:pt x="784" y="1198"/>
                      <a:pt x="784" y="1198"/>
                      <a:pt x="784" y="1198"/>
                    </a:cubicBezTo>
                    <a:cubicBezTo>
                      <a:pt x="782" y="1197"/>
                      <a:pt x="782" y="1197"/>
                      <a:pt x="782" y="1197"/>
                    </a:cubicBezTo>
                    <a:cubicBezTo>
                      <a:pt x="781" y="1196"/>
                      <a:pt x="781" y="1196"/>
                      <a:pt x="781" y="1196"/>
                    </a:cubicBezTo>
                    <a:cubicBezTo>
                      <a:pt x="780" y="1197"/>
                      <a:pt x="780" y="1197"/>
                      <a:pt x="780" y="1197"/>
                    </a:cubicBezTo>
                    <a:cubicBezTo>
                      <a:pt x="781" y="1197"/>
                      <a:pt x="781" y="1197"/>
                      <a:pt x="781" y="1197"/>
                    </a:cubicBezTo>
                    <a:cubicBezTo>
                      <a:pt x="783" y="1199"/>
                      <a:pt x="783" y="1199"/>
                      <a:pt x="783" y="1199"/>
                    </a:cubicBezTo>
                    <a:cubicBezTo>
                      <a:pt x="783" y="1200"/>
                      <a:pt x="783" y="1200"/>
                      <a:pt x="783" y="1200"/>
                    </a:cubicBezTo>
                    <a:cubicBezTo>
                      <a:pt x="782" y="1200"/>
                      <a:pt x="782" y="1200"/>
                      <a:pt x="782" y="1200"/>
                    </a:cubicBezTo>
                    <a:cubicBezTo>
                      <a:pt x="782" y="1199"/>
                      <a:pt x="782" y="1199"/>
                      <a:pt x="782" y="1199"/>
                    </a:cubicBezTo>
                    <a:cubicBezTo>
                      <a:pt x="780" y="1198"/>
                      <a:pt x="780" y="1198"/>
                      <a:pt x="780" y="1198"/>
                    </a:cubicBezTo>
                    <a:cubicBezTo>
                      <a:pt x="780" y="1199"/>
                      <a:pt x="780" y="1199"/>
                      <a:pt x="780" y="1199"/>
                    </a:cubicBezTo>
                    <a:cubicBezTo>
                      <a:pt x="779" y="1200"/>
                      <a:pt x="779" y="1200"/>
                      <a:pt x="779" y="1200"/>
                    </a:cubicBezTo>
                    <a:cubicBezTo>
                      <a:pt x="777" y="1200"/>
                      <a:pt x="777" y="1200"/>
                      <a:pt x="777" y="1200"/>
                    </a:cubicBezTo>
                    <a:cubicBezTo>
                      <a:pt x="777" y="1201"/>
                      <a:pt x="777" y="1201"/>
                      <a:pt x="777" y="1201"/>
                    </a:cubicBezTo>
                    <a:cubicBezTo>
                      <a:pt x="776" y="1201"/>
                      <a:pt x="776" y="1201"/>
                      <a:pt x="776" y="1201"/>
                    </a:cubicBezTo>
                    <a:cubicBezTo>
                      <a:pt x="775" y="1201"/>
                      <a:pt x="775" y="1201"/>
                      <a:pt x="775" y="1201"/>
                    </a:cubicBezTo>
                    <a:cubicBezTo>
                      <a:pt x="775" y="1202"/>
                      <a:pt x="775" y="1202"/>
                      <a:pt x="775" y="1202"/>
                    </a:cubicBezTo>
                    <a:cubicBezTo>
                      <a:pt x="776" y="1202"/>
                      <a:pt x="776" y="1202"/>
                      <a:pt x="776" y="1202"/>
                    </a:cubicBezTo>
                    <a:cubicBezTo>
                      <a:pt x="778" y="1202"/>
                      <a:pt x="778" y="1202"/>
                      <a:pt x="778" y="1202"/>
                    </a:cubicBezTo>
                    <a:cubicBezTo>
                      <a:pt x="778" y="1201"/>
                      <a:pt x="778" y="1201"/>
                      <a:pt x="778" y="1201"/>
                    </a:cubicBezTo>
                    <a:cubicBezTo>
                      <a:pt x="779" y="1201"/>
                      <a:pt x="779" y="1201"/>
                      <a:pt x="779" y="1201"/>
                    </a:cubicBezTo>
                    <a:cubicBezTo>
                      <a:pt x="780" y="1202"/>
                      <a:pt x="780" y="1202"/>
                      <a:pt x="780" y="1202"/>
                    </a:cubicBezTo>
                    <a:cubicBezTo>
                      <a:pt x="781" y="1202"/>
                      <a:pt x="781" y="1202"/>
                      <a:pt x="781" y="1202"/>
                    </a:cubicBezTo>
                    <a:cubicBezTo>
                      <a:pt x="781" y="1203"/>
                      <a:pt x="781" y="1203"/>
                      <a:pt x="781" y="1203"/>
                    </a:cubicBezTo>
                    <a:cubicBezTo>
                      <a:pt x="782" y="1203"/>
                      <a:pt x="782" y="1203"/>
                      <a:pt x="782" y="1203"/>
                    </a:cubicBezTo>
                    <a:cubicBezTo>
                      <a:pt x="781" y="1204"/>
                      <a:pt x="781" y="1204"/>
                      <a:pt x="781" y="1204"/>
                    </a:cubicBezTo>
                    <a:cubicBezTo>
                      <a:pt x="781" y="1205"/>
                      <a:pt x="781" y="1205"/>
                      <a:pt x="781" y="1205"/>
                    </a:cubicBezTo>
                    <a:cubicBezTo>
                      <a:pt x="781" y="1206"/>
                      <a:pt x="781" y="1206"/>
                      <a:pt x="781" y="1206"/>
                    </a:cubicBezTo>
                    <a:cubicBezTo>
                      <a:pt x="782" y="1206"/>
                      <a:pt x="782" y="1206"/>
                      <a:pt x="782" y="1206"/>
                    </a:cubicBezTo>
                    <a:cubicBezTo>
                      <a:pt x="783" y="1206"/>
                      <a:pt x="783" y="1206"/>
                      <a:pt x="783" y="1206"/>
                    </a:cubicBezTo>
                    <a:cubicBezTo>
                      <a:pt x="784" y="1207"/>
                      <a:pt x="784" y="1207"/>
                      <a:pt x="784" y="1207"/>
                    </a:cubicBezTo>
                    <a:cubicBezTo>
                      <a:pt x="785" y="1207"/>
                      <a:pt x="785" y="1207"/>
                      <a:pt x="785" y="1207"/>
                    </a:cubicBezTo>
                    <a:cubicBezTo>
                      <a:pt x="784" y="1206"/>
                      <a:pt x="784" y="1206"/>
                      <a:pt x="784" y="1206"/>
                    </a:cubicBezTo>
                    <a:cubicBezTo>
                      <a:pt x="783" y="1205"/>
                      <a:pt x="783" y="1205"/>
                      <a:pt x="783" y="1205"/>
                    </a:cubicBezTo>
                    <a:cubicBezTo>
                      <a:pt x="784" y="1205"/>
                      <a:pt x="784" y="1205"/>
                      <a:pt x="784" y="1205"/>
                    </a:cubicBezTo>
                    <a:cubicBezTo>
                      <a:pt x="785" y="1205"/>
                      <a:pt x="785" y="1205"/>
                      <a:pt x="785" y="1205"/>
                    </a:cubicBezTo>
                    <a:cubicBezTo>
                      <a:pt x="785" y="1204"/>
                      <a:pt x="785" y="1204"/>
                      <a:pt x="785" y="1204"/>
                    </a:cubicBezTo>
                    <a:cubicBezTo>
                      <a:pt x="784" y="1204"/>
                      <a:pt x="784" y="1204"/>
                      <a:pt x="784" y="1204"/>
                    </a:cubicBezTo>
                    <a:cubicBezTo>
                      <a:pt x="783" y="1203"/>
                      <a:pt x="783" y="1203"/>
                      <a:pt x="783" y="1203"/>
                    </a:cubicBezTo>
                    <a:cubicBezTo>
                      <a:pt x="786" y="1202"/>
                      <a:pt x="786" y="1202"/>
                      <a:pt x="786" y="1202"/>
                    </a:cubicBezTo>
                    <a:cubicBezTo>
                      <a:pt x="787" y="1202"/>
                      <a:pt x="787" y="1202"/>
                      <a:pt x="787" y="1202"/>
                    </a:cubicBezTo>
                    <a:cubicBezTo>
                      <a:pt x="792" y="1203"/>
                      <a:pt x="792" y="1203"/>
                      <a:pt x="792" y="1203"/>
                    </a:cubicBezTo>
                    <a:cubicBezTo>
                      <a:pt x="793" y="1203"/>
                      <a:pt x="793" y="1203"/>
                      <a:pt x="793" y="1203"/>
                    </a:cubicBezTo>
                    <a:cubicBezTo>
                      <a:pt x="792" y="1202"/>
                      <a:pt x="792" y="1202"/>
                      <a:pt x="792" y="1202"/>
                    </a:cubicBezTo>
                    <a:cubicBezTo>
                      <a:pt x="794" y="1202"/>
                      <a:pt x="794" y="1202"/>
                      <a:pt x="794" y="1202"/>
                    </a:cubicBezTo>
                    <a:cubicBezTo>
                      <a:pt x="795" y="1202"/>
                      <a:pt x="795" y="1202"/>
                      <a:pt x="795" y="1202"/>
                    </a:cubicBezTo>
                    <a:cubicBezTo>
                      <a:pt x="797" y="1201"/>
                      <a:pt x="797" y="1201"/>
                      <a:pt x="797" y="1201"/>
                    </a:cubicBezTo>
                    <a:cubicBezTo>
                      <a:pt x="799" y="1202"/>
                      <a:pt x="799" y="1202"/>
                      <a:pt x="799" y="1202"/>
                    </a:cubicBezTo>
                    <a:cubicBezTo>
                      <a:pt x="801" y="1201"/>
                      <a:pt x="801" y="1201"/>
                      <a:pt x="801" y="1201"/>
                    </a:cubicBezTo>
                    <a:cubicBezTo>
                      <a:pt x="804" y="1202"/>
                      <a:pt x="804" y="1202"/>
                      <a:pt x="804" y="1202"/>
                    </a:cubicBezTo>
                    <a:cubicBezTo>
                      <a:pt x="805" y="1202"/>
                      <a:pt x="805" y="1202"/>
                      <a:pt x="805" y="1202"/>
                    </a:cubicBezTo>
                    <a:cubicBezTo>
                      <a:pt x="807" y="1203"/>
                      <a:pt x="807" y="1203"/>
                      <a:pt x="807" y="1203"/>
                    </a:cubicBezTo>
                    <a:cubicBezTo>
                      <a:pt x="808" y="1203"/>
                      <a:pt x="808" y="1203"/>
                      <a:pt x="808" y="1203"/>
                    </a:cubicBezTo>
                    <a:cubicBezTo>
                      <a:pt x="809" y="1201"/>
                      <a:pt x="809" y="1201"/>
                      <a:pt x="809" y="1201"/>
                    </a:cubicBezTo>
                    <a:cubicBezTo>
                      <a:pt x="809" y="1200"/>
                      <a:pt x="809" y="1200"/>
                      <a:pt x="809" y="1200"/>
                    </a:cubicBezTo>
                    <a:cubicBezTo>
                      <a:pt x="811" y="1200"/>
                      <a:pt x="811" y="1200"/>
                      <a:pt x="811" y="1200"/>
                    </a:cubicBezTo>
                    <a:cubicBezTo>
                      <a:pt x="813" y="1200"/>
                      <a:pt x="813" y="1200"/>
                      <a:pt x="813" y="1200"/>
                    </a:cubicBezTo>
                    <a:cubicBezTo>
                      <a:pt x="813" y="1198"/>
                      <a:pt x="813" y="1198"/>
                      <a:pt x="813" y="1198"/>
                    </a:cubicBezTo>
                    <a:cubicBezTo>
                      <a:pt x="812" y="1198"/>
                      <a:pt x="812" y="1198"/>
                      <a:pt x="812" y="1198"/>
                    </a:cubicBezTo>
                    <a:cubicBezTo>
                      <a:pt x="809" y="1199"/>
                      <a:pt x="809" y="1199"/>
                      <a:pt x="809" y="1199"/>
                    </a:cubicBezTo>
                    <a:cubicBezTo>
                      <a:pt x="808" y="1198"/>
                      <a:pt x="808" y="1198"/>
                      <a:pt x="808" y="1198"/>
                    </a:cubicBezTo>
                    <a:cubicBezTo>
                      <a:pt x="806" y="1197"/>
                      <a:pt x="806" y="1197"/>
                      <a:pt x="806" y="1197"/>
                    </a:cubicBezTo>
                    <a:cubicBezTo>
                      <a:pt x="805" y="1197"/>
                      <a:pt x="805" y="1197"/>
                      <a:pt x="805" y="1197"/>
                    </a:cubicBezTo>
                    <a:cubicBezTo>
                      <a:pt x="804" y="1196"/>
                      <a:pt x="804" y="1196"/>
                      <a:pt x="804" y="1196"/>
                    </a:cubicBezTo>
                    <a:cubicBezTo>
                      <a:pt x="799" y="1194"/>
                      <a:pt x="799" y="1194"/>
                      <a:pt x="799" y="1194"/>
                    </a:cubicBezTo>
                    <a:cubicBezTo>
                      <a:pt x="798" y="1194"/>
                      <a:pt x="798" y="1194"/>
                      <a:pt x="798" y="1194"/>
                    </a:cubicBezTo>
                    <a:cubicBezTo>
                      <a:pt x="798" y="1192"/>
                      <a:pt x="798" y="1192"/>
                      <a:pt x="798" y="1192"/>
                    </a:cubicBezTo>
                    <a:cubicBezTo>
                      <a:pt x="796" y="1191"/>
                      <a:pt x="796" y="1191"/>
                      <a:pt x="796" y="1191"/>
                    </a:cubicBezTo>
                    <a:cubicBezTo>
                      <a:pt x="794" y="1191"/>
                      <a:pt x="794" y="1191"/>
                      <a:pt x="794" y="1191"/>
                    </a:cubicBezTo>
                    <a:cubicBezTo>
                      <a:pt x="794" y="1189"/>
                      <a:pt x="794" y="1189"/>
                      <a:pt x="794" y="1189"/>
                    </a:cubicBezTo>
                    <a:cubicBezTo>
                      <a:pt x="793" y="1188"/>
                      <a:pt x="793" y="1188"/>
                      <a:pt x="793" y="1188"/>
                    </a:cubicBezTo>
                    <a:cubicBezTo>
                      <a:pt x="791" y="1188"/>
                      <a:pt x="791" y="1188"/>
                      <a:pt x="791" y="1188"/>
                    </a:cubicBezTo>
                    <a:cubicBezTo>
                      <a:pt x="790" y="1187"/>
                      <a:pt x="790" y="1187"/>
                      <a:pt x="790" y="1187"/>
                    </a:cubicBezTo>
                    <a:cubicBezTo>
                      <a:pt x="791" y="1186"/>
                      <a:pt x="791" y="1186"/>
                      <a:pt x="791" y="1186"/>
                    </a:cubicBezTo>
                    <a:cubicBezTo>
                      <a:pt x="792" y="1186"/>
                      <a:pt x="792" y="1186"/>
                      <a:pt x="792" y="1186"/>
                    </a:cubicBezTo>
                    <a:cubicBezTo>
                      <a:pt x="791" y="1183"/>
                      <a:pt x="791" y="1183"/>
                      <a:pt x="791" y="1183"/>
                    </a:cubicBezTo>
                    <a:cubicBezTo>
                      <a:pt x="789" y="1181"/>
                      <a:pt x="789" y="1181"/>
                      <a:pt x="789" y="1181"/>
                    </a:cubicBezTo>
                    <a:cubicBezTo>
                      <a:pt x="789" y="1180"/>
                      <a:pt x="789" y="1180"/>
                      <a:pt x="789" y="1180"/>
                    </a:cubicBezTo>
                    <a:cubicBezTo>
                      <a:pt x="788" y="1180"/>
                      <a:pt x="788" y="1180"/>
                      <a:pt x="788" y="1180"/>
                    </a:cubicBezTo>
                    <a:cubicBezTo>
                      <a:pt x="788" y="1180"/>
                      <a:pt x="788" y="1180"/>
                      <a:pt x="787" y="1181"/>
                    </a:cubicBezTo>
                    <a:cubicBezTo>
                      <a:pt x="787" y="1181"/>
                      <a:pt x="787" y="1181"/>
                      <a:pt x="786" y="1181"/>
                    </a:cubicBezTo>
                    <a:cubicBezTo>
                      <a:pt x="786" y="1181"/>
                      <a:pt x="786" y="1181"/>
                      <a:pt x="785" y="1180"/>
                    </a:cubicBezTo>
                    <a:cubicBezTo>
                      <a:pt x="785" y="1180"/>
                      <a:pt x="785" y="1180"/>
                      <a:pt x="784" y="1180"/>
                    </a:cubicBezTo>
                    <a:cubicBezTo>
                      <a:pt x="784" y="1180"/>
                      <a:pt x="784" y="1180"/>
                      <a:pt x="784" y="1181"/>
                    </a:cubicBezTo>
                    <a:cubicBezTo>
                      <a:pt x="784" y="1181"/>
                      <a:pt x="784" y="1181"/>
                      <a:pt x="784" y="1182"/>
                    </a:cubicBezTo>
                    <a:close/>
                    <a:moveTo>
                      <a:pt x="783" y="1196"/>
                    </a:moveTo>
                    <a:cubicBezTo>
                      <a:pt x="781" y="1195"/>
                      <a:pt x="781" y="1195"/>
                      <a:pt x="781" y="1195"/>
                    </a:cubicBezTo>
                    <a:cubicBezTo>
                      <a:pt x="782" y="1194"/>
                      <a:pt x="782" y="1194"/>
                      <a:pt x="782" y="1194"/>
                    </a:cubicBezTo>
                    <a:cubicBezTo>
                      <a:pt x="782" y="1193"/>
                      <a:pt x="782" y="1193"/>
                      <a:pt x="782" y="1193"/>
                    </a:cubicBezTo>
                    <a:cubicBezTo>
                      <a:pt x="781" y="1191"/>
                      <a:pt x="781" y="1191"/>
                      <a:pt x="781" y="1191"/>
                    </a:cubicBezTo>
                    <a:cubicBezTo>
                      <a:pt x="781" y="1190"/>
                      <a:pt x="781" y="1190"/>
                      <a:pt x="781" y="1190"/>
                    </a:cubicBezTo>
                    <a:cubicBezTo>
                      <a:pt x="780" y="1190"/>
                      <a:pt x="780" y="1190"/>
                      <a:pt x="780" y="1190"/>
                    </a:cubicBezTo>
                    <a:cubicBezTo>
                      <a:pt x="780" y="1191"/>
                      <a:pt x="780" y="1191"/>
                      <a:pt x="780" y="1191"/>
                    </a:cubicBezTo>
                    <a:cubicBezTo>
                      <a:pt x="779" y="1192"/>
                      <a:pt x="779" y="1192"/>
                      <a:pt x="779" y="1192"/>
                    </a:cubicBezTo>
                    <a:cubicBezTo>
                      <a:pt x="780" y="1193"/>
                      <a:pt x="780" y="1193"/>
                      <a:pt x="780" y="1193"/>
                    </a:cubicBezTo>
                    <a:cubicBezTo>
                      <a:pt x="779" y="1194"/>
                      <a:pt x="779" y="1194"/>
                      <a:pt x="779" y="1194"/>
                    </a:cubicBezTo>
                    <a:cubicBezTo>
                      <a:pt x="779" y="1195"/>
                      <a:pt x="779" y="1195"/>
                      <a:pt x="779" y="1195"/>
                    </a:cubicBezTo>
                    <a:cubicBezTo>
                      <a:pt x="781" y="1196"/>
                      <a:pt x="781" y="1196"/>
                      <a:pt x="781" y="1196"/>
                    </a:cubicBezTo>
                    <a:cubicBezTo>
                      <a:pt x="782" y="1196"/>
                      <a:pt x="782" y="1196"/>
                      <a:pt x="782" y="1196"/>
                    </a:cubicBezTo>
                    <a:cubicBezTo>
                      <a:pt x="783" y="1196"/>
                      <a:pt x="783" y="1196"/>
                      <a:pt x="783" y="1196"/>
                    </a:cubicBezTo>
                    <a:close/>
                    <a:moveTo>
                      <a:pt x="744" y="1123"/>
                    </a:moveTo>
                    <a:cubicBezTo>
                      <a:pt x="744" y="1123"/>
                      <a:pt x="744" y="1123"/>
                      <a:pt x="743" y="1122"/>
                    </a:cubicBezTo>
                    <a:cubicBezTo>
                      <a:pt x="743" y="1122"/>
                      <a:pt x="743" y="1122"/>
                      <a:pt x="742" y="1121"/>
                    </a:cubicBezTo>
                    <a:cubicBezTo>
                      <a:pt x="742" y="1121"/>
                      <a:pt x="742" y="1121"/>
                      <a:pt x="741" y="1122"/>
                    </a:cubicBezTo>
                    <a:cubicBezTo>
                      <a:pt x="741" y="1122"/>
                      <a:pt x="741" y="1122"/>
                      <a:pt x="743" y="1123"/>
                    </a:cubicBezTo>
                    <a:cubicBezTo>
                      <a:pt x="743" y="1123"/>
                      <a:pt x="743" y="1123"/>
                      <a:pt x="744" y="1123"/>
                    </a:cubicBezTo>
                    <a:close/>
                    <a:moveTo>
                      <a:pt x="763" y="1173"/>
                    </a:moveTo>
                    <a:cubicBezTo>
                      <a:pt x="761" y="1173"/>
                      <a:pt x="761" y="1173"/>
                      <a:pt x="761" y="1173"/>
                    </a:cubicBezTo>
                    <a:cubicBezTo>
                      <a:pt x="763" y="1174"/>
                      <a:pt x="763" y="1174"/>
                      <a:pt x="763" y="1174"/>
                    </a:cubicBezTo>
                    <a:cubicBezTo>
                      <a:pt x="764" y="1174"/>
                      <a:pt x="764" y="1174"/>
                      <a:pt x="764" y="1174"/>
                    </a:cubicBezTo>
                    <a:cubicBezTo>
                      <a:pt x="765" y="1175"/>
                      <a:pt x="765" y="1175"/>
                      <a:pt x="765" y="1175"/>
                    </a:cubicBezTo>
                    <a:cubicBezTo>
                      <a:pt x="765" y="1174"/>
                      <a:pt x="765" y="1174"/>
                      <a:pt x="765" y="1173"/>
                    </a:cubicBezTo>
                    <a:cubicBezTo>
                      <a:pt x="764" y="1173"/>
                      <a:pt x="764" y="1173"/>
                      <a:pt x="764" y="1173"/>
                    </a:cubicBezTo>
                    <a:cubicBezTo>
                      <a:pt x="763" y="1173"/>
                      <a:pt x="763" y="1173"/>
                      <a:pt x="763" y="1173"/>
                    </a:cubicBezTo>
                    <a:close/>
                    <a:moveTo>
                      <a:pt x="802" y="1210"/>
                    </a:moveTo>
                    <a:cubicBezTo>
                      <a:pt x="802" y="1210"/>
                      <a:pt x="802" y="1210"/>
                      <a:pt x="803" y="1210"/>
                    </a:cubicBezTo>
                    <a:cubicBezTo>
                      <a:pt x="803" y="1210"/>
                      <a:pt x="803" y="1210"/>
                      <a:pt x="804" y="1211"/>
                    </a:cubicBezTo>
                    <a:cubicBezTo>
                      <a:pt x="804" y="1211"/>
                      <a:pt x="804" y="1211"/>
                      <a:pt x="804" y="1209"/>
                    </a:cubicBezTo>
                    <a:cubicBezTo>
                      <a:pt x="804" y="1209"/>
                      <a:pt x="804" y="1209"/>
                      <a:pt x="803" y="1209"/>
                    </a:cubicBezTo>
                    <a:cubicBezTo>
                      <a:pt x="803" y="1209"/>
                      <a:pt x="803" y="1209"/>
                      <a:pt x="802" y="1210"/>
                    </a:cubicBezTo>
                    <a:close/>
                    <a:moveTo>
                      <a:pt x="748" y="1152"/>
                    </a:moveTo>
                    <a:cubicBezTo>
                      <a:pt x="748" y="1152"/>
                      <a:pt x="748" y="1152"/>
                      <a:pt x="748" y="1149"/>
                    </a:cubicBezTo>
                    <a:cubicBezTo>
                      <a:pt x="748" y="1149"/>
                      <a:pt x="748" y="1149"/>
                      <a:pt x="747" y="1148"/>
                    </a:cubicBezTo>
                    <a:cubicBezTo>
                      <a:pt x="747" y="1148"/>
                      <a:pt x="747" y="1148"/>
                      <a:pt x="745" y="1148"/>
                    </a:cubicBezTo>
                    <a:cubicBezTo>
                      <a:pt x="745" y="1148"/>
                      <a:pt x="745" y="1148"/>
                      <a:pt x="744" y="1149"/>
                    </a:cubicBezTo>
                    <a:cubicBezTo>
                      <a:pt x="744" y="1149"/>
                      <a:pt x="744" y="1149"/>
                      <a:pt x="744" y="1150"/>
                    </a:cubicBezTo>
                    <a:cubicBezTo>
                      <a:pt x="744" y="1150"/>
                      <a:pt x="744" y="1150"/>
                      <a:pt x="745" y="1151"/>
                    </a:cubicBezTo>
                    <a:cubicBezTo>
                      <a:pt x="745" y="1151"/>
                      <a:pt x="745" y="1151"/>
                      <a:pt x="745" y="1152"/>
                    </a:cubicBezTo>
                    <a:cubicBezTo>
                      <a:pt x="745" y="1152"/>
                      <a:pt x="745" y="1152"/>
                      <a:pt x="745" y="1153"/>
                    </a:cubicBezTo>
                    <a:cubicBezTo>
                      <a:pt x="745" y="1153"/>
                      <a:pt x="745" y="1153"/>
                      <a:pt x="746" y="1153"/>
                    </a:cubicBezTo>
                    <a:cubicBezTo>
                      <a:pt x="746" y="1153"/>
                      <a:pt x="746" y="1153"/>
                      <a:pt x="745" y="1154"/>
                    </a:cubicBezTo>
                    <a:cubicBezTo>
                      <a:pt x="745" y="1154"/>
                      <a:pt x="745" y="1154"/>
                      <a:pt x="744" y="1154"/>
                    </a:cubicBezTo>
                    <a:cubicBezTo>
                      <a:pt x="744" y="1154"/>
                      <a:pt x="744" y="1154"/>
                      <a:pt x="745" y="1157"/>
                    </a:cubicBezTo>
                    <a:cubicBezTo>
                      <a:pt x="745" y="1157"/>
                      <a:pt x="745" y="1157"/>
                      <a:pt x="745" y="1158"/>
                    </a:cubicBezTo>
                    <a:cubicBezTo>
                      <a:pt x="745" y="1158"/>
                      <a:pt x="745" y="1158"/>
                      <a:pt x="747" y="1159"/>
                    </a:cubicBezTo>
                    <a:cubicBezTo>
                      <a:pt x="747" y="1159"/>
                      <a:pt x="747" y="1159"/>
                      <a:pt x="747" y="1157"/>
                    </a:cubicBezTo>
                    <a:cubicBezTo>
                      <a:pt x="747" y="1157"/>
                      <a:pt x="747" y="1157"/>
                      <a:pt x="748" y="1158"/>
                    </a:cubicBezTo>
                    <a:cubicBezTo>
                      <a:pt x="748" y="1158"/>
                      <a:pt x="748" y="1158"/>
                      <a:pt x="748" y="1160"/>
                    </a:cubicBezTo>
                    <a:cubicBezTo>
                      <a:pt x="748" y="1160"/>
                      <a:pt x="748" y="1160"/>
                      <a:pt x="749" y="1160"/>
                    </a:cubicBezTo>
                    <a:cubicBezTo>
                      <a:pt x="749" y="1160"/>
                      <a:pt x="749" y="1160"/>
                      <a:pt x="750" y="1159"/>
                    </a:cubicBezTo>
                    <a:cubicBezTo>
                      <a:pt x="750" y="1159"/>
                      <a:pt x="750" y="1159"/>
                      <a:pt x="750" y="1158"/>
                    </a:cubicBezTo>
                    <a:cubicBezTo>
                      <a:pt x="750" y="1158"/>
                      <a:pt x="750" y="1158"/>
                      <a:pt x="749" y="1156"/>
                    </a:cubicBezTo>
                    <a:cubicBezTo>
                      <a:pt x="749" y="1156"/>
                      <a:pt x="749" y="1156"/>
                      <a:pt x="749" y="1155"/>
                    </a:cubicBezTo>
                    <a:cubicBezTo>
                      <a:pt x="749" y="1155"/>
                      <a:pt x="749" y="1155"/>
                      <a:pt x="749" y="1154"/>
                    </a:cubicBezTo>
                    <a:cubicBezTo>
                      <a:pt x="749" y="1153"/>
                      <a:pt x="749" y="1153"/>
                      <a:pt x="749" y="1153"/>
                    </a:cubicBezTo>
                    <a:cubicBezTo>
                      <a:pt x="749" y="1153"/>
                      <a:pt x="749" y="1153"/>
                      <a:pt x="748" y="1152"/>
                    </a:cubicBezTo>
                    <a:close/>
                    <a:moveTo>
                      <a:pt x="778" y="1204"/>
                    </a:moveTo>
                    <a:cubicBezTo>
                      <a:pt x="778" y="1204"/>
                      <a:pt x="778" y="1204"/>
                      <a:pt x="779" y="1204"/>
                    </a:cubicBezTo>
                    <a:cubicBezTo>
                      <a:pt x="779" y="1204"/>
                      <a:pt x="779" y="1204"/>
                      <a:pt x="779" y="1203"/>
                    </a:cubicBezTo>
                    <a:cubicBezTo>
                      <a:pt x="779" y="1203"/>
                      <a:pt x="779" y="1203"/>
                      <a:pt x="778" y="1203"/>
                    </a:cubicBezTo>
                    <a:cubicBezTo>
                      <a:pt x="778" y="1203"/>
                      <a:pt x="778" y="1203"/>
                      <a:pt x="778" y="1204"/>
                    </a:cubicBezTo>
                    <a:close/>
                    <a:moveTo>
                      <a:pt x="741" y="1122"/>
                    </a:moveTo>
                    <a:cubicBezTo>
                      <a:pt x="741" y="1122"/>
                      <a:pt x="741" y="1122"/>
                      <a:pt x="740" y="1122"/>
                    </a:cubicBezTo>
                    <a:cubicBezTo>
                      <a:pt x="740" y="1122"/>
                      <a:pt x="740" y="1122"/>
                      <a:pt x="740" y="1123"/>
                    </a:cubicBezTo>
                    <a:cubicBezTo>
                      <a:pt x="740" y="1123"/>
                      <a:pt x="740" y="1123"/>
                      <a:pt x="741" y="1123"/>
                    </a:cubicBezTo>
                    <a:cubicBezTo>
                      <a:pt x="741" y="1123"/>
                      <a:pt x="741" y="1123"/>
                      <a:pt x="741" y="1122"/>
                    </a:cubicBezTo>
                    <a:close/>
                    <a:moveTo>
                      <a:pt x="742" y="1152"/>
                    </a:moveTo>
                    <a:cubicBezTo>
                      <a:pt x="742" y="1152"/>
                      <a:pt x="742" y="1152"/>
                      <a:pt x="742" y="1153"/>
                    </a:cubicBezTo>
                    <a:cubicBezTo>
                      <a:pt x="742" y="1153"/>
                      <a:pt x="742" y="1153"/>
                      <a:pt x="743" y="1153"/>
                    </a:cubicBezTo>
                    <a:cubicBezTo>
                      <a:pt x="743" y="1153"/>
                      <a:pt x="743" y="1153"/>
                      <a:pt x="744" y="1151"/>
                    </a:cubicBezTo>
                    <a:cubicBezTo>
                      <a:pt x="744" y="1151"/>
                      <a:pt x="744" y="1151"/>
                      <a:pt x="744" y="1150"/>
                    </a:cubicBezTo>
                    <a:cubicBezTo>
                      <a:pt x="744" y="1150"/>
                      <a:pt x="744" y="1150"/>
                      <a:pt x="742" y="1150"/>
                    </a:cubicBezTo>
                    <a:cubicBezTo>
                      <a:pt x="742" y="1150"/>
                      <a:pt x="742" y="1150"/>
                      <a:pt x="742" y="1152"/>
                    </a:cubicBezTo>
                    <a:close/>
                    <a:moveTo>
                      <a:pt x="801" y="1212"/>
                    </a:moveTo>
                    <a:cubicBezTo>
                      <a:pt x="802" y="1211"/>
                      <a:pt x="802" y="1211"/>
                      <a:pt x="802" y="1211"/>
                    </a:cubicBezTo>
                    <a:cubicBezTo>
                      <a:pt x="801" y="1211"/>
                      <a:pt x="801" y="1211"/>
                      <a:pt x="801" y="1211"/>
                    </a:cubicBezTo>
                    <a:cubicBezTo>
                      <a:pt x="801" y="1212"/>
                      <a:pt x="801" y="1212"/>
                      <a:pt x="801" y="1212"/>
                    </a:cubicBezTo>
                    <a:close/>
                    <a:moveTo>
                      <a:pt x="744" y="1147"/>
                    </a:moveTo>
                    <a:cubicBezTo>
                      <a:pt x="744" y="1147"/>
                      <a:pt x="744" y="1147"/>
                      <a:pt x="743" y="1145"/>
                    </a:cubicBezTo>
                    <a:cubicBezTo>
                      <a:pt x="743" y="1145"/>
                      <a:pt x="743" y="1145"/>
                      <a:pt x="742" y="1143"/>
                    </a:cubicBezTo>
                    <a:cubicBezTo>
                      <a:pt x="742" y="1143"/>
                      <a:pt x="742" y="1143"/>
                      <a:pt x="740" y="1142"/>
                    </a:cubicBezTo>
                    <a:cubicBezTo>
                      <a:pt x="740" y="1142"/>
                      <a:pt x="740" y="1142"/>
                      <a:pt x="740" y="1143"/>
                    </a:cubicBezTo>
                    <a:cubicBezTo>
                      <a:pt x="740" y="1143"/>
                      <a:pt x="740" y="1143"/>
                      <a:pt x="740" y="1144"/>
                    </a:cubicBezTo>
                    <a:cubicBezTo>
                      <a:pt x="740" y="1144"/>
                      <a:pt x="740" y="1144"/>
                      <a:pt x="740" y="1145"/>
                    </a:cubicBezTo>
                    <a:cubicBezTo>
                      <a:pt x="740" y="1145"/>
                      <a:pt x="740" y="1145"/>
                      <a:pt x="742" y="1145"/>
                    </a:cubicBezTo>
                    <a:cubicBezTo>
                      <a:pt x="742" y="1145"/>
                      <a:pt x="742" y="1145"/>
                      <a:pt x="742" y="1146"/>
                    </a:cubicBezTo>
                    <a:cubicBezTo>
                      <a:pt x="742" y="1146"/>
                      <a:pt x="742" y="1146"/>
                      <a:pt x="743" y="1148"/>
                    </a:cubicBezTo>
                    <a:cubicBezTo>
                      <a:pt x="743" y="1148"/>
                      <a:pt x="743" y="1148"/>
                      <a:pt x="744" y="1149"/>
                    </a:cubicBezTo>
                    <a:cubicBezTo>
                      <a:pt x="744" y="1149"/>
                      <a:pt x="744" y="1149"/>
                      <a:pt x="744" y="1148"/>
                    </a:cubicBezTo>
                    <a:cubicBezTo>
                      <a:pt x="744" y="1148"/>
                      <a:pt x="744" y="1148"/>
                      <a:pt x="744" y="1147"/>
                    </a:cubicBezTo>
                    <a:close/>
                    <a:moveTo>
                      <a:pt x="740" y="1146"/>
                    </a:moveTo>
                    <a:cubicBezTo>
                      <a:pt x="740" y="1146"/>
                      <a:pt x="740" y="1146"/>
                      <a:pt x="740" y="1147"/>
                    </a:cubicBezTo>
                    <a:cubicBezTo>
                      <a:pt x="740" y="1147"/>
                      <a:pt x="740" y="1147"/>
                      <a:pt x="741" y="1148"/>
                    </a:cubicBezTo>
                    <a:cubicBezTo>
                      <a:pt x="741" y="1148"/>
                      <a:pt x="741" y="1148"/>
                      <a:pt x="742" y="1148"/>
                    </a:cubicBezTo>
                    <a:cubicBezTo>
                      <a:pt x="742" y="1148"/>
                      <a:pt x="742" y="1148"/>
                      <a:pt x="742" y="1147"/>
                    </a:cubicBezTo>
                    <a:cubicBezTo>
                      <a:pt x="742" y="1147"/>
                      <a:pt x="742" y="1147"/>
                      <a:pt x="742" y="1146"/>
                    </a:cubicBezTo>
                    <a:cubicBezTo>
                      <a:pt x="742" y="1146"/>
                      <a:pt x="742" y="1146"/>
                      <a:pt x="741" y="1146"/>
                    </a:cubicBezTo>
                    <a:cubicBezTo>
                      <a:pt x="741" y="1146"/>
                      <a:pt x="741" y="1146"/>
                      <a:pt x="740" y="1146"/>
                    </a:cubicBezTo>
                    <a:close/>
                    <a:moveTo>
                      <a:pt x="736" y="1132"/>
                    </a:moveTo>
                    <a:cubicBezTo>
                      <a:pt x="738" y="1134"/>
                      <a:pt x="738" y="1134"/>
                      <a:pt x="738" y="1134"/>
                    </a:cubicBezTo>
                    <a:cubicBezTo>
                      <a:pt x="739" y="1134"/>
                      <a:pt x="739" y="1134"/>
                      <a:pt x="739" y="1134"/>
                    </a:cubicBezTo>
                    <a:cubicBezTo>
                      <a:pt x="739" y="1133"/>
                      <a:pt x="739" y="1133"/>
                      <a:pt x="739" y="1133"/>
                    </a:cubicBezTo>
                    <a:cubicBezTo>
                      <a:pt x="739" y="1132"/>
                      <a:pt x="739" y="1132"/>
                      <a:pt x="739" y="1132"/>
                    </a:cubicBezTo>
                    <a:cubicBezTo>
                      <a:pt x="738" y="1132"/>
                      <a:pt x="738" y="1132"/>
                      <a:pt x="738" y="1132"/>
                    </a:cubicBezTo>
                    <a:cubicBezTo>
                      <a:pt x="738" y="1131"/>
                      <a:pt x="738" y="1131"/>
                      <a:pt x="738" y="1131"/>
                    </a:cubicBezTo>
                    <a:cubicBezTo>
                      <a:pt x="738" y="1130"/>
                      <a:pt x="738" y="1130"/>
                      <a:pt x="738" y="1130"/>
                    </a:cubicBezTo>
                    <a:cubicBezTo>
                      <a:pt x="736" y="1131"/>
                      <a:pt x="736" y="1131"/>
                      <a:pt x="736" y="1131"/>
                    </a:cubicBezTo>
                    <a:cubicBezTo>
                      <a:pt x="736" y="1132"/>
                      <a:pt x="736" y="1132"/>
                      <a:pt x="736" y="1132"/>
                    </a:cubicBezTo>
                    <a:close/>
                    <a:moveTo>
                      <a:pt x="749" y="1112"/>
                    </a:moveTo>
                    <a:cubicBezTo>
                      <a:pt x="749" y="1112"/>
                      <a:pt x="749" y="1112"/>
                      <a:pt x="748" y="1111"/>
                    </a:cubicBezTo>
                    <a:cubicBezTo>
                      <a:pt x="748" y="1111"/>
                      <a:pt x="748" y="1111"/>
                      <a:pt x="747" y="1112"/>
                    </a:cubicBezTo>
                    <a:cubicBezTo>
                      <a:pt x="747" y="1112"/>
                      <a:pt x="747" y="1112"/>
                      <a:pt x="746" y="1114"/>
                    </a:cubicBezTo>
                    <a:cubicBezTo>
                      <a:pt x="746" y="1114"/>
                      <a:pt x="746" y="1114"/>
                      <a:pt x="747" y="1115"/>
                    </a:cubicBezTo>
                    <a:cubicBezTo>
                      <a:pt x="747" y="1115"/>
                      <a:pt x="747" y="1115"/>
                      <a:pt x="747" y="1116"/>
                    </a:cubicBezTo>
                    <a:cubicBezTo>
                      <a:pt x="747" y="1116"/>
                      <a:pt x="747" y="1116"/>
                      <a:pt x="748" y="1115"/>
                    </a:cubicBezTo>
                    <a:cubicBezTo>
                      <a:pt x="748" y="1115"/>
                      <a:pt x="748" y="1115"/>
                      <a:pt x="749" y="1116"/>
                    </a:cubicBezTo>
                    <a:cubicBezTo>
                      <a:pt x="749" y="1116"/>
                      <a:pt x="749" y="1116"/>
                      <a:pt x="750" y="1115"/>
                    </a:cubicBezTo>
                    <a:cubicBezTo>
                      <a:pt x="750" y="1115"/>
                      <a:pt x="750" y="1115"/>
                      <a:pt x="751" y="1114"/>
                    </a:cubicBezTo>
                    <a:cubicBezTo>
                      <a:pt x="751" y="1114"/>
                      <a:pt x="751" y="1114"/>
                      <a:pt x="750" y="1112"/>
                    </a:cubicBezTo>
                    <a:cubicBezTo>
                      <a:pt x="750" y="1112"/>
                      <a:pt x="750" y="1112"/>
                      <a:pt x="749" y="1112"/>
                    </a:cubicBezTo>
                    <a:close/>
                    <a:moveTo>
                      <a:pt x="746" y="1110"/>
                    </a:moveTo>
                    <a:cubicBezTo>
                      <a:pt x="746" y="1110"/>
                      <a:pt x="746" y="1110"/>
                      <a:pt x="746" y="1111"/>
                    </a:cubicBezTo>
                    <a:cubicBezTo>
                      <a:pt x="746" y="1111"/>
                      <a:pt x="746" y="1111"/>
                      <a:pt x="748" y="1111"/>
                    </a:cubicBezTo>
                    <a:cubicBezTo>
                      <a:pt x="748" y="1111"/>
                      <a:pt x="748" y="1111"/>
                      <a:pt x="747" y="1110"/>
                    </a:cubicBezTo>
                    <a:cubicBezTo>
                      <a:pt x="747" y="1110"/>
                      <a:pt x="747" y="1110"/>
                      <a:pt x="746" y="1110"/>
                    </a:cubicBezTo>
                    <a:close/>
                    <a:moveTo>
                      <a:pt x="791" y="692"/>
                    </a:moveTo>
                    <a:cubicBezTo>
                      <a:pt x="792" y="692"/>
                      <a:pt x="792" y="692"/>
                      <a:pt x="792" y="692"/>
                    </a:cubicBezTo>
                    <a:cubicBezTo>
                      <a:pt x="791" y="691"/>
                      <a:pt x="791" y="691"/>
                      <a:pt x="791" y="691"/>
                    </a:cubicBezTo>
                    <a:cubicBezTo>
                      <a:pt x="791" y="692"/>
                      <a:pt x="791" y="692"/>
                      <a:pt x="791" y="692"/>
                    </a:cubicBezTo>
                    <a:close/>
                    <a:moveTo>
                      <a:pt x="796" y="693"/>
                    </a:moveTo>
                    <a:cubicBezTo>
                      <a:pt x="797" y="695"/>
                      <a:pt x="797" y="695"/>
                      <a:pt x="797" y="695"/>
                    </a:cubicBezTo>
                    <a:cubicBezTo>
                      <a:pt x="798" y="695"/>
                      <a:pt x="798" y="695"/>
                      <a:pt x="798" y="695"/>
                    </a:cubicBezTo>
                    <a:cubicBezTo>
                      <a:pt x="797" y="692"/>
                      <a:pt x="797" y="692"/>
                      <a:pt x="797" y="692"/>
                    </a:cubicBezTo>
                    <a:cubicBezTo>
                      <a:pt x="796" y="693"/>
                      <a:pt x="796" y="693"/>
                      <a:pt x="796" y="693"/>
                    </a:cubicBezTo>
                    <a:close/>
                    <a:moveTo>
                      <a:pt x="794" y="694"/>
                    </a:moveTo>
                    <a:cubicBezTo>
                      <a:pt x="794" y="695"/>
                      <a:pt x="794" y="695"/>
                      <a:pt x="794" y="695"/>
                    </a:cubicBezTo>
                    <a:cubicBezTo>
                      <a:pt x="795" y="697"/>
                      <a:pt x="795" y="697"/>
                      <a:pt x="795" y="697"/>
                    </a:cubicBezTo>
                    <a:cubicBezTo>
                      <a:pt x="796" y="695"/>
                      <a:pt x="796" y="695"/>
                      <a:pt x="796" y="695"/>
                    </a:cubicBezTo>
                    <a:cubicBezTo>
                      <a:pt x="795" y="694"/>
                      <a:pt x="795" y="694"/>
                      <a:pt x="795" y="694"/>
                    </a:cubicBezTo>
                    <a:cubicBezTo>
                      <a:pt x="794" y="694"/>
                      <a:pt x="794" y="694"/>
                      <a:pt x="794" y="694"/>
                    </a:cubicBezTo>
                    <a:close/>
                    <a:moveTo>
                      <a:pt x="797" y="697"/>
                    </a:moveTo>
                    <a:cubicBezTo>
                      <a:pt x="798" y="698"/>
                      <a:pt x="798" y="698"/>
                      <a:pt x="798" y="698"/>
                    </a:cubicBezTo>
                    <a:cubicBezTo>
                      <a:pt x="798" y="696"/>
                      <a:pt x="798" y="696"/>
                      <a:pt x="798" y="696"/>
                    </a:cubicBezTo>
                    <a:cubicBezTo>
                      <a:pt x="797" y="697"/>
                      <a:pt x="797" y="697"/>
                      <a:pt x="797" y="697"/>
                    </a:cubicBezTo>
                    <a:close/>
                    <a:moveTo>
                      <a:pt x="796" y="699"/>
                    </a:moveTo>
                    <a:cubicBezTo>
                      <a:pt x="796" y="699"/>
                      <a:pt x="796" y="699"/>
                      <a:pt x="796" y="699"/>
                    </a:cubicBezTo>
                    <a:cubicBezTo>
                      <a:pt x="796" y="699"/>
                      <a:pt x="796" y="699"/>
                      <a:pt x="796" y="699"/>
                    </a:cubicBezTo>
                    <a:close/>
                    <a:moveTo>
                      <a:pt x="796" y="702"/>
                    </a:moveTo>
                    <a:cubicBezTo>
                      <a:pt x="796" y="702"/>
                      <a:pt x="796" y="702"/>
                      <a:pt x="797" y="702"/>
                    </a:cubicBezTo>
                    <a:cubicBezTo>
                      <a:pt x="797" y="702"/>
                      <a:pt x="797" y="702"/>
                      <a:pt x="797" y="700"/>
                    </a:cubicBezTo>
                    <a:cubicBezTo>
                      <a:pt x="797" y="700"/>
                      <a:pt x="797" y="700"/>
                      <a:pt x="796" y="699"/>
                    </a:cubicBezTo>
                    <a:cubicBezTo>
                      <a:pt x="796" y="700"/>
                      <a:pt x="796" y="700"/>
                      <a:pt x="796" y="700"/>
                    </a:cubicBezTo>
                    <a:cubicBezTo>
                      <a:pt x="796" y="700"/>
                      <a:pt x="796" y="700"/>
                      <a:pt x="796" y="702"/>
                    </a:cubicBezTo>
                    <a:close/>
                    <a:moveTo>
                      <a:pt x="799" y="711"/>
                    </a:moveTo>
                    <a:cubicBezTo>
                      <a:pt x="799" y="709"/>
                      <a:pt x="799" y="709"/>
                      <a:pt x="799" y="709"/>
                    </a:cubicBezTo>
                    <a:cubicBezTo>
                      <a:pt x="797" y="711"/>
                      <a:pt x="797" y="711"/>
                      <a:pt x="797" y="711"/>
                    </a:cubicBezTo>
                    <a:cubicBezTo>
                      <a:pt x="798" y="712"/>
                      <a:pt x="798" y="712"/>
                      <a:pt x="798" y="712"/>
                    </a:cubicBezTo>
                    <a:cubicBezTo>
                      <a:pt x="799" y="713"/>
                      <a:pt x="799" y="713"/>
                      <a:pt x="799" y="713"/>
                    </a:cubicBezTo>
                    <a:cubicBezTo>
                      <a:pt x="799" y="711"/>
                      <a:pt x="799" y="711"/>
                      <a:pt x="799" y="711"/>
                    </a:cubicBezTo>
                    <a:close/>
                    <a:moveTo>
                      <a:pt x="799" y="708"/>
                    </a:moveTo>
                    <a:cubicBezTo>
                      <a:pt x="800" y="707"/>
                      <a:pt x="800" y="707"/>
                      <a:pt x="800" y="707"/>
                    </a:cubicBezTo>
                    <a:cubicBezTo>
                      <a:pt x="799" y="704"/>
                      <a:pt x="799" y="704"/>
                      <a:pt x="799" y="704"/>
                    </a:cubicBezTo>
                    <a:cubicBezTo>
                      <a:pt x="796" y="704"/>
                      <a:pt x="796" y="704"/>
                      <a:pt x="796" y="704"/>
                    </a:cubicBezTo>
                    <a:cubicBezTo>
                      <a:pt x="796" y="705"/>
                      <a:pt x="796" y="705"/>
                      <a:pt x="796" y="705"/>
                    </a:cubicBezTo>
                    <a:cubicBezTo>
                      <a:pt x="798" y="706"/>
                      <a:pt x="798" y="706"/>
                      <a:pt x="798" y="706"/>
                    </a:cubicBezTo>
                    <a:cubicBezTo>
                      <a:pt x="798" y="707"/>
                      <a:pt x="798" y="707"/>
                      <a:pt x="798" y="707"/>
                    </a:cubicBezTo>
                    <a:cubicBezTo>
                      <a:pt x="799" y="708"/>
                      <a:pt x="799" y="708"/>
                      <a:pt x="799" y="708"/>
                    </a:cubicBezTo>
                    <a:close/>
                    <a:moveTo>
                      <a:pt x="808" y="716"/>
                    </a:moveTo>
                    <a:cubicBezTo>
                      <a:pt x="809" y="716"/>
                      <a:pt x="809" y="716"/>
                      <a:pt x="809" y="716"/>
                    </a:cubicBezTo>
                    <a:cubicBezTo>
                      <a:pt x="809" y="715"/>
                      <a:pt x="809" y="715"/>
                      <a:pt x="809" y="715"/>
                    </a:cubicBezTo>
                    <a:cubicBezTo>
                      <a:pt x="808" y="714"/>
                      <a:pt x="808" y="714"/>
                      <a:pt x="808" y="714"/>
                    </a:cubicBezTo>
                    <a:cubicBezTo>
                      <a:pt x="807" y="715"/>
                      <a:pt x="807" y="715"/>
                      <a:pt x="807" y="715"/>
                    </a:cubicBezTo>
                    <a:cubicBezTo>
                      <a:pt x="808" y="716"/>
                      <a:pt x="808" y="716"/>
                      <a:pt x="808" y="716"/>
                    </a:cubicBezTo>
                    <a:close/>
                    <a:moveTo>
                      <a:pt x="796" y="720"/>
                    </a:moveTo>
                    <a:cubicBezTo>
                      <a:pt x="796" y="720"/>
                      <a:pt x="796" y="720"/>
                      <a:pt x="797" y="720"/>
                    </a:cubicBezTo>
                    <a:cubicBezTo>
                      <a:pt x="797" y="720"/>
                      <a:pt x="797" y="720"/>
                      <a:pt x="796" y="719"/>
                    </a:cubicBezTo>
                    <a:lnTo>
                      <a:pt x="796" y="720"/>
                    </a:lnTo>
                    <a:close/>
                    <a:moveTo>
                      <a:pt x="797" y="713"/>
                    </a:moveTo>
                    <a:cubicBezTo>
                      <a:pt x="797" y="717"/>
                      <a:pt x="797" y="717"/>
                      <a:pt x="797" y="717"/>
                    </a:cubicBezTo>
                    <a:cubicBezTo>
                      <a:pt x="797" y="717"/>
                      <a:pt x="797" y="717"/>
                      <a:pt x="798" y="715"/>
                    </a:cubicBezTo>
                    <a:cubicBezTo>
                      <a:pt x="798" y="715"/>
                      <a:pt x="798" y="715"/>
                      <a:pt x="797" y="713"/>
                    </a:cubicBezTo>
                    <a:close/>
                    <a:moveTo>
                      <a:pt x="795" y="723"/>
                    </a:moveTo>
                    <a:cubicBezTo>
                      <a:pt x="796" y="722"/>
                      <a:pt x="796" y="722"/>
                      <a:pt x="796" y="722"/>
                    </a:cubicBezTo>
                    <a:cubicBezTo>
                      <a:pt x="795" y="721"/>
                      <a:pt x="795" y="721"/>
                      <a:pt x="795" y="721"/>
                    </a:cubicBezTo>
                    <a:cubicBezTo>
                      <a:pt x="794" y="721"/>
                      <a:pt x="794" y="721"/>
                      <a:pt x="794" y="721"/>
                    </a:cubicBezTo>
                    <a:cubicBezTo>
                      <a:pt x="793" y="723"/>
                      <a:pt x="793" y="723"/>
                      <a:pt x="793" y="723"/>
                    </a:cubicBezTo>
                    <a:cubicBezTo>
                      <a:pt x="795" y="723"/>
                      <a:pt x="795" y="723"/>
                      <a:pt x="795" y="723"/>
                    </a:cubicBezTo>
                    <a:close/>
                    <a:moveTo>
                      <a:pt x="796" y="731"/>
                    </a:moveTo>
                    <a:cubicBezTo>
                      <a:pt x="795" y="730"/>
                      <a:pt x="795" y="730"/>
                      <a:pt x="795" y="730"/>
                    </a:cubicBezTo>
                    <a:cubicBezTo>
                      <a:pt x="794" y="731"/>
                      <a:pt x="794" y="731"/>
                      <a:pt x="794" y="731"/>
                    </a:cubicBezTo>
                    <a:cubicBezTo>
                      <a:pt x="793" y="731"/>
                      <a:pt x="793" y="731"/>
                      <a:pt x="793" y="731"/>
                    </a:cubicBezTo>
                    <a:cubicBezTo>
                      <a:pt x="795" y="732"/>
                      <a:pt x="795" y="732"/>
                      <a:pt x="795" y="732"/>
                    </a:cubicBezTo>
                    <a:cubicBezTo>
                      <a:pt x="795" y="734"/>
                      <a:pt x="795" y="734"/>
                      <a:pt x="795" y="734"/>
                    </a:cubicBezTo>
                    <a:cubicBezTo>
                      <a:pt x="794" y="735"/>
                      <a:pt x="794" y="735"/>
                      <a:pt x="794" y="735"/>
                    </a:cubicBezTo>
                    <a:cubicBezTo>
                      <a:pt x="792" y="735"/>
                      <a:pt x="792" y="735"/>
                      <a:pt x="792" y="735"/>
                    </a:cubicBezTo>
                    <a:cubicBezTo>
                      <a:pt x="794" y="736"/>
                      <a:pt x="794" y="736"/>
                      <a:pt x="794" y="736"/>
                    </a:cubicBezTo>
                    <a:cubicBezTo>
                      <a:pt x="797" y="735"/>
                      <a:pt x="797" y="735"/>
                      <a:pt x="797" y="735"/>
                    </a:cubicBezTo>
                    <a:cubicBezTo>
                      <a:pt x="798" y="734"/>
                      <a:pt x="798" y="734"/>
                      <a:pt x="798" y="734"/>
                    </a:cubicBezTo>
                    <a:cubicBezTo>
                      <a:pt x="798" y="733"/>
                      <a:pt x="798" y="733"/>
                      <a:pt x="798" y="733"/>
                    </a:cubicBezTo>
                    <a:cubicBezTo>
                      <a:pt x="797" y="732"/>
                      <a:pt x="797" y="732"/>
                      <a:pt x="797" y="732"/>
                    </a:cubicBezTo>
                    <a:cubicBezTo>
                      <a:pt x="799" y="730"/>
                      <a:pt x="799" y="730"/>
                      <a:pt x="799" y="730"/>
                    </a:cubicBezTo>
                    <a:cubicBezTo>
                      <a:pt x="796" y="731"/>
                      <a:pt x="796" y="731"/>
                      <a:pt x="796" y="731"/>
                    </a:cubicBezTo>
                    <a:close/>
                    <a:moveTo>
                      <a:pt x="801" y="728"/>
                    </a:moveTo>
                    <a:cubicBezTo>
                      <a:pt x="799" y="729"/>
                      <a:pt x="799" y="729"/>
                      <a:pt x="799" y="729"/>
                    </a:cubicBezTo>
                    <a:cubicBezTo>
                      <a:pt x="800" y="729"/>
                      <a:pt x="800" y="729"/>
                      <a:pt x="800" y="729"/>
                    </a:cubicBezTo>
                    <a:cubicBezTo>
                      <a:pt x="801" y="728"/>
                      <a:pt x="801" y="728"/>
                      <a:pt x="801" y="728"/>
                    </a:cubicBezTo>
                    <a:close/>
                    <a:moveTo>
                      <a:pt x="709" y="483"/>
                    </a:moveTo>
                    <a:cubicBezTo>
                      <a:pt x="710" y="484"/>
                      <a:pt x="710" y="484"/>
                      <a:pt x="710" y="484"/>
                    </a:cubicBezTo>
                    <a:cubicBezTo>
                      <a:pt x="710" y="484"/>
                      <a:pt x="710" y="484"/>
                      <a:pt x="710" y="484"/>
                    </a:cubicBezTo>
                    <a:cubicBezTo>
                      <a:pt x="711" y="484"/>
                      <a:pt x="711" y="484"/>
                      <a:pt x="711" y="484"/>
                    </a:cubicBezTo>
                    <a:cubicBezTo>
                      <a:pt x="710" y="483"/>
                      <a:pt x="710" y="483"/>
                      <a:pt x="710" y="483"/>
                    </a:cubicBezTo>
                    <a:cubicBezTo>
                      <a:pt x="710" y="482"/>
                      <a:pt x="710" y="482"/>
                      <a:pt x="710" y="482"/>
                    </a:cubicBezTo>
                    <a:cubicBezTo>
                      <a:pt x="709" y="481"/>
                      <a:pt x="709" y="481"/>
                      <a:pt x="709" y="481"/>
                    </a:cubicBezTo>
                    <a:cubicBezTo>
                      <a:pt x="709" y="480"/>
                      <a:pt x="709" y="480"/>
                      <a:pt x="709" y="480"/>
                    </a:cubicBezTo>
                    <a:cubicBezTo>
                      <a:pt x="708" y="479"/>
                      <a:pt x="708" y="479"/>
                      <a:pt x="708" y="479"/>
                    </a:cubicBezTo>
                    <a:cubicBezTo>
                      <a:pt x="708" y="479"/>
                      <a:pt x="708" y="479"/>
                      <a:pt x="708" y="479"/>
                    </a:cubicBezTo>
                    <a:cubicBezTo>
                      <a:pt x="707" y="478"/>
                      <a:pt x="707" y="478"/>
                      <a:pt x="707" y="478"/>
                    </a:cubicBezTo>
                    <a:cubicBezTo>
                      <a:pt x="707" y="477"/>
                      <a:pt x="707" y="477"/>
                      <a:pt x="707" y="477"/>
                    </a:cubicBezTo>
                    <a:cubicBezTo>
                      <a:pt x="706" y="477"/>
                      <a:pt x="706" y="477"/>
                      <a:pt x="706" y="477"/>
                    </a:cubicBezTo>
                    <a:cubicBezTo>
                      <a:pt x="706" y="476"/>
                      <a:pt x="706" y="476"/>
                      <a:pt x="706" y="476"/>
                    </a:cubicBezTo>
                    <a:cubicBezTo>
                      <a:pt x="706" y="475"/>
                      <a:pt x="706" y="475"/>
                      <a:pt x="706" y="475"/>
                    </a:cubicBezTo>
                    <a:cubicBezTo>
                      <a:pt x="706" y="474"/>
                      <a:pt x="706" y="474"/>
                      <a:pt x="706" y="474"/>
                    </a:cubicBezTo>
                    <a:cubicBezTo>
                      <a:pt x="705" y="473"/>
                      <a:pt x="705" y="473"/>
                      <a:pt x="705" y="473"/>
                    </a:cubicBezTo>
                    <a:cubicBezTo>
                      <a:pt x="704" y="473"/>
                      <a:pt x="704" y="473"/>
                      <a:pt x="704" y="473"/>
                    </a:cubicBezTo>
                    <a:cubicBezTo>
                      <a:pt x="703" y="473"/>
                      <a:pt x="703" y="473"/>
                      <a:pt x="703" y="473"/>
                    </a:cubicBezTo>
                    <a:cubicBezTo>
                      <a:pt x="701" y="473"/>
                      <a:pt x="701" y="473"/>
                      <a:pt x="701" y="473"/>
                    </a:cubicBezTo>
                    <a:cubicBezTo>
                      <a:pt x="700" y="472"/>
                      <a:pt x="700" y="472"/>
                      <a:pt x="700" y="472"/>
                    </a:cubicBezTo>
                    <a:cubicBezTo>
                      <a:pt x="700" y="472"/>
                      <a:pt x="700" y="472"/>
                      <a:pt x="700" y="472"/>
                    </a:cubicBezTo>
                    <a:cubicBezTo>
                      <a:pt x="699" y="472"/>
                      <a:pt x="699" y="472"/>
                      <a:pt x="699" y="472"/>
                    </a:cubicBezTo>
                    <a:cubicBezTo>
                      <a:pt x="699" y="472"/>
                      <a:pt x="699" y="472"/>
                      <a:pt x="699" y="472"/>
                    </a:cubicBezTo>
                    <a:cubicBezTo>
                      <a:pt x="697" y="471"/>
                      <a:pt x="697" y="471"/>
                      <a:pt x="697" y="471"/>
                    </a:cubicBezTo>
                    <a:cubicBezTo>
                      <a:pt x="696" y="471"/>
                      <a:pt x="696" y="471"/>
                      <a:pt x="696" y="471"/>
                    </a:cubicBezTo>
                    <a:cubicBezTo>
                      <a:pt x="694" y="471"/>
                      <a:pt x="694" y="471"/>
                      <a:pt x="694" y="471"/>
                    </a:cubicBezTo>
                    <a:cubicBezTo>
                      <a:pt x="690" y="470"/>
                      <a:pt x="690" y="470"/>
                      <a:pt x="690" y="470"/>
                    </a:cubicBezTo>
                    <a:cubicBezTo>
                      <a:pt x="690" y="470"/>
                      <a:pt x="690" y="470"/>
                      <a:pt x="690" y="470"/>
                    </a:cubicBezTo>
                    <a:cubicBezTo>
                      <a:pt x="689" y="469"/>
                      <a:pt x="689" y="469"/>
                      <a:pt x="689" y="469"/>
                    </a:cubicBezTo>
                    <a:cubicBezTo>
                      <a:pt x="688" y="469"/>
                      <a:pt x="688" y="469"/>
                      <a:pt x="688" y="469"/>
                    </a:cubicBezTo>
                    <a:cubicBezTo>
                      <a:pt x="687" y="469"/>
                      <a:pt x="687" y="469"/>
                      <a:pt x="687" y="469"/>
                    </a:cubicBezTo>
                    <a:cubicBezTo>
                      <a:pt x="687" y="468"/>
                      <a:pt x="687" y="468"/>
                      <a:pt x="687" y="468"/>
                    </a:cubicBezTo>
                    <a:cubicBezTo>
                      <a:pt x="684" y="467"/>
                      <a:pt x="684" y="467"/>
                      <a:pt x="684" y="467"/>
                    </a:cubicBezTo>
                    <a:cubicBezTo>
                      <a:pt x="684" y="466"/>
                      <a:pt x="684" y="466"/>
                      <a:pt x="684" y="466"/>
                    </a:cubicBezTo>
                    <a:cubicBezTo>
                      <a:pt x="685" y="466"/>
                      <a:pt x="685" y="466"/>
                      <a:pt x="685" y="466"/>
                    </a:cubicBezTo>
                    <a:cubicBezTo>
                      <a:pt x="686" y="465"/>
                      <a:pt x="686" y="465"/>
                      <a:pt x="686" y="465"/>
                    </a:cubicBezTo>
                    <a:cubicBezTo>
                      <a:pt x="686" y="464"/>
                      <a:pt x="686" y="464"/>
                      <a:pt x="686" y="464"/>
                    </a:cubicBezTo>
                    <a:cubicBezTo>
                      <a:pt x="685" y="463"/>
                      <a:pt x="685" y="463"/>
                      <a:pt x="685" y="463"/>
                    </a:cubicBezTo>
                    <a:cubicBezTo>
                      <a:pt x="684" y="464"/>
                      <a:pt x="684" y="464"/>
                      <a:pt x="684" y="464"/>
                    </a:cubicBezTo>
                    <a:cubicBezTo>
                      <a:pt x="684" y="463"/>
                      <a:pt x="684" y="463"/>
                      <a:pt x="684" y="463"/>
                    </a:cubicBezTo>
                    <a:cubicBezTo>
                      <a:pt x="684" y="462"/>
                      <a:pt x="684" y="462"/>
                      <a:pt x="684" y="462"/>
                    </a:cubicBezTo>
                    <a:cubicBezTo>
                      <a:pt x="684" y="462"/>
                      <a:pt x="684" y="462"/>
                      <a:pt x="684" y="462"/>
                    </a:cubicBezTo>
                    <a:cubicBezTo>
                      <a:pt x="685" y="461"/>
                      <a:pt x="685" y="461"/>
                      <a:pt x="685" y="461"/>
                    </a:cubicBezTo>
                    <a:cubicBezTo>
                      <a:pt x="685" y="460"/>
                      <a:pt x="685" y="460"/>
                      <a:pt x="685" y="460"/>
                    </a:cubicBezTo>
                    <a:cubicBezTo>
                      <a:pt x="684" y="459"/>
                      <a:pt x="684" y="459"/>
                      <a:pt x="684" y="459"/>
                    </a:cubicBezTo>
                    <a:cubicBezTo>
                      <a:pt x="684" y="458"/>
                      <a:pt x="684" y="458"/>
                      <a:pt x="684" y="458"/>
                    </a:cubicBezTo>
                    <a:cubicBezTo>
                      <a:pt x="684" y="457"/>
                      <a:pt x="684" y="457"/>
                      <a:pt x="684" y="457"/>
                    </a:cubicBezTo>
                    <a:cubicBezTo>
                      <a:pt x="684" y="456"/>
                      <a:pt x="684" y="456"/>
                      <a:pt x="684" y="456"/>
                    </a:cubicBezTo>
                    <a:cubicBezTo>
                      <a:pt x="685" y="456"/>
                      <a:pt x="685" y="456"/>
                      <a:pt x="685" y="456"/>
                    </a:cubicBezTo>
                    <a:cubicBezTo>
                      <a:pt x="685" y="456"/>
                      <a:pt x="685" y="456"/>
                      <a:pt x="685" y="456"/>
                    </a:cubicBezTo>
                    <a:cubicBezTo>
                      <a:pt x="685" y="455"/>
                      <a:pt x="685" y="455"/>
                      <a:pt x="685" y="455"/>
                    </a:cubicBezTo>
                    <a:cubicBezTo>
                      <a:pt x="684" y="455"/>
                      <a:pt x="684" y="455"/>
                      <a:pt x="684" y="455"/>
                    </a:cubicBezTo>
                    <a:cubicBezTo>
                      <a:pt x="682" y="454"/>
                      <a:pt x="682" y="454"/>
                      <a:pt x="682" y="454"/>
                    </a:cubicBezTo>
                    <a:cubicBezTo>
                      <a:pt x="681" y="455"/>
                      <a:pt x="681" y="455"/>
                      <a:pt x="681" y="455"/>
                    </a:cubicBezTo>
                    <a:cubicBezTo>
                      <a:pt x="679" y="454"/>
                      <a:pt x="679" y="454"/>
                      <a:pt x="679" y="454"/>
                    </a:cubicBezTo>
                    <a:cubicBezTo>
                      <a:pt x="678" y="452"/>
                      <a:pt x="678" y="452"/>
                      <a:pt x="678" y="452"/>
                    </a:cubicBezTo>
                    <a:cubicBezTo>
                      <a:pt x="678" y="451"/>
                      <a:pt x="678" y="451"/>
                      <a:pt x="678" y="451"/>
                    </a:cubicBezTo>
                    <a:cubicBezTo>
                      <a:pt x="675" y="449"/>
                      <a:pt x="671" y="448"/>
                      <a:pt x="667" y="446"/>
                    </a:cubicBezTo>
                    <a:cubicBezTo>
                      <a:pt x="667" y="448"/>
                      <a:pt x="667" y="448"/>
                      <a:pt x="667" y="448"/>
                    </a:cubicBezTo>
                    <a:cubicBezTo>
                      <a:pt x="666" y="448"/>
                      <a:pt x="666" y="448"/>
                      <a:pt x="666" y="448"/>
                    </a:cubicBezTo>
                    <a:cubicBezTo>
                      <a:pt x="666" y="449"/>
                      <a:pt x="666" y="449"/>
                      <a:pt x="666" y="449"/>
                    </a:cubicBezTo>
                    <a:cubicBezTo>
                      <a:pt x="665" y="449"/>
                      <a:pt x="665" y="449"/>
                      <a:pt x="665" y="449"/>
                    </a:cubicBezTo>
                    <a:cubicBezTo>
                      <a:pt x="665" y="448"/>
                      <a:pt x="665" y="448"/>
                      <a:pt x="665" y="448"/>
                    </a:cubicBezTo>
                    <a:cubicBezTo>
                      <a:pt x="666" y="446"/>
                      <a:pt x="666" y="446"/>
                      <a:pt x="666" y="446"/>
                    </a:cubicBezTo>
                    <a:cubicBezTo>
                      <a:pt x="666" y="446"/>
                      <a:pt x="666" y="446"/>
                      <a:pt x="666" y="446"/>
                    </a:cubicBezTo>
                    <a:cubicBezTo>
                      <a:pt x="666" y="446"/>
                      <a:pt x="666" y="446"/>
                      <a:pt x="665" y="446"/>
                    </a:cubicBezTo>
                    <a:cubicBezTo>
                      <a:pt x="665" y="446"/>
                      <a:pt x="665" y="446"/>
                      <a:pt x="665" y="446"/>
                    </a:cubicBezTo>
                    <a:cubicBezTo>
                      <a:pt x="665" y="448"/>
                      <a:pt x="665" y="448"/>
                      <a:pt x="665" y="448"/>
                    </a:cubicBezTo>
                    <a:cubicBezTo>
                      <a:pt x="664" y="449"/>
                      <a:pt x="664" y="449"/>
                      <a:pt x="664" y="449"/>
                    </a:cubicBezTo>
                    <a:cubicBezTo>
                      <a:pt x="664" y="450"/>
                      <a:pt x="664" y="450"/>
                      <a:pt x="664" y="450"/>
                    </a:cubicBezTo>
                    <a:cubicBezTo>
                      <a:pt x="663" y="450"/>
                      <a:pt x="663" y="450"/>
                      <a:pt x="663" y="450"/>
                    </a:cubicBezTo>
                    <a:cubicBezTo>
                      <a:pt x="662" y="450"/>
                      <a:pt x="662" y="450"/>
                      <a:pt x="662" y="450"/>
                    </a:cubicBezTo>
                    <a:cubicBezTo>
                      <a:pt x="663" y="449"/>
                      <a:pt x="663" y="449"/>
                      <a:pt x="663" y="449"/>
                    </a:cubicBezTo>
                    <a:cubicBezTo>
                      <a:pt x="663" y="449"/>
                      <a:pt x="663" y="449"/>
                      <a:pt x="663" y="449"/>
                    </a:cubicBezTo>
                    <a:cubicBezTo>
                      <a:pt x="662" y="449"/>
                      <a:pt x="662" y="449"/>
                      <a:pt x="662" y="449"/>
                    </a:cubicBezTo>
                    <a:cubicBezTo>
                      <a:pt x="660" y="450"/>
                      <a:pt x="660" y="450"/>
                      <a:pt x="660" y="450"/>
                    </a:cubicBezTo>
                    <a:cubicBezTo>
                      <a:pt x="659" y="451"/>
                      <a:pt x="659" y="451"/>
                      <a:pt x="659" y="451"/>
                    </a:cubicBezTo>
                    <a:cubicBezTo>
                      <a:pt x="658" y="452"/>
                      <a:pt x="658" y="452"/>
                      <a:pt x="658" y="452"/>
                    </a:cubicBezTo>
                    <a:cubicBezTo>
                      <a:pt x="657" y="453"/>
                      <a:pt x="657" y="453"/>
                      <a:pt x="657" y="453"/>
                    </a:cubicBezTo>
                    <a:cubicBezTo>
                      <a:pt x="656" y="453"/>
                      <a:pt x="656" y="453"/>
                      <a:pt x="656" y="453"/>
                    </a:cubicBezTo>
                    <a:cubicBezTo>
                      <a:pt x="655" y="454"/>
                      <a:pt x="655" y="454"/>
                      <a:pt x="655" y="454"/>
                    </a:cubicBezTo>
                    <a:cubicBezTo>
                      <a:pt x="653" y="454"/>
                      <a:pt x="653" y="454"/>
                      <a:pt x="653" y="454"/>
                    </a:cubicBezTo>
                    <a:cubicBezTo>
                      <a:pt x="650" y="455"/>
                      <a:pt x="650" y="455"/>
                      <a:pt x="650" y="455"/>
                    </a:cubicBezTo>
                    <a:cubicBezTo>
                      <a:pt x="646" y="457"/>
                      <a:pt x="646" y="457"/>
                      <a:pt x="646" y="457"/>
                    </a:cubicBezTo>
                    <a:cubicBezTo>
                      <a:pt x="645" y="459"/>
                      <a:pt x="645" y="459"/>
                      <a:pt x="645" y="459"/>
                    </a:cubicBezTo>
                    <a:cubicBezTo>
                      <a:pt x="644" y="460"/>
                      <a:pt x="644" y="460"/>
                      <a:pt x="644" y="460"/>
                    </a:cubicBezTo>
                    <a:cubicBezTo>
                      <a:pt x="643" y="460"/>
                      <a:pt x="643" y="460"/>
                      <a:pt x="643" y="460"/>
                    </a:cubicBezTo>
                    <a:cubicBezTo>
                      <a:pt x="642" y="460"/>
                      <a:pt x="642" y="460"/>
                      <a:pt x="642" y="460"/>
                    </a:cubicBezTo>
                    <a:cubicBezTo>
                      <a:pt x="641" y="462"/>
                      <a:pt x="641" y="462"/>
                      <a:pt x="641" y="462"/>
                    </a:cubicBezTo>
                    <a:cubicBezTo>
                      <a:pt x="640" y="462"/>
                      <a:pt x="640" y="462"/>
                      <a:pt x="640" y="462"/>
                    </a:cubicBezTo>
                    <a:cubicBezTo>
                      <a:pt x="639" y="463"/>
                      <a:pt x="639" y="463"/>
                      <a:pt x="639" y="463"/>
                    </a:cubicBezTo>
                    <a:cubicBezTo>
                      <a:pt x="640" y="463"/>
                      <a:pt x="640" y="463"/>
                      <a:pt x="640" y="463"/>
                    </a:cubicBezTo>
                    <a:cubicBezTo>
                      <a:pt x="640" y="464"/>
                      <a:pt x="640" y="464"/>
                      <a:pt x="640" y="464"/>
                    </a:cubicBezTo>
                    <a:cubicBezTo>
                      <a:pt x="641" y="464"/>
                      <a:pt x="641" y="464"/>
                      <a:pt x="641" y="464"/>
                    </a:cubicBezTo>
                    <a:cubicBezTo>
                      <a:pt x="643" y="463"/>
                      <a:pt x="643" y="463"/>
                      <a:pt x="643" y="463"/>
                    </a:cubicBezTo>
                    <a:cubicBezTo>
                      <a:pt x="643" y="462"/>
                      <a:pt x="643" y="462"/>
                      <a:pt x="643" y="462"/>
                    </a:cubicBezTo>
                    <a:cubicBezTo>
                      <a:pt x="645" y="462"/>
                      <a:pt x="645" y="462"/>
                      <a:pt x="645" y="462"/>
                    </a:cubicBezTo>
                    <a:cubicBezTo>
                      <a:pt x="646" y="461"/>
                      <a:pt x="646" y="461"/>
                      <a:pt x="646" y="461"/>
                    </a:cubicBezTo>
                    <a:cubicBezTo>
                      <a:pt x="646" y="461"/>
                      <a:pt x="646" y="461"/>
                      <a:pt x="646" y="461"/>
                    </a:cubicBezTo>
                    <a:cubicBezTo>
                      <a:pt x="648" y="461"/>
                      <a:pt x="648" y="461"/>
                      <a:pt x="648" y="461"/>
                    </a:cubicBezTo>
                    <a:cubicBezTo>
                      <a:pt x="648" y="462"/>
                      <a:pt x="648" y="462"/>
                      <a:pt x="648" y="462"/>
                    </a:cubicBezTo>
                    <a:cubicBezTo>
                      <a:pt x="647" y="462"/>
                      <a:pt x="647" y="462"/>
                      <a:pt x="647" y="462"/>
                    </a:cubicBezTo>
                    <a:cubicBezTo>
                      <a:pt x="647" y="464"/>
                      <a:pt x="647" y="464"/>
                      <a:pt x="647" y="464"/>
                    </a:cubicBezTo>
                    <a:cubicBezTo>
                      <a:pt x="647" y="464"/>
                      <a:pt x="647" y="464"/>
                      <a:pt x="647" y="464"/>
                    </a:cubicBezTo>
                    <a:cubicBezTo>
                      <a:pt x="647" y="464"/>
                      <a:pt x="647" y="464"/>
                      <a:pt x="647" y="464"/>
                    </a:cubicBezTo>
                    <a:cubicBezTo>
                      <a:pt x="647" y="464"/>
                      <a:pt x="647" y="464"/>
                      <a:pt x="647" y="464"/>
                    </a:cubicBezTo>
                    <a:cubicBezTo>
                      <a:pt x="648" y="464"/>
                      <a:pt x="648" y="464"/>
                      <a:pt x="648" y="464"/>
                    </a:cubicBezTo>
                    <a:cubicBezTo>
                      <a:pt x="648" y="465"/>
                      <a:pt x="648" y="465"/>
                      <a:pt x="648" y="465"/>
                    </a:cubicBezTo>
                    <a:cubicBezTo>
                      <a:pt x="649" y="465"/>
                      <a:pt x="649" y="465"/>
                      <a:pt x="649" y="465"/>
                    </a:cubicBezTo>
                    <a:cubicBezTo>
                      <a:pt x="650" y="465"/>
                      <a:pt x="650" y="465"/>
                      <a:pt x="650" y="465"/>
                    </a:cubicBezTo>
                    <a:cubicBezTo>
                      <a:pt x="651" y="465"/>
                      <a:pt x="651" y="465"/>
                      <a:pt x="651" y="465"/>
                    </a:cubicBezTo>
                    <a:cubicBezTo>
                      <a:pt x="654" y="463"/>
                      <a:pt x="654" y="463"/>
                      <a:pt x="654" y="463"/>
                    </a:cubicBezTo>
                    <a:cubicBezTo>
                      <a:pt x="655" y="463"/>
                      <a:pt x="655" y="463"/>
                      <a:pt x="655" y="463"/>
                    </a:cubicBezTo>
                    <a:cubicBezTo>
                      <a:pt x="656" y="463"/>
                      <a:pt x="656" y="463"/>
                      <a:pt x="656" y="463"/>
                    </a:cubicBezTo>
                    <a:cubicBezTo>
                      <a:pt x="657" y="463"/>
                      <a:pt x="657" y="463"/>
                      <a:pt x="657" y="463"/>
                    </a:cubicBezTo>
                    <a:cubicBezTo>
                      <a:pt x="658" y="462"/>
                      <a:pt x="658" y="462"/>
                      <a:pt x="658" y="462"/>
                    </a:cubicBezTo>
                    <a:cubicBezTo>
                      <a:pt x="659" y="461"/>
                      <a:pt x="659" y="461"/>
                      <a:pt x="659" y="461"/>
                    </a:cubicBezTo>
                    <a:cubicBezTo>
                      <a:pt x="660" y="461"/>
                      <a:pt x="660" y="461"/>
                      <a:pt x="660" y="461"/>
                    </a:cubicBezTo>
                    <a:cubicBezTo>
                      <a:pt x="660" y="461"/>
                      <a:pt x="660" y="461"/>
                      <a:pt x="660" y="461"/>
                    </a:cubicBezTo>
                    <a:cubicBezTo>
                      <a:pt x="661" y="460"/>
                      <a:pt x="661" y="460"/>
                      <a:pt x="661" y="460"/>
                    </a:cubicBezTo>
                    <a:cubicBezTo>
                      <a:pt x="662" y="459"/>
                      <a:pt x="662" y="459"/>
                      <a:pt x="662" y="459"/>
                    </a:cubicBezTo>
                    <a:cubicBezTo>
                      <a:pt x="663" y="459"/>
                      <a:pt x="663" y="459"/>
                      <a:pt x="663" y="459"/>
                    </a:cubicBezTo>
                    <a:cubicBezTo>
                      <a:pt x="663" y="458"/>
                      <a:pt x="663" y="458"/>
                      <a:pt x="663" y="458"/>
                    </a:cubicBezTo>
                    <a:cubicBezTo>
                      <a:pt x="665" y="458"/>
                      <a:pt x="665" y="458"/>
                      <a:pt x="665" y="458"/>
                    </a:cubicBezTo>
                    <a:cubicBezTo>
                      <a:pt x="665" y="458"/>
                      <a:pt x="665" y="458"/>
                      <a:pt x="665" y="458"/>
                    </a:cubicBezTo>
                    <a:cubicBezTo>
                      <a:pt x="667" y="458"/>
                      <a:pt x="667" y="458"/>
                      <a:pt x="667" y="458"/>
                    </a:cubicBezTo>
                    <a:cubicBezTo>
                      <a:pt x="667" y="458"/>
                      <a:pt x="667" y="458"/>
                      <a:pt x="667" y="458"/>
                    </a:cubicBezTo>
                    <a:cubicBezTo>
                      <a:pt x="667" y="459"/>
                      <a:pt x="667" y="459"/>
                      <a:pt x="667" y="459"/>
                    </a:cubicBezTo>
                    <a:cubicBezTo>
                      <a:pt x="666" y="459"/>
                      <a:pt x="666" y="459"/>
                      <a:pt x="666" y="459"/>
                    </a:cubicBezTo>
                    <a:cubicBezTo>
                      <a:pt x="665" y="460"/>
                      <a:pt x="665" y="460"/>
                      <a:pt x="665" y="460"/>
                    </a:cubicBezTo>
                    <a:cubicBezTo>
                      <a:pt x="663" y="461"/>
                      <a:pt x="663" y="461"/>
                      <a:pt x="663" y="461"/>
                    </a:cubicBezTo>
                    <a:cubicBezTo>
                      <a:pt x="663" y="462"/>
                      <a:pt x="663" y="462"/>
                      <a:pt x="663" y="462"/>
                    </a:cubicBezTo>
                    <a:cubicBezTo>
                      <a:pt x="663" y="463"/>
                      <a:pt x="663" y="463"/>
                      <a:pt x="663" y="463"/>
                    </a:cubicBezTo>
                    <a:cubicBezTo>
                      <a:pt x="662" y="463"/>
                      <a:pt x="662" y="463"/>
                      <a:pt x="662" y="463"/>
                    </a:cubicBezTo>
                    <a:cubicBezTo>
                      <a:pt x="663" y="463"/>
                      <a:pt x="663" y="463"/>
                      <a:pt x="663" y="463"/>
                    </a:cubicBezTo>
                    <a:cubicBezTo>
                      <a:pt x="663" y="463"/>
                      <a:pt x="663" y="463"/>
                      <a:pt x="663" y="463"/>
                    </a:cubicBezTo>
                    <a:cubicBezTo>
                      <a:pt x="664" y="462"/>
                      <a:pt x="664" y="462"/>
                      <a:pt x="664" y="462"/>
                    </a:cubicBezTo>
                    <a:cubicBezTo>
                      <a:pt x="666" y="463"/>
                      <a:pt x="666" y="463"/>
                      <a:pt x="666" y="463"/>
                    </a:cubicBezTo>
                    <a:cubicBezTo>
                      <a:pt x="666" y="463"/>
                      <a:pt x="666" y="463"/>
                      <a:pt x="666" y="463"/>
                    </a:cubicBezTo>
                    <a:cubicBezTo>
                      <a:pt x="667" y="465"/>
                      <a:pt x="667" y="465"/>
                      <a:pt x="667" y="465"/>
                    </a:cubicBezTo>
                    <a:cubicBezTo>
                      <a:pt x="668" y="466"/>
                      <a:pt x="668" y="466"/>
                      <a:pt x="668" y="466"/>
                    </a:cubicBezTo>
                    <a:cubicBezTo>
                      <a:pt x="668" y="466"/>
                      <a:pt x="668" y="466"/>
                      <a:pt x="668" y="466"/>
                    </a:cubicBezTo>
                    <a:cubicBezTo>
                      <a:pt x="670" y="466"/>
                      <a:pt x="670" y="466"/>
                      <a:pt x="670" y="466"/>
                    </a:cubicBezTo>
                    <a:cubicBezTo>
                      <a:pt x="671" y="467"/>
                      <a:pt x="671" y="467"/>
                      <a:pt x="671" y="467"/>
                    </a:cubicBezTo>
                    <a:cubicBezTo>
                      <a:pt x="672" y="467"/>
                      <a:pt x="672" y="467"/>
                      <a:pt x="672" y="467"/>
                    </a:cubicBezTo>
                    <a:cubicBezTo>
                      <a:pt x="673" y="466"/>
                      <a:pt x="673" y="466"/>
                      <a:pt x="673" y="466"/>
                    </a:cubicBezTo>
                    <a:cubicBezTo>
                      <a:pt x="674" y="466"/>
                      <a:pt x="674" y="466"/>
                      <a:pt x="674" y="466"/>
                    </a:cubicBezTo>
                    <a:cubicBezTo>
                      <a:pt x="674" y="466"/>
                      <a:pt x="674" y="466"/>
                      <a:pt x="674" y="466"/>
                    </a:cubicBezTo>
                    <a:cubicBezTo>
                      <a:pt x="675" y="465"/>
                      <a:pt x="675" y="465"/>
                      <a:pt x="675" y="465"/>
                    </a:cubicBezTo>
                    <a:cubicBezTo>
                      <a:pt x="675" y="466"/>
                      <a:pt x="675" y="466"/>
                      <a:pt x="675" y="466"/>
                    </a:cubicBezTo>
                    <a:cubicBezTo>
                      <a:pt x="676" y="465"/>
                      <a:pt x="676" y="465"/>
                      <a:pt x="676" y="465"/>
                    </a:cubicBezTo>
                    <a:cubicBezTo>
                      <a:pt x="677" y="466"/>
                      <a:pt x="677" y="466"/>
                      <a:pt x="677" y="466"/>
                    </a:cubicBezTo>
                    <a:cubicBezTo>
                      <a:pt x="678" y="466"/>
                      <a:pt x="678" y="466"/>
                      <a:pt x="678" y="466"/>
                    </a:cubicBezTo>
                    <a:cubicBezTo>
                      <a:pt x="679" y="466"/>
                      <a:pt x="679" y="466"/>
                      <a:pt x="679" y="466"/>
                    </a:cubicBezTo>
                    <a:cubicBezTo>
                      <a:pt x="680" y="465"/>
                      <a:pt x="680" y="465"/>
                      <a:pt x="680" y="465"/>
                    </a:cubicBezTo>
                    <a:cubicBezTo>
                      <a:pt x="681" y="465"/>
                      <a:pt x="681" y="465"/>
                      <a:pt x="681" y="465"/>
                    </a:cubicBezTo>
                    <a:cubicBezTo>
                      <a:pt x="681" y="465"/>
                      <a:pt x="681" y="465"/>
                      <a:pt x="681" y="465"/>
                    </a:cubicBezTo>
                    <a:cubicBezTo>
                      <a:pt x="682" y="466"/>
                      <a:pt x="682" y="466"/>
                      <a:pt x="682" y="466"/>
                    </a:cubicBezTo>
                    <a:cubicBezTo>
                      <a:pt x="681" y="467"/>
                      <a:pt x="681" y="467"/>
                      <a:pt x="681" y="467"/>
                    </a:cubicBezTo>
                    <a:cubicBezTo>
                      <a:pt x="682" y="468"/>
                      <a:pt x="682" y="468"/>
                      <a:pt x="682" y="468"/>
                    </a:cubicBezTo>
                    <a:cubicBezTo>
                      <a:pt x="683" y="468"/>
                      <a:pt x="683" y="468"/>
                      <a:pt x="683" y="468"/>
                    </a:cubicBezTo>
                    <a:cubicBezTo>
                      <a:pt x="683" y="468"/>
                      <a:pt x="683" y="468"/>
                      <a:pt x="683" y="468"/>
                    </a:cubicBezTo>
                    <a:cubicBezTo>
                      <a:pt x="684" y="468"/>
                      <a:pt x="684" y="468"/>
                      <a:pt x="684" y="468"/>
                    </a:cubicBezTo>
                    <a:cubicBezTo>
                      <a:pt x="685" y="469"/>
                      <a:pt x="685" y="469"/>
                      <a:pt x="685" y="469"/>
                    </a:cubicBezTo>
                    <a:cubicBezTo>
                      <a:pt x="686" y="470"/>
                      <a:pt x="686" y="470"/>
                      <a:pt x="686" y="470"/>
                    </a:cubicBezTo>
                    <a:cubicBezTo>
                      <a:pt x="686" y="471"/>
                      <a:pt x="686" y="471"/>
                      <a:pt x="686" y="471"/>
                    </a:cubicBezTo>
                    <a:cubicBezTo>
                      <a:pt x="687" y="471"/>
                      <a:pt x="687" y="471"/>
                      <a:pt x="687" y="471"/>
                    </a:cubicBezTo>
                    <a:cubicBezTo>
                      <a:pt x="687" y="472"/>
                      <a:pt x="687" y="472"/>
                      <a:pt x="687" y="472"/>
                    </a:cubicBezTo>
                    <a:cubicBezTo>
                      <a:pt x="687" y="472"/>
                      <a:pt x="687" y="472"/>
                      <a:pt x="687" y="472"/>
                    </a:cubicBezTo>
                    <a:cubicBezTo>
                      <a:pt x="686" y="472"/>
                      <a:pt x="686" y="472"/>
                      <a:pt x="686" y="472"/>
                    </a:cubicBezTo>
                    <a:cubicBezTo>
                      <a:pt x="685" y="472"/>
                      <a:pt x="685" y="472"/>
                      <a:pt x="685" y="472"/>
                    </a:cubicBezTo>
                    <a:cubicBezTo>
                      <a:pt x="684" y="471"/>
                      <a:pt x="684" y="471"/>
                      <a:pt x="684" y="471"/>
                    </a:cubicBezTo>
                    <a:cubicBezTo>
                      <a:pt x="683" y="471"/>
                      <a:pt x="683" y="471"/>
                      <a:pt x="683" y="471"/>
                    </a:cubicBezTo>
                    <a:cubicBezTo>
                      <a:pt x="683" y="471"/>
                      <a:pt x="683" y="471"/>
                      <a:pt x="683" y="471"/>
                    </a:cubicBezTo>
                    <a:cubicBezTo>
                      <a:pt x="683" y="472"/>
                      <a:pt x="683" y="472"/>
                      <a:pt x="683" y="472"/>
                    </a:cubicBezTo>
                    <a:cubicBezTo>
                      <a:pt x="682" y="473"/>
                      <a:pt x="682" y="473"/>
                      <a:pt x="682" y="473"/>
                    </a:cubicBezTo>
                    <a:cubicBezTo>
                      <a:pt x="682" y="473"/>
                      <a:pt x="682" y="473"/>
                      <a:pt x="682" y="473"/>
                    </a:cubicBezTo>
                    <a:cubicBezTo>
                      <a:pt x="682" y="474"/>
                      <a:pt x="682" y="474"/>
                      <a:pt x="682" y="474"/>
                    </a:cubicBezTo>
                    <a:cubicBezTo>
                      <a:pt x="681" y="473"/>
                      <a:pt x="681" y="473"/>
                      <a:pt x="681" y="473"/>
                    </a:cubicBezTo>
                    <a:cubicBezTo>
                      <a:pt x="681" y="472"/>
                      <a:pt x="681" y="472"/>
                      <a:pt x="681" y="472"/>
                    </a:cubicBezTo>
                    <a:cubicBezTo>
                      <a:pt x="680" y="471"/>
                      <a:pt x="680" y="471"/>
                      <a:pt x="680" y="471"/>
                    </a:cubicBezTo>
                    <a:cubicBezTo>
                      <a:pt x="679" y="471"/>
                      <a:pt x="679" y="471"/>
                      <a:pt x="679" y="471"/>
                    </a:cubicBezTo>
                    <a:cubicBezTo>
                      <a:pt x="678" y="471"/>
                      <a:pt x="678" y="471"/>
                      <a:pt x="678" y="471"/>
                    </a:cubicBezTo>
                    <a:cubicBezTo>
                      <a:pt x="677" y="471"/>
                      <a:pt x="677" y="471"/>
                      <a:pt x="677" y="471"/>
                    </a:cubicBezTo>
                    <a:cubicBezTo>
                      <a:pt x="676" y="471"/>
                      <a:pt x="676" y="471"/>
                      <a:pt x="676" y="471"/>
                    </a:cubicBezTo>
                    <a:cubicBezTo>
                      <a:pt x="675" y="471"/>
                      <a:pt x="675" y="471"/>
                      <a:pt x="675" y="471"/>
                    </a:cubicBezTo>
                    <a:cubicBezTo>
                      <a:pt x="673" y="471"/>
                      <a:pt x="673" y="471"/>
                      <a:pt x="673" y="471"/>
                    </a:cubicBezTo>
                    <a:cubicBezTo>
                      <a:pt x="672" y="471"/>
                      <a:pt x="672" y="471"/>
                      <a:pt x="672" y="471"/>
                    </a:cubicBezTo>
                    <a:cubicBezTo>
                      <a:pt x="672" y="472"/>
                      <a:pt x="672" y="472"/>
                      <a:pt x="672" y="472"/>
                    </a:cubicBezTo>
                    <a:cubicBezTo>
                      <a:pt x="671" y="472"/>
                      <a:pt x="671" y="472"/>
                      <a:pt x="671" y="472"/>
                    </a:cubicBezTo>
                    <a:cubicBezTo>
                      <a:pt x="671" y="472"/>
                      <a:pt x="671" y="472"/>
                      <a:pt x="671" y="472"/>
                    </a:cubicBezTo>
                    <a:cubicBezTo>
                      <a:pt x="671" y="472"/>
                      <a:pt x="671" y="472"/>
                      <a:pt x="671" y="472"/>
                    </a:cubicBezTo>
                    <a:cubicBezTo>
                      <a:pt x="670" y="471"/>
                      <a:pt x="670" y="471"/>
                      <a:pt x="670" y="471"/>
                    </a:cubicBezTo>
                    <a:cubicBezTo>
                      <a:pt x="670" y="472"/>
                      <a:pt x="670" y="472"/>
                      <a:pt x="670" y="472"/>
                    </a:cubicBezTo>
                    <a:cubicBezTo>
                      <a:pt x="669" y="472"/>
                      <a:pt x="669" y="472"/>
                      <a:pt x="669" y="472"/>
                    </a:cubicBezTo>
                    <a:cubicBezTo>
                      <a:pt x="668" y="473"/>
                      <a:pt x="668" y="473"/>
                      <a:pt x="668" y="473"/>
                    </a:cubicBezTo>
                    <a:cubicBezTo>
                      <a:pt x="667" y="474"/>
                      <a:pt x="667" y="474"/>
                      <a:pt x="667" y="474"/>
                    </a:cubicBezTo>
                    <a:cubicBezTo>
                      <a:pt x="667" y="474"/>
                      <a:pt x="667" y="474"/>
                      <a:pt x="667" y="474"/>
                    </a:cubicBezTo>
                    <a:cubicBezTo>
                      <a:pt x="665" y="477"/>
                      <a:pt x="665" y="477"/>
                      <a:pt x="665" y="477"/>
                    </a:cubicBezTo>
                    <a:cubicBezTo>
                      <a:pt x="663" y="478"/>
                      <a:pt x="663" y="478"/>
                      <a:pt x="663" y="478"/>
                    </a:cubicBezTo>
                    <a:cubicBezTo>
                      <a:pt x="662" y="479"/>
                      <a:pt x="662" y="479"/>
                      <a:pt x="662" y="479"/>
                    </a:cubicBezTo>
                    <a:cubicBezTo>
                      <a:pt x="661" y="480"/>
                      <a:pt x="661" y="480"/>
                      <a:pt x="661" y="480"/>
                    </a:cubicBezTo>
                    <a:cubicBezTo>
                      <a:pt x="661" y="482"/>
                      <a:pt x="661" y="482"/>
                      <a:pt x="661" y="482"/>
                    </a:cubicBezTo>
                    <a:cubicBezTo>
                      <a:pt x="660" y="482"/>
                      <a:pt x="660" y="482"/>
                      <a:pt x="660" y="482"/>
                    </a:cubicBezTo>
                    <a:cubicBezTo>
                      <a:pt x="660" y="483"/>
                      <a:pt x="660" y="483"/>
                      <a:pt x="660" y="483"/>
                    </a:cubicBezTo>
                    <a:cubicBezTo>
                      <a:pt x="661" y="483"/>
                      <a:pt x="661" y="483"/>
                      <a:pt x="661" y="483"/>
                    </a:cubicBezTo>
                    <a:cubicBezTo>
                      <a:pt x="662" y="482"/>
                      <a:pt x="662" y="482"/>
                      <a:pt x="662" y="482"/>
                    </a:cubicBezTo>
                    <a:cubicBezTo>
                      <a:pt x="662" y="481"/>
                      <a:pt x="662" y="481"/>
                      <a:pt x="662" y="481"/>
                    </a:cubicBezTo>
                    <a:cubicBezTo>
                      <a:pt x="663" y="481"/>
                      <a:pt x="663" y="481"/>
                      <a:pt x="663" y="481"/>
                    </a:cubicBezTo>
                    <a:cubicBezTo>
                      <a:pt x="663" y="481"/>
                      <a:pt x="663" y="481"/>
                      <a:pt x="663" y="481"/>
                    </a:cubicBezTo>
                    <a:cubicBezTo>
                      <a:pt x="664" y="481"/>
                      <a:pt x="664" y="481"/>
                      <a:pt x="664" y="481"/>
                    </a:cubicBezTo>
                    <a:cubicBezTo>
                      <a:pt x="663" y="483"/>
                      <a:pt x="663" y="483"/>
                      <a:pt x="663" y="483"/>
                    </a:cubicBezTo>
                    <a:cubicBezTo>
                      <a:pt x="663" y="485"/>
                      <a:pt x="663" y="485"/>
                      <a:pt x="663" y="485"/>
                    </a:cubicBezTo>
                    <a:cubicBezTo>
                      <a:pt x="663" y="485"/>
                      <a:pt x="663" y="485"/>
                      <a:pt x="663" y="485"/>
                    </a:cubicBezTo>
                    <a:cubicBezTo>
                      <a:pt x="662" y="487"/>
                      <a:pt x="662" y="487"/>
                      <a:pt x="662" y="487"/>
                    </a:cubicBezTo>
                    <a:cubicBezTo>
                      <a:pt x="661" y="488"/>
                      <a:pt x="661" y="488"/>
                      <a:pt x="661" y="488"/>
                    </a:cubicBezTo>
                    <a:cubicBezTo>
                      <a:pt x="661" y="489"/>
                      <a:pt x="661" y="489"/>
                      <a:pt x="661" y="489"/>
                    </a:cubicBezTo>
                    <a:cubicBezTo>
                      <a:pt x="661" y="490"/>
                      <a:pt x="661" y="490"/>
                      <a:pt x="661" y="490"/>
                    </a:cubicBezTo>
                    <a:cubicBezTo>
                      <a:pt x="661" y="491"/>
                      <a:pt x="661" y="491"/>
                      <a:pt x="661" y="491"/>
                    </a:cubicBezTo>
                    <a:cubicBezTo>
                      <a:pt x="659" y="493"/>
                      <a:pt x="659" y="493"/>
                      <a:pt x="659" y="493"/>
                    </a:cubicBezTo>
                    <a:cubicBezTo>
                      <a:pt x="659" y="494"/>
                      <a:pt x="659" y="494"/>
                      <a:pt x="659" y="494"/>
                    </a:cubicBezTo>
                    <a:cubicBezTo>
                      <a:pt x="658" y="496"/>
                      <a:pt x="658" y="496"/>
                      <a:pt x="658" y="496"/>
                    </a:cubicBezTo>
                    <a:cubicBezTo>
                      <a:pt x="658" y="498"/>
                      <a:pt x="658" y="498"/>
                      <a:pt x="658" y="498"/>
                    </a:cubicBezTo>
                    <a:cubicBezTo>
                      <a:pt x="658" y="498"/>
                      <a:pt x="658" y="498"/>
                      <a:pt x="658" y="498"/>
                    </a:cubicBezTo>
                    <a:cubicBezTo>
                      <a:pt x="658" y="500"/>
                      <a:pt x="658" y="500"/>
                      <a:pt x="658" y="500"/>
                    </a:cubicBezTo>
                    <a:cubicBezTo>
                      <a:pt x="657" y="502"/>
                      <a:pt x="657" y="502"/>
                      <a:pt x="657" y="502"/>
                    </a:cubicBezTo>
                    <a:cubicBezTo>
                      <a:pt x="658" y="502"/>
                      <a:pt x="658" y="502"/>
                      <a:pt x="658" y="502"/>
                    </a:cubicBezTo>
                    <a:cubicBezTo>
                      <a:pt x="658" y="505"/>
                      <a:pt x="658" y="505"/>
                      <a:pt x="658" y="505"/>
                    </a:cubicBezTo>
                    <a:cubicBezTo>
                      <a:pt x="658" y="505"/>
                      <a:pt x="658" y="505"/>
                      <a:pt x="658" y="505"/>
                    </a:cubicBezTo>
                    <a:cubicBezTo>
                      <a:pt x="658" y="506"/>
                      <a:pt x="658" y="506"/>
                      <a:pt x="658" y="506"/>
                    </a:cubicBezTo>
                    <a:cubicBezTo>
                      <a:pt x="659" y="507"/>
                      <a:pt x="659" y="507"/>
                      <a:pt x="659" y="507"/>
                    </a:cubicBezTo>
                    <a:cubicBezTo>
                      <a:pt x="659" y="507"/>
                      <a:pt x="659" y="507"/>
                      <a:pt x="659" y="507"/>
                    </a:cubicBezTo>
                    <a:cubicBezTo>
                      <a:pt x="660" y="508"/>
                      <a:pt x="660" y="508"/>
                      <a:pt x="660" y="508"/>
                    </a:cubicBezTo>
                    <a:cubicBezTo>
                      <a:pt x="661" y="507"/>
                      <a:pt x="661" y="507"/>
                      <a:pt x="661" y="507"/>
                    </a:cubicBezTo>
                    <a:cubicBezTo>
                      <a:pt x="661" y="507"/>
                      <a:pt x="661" y="507"/>
                      <a:pt x="661" y="507"/>
                    </a:cubicBezTo>
                    <a:cubicBezTo>
                      <a:pt x="662" y="507"/>
                      <a:pt x="662" y="507"/>
                      <a:pt x="662" y="507"/>
                    </a:cubicBezTo>
                    <a:cubicBezTo>
                      <a:pt x="663" y="507"/>
                      <a:pt x="663" y="507"/>
                      <a:pt x="663" y="507"/>
                    </a:cubicBezTo>
                    <a:cubicBezTo>
                      <a:pt x="664" y="506"/>
                      <a:pt x="664" y="506"/>
                      <a:pt x="664" y="506"/>
                    </a:cubicBezTo>
                    <a:cubicBezTo>
                      <a:pt x="664" y="505"/>
                      <a:pt x="664" y="505"/>
                      <a:pt x="664" y="505"/>
                    </a:cubicBezTo>
                    <a:cubicBezTo>
                      <a:pt x="664" y="505"/>
                      <a:pt x="664" y="505"/>
                      <a:pt x="664" y="505"/>
                    </a:cubicBezTo>
                    <a:cubicBezTo>
                      <a:pt x="665" y="504"/>
                      <a:pt x="665" y="504"/>
                      <a:pt x="665" y="504"/>
                    </a:cubicBezTo>
                    <a:cubicBezTo>
                      <a:pt x="666" y="502"/>
                      <a:pt x="666" y="502"/>
                      <a:pt x="666" y="502"/>
                    </a:cubicBezTo>
                    <a:cubicBezTo>
                      <a:pt x="668" y="500"/>
                      <a:pt x="668" y="500"/>
                      <a:pt x="668" y="500"/>
                    </a:cubicBezTo>
                    <a:cubicBezTo>
                      <a:pt x="668" y="499"/>
                      <a:pt x="668" y="499"/>
                      <a:pt x="668" y="499"/>
                    </a:cubicBezTo>
                    <a:cubicBezTo>
                      <a:pt x="668" y="498"/>
                      <a:pt x="668" y="498"/>
                      <a:pt x="668" y="498"/>
                    </a:cubicBezTo>
                    <a:cubicBezTo>
                      <a:pt x="668" y="497"/>
                      <a:pt x="668" y="497"/>
                      <a:pt x="668" y="497"/>
                    </a:cubicBezTo>
                    <a:cubicBezTo>
                      <a:pt x="668" y="495"/>
                      <a:pt x="668" y="495"/>
                      <a:pt x="668" y="495"/>
                    </a:cubicBezTo>
                    <a:cubicBezTo>
                      <a:pt x="668" y="494"/>
                      <a:pt x="668" y="494"/>
                      <a:pt x="668" y="494"/>
                    </a:cubicBezTo>
                    <a:cubicBezTo>
                      <a:pt x="668" y="492"/>
                      <a:pt x="668" y="492"/>
                      <a:pt x="668" y="492"/>
                    </a:cubicBezTo>
                    <a:cubicBezTo>
                      <a:pt x="668" y="491"/>
                      <a:pt x="668" y="491"/>
                      <a:pt x="668" y="491"/>
                    </a:cubicBezTo>
                    <a:cubicBezTo>
                      <a:pt x="669" y="490"/>
                      <a:pt x="669" y="490"/>
                      <a:pt x="669" y="490"/>
                    </a:cubicBezTo>
                    <a:cubicBezTo>
                      <a:pt x="670" y="489"/>
                      <a:pt x="670" y="489"/>
                      <a:pt x="670" y="489"/>
                    </a:cubicBezTo>
                    <a:cubicBezTo>
                      <a:pt x="669" y="489"/>
                      <a:pt x="669" y="489"/>
                      <a:pt x="669" y="489"/>
                    </a:cubicBezTo>
                    <a:cubicBezTo>
                      <a:pt x="669" y="488"/>
                      <a:pt x="669" y="488"/>
                      <a:pt x="669" y="488"/>
                    </a:cubicBezTo>
                    <a:cubicBezTo>
                      <a:pt x="669" y="487"/>
                      <a:pt x="669" y="487"/>
                      <a:pt x="669" y="487"/>
                    </a:cubicBezTo>
                    <a:cubicBezTo>
                      <a:pt x="670" y="485"/>
                      <a:pt x="670" y="485"/>
                      <a:pt x="670" y="485"/>
                    </a:cubicBezTo>
                    <a:cubicBezTo>
                      <a:pt x="671" y="483"/>
                      <a:pt x="671" y="483"/>
                      <a:pt x="671" y="483"/>
                    </a:cubicBezTo>
                    <a:cubicBezTo>
                      <a:pt x="671" y="482"/>
                      <a:pt x="671" y="482"/>
                      <a:pt x="671" y="482"/>
                    </a:cubicBezTo>
                    <a:cubicBezTo>
                      <a:pt x="672" y="482"/>
                      <a:pt x="672" y="482"/>
                      <a:pt x="672" y="482"/>
                    </a:cubicBezTo>
                    <a:cubicBezTo>
                      <a:pt x="673" y="481"/>
                      <a:pt x="673" y="481"/>
                      <a:pt x="673" y="481"/>
                    </a:cubicBezTo>
                    <a:cubicBezTo>
                      <a:pt x="673" y="480"/>
                      <a:pt x="673" y="480"/>
                      <a:pt x="673" y="480"/>
                    </a:cubicBezTo>
                    <a:cubicBezTo>
                      <a:pt x="673" y="480"/>
                      <a:pt x="673" y="480"/>
                      <a:pt x="673" y="480"/>
                    </a:cubicBezTo>
                    <a:cubicBezTo>
                      <a:pt x="673" y="480"/>
                      <a:pt x="673" y="480"/>
                      <a:pt x="673" y="480"/>
                    </a:cubicBezTo>
                    <a:cubicBezTo>
                      <a:pt x="674" y="480"/>
                      <a:pt x="674" y="480"/>
                      <a:pt x="674" y="480"/>
                    </a:cubicBezTo>
                    <a:cubicBezTo>
                      <a:pt x="675" y="479"/>
                      <a:pt x="675" y="479"/>
                      <a:pt x="675" y="479"/>
                    </a:cubicBezTo>
                    <a:cubicBezTo>
                      <a:pt x="675" y="479"/>
                      <a:pt x="675" y="479"/>
                      <a:pt x="675" y="479"/>
                    </a:cubicBezTo>
                    <a:cubicBezTo>
                      <a:pt x="676" y="480"/>
                      <a:pt x="676" y="480"/>
                      <a:pt x="676" y="480"/>
                    </a:cubicBezTo>
                    <a:cubicBezTo>
                      <a:pt x="675" y="480"/>
                      <a:pt x="675" y="480"/>
                      <a:pt x="675" y="480"/>
                    </a:cubicBezTo>
                    <a:cubicBezTo>
                      <a:pt x="676" y="481"/>
                      <a:pt x="676" y="481"/>
                      <a:pt x="676" y="481"/>
                    </a:cubicBezTo>
                    <a:cubicBezTo>
                      <a:pt x="676" y="480"/>
                      <a:pt x="676" y="480"/>
                      <a:pt x="676" y="480"/>
                    </a:cubicBezTo>
                    <a:cubicBezTo>
                      <a:pt x="676" y="480"/>
                      <a:pt x="676" y="480"/>
                      <a:pt x="676" y="480"/>
                    </a:cubicBezTo>
                    <a:cubicBezTo>
                      <a:pt x="676" y="480"/>
                      <a:pt x="676" y="480"/>
                      <a:pt x="676" y="480"/>
                    </a:cubicBezTo>
                    <a:cubicBezTo>
                      <a:pt x="676" y="480"/>
                      <a:pt x="676" y="480"/>
                      <a:pt x="676" y="480"/>
                    </a:cubicBezTo>
                    <a:cubicBezTo>
                      <a:pt x="676" y="481"/>
                      <a:pt x="676" y="481"/>
                      <a:pt x="676" y="481"/>
                    </a:cubicBezTo>
                    <a:cubicBezTo>
                      <a:pt x="676" y="481"/>
                      <a:pt x="676" y="481"/>
                      <a:pt x="676" y="481"/>
                    </a:cubicBezTo>
                    <a:cubicBezTo>
                      <a:pt x="677" y="481"/>
                      <a:pt x="677" y="481"/>
                      <a:pt x="677" y="481"/>
                    </a:cubicBezTo>
                    <a:cubicBezTo>
                      <a:pt x="677" y="480"/>
                      <a:pt x="677" y="480"/>
                      <a:pt x="677" y="480"/>
                    </a:cubicBezTo>
                    <a:cubicBezTo>
                      <a:pt x="677" y="479"/>
                      <a:pt x="677" y="479"/>
                      <a:pt x="677" y="479"/>
                    </a:cubicBezTo>
                    <a:cubicBezTo>
                      <a:pt x="677" y="478"/>
                      <a:pt x="677" y="478"/>
                      <a:pt x="677" y="478"/>
                    </a:cubicBezTo>
                    <a:cubicBezTo>
                      <a:pt x="678" y="477"/>
                      <a:pt x="678" y="477"/>
                      <a:pt x="678" y="477"/>
                    </a:cubicBezTo>
                    <a:cubicBezTo>
                      <a:pt x="679" y="477"/>
                      <a:pt x="679" y="477"/>
                      <a:pt x="679" y="477"/>
                    </a:cubicBezTo>
                    <a:cubicBezTo>
                      <a:pt x="680" y="477"/>
                      <a:pt x="680" y="477"/>
                      <a:pt x="680" y="477"/>
                    </a:cubicBezTo>
                    <a:cubicBezTo>
                      <a:pt x="680" y="477"/>
                      <a:pt x="680" y="477"/>
                      <a:pt x="680" y="477"/>
                    </a:cubicBezTo>
                    <a:cubicBezTo>
                      <a:pt x="679" y="476"/>
                      <a:pt x="679" y="476"/>
                      <a:pt x="679" y="476"/>
                    </a:cubicBezTo>
                    <a:cubicBezTo>
                      <a:pt x="679" y="476"/>
                      <a:pt x="679" y="476"/>
                      <a:pt x="679" y="476"/>
                    </a:cubicBezTo>
                    <a:cubicBezTo>
                      <a:pt x="680" y="475"/>
                      <a:pt x="680" y="475"/>
                      <a:pt x="680" y="475"/>
                    </a:cubicBezTo>
                    <a:cubicBezTo>
                      <a:pt x="680" y="475"/>
                      <a:pt x="680" y="475"/>
                      <a:pt x="680" y="475"/>
                    </a:cubicBezTo>
                    <a:cubicBezTo>
                      <a:pt x="681" y="474"/>
                      <a:pt x="681" y="474"/>
                      <a:pt x="681" y="474"/>
                    </a:cubicBezTo>
                    <a:cubicBezTo>
                      <a:pt x="681" y="474"/>
                      <a:pt x="681" y="474"/>
                      <a:pt x="681" y="474"/>
                    </a:cubicBezTo>
                    <a:cubicBezTo>
                      <a:pt x="681" y="475"/>
                      <a:pt x="681" y="475"/>
                      <a:pt x="681" y="475"/>
                    </a:cubicBezTo>
                    <a:cubicBezTo>
                      <a:pt x="682" y="475"/>
                      <a:pt x="682" y="475"/>
                      <a:pt x="682" y="475"/>
                    </a:cubicBezTo>
                    <a:cubicBezTo>
                      <a:pt x="683" y="476"/>
                      <a:pt x="683" y="476"/>
                      <a:pt x="683" y="476"/>
                    </a:cubicBezTo>
                    <a:cubicBezTo>
                      <a:pt x="684" y="476"/>
                      <a:pt x="684" y="476"/>
                      <a:pt x="684" y="476"/>
                    </a:cubicBezTo>
                    <a:cubicBezTo>
                      <a:pt x="685" y="477"/>
                      <a:pt x="685" y="477"/>
                      <a:pt x="685" y="477"/>
                    </a:cubicBezTo>
                    <a:cubicBezTo>
                      <a:pt x="685" y="477"/>
                      <a:pt x="685" y="477"/>
                      <a:pt x="685" y="477"/>
                    </a:cubicBezTo>
                    <a:cubicBezTo>
                      <a:pt x="686" y="478"/>
                      <a:pt x="686" y="478"/>
                      <a:pt x="686" y="478"/>
                    </a:cubicBezTo>
                    <a:cubicBezTo>
                      <a:pt x="687" y="478"/>
                      <a:pt x="687" y="478"/>
                      <a:pt x="687" y="478"/>
                    </a:cubicBezTo>
                    <a:cubicBezTo>
                      <a:pt x="688" y="479"/>
                      <a:pt x="688" y="479"/>
                      <a:pt x="688" y="479"/>
                    </a:cubicBezTo>
                    <a:cubicBezTo>
                      <a:pt x="688" y="480"/>
                      <a:pt x="688" y="480"/>
                      <a:pt x="688" y="480"/>
                    </a:cubicBezTo>
                    <a:cubicBezTo>
                      <a:pt x="688" y="480"/>
                      <a:pt x="688" y="480"/>
                      <a:pt x="688" y="480"/>
                    </a:cubicBezTo>
                    <a:cubicBezTo>
                      <a:pt x="688" y="481"/>
                      <a:pt x="688" y="481"/>
                      <a:pt x="688" y="481"/>
                    </a:cubicBezTo>
                    <a:cubicBezTo>
                      <a:pt x="689" y="482"/>
                      <a:pt x="689" y="482"/>
                      <a:pt x="689" y="482"/>
                    </a:cubicBezTo>
                    <a:cubicBezTo>
                      <a:pt x="689" y="484"/>
                      <a:pt x="689" y="484"/>
                      <a:pt x="689" y="484"/>
                    </a:cubicBezTo>
                    <a:cubicBezTo>
                      <a:pt x="688" y="486"/>
                      <a:pt x="688" y="486"/>
                      <a:pt x="688" y="486"/>
                    </a:cubicBezTo>
                    <a:cubicBezTo>
                      <a:pt x="687" y="487"/>
                      <a:pt x="687" y="487"/>
                      <a:pt x="687" y="487"/>
                    </a:cubicBezTo>
                    <a:cubicBezTo>
                      <a:pt x="686" y="487"/>
                      <a:pt x="686" y="487"/>
                      <a:pt x="686" y="487"/>
                    </a:cubicBezTo>
                    <a:cubicBezTo>
                      <a:pt x="686" y="488"/>
                      <a:pt x="686" y="488"/>
                      <a:pt x="686" y="488"/>
                    </a:cubicBezTo>
                    <a:cubicBezTo>
                      <a:pt x="686" y="489"/>
                      <a:pt x="686" y="489"/>
                      <a:pt x="686" y="489"/>
                    </a:cubicBezTo>
                    <a:cubicBezTo>
                      <a:pt x="684" y="489"/>
                      <a:pt x="684" y="489"/>
                      <a:pt x="684" y="489"/>
                    </a:cubicBezTo>
                    <a:cubicBezTo>
                      <a:pt x="684" y="490"/>
                      <a:pt x="684" y="490"/>
                      <a:pt x="684" y="490"/>
                    </a:cubicBezTo>
                    <a:cubicBezTo>
                      <a:pt x="684" y="491"/>
                      <a:pt x="684" y="491"/>
                      <a:pt x="684" y="491"/>
                    </a:cubicBezTo>
                    <a:cubicBezTo>
                      <a:pt x="684" y="492"/>
                      <a:pt x="684" y="492"/>
                      <a:pt x="684" y="492"/>
                    </a:cubicBezTo>
                    <a:cubicBezTo>
                      <a:pt x="685" y="493"/>
                      <a:pt x="685" y="493"/>
                      <a:pt x="685" y="493"/>
                    </a:cubicBezTo>
                    <a:cubicBezTo>
                      <a:pt x="686" y="492"/>
                      <a:pt x="686" y="492"/>
                      <a:pt x="686" y="492"/>
                    </a:cubicBezTo>
                    <a:cubicBezTo>
                      <a:pt x="686" y="492"/>
                      <a:pt x="686" y="492"/>
                      <a:pt x="686" y="492"/>
                    </a:cubicBezTo>
                    <a:cubicBezTo>
                      <a:pt x="687" y="491"/>
                      <a:pt x="687" y="491"/>
                      <a:pt x="687" y="491"/>
                    </a:cubicBezTo>
                    <a:cubicBezTo>
                      <a:pt x="687" y="490"/>
                      <a:pt x="687" y="490"/>
                      <a:pt x="687" y="490"/>
                    </a:cubicBezTo>
                    <a:cubicBezTo>
                      <a:pt x="687" y="490"/>
                      <a:pt x="687" y="490"/>
                      <a:pt x="687" y="490"/>
                    </a:cubicBezTo>
                    <a:cubicBezTo>
                      <a:pt x="688" y="490"/>
                      <a:pt x="688" y="490"/>
                      <a:pt x="688" y="490"/>
                    </a:cubicBezTo>
                    <a:cubicBezTo>
                      <a:pt x="689" y="489"/>
                      <a:pt x="689" y="489"/>
                      <a:pt x="689" y="489"/>
                    </a:cubicBezTo>
                    <a:cubicBezTo>
                      <a:pt x="690" y="489"/>
                      <a:pt x="690" y="489"/>
                      <a:pt x="690" y="489"/>
                    </a:cubicBezTo>
                    <a:cubicBezTo>
                      <a:pt x="690" y="489"/>
                      <a:pt x="690" y="489"/>
                      <a:pt x="690" y="489"/>
                    </a:cubicBezTo>
                    <a:cubicBezTo>
                      <a:pt x="691" y="489"/>
                      <a:pt x="691" y="489"/>
                      <a:pt x="691" y="489"/>
                    </a:cubicBezTo>
                    <a:cubicBezTo>
                      <a:pt x="692" y="490"/>
                      <a:pt x="692" y="490"/>
                      <a:pt x="692" y="490"/>
                    </a:cubicBezTo>
                    <a:cubicBezTo>
                      <a:pt x="692" y="492"/>
                      <a:pt x="692" y="492"/>
                      <a:pt x="692" y="492"/>
                    </a:cubicBezTo>
                    <a:cubicBezTo>
                      <a:pt x="691" y="495"/>
                      <a:pt x="691" y="495"/>
                      <a:pt x="691" y="495"/>
                    </a:cubicBezTo>
                    <a:cubicBezTo>
                      <a:pt x="691" y="497"/>
                      <a:pt x="691" y="497"/>
                      <a:pt x="691" y="497"/>
                    </a:cubicBezTo>
                    <a:cubicBezTo>
                      <a:pt x="691" y="498"/>
                      <a:pt x="691" y="498"/>
                      <a:pt x="691" y="498"/>
                    </a:cubicBezTo>
                    <a:cubicBezTo>
                      <a:pt x="691" y="500"/>
                      <a:pt x="691" y="500"/>
                      <a:pt x="691" y="500"/>
                    </a:cubicBezTo>
                    <a:cubicBezTo>
                      <a:pt x="692" y="498"/>
                      <a:pt x="692" y="498"/>
                      <a:pt x="692" y="498"/>
                    </a:cubicBezTo>
                    <a:cubicBezTo>
                      <a:pt x="692" y="497"/>
                      <a:pt x="692" y="497"/>
                      <a:pt x="692" y="497"/>
                    </a:cubicBezTo>
                    <a:cubicBezTo>
                      <a:pt x="695" y="496"/>
                      <a:pt x="695" y="496"/>
                      <a:pt x="695" y="496"/>
                    </a:cubicBezTo>
                    <a:cubicBezTo>
                      <a:pt x="696" y="496"/>
                      <a:pt x="696" y="496"/>
                      <a:pt x="696" y="496"/>
                    </a:cubicBezTo>
                    <a:cubicBezTo>
                      <a:pt x="696" y="495"/>
                      <a:pt x="696" y="495"/>
                      <a:pt x="696" y="495"/>
                    </a:cubicBezTo>
                    <a:cubicBezTo>
                      <a:pt x="696" y="494"/>
                      <a:pt x="696" y="494"/>
                      <a:pt x="696" y="494"/>
                    </a:cubicBezTo>
                    <a:cubicBezTo>
                      <a:pt x="697" y="493"/>
                      <a:pt x="697" y="493"/>
                      <a:pt x="697" y="493"/>
                    </a:cubicBezTo>
                    <a:cubicBezTo>
                      <a:pt x="697" y="493"/>
                      <a:pt x="697" y="493"/>
                      <a:pt x="697" y="493"/>
                    </a:cubicBezTo>
                    <a:cubicBezTo>
                      <a:pt x="697" y="491"/>
                      <a:pt x="697" y="491"/>
                      <a:pt x="697" y="491"/>
                    </a:cubicBezTo>
                    <a:cubicBezTo>
                      <a:pt x="697" y="491"/>
                      <a:pt x="697" y="491"/>
                      <a:pt x="697" y="491"/>
                    </a:cubicBezTo>
                    <a:cubicBezTo>
                      <a:pt x="697" y="490"/>
                      <a:pt x="697" y="490"/>
                      <a:pt x="697" y="490"/>
                    </a:cubicBezTo>
                    <a:cubicBezTo>
                      <a:pt x="697" y="489"/>
                      <a:pt x="697" y="489"/>
                      <a:pt x="697" y="489"/>
                    </a:cubicBezTo>
                    <a:cubicBezTo>
                      <a:pt x="698" y="488"/>
                      <a:pt x="698" y="488"/>
                      <a:pt x="698" y="488"/>
                    </a:cubicBezTo>
                    <a:cubicBezTo>
                      <a:pt x="698" y="487"/>
                      <a:pt x="698" y="487"/>
                      <a:pt x="698" y="487"/>
                    </a:cubicBezTo>
                    <a:cubicBezTo>
                      <a:pt x="699" y="486"/>
                      <a:pt x="699" y="486"/>
                      <a:pt x="699" y="486"/>
                    </a:cubicBezTo>
                    <a:cubicBezTo>
                      <a:pt x="700" y="485"/>
                      <a:pt x="700" y="485"/>
                      <a:pt x="700" y="485"/>
                    </a:cubicBezTo>
                    <a:cubicBezTo>
                      <a:pt x="701" y="484"/>
                      <a:pt x="701" y="484"/>
                      <a:pt x="701" y="484"/>
                    </a:cubicBezTo>
                    <a:cubicBezTo>
                      <a:pt x="701" y="483"/>
                      <a:pt x="701" y="483"/>
                      <a:pt x="701" y="483"/>
                    </a:cubicBezTo>
                    <a:cubicBezTo>
                      <a:pt x="700" y="480"/>
                      <a:pt x="700" y="480"/>
                      <a:pt x="700" y="480"/>
                    </a:cubicBezTo>
                    <a:cubicBezTo>
                      <a:pt x="699" y="480"/>
                      <a:pt x="699" y="480"/>
                      <a:pt x="699" y="480"/>
                    </a:cubicBezTo>
                    <a:cubicBezTo>
                      <a:pt x="700" y="479"/>
                      <a:pt x="700" y="479"/>
                      <a:pt x="700" y="479"/>
                    </a:cubicBezTo>
                    <a:cubicBezTo>
                      <a:pt x="701" y="480"/>
                      <a:pt x="701" y="480"/>
                      <a:pt x="701" y="480"/>
                    </a:cubicBezTo>
                    <a:cubicBezTo>
                      <a:pt x="701" y="480"/>
                      <a:pt x="701" y="480"/>
                      <a:pt x="701" y="480"/>
                    </a:cubicBezTo>
                    <a:cubicBezTo>
                      <a:pt x="701" y="481"/>
                      <a:pt x="701" y="481"/>
                      <a:pt x="701" y="481"/>
                    </a:cubicBezTo>
                    <a:cubicBezTo>
                      <a:pt x="702" y="481"/>
                      <a:pt x="702" y="481"/>
                      <a:pt x="702" y="481"/>
                    </a:cubicBezTo>
                    <a:cubicBezTo>
                      <a:pt x="702" y="482"/>
                      <a:pt x="702" y="482"/>
                      <a:pt x="702" y="482"/>
                    </a:cubicBezTo>
                    <a:cubicBezTo>
                      <a:pt x="702" y="483"/>
                      <a:pt x="702" y="483"/>
                      <a:pt x="702" y="483"/>
                    </a:cubicBezTo>
                    <a:cubicBezTo>
                      <a:pt x="703" y="484"/>
                      <a:pt x="703" y="484"/>
                      <a:pt x="703" y="484"/>
                    </a:cubicBezTo>
                    <a:cubicBezTo>
                      <a:pt x="703" y="485"/>
                      <a:pt x="703" y="485"/>
                      <a:pt x="703" y="485"/>
                    </a:cubicBezTo>
                    <a:cubicBezTo>
                      <a:pt x="704" y="484"/>
                      <a:pt x="704" y="484"/>
                      <a:pt x="704" y="484"/>
                    </a:cubicBezTo>
                    <a:cubicBezTo>
                      <a:pt x="704" y="484"/>
                      <a:pt x="704" y="484"/>
                      <a:pt x="704" y="484"/>
                    </a:cubicBezTo>
                    <a:cubicBezTo>
                      <a:pt x="705" y="484"/>
                      <a:pt x="705" y="484"/>
                      <a:pt x="705" y="484"/>
                    </a:cubicBezTo>
                    <a:cubicBezTo>
                      <a:pt x="705" y="485"/>
                      <a:pt x="705" y="485"/>
                      <a:pt x="705" y="485"/>
                    </a:cubicBezTo>
                    <a:cubicBezTo>
                      <a:pt x="705" y="485"/>
                      <a:pt x="705" y="485"/>
                      <a:pt x="705" y="485"/>
                    </a:cubicBezTo>
                    <a:cubicBezTo>
                      <a:pt x="706" y="486"/>
                      <a:pt x="706" y="486"/>
                      <a:pt x="706" y="486"/>
                    </a:cubicBezTo>
                    <a:cubicBezTo>
                      <a:pt x="707" y="486"/>
                      <a:pt x="707" y="486"/>
                      <a:pt x="707" y="486"/>
                    </a:cubicBezTo>
                    <a:cubicBezTo>
                      <a:pt x="708" y="487"/>
                      <a:pt x="708" y="487"/>
                      <a:pt x="708" y="487"/>
                    </a:cubicBezTo>
                    <a:cubicBezTo>
                      <a:pt x="708" y="486"/>
                      <a:pt x="708" y="486"/>
                      <a:pt x="708" y="486"/>
                    </a:cubicBezTo>
                    <a:cubicBezTo>
                      <a:pt x="708" y="485"/>
                      <a:pt x="708" y="485"/>
                      <a:pt x="708" y="485"/>
                    </a:cubicBezTo>
                    <a:cubicBezTo>
                      <a:pt x="708" y="484"/>
                      <a:pt x="708" y="484"/>
                      <a:pt x="708" y="484"/>
                    </a:cubicBezTo>
                    <a:cubicBezTo>
                      <a:pt x="708" y="484"/>
                      <a:pt x="708" y="484"/>
                      <a:pt x="708" y="484"/>
                    </a:cubicBezTo>
                    <a:cubicBezTo>
                      <a:pt x="708" y="483"/>
                      <a:pt x="708" y="483"/>
                      <a:pt x="708" y="483"/>
                    </a:cubicBezTo>
                    <a:lnTo>
                      <a:pt x="709" y="483"/>
                    </a:lnTo>
                    <a:close/>
                    <a:moveTo>
                      <a:pt x="11" y="447"/>
                    </a:moveTo>
                    <a:cubicBezTo>
                      <a:pt x="10" y="448"/>
                      <a:pt x="10" y="448"/>
                      <a:pt x="10" y="448"/>
                    </a:cubicBezTo>
                    <a:cubicBezTo>
                      <a:pt x="11" y="448"/>
                      <a:pt x="11" y="448"/>
                      <a:pt x="11" y="448"/>
                    </a:cubicBezTo>
                    <a:cubicBezTo>
                      <a:pt x="12" y="448"/>
                      <a:pt x="12" y="448"/>
                      <a:pt x="12" y="448"/>
                    </a:cubicBezTo>
                    <a:cubicBezTo>
                      <a:pt x="13" y="448"/>
                      <a:pt x="13" y="448"/>
                      <a:pt x="13" y="448"/>
                    </a:cubicBezTo>
                    <a:cubicBezTo>
                      <a:pt x="12" y="447"/>
                      <a:pt x="12" y="447"/>
                      <a:pt x="12" y="447"/>
                    </a:cubicBezTo>
                    <a:cubicBezTo>
                      <a:pt x="11" y="447"/>
                      <a:pt x="11" y="447"/>
                      <a:pt x="11" y="447"/>
                    </a:cubicBezTo>
                    <a:close/>
                    <a:moveTo>
                      <a:pt x="1" y="451"/>
                    </a:moveTo>
                    <a:cubicBezTo>
                      <a:pt x="2" y="451"/>
                      <a:pt x="2" y="451"/>
                      <a:pt x="2" y="451"/>
                    </a:cubicBezTo>
                    <a:cubicBezTo>
                      <a:pt x="1" y="450"/>
                      <a:pt x="1" y="450"/>
                      <a:pt x="1" y="450"/>
                    </a:cubicBezTo>
                    <a:cubicBezTo>
                      <a:pt x="0" y="451"/>
                      <a:pt x="0" y="451"/>
                      <a:pt x="0" y="451"/>
                    </a:cubicBezTo>
                    <a:cubicBezTo>
                      <a:pt x="1" y="451"/>
                      <a:pt x="1" y="451"/>
                      <a:pt x="1" y="451"/>
                    </a:cubicBezTo>
                    <a:close/>
                    <a:moveTo>
                      <a:pt x="39" y="420"/>
                    </a:moveTo>
                    <a:cubicBezTo>
                      <a:pt x="39" y="420"/>
                      <a:pt x="39" y="420"/>
                      <a:pt x="38" y="421"/>
                    </a:cubicBezTo>
                    <a:cubicBezTo>
                      <a:pt x="38" y="421"/>
                      <a:pt x="38" y="421"/>
                      <a:pt x="38" y="422"/>
                    </a:cubicBezTo>
                    <a:cubicBezTo>
                      <a:pt x="38" y="422"/>
                      <a:pt x="38" y="422"/>
                      <a:pt x="39" y="421"/>
                    </a:cubicBezTo>
                    <a:cubicBezTo>
                      <a:pt x="39" y="421"/>
                      <a:pt x="39" y="421"/>
                      <a:pt x="40" y="420"/>
                    </a:cubicBezTo>
                    <a:cubicBezTo>
                      <a:pt x="40" y="420"/>
                      <a:pt x="40" y="420"/>
                      <a:pt x="39" y="420"/>
                    </a:cubicBezTo>
                    <a:close/>
                  </a:path>
                </a:pathLst>
              </a:cu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en-US">
                  <a:solidFill>
                    <a:prstClr val="white"/>
                  </a:solidFill>
                </a:endParaRPr>
              </a:p>
            </p:txBody>
          </p:sp>
        </p:grpSp>
        <p:sp>
          <p:nvSpPr>
            <p:cNvPr id="55" name="Oval 54"/>
            <p:cNvSpPr/>
            <p:nvPr/>
          </p:nvSpPr>
          <p:spPr bwMode="auto">
            <a:xfrm>
              <a:off x="8813878" y="4939239"/>
              <a:ext cx="33969" cy="33969"/>
            </a:xfrm>
            <a:prstGeom prst="ellipse">
              <a:avLst/>
            </a:prstGeom>
            <a:solidFill>
              <a:schemeClr val="accent3"/>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solidFill>
                  <a:prstClr val="black"/>
                </a:solidFill>
              </a:endParaRPr>
            </a:p>
          </p:txBody>
        </p:sp>
        <p:sp>
          <p:nvSpPr>
            <p:cNvPr id="56" name="Oval 55"/>
            <p:cNvSpPr/>
            <p:nvPr/>
          </p:nvSpPr>
          <p:spPr bwMode="auto">
            <a:xfrm>
              <a:off x="9862487" y="4905270"/>
              <a:ext cx="33969" cy="33969"/>
            </a:xfrm>
            <a:prstGeom prst="ellipse">
              <a:avLst/>
            </a:prstGeom>
            <a:solidFill>
              <a:schemeClr val="accent3"/>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solidFill>
                  <a:prstClr val="black"/>
                </a:solidFill>
              </a:endParaRPr>
            </a:p>
          </p:txBody>
        </p:sp>
        <p:sp>
          <p:nvSpPr>
            <p:cNvPr id="57" name="Oval 56"/>
            <p:cNvSpPr/>
            <p:nvPr/>
          </p:nvSpPr>
          <p:spPr bwMode="auto">
            <a:xfrm>
              <a:off x="10321871" y="5207327"/>
              <a:ext cx="33969" cy="33969"/>
            </a:xfrm>
            <a:prstGeom prst="ellipse">
              <a:avLst/>
            </a:prstGeom>
            <a:solidFill>
              <a:schemeClr val="accent3"/>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solidFill>
                  <a:prstClr val="black"/>
                </a:solidFill>
              </a:endParaRPr>
            </a:p>
          </p:txBody>
        </p:sp>
        <p:sp>
          <p:nvSpPr>
            <p:cNvPr id="58" name="Oval 57"/>
            <p:cNvSpPr/>
            <p:nvPr/>
          </p:nvSpPr>
          <p:spPr bwMode="auto">
            <a:xfrm>
              <a:off x="9694093" y="5425346"/>
              <a:ext cx="33969" cy="33969"/>
            </a:xfrm>
            <a:prstGeom prst="ellipse">
              <a:avLst/>
            </a:prstGeom>
            <a:solidFill>
              <a:schemeClr val="accent3"/>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solidFill>
                  <a:prstClr val="black"/>
                </a:solidFill>
              </a:endParaRPr>
            </a:p>
          </p:txBody>
        </p:sp>
        <p:sp>
          <p:nvSpPr>
            <p:cNvPr id="59" name="Oval 58"/>
            <p:cNvSpPr/>
            <p:nvPr/>
          </p:nvSpPr>
          <p:spPr bwMode="auto">
            <a:xfrm>
              <a:off x="10458511" y="4844137"/>
              <a:ext cx="33969" cy="33969"/>
            </a:xfrm>
            <a:prstGeom prst="ellipse">
              <a:avLst/>
            </a:prstGeom>
            <a:solidFill>
              <a:schemeClr val="accent3"/>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solidFill>
                  <a:prstClr val="black"/>
                </a:solidFill>
              </a:endParaRPr>
            </a:p>
          </p:txBody>
        </p:sp>
        <p:sp>
          <p:nvSpPr>
            <p:cNvPr id="60" name="Oval 59"/>
            <p:cNvSpPr/>
            <p:nvPr/>
          </p:nvSpPr>
          <p:spPr bwMode="auto">
            <a:xfrm>
              <a:off x="10580374" y="5594812"/>
              <a:ext cx="33969" cy="33969"/>
            </a:xfrm>
            <a:prstGeom prst="ellipse">
              <a:avLst/>
            </a:prstGeom>
            <a:solidFill>
              <a:schemeClr val="accent3"/>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solidFill>
                  <a:prstClr val="black"/>
                </a:solidFill>
              </a:endParaRPr>
            </a:p>
          </p:txBody>
        </p:sp>
        <p:sp>
          <p:nvSpPr>
            <p:cNvPr id="61" name="Oval 60"/>
            <p:cNvSpPr/>
            <p:nvPr/>
          </p:nvSpPr>
          <p:spPr bwMode="auto">
            <a:xfrm>
              <a:off x="9086991" y="5234223"/>
              <a:ext cx="33969" cy="33969"/>
            </a:xfrm>
            <a:prstGeom prst="ellipse">
              <a:avLst/>
            </a:prstGeom>
            <a:solidFill>
              <a:schemeClr val="accent3"/>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solidFill>
                  <a:prstClr val="black"/>
                </a:solidFill>
              </a:endParaRPr>
            </a:p>
          </p:txBody>
        </p:sp>
        <p:sp>
          <p:nvSpPr>
            <p:cNvPr id="62" name="Oval 61"/>
            <p:cNvSpPr/>
            <p:nvPr/>
          </p:nvSpPr>
          <p:spPr bwMode="auto">
            <a:xfrm>
              <a:off x="9177835" y="5547749"/>
              <a:ext cx="33969" cy="33969"/>
            </a:xfrm>
            <a:prstGeom prst="ellipse">
              <a:avLst/>
            </a:prstGeom>
            <a:solidFill>
              <a:schemeClr val="accent3"/>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solidFill>
                  <a:prstClr val="black"/>
                </a:solidFill>
              </a:endParaRPr>
            </a:p>
          </p:txBody>
        </p:sp>
        <p:sp>
          <p:nvSpPr>
            <p:cNvPr id="63" name="Oval 62"/>
            <p:cNvSpPr/>
            <p:nvPr/>
          </p:nvSpPr>
          <p:spPr bwMode="auto">
            <a:xfrm>
              <a:off x="9162317" y="5533123"/>
              <a:ext cx="65004" cy="65004"/>
            </a:xfrm>
            <a:prstGeom prst="ellipse">
              <a:avLst/>
            </a:prstGeom>
            <a:solidFill>
              <a:schemeClr val="accent3"/>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solidFill>
                  <a:prstClr val="black"/>
                </a:solidFill>
              </a:endParaRPr>
            </a:p>
          </p:txBody>
        </p:sp>
        <p:sp>
          <p:nvSpPr>
            <p:cNvPr id="64" name="Oval 63"/>
            <p:cNvSpPr/>
            <p:nvPr/>
          </p:nvSpPr>
          <p:spPr bwMode="auto">
            <a:xfrm>
              <a:off x="9846969" y="4889752"/>
              <a:ext cx="65004" cy="65004"/>
            </a:xfrm>
            <a:prstGeom prst="ellipse">
              <a:avLst/>
            </a:prstGeom>
            <a:solidFill>
              <a:schemeClr val="accent3"/>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solidFill>
                  <a:prstClr val="black"/>
                </a:solidFill>
              </a:endParaRPr>
            </a:p>
          </p:txBody>
        </p:sp>
        <p:sp>
          <p:nvSpPr>
            <p:cNvPr id="65" name="Freeform 9"/>
            <p:cNvSpPr>
              <a:spLocks noEditPoints="1"/>
            </p:cNvSpPr>
            <p:nvPr/>
          </p:nvSpPr>
          <p:spPr bwMode="auto">
            <a:xfrm>
              <a:off x="9853545" y="4895974"/>
              <a:ext cx="51853" cy="52560"/>
            </a:xfrm>
            <a:custGeom>
              <a:avLst/>
              <a:gdLst>
                <a:gd name="T0" fmla="*/ 1185 w 2152"/>
                <a:gd name="T1" fmla="*/ 597 h 2185"/>
                <a:gd name="T2" fmla="*/ 1156 w 2152"/>
                <a:gd name="T3" fmla="*/ 1267 h 2185"/>
                <a:gd name="T4" fmla="*/ 982 w 2152"/>
                <a:gd name="T5" fmla="*/ 1267 h 2185"/>
                <a:gd name="T6" fmla="*/ 968 w 2152"/>
                <a:gd name="T7" fmla="*/ 597 h 2185"/>
                <a:gd name="T8" fmla="*/ 1185 w 2152"/>
                <a:gd name="T9" fmla="*/ 597 h 2185"/>
                <a:gd name="T10" fmla="*/ 1185 w 2152"/>
                <a:gd name="T11" fmla="*/ 597 h 2185"/>
                <a:gd name="T12" fmla="*/ 1199 w 2152"/>
                <a:gd name="T13" fmla="*/ 1486 h 2185"/>
                <a:gd name="T14" fmla="*/ 1170 w 2152"/>
                <a:gd name="T15" fmla="*/ 1558 h 2185"/>
                <a:gd name="T16" fmla="*/ 1083 w 2152"/>
                <a:gd name="T17" fmla="*/ 1588 h 2185"/>
                <a:gd name="T18" fmla="*/ 982 w 2152"/>
                <a:gd name="T19" fmla="*/ 1558 h 2185"/>
                <a:gd name="T20" fmla="*/ 954 w 2152"/>
                <a:gd name="T21" fmla="*/ 1486 h 2185"/>
                <a:gd name="T22" fmla="*/ 982 w 2152"/>
                <a:gd name="T23" fmla="*/ 1398 h 2185"/>
                <a:gd name="T24" fmla="*/ 1083 w 2152"/>
                <a:gd name="T25" fmla="*/ 1369 h 2185"/>
                <a:gd name="T26" fmla="*/ 1170 w 2152"/>
                <a:gd name="T27" fmla="*/ 1398 h 2185"/>
                <a:gd name="T28" fmla="*/ 1199 w 2152"/>
                <a:gd name="T29" fmla="*/ 1486 h 2185"/>
                <a:gd name="T30" fmla="*/ 1069 w 2152"/>
                <a:gd name="T31" fmla="*/ 145 h 2185"/>
                <a:gd name="T32" fmla="*/ 130 w 2152"/>
                <a:gd name="T33" fmla="*/ 1092 h 2185"/>
                <a:gd name="T34" fmla="*/ 1069 w 2152"/>
                <a:gd name="T35" fmla="*/ 2039 h 2185"/>
                <a:gd name="T36" fmla="*/ 2022 w 2152"/>
                <a:gd name="T37" fmla="*/ 1092 h 2185"/>
                <a:gd name="T38" fmla="*/ 1069 w 2152"/>
                <a:gd name="T39" fmla="*/ 145 h 2185"/>
                <a:gd name="T40" fmla="*/ 1069 w 2152"/>
                <a:gd name="T41" fmla="*/ 0 h 2185"/>
                <a:gd name="T42" fmla="*/ 2152 w 2152"/>
                <a:gd name="T43" fmla="*/ 1092 h 2185"/>
                <a:gd name="T44" fmla="*/ 1069 w 2152"/>
                <a:gd name="T45" fmla="*/ 2185 h 2185"/>
                <a:gd name="T46" fmla="*/ 0 w 2152"/>
                <a:gd name="T47" fmla="*/ 1092 h 2185"/>
                <a:gd name="T48" fmla="*/ 1069 w 2152"/>
                <a:gd name="T49" fmla="*/ 0 h 2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52" h="2185">
                  <a:moveTo>
                    <a:pt x="1185" y="597"/>
                  </a:moveTo>
                  <a:cubicBezTo>
                    <a:pt x="1156" y="1267"/>
                    <a:pt x="1156" y="1267"/>
                    <a:pt x="1156" y="1267"/>
                  </a:cubicBezTo>
                  <a:cubicBezTo>
                    <a:pt x="982" y="1267"/>
                    <a:pt x="982" y="1267"/>
                    <a:pt x="982" y="1267"/>
                  </a:cubicBezTo>
                  <a:cubicBezTo>
                    <a:pt x="968" y="597"/>
                    <a:pt x="968" y="597"/>
                    <a:pt x="968" y="597"/>
                  </a:cubicBezTo>
                  <a:cubicBezTo>
                    <a:pt x="1185" y="597"/>
                    <a:pt x="1185" y="597"/>
                    <a:pt x="1185" y="597"/>
                  </a:cubicBezTo>
                  <a:cubicBezTo>
                    <a:pt x="1185" y="597"/>
                    <a:pt x="1185" y="597"/>
                    <a:pt x="1185" y="597"/>
                  </a:cubicBezTo>
                  <a:close/>
                  <a:moveTo>
                    <a:pt x="1199" y="1486"/>
                  </a:moveTo>
                  <a:cubicBezTo>
                    <a:pt x="1199" y="1515"/>
                    <a:pt x="1185" y="1544"/>
                    <a:pt x="1170" y="1558"/>
                  </a:cubicBezTo>
                  <a:cubicBezTo>
                    <a:pt x="1141" y="1588"/>
                    <a:pt x="1112" y="1588"/>
                    <a:pt x="1083" y="1588"/>
                  </a:cubicBezTo>
                  <a:cubicBezTo>
                    <a:pt x="1040" y="1588"/>
                    <a:pt x="1011" y="1588"/>
                    <a:pt x="982" y="1558"/>
                  </a:cubicBezTo>
                  <a:cubicBezTo>
                    <a:pt x="968" y="1529"/>
                    <a:pt x="954" y="1515"/>
                    <a:pt x="954" y="1486"/>
                  </a:cubicBezTo>
                  <a:cubicBezTo>
                    <a:pt x="954" y="1442"/>
                    <a:pt x="968" y="1413"/>
                    <a:pt x="982" y="1398"/>
                  </a:cubicBezTo>
                  <a:cubicBezTo>
                    <a:pt x="1011" y="1369"/>
                    <a:pt x="1040" y="1369"/>
                    <a:pt x="1083" y="1369"/>
                  </a:cubicBezTo>
                  <a:cubicBezTo>
                    <a:pt x="1112" y="1369"/>
                    <a:pt x="1141" y="1369"/>
                    <a:pt x="1170" y="1398"/>
                  </a:cubicBezTo>
                  <a:cubicBezTo>
                    <a:pt x="1185" y="1413"/>
                    <a:pt x="1199" y="1442"/>
                    <a:pt x="1199" y="1486"/>
                  </a:cubicBezTo>
                  <a:moveTo>
                    <a:pt x="1069" y="145"/>
                  </a:moveTo>
                  <a:cubicBezTo>
                    <a:pt x="549" y="145"/>
                    <a:pt x="130" y="568"/>
                    <a:pt x="130" y="1092"/>
                  </a:cubicBezTo>
                  <a:cubicBezTo>
                    <a:pt x="130" y="1617"/>
                    <a:pt x="549" y="2039"/>
                    <a:pt x="1069" y="2039"/>
                  </a:cubicBezTo>
                  <a:cubicBezTo>
                    <a:pt x="1603" y="2039"/>
                    <a:pt x="2022" y="1617"/>
                    <a:pt x="2022" y="1092"/>
                  </a:cubicBezTo>
                  <a:cubicBezTo>
                    <a:pt x="2022" y="568"/>
                    <a:pt x="1603" y="145"/>
                    <a:pt x="1069" y="145"/>
                  </a:cubicBezTo>
                  <a:moveTo>
                    <a:pt x="1069" y="0"/>
                  </a:moveTo>
                  <a:cubicBezTo>
                    <a:pt x="1675" y="0"/>
                    <a:pt x="2152" y="495"/>
                    <a:pt x="2152" y="1092"/>
                  </a:cubicBezTo>
                  <a:cubicBezTo>
                    <a:pt x="2152" y="1690"/>
                    <a:pt x="1675" y="2185"/>
                    <a:pt x="1069" y="2185"/>
                  </a:cubicBezTo>
                  <a:cubicBezTo>
                    <a:pt x="477" y="2185"/>
                    <a:pt x="0" y="1690"/>
                    <a:pt x="0" y="1092"/>
                  </a:cubicBezTo>
                  <a:cubicBezTo>
                    <a:pt x="0" y="495"/>
                    <a:pt x="477" y="0"/>
                    <a:pt x="1069"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6" name="Freeform 9"/>
            <p:cNvSpPr>
              <a:spLocks noEditPoints="1"/>
            </p:cNvSpPr>
            <p:nvPr/>
          </p:nvSpPr>
          <p:spPr bwMode="auto">
            <a:xfrm>
              <a:off x="9168893" y="5539345"/>
              <a:ext cx="51853" cy="52560"/>
            </a:xfrm>
            <a:custGeom>
              <a:avLst/>
              <a:gdLst>
                <a:gd name="T0" fmla="*/ 1185 w 2152"/>
                <a:gd name="T1" fmla="*/ 597 h 2185"/>
                <a:gd name="T2" fmla="*/ 1156 w 2152"/>
                <a:gd name="T3" fmla="*/ 1267 h 2185"/>
                <a:gd name="T4" fmla="*/ 982 w 2152"/>
                <a:gd name="T5" fmla="*/ 1267 h 2185"/>
                <a:gd name="T6" fmla="*/ 968 w 2152"/>
                <a:gd name="T7" fmla="*/ 597 h 2185"/>
                <a:gd name="T8" fmla="*/ 1185 w 2152"/>
                <a:gd name="T9" fmla="*/ 597 h 2185"/>
                <a:gd name="T10" fmla="*/ 1185 w 2152"/>
                <a:gd name="T11" fmla="*/ 597 h 2185"/>
                <a:gd name="T12" fmla="*/ 1199 w 2152"/>
                <a:gd name="T13" fmla="*/ 1486 h 2185"/>
                <a:gd name="T14" fmla="*/ 1170 w 2152"/>
                <a:gd name="T15" fmla="*/ 1558 h 2185"/>
                <a:gd name="T16" fmla="*/ 1083 w 2152"/>
                <a:gd name="T17" fmla="*/ 1588 h 2185"/>
                <a:gd name="T18" fmla="*/ 982 w 2152"/>
                <a:gd name="T19" fmla="*/ 1558 h 2185"/>
                <a:gd name="T20" fmla="*/ 954 w 2152"/>
                <a:gd name="T21" fmla="*/ 1486 h 2185"/>
                <a:gd name="T22" fmla="*/ 982 w 2152"/>
                <a:gd name="T23" fmla="*/ 1398 h 2185"/>
                <a:gd name="T24" fmla="*/ 1083 w 2152"/>
                <a:gd name="T25" fmla="*/ 1369 h 2185"/>
                <a:gd name="T26" fmla="*/ 1170 w 2152"/>
                <a:gd name="T27" fmla="*/ 1398 h 2185"/>
                <a:gd name="T28" fmla="*/ 1199 w 2152"/>
                <a:gd name="T29" fmla="*/ 1486 h 2185"/>
                <a:gd name="T30" fmla="*/ 1069 w 2152"/>
                <a:gd name="T31" fmla="*/ 145 h 2185"/>
                <a:gd name="T32" fmla="*/ 130 w 2152"/>
                <a:gd name="T33" fmla="*/ 1092 h 2185"/>
                <a:gd name="T34" fmla="*/ 1069 w 2152"/>
                <a:gd name="T35" fmla="*/ 2039 h 2185"/>
                <a:gd name="T36" fmla="*/ 2022 w 2152"/>
                <a:gd name="T37" fmla="*/ 1092 h 2185"/>
                <a:gd name="T38" fmla="*/ 1069 w 2152"/>
                <a:gd name="T39" fmla="*/ 145 h 2185"/>
                <a:gd name="T40" fmla="*/ 1069 w 2152"/>
                <a:gd name="T41" fmla="*/ 0 h 2185"/>
                <a:gd name="T42" fmla="*/ 2152 w 2152"/>
                <a:gd name="T43" fmla="*/ 1092 h 2185"/>
                <a:gd name="T44" fmla="*/ 1069 w 2152"/>
                <a:gd name="T45" fmla="*/ 2185 h 2185"/>
                <a:gd name="T46" fmla="*/ 0 w 2152"/>
                <a:gd name="T47" fmla="*/ 1092 h 2185"/>
                <a:gd name="T48" fmla="*/ 1069 w 2152"/>
                <a:gd name="T49" fmla="*/ 0 h 2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52" h="2185">
                  <a:moveTo>
                    <a:pt x="1185" y="597"/>
                  </a:moveTo>
                  <a:cubicBezTo>
                    <a:pt x="1156" y="1267"/>
                    <a:pt x="1156" y="1267"/>
                    <a:pt x="1156" y="1267"/>
                  </a:cubicBezTo>
                  <a:cubicBezTo>
                    <a:pt x="982" y="1267"/>
                    <a:pt x="982" y="1267"/>
                    <a:pt x="982" y="1267"/>
                  </a:cubicBezTo>
                  <a:cubicBezTo>
                    <a:pt x="968" y="597"/>
                    <a:pt x="968" y="597"/>
                    <a:pt x="968" y="597"/>
                  </a:cubicBezTo>
                  <a:cubicBezTo>
                    <a:pt x="1185" y="597"/>
                    <a:pt x="1185" y="597"/>
                    <a:pt x="1185" y="597"/>
                  </a:cubicBezTo>
                  <a:cubicBezTo>
                    <a:pt x="1185" y="597"/>
                    <a:pt x="1185" y="597"/>
                    <a:pt x="1185" y="597"/>
                  </a:cubicBezTo>
                  <a:close/>
                  <a:moveTo>
                    <a:pt x="1199" y="1486"/>
                  </a:moveTo>
                  <a:cubicBezTo>
                    <a:pt x="1199" y="1515"/>
                    <a:pt x="1185" y="1544"/>
                    <a:pt x="1170" y="1558"/>
                  </a:cubicBezTo>
                  <a:cubicBezTo>
                    <a:pt x="1141" y="1588"/>
                    <a:pt x="1112" y="1588"/>
                    <a:pt x="1083" y="1588"/>
                  </a:cubicBezTo>
                  <a:cubicBezTo>
                    <a:pt x="1040" y="1588"/>
                    <a:pt x="1011" y="1588"/>
                    <a:pt x="982" y="1558"/>
                  </a:cubicBezTo>
                  <a:cubicBezTo>
                    <a:pt x="968" y="1529"/>
                    <a:pt x="954" y="1515"/>
                    <a:pt x="954" y="1486"/>
                  </a:cubicBezTo>
                  <a:cubicBezTo>
                    <a:pt x="954" y="1442"/>
                    <a:pt x="968" y="1413"/>
                    <a:pt x="982" y="1398"/>
                  </a:cubicBezTo>
                  <a:cubicBezTo>
                    <a:pt x="1011" y="1369"/>
                    <a:pt x="1040" y="1369"/>
                    <a:pt x="1083" y="1369"/>
                  </a:cubicBezTo>
                  <a:cubicBezTo>
                    <a:pt x="1112" y="1369"/>
                    <a:pt x="1141" y="1369"/>
                    <a:pt x="1170" y="1398"/>
                  </a:cubicBezTo>
                  <a:cubicBezTo>
                    <a:pt x="1185" y="1413"/>
                    <a:pt x="1199" y="1442"/>
                    <a:pt x="1199" y="1486"/>
                  </a:cubicBezTo>
                  <a:moveTo>
                    <a:pt x="1069" y="145"/>
                  </a:moveTo>
                  <a:cubicBezTo>
                    <a:pt x="549" y="145"/>
                    <a:pt x="130" y="568"/>
                    <a:pt x="130" y="1092"/>
                  </a:cubicBezTo>
                  <a:cubicBezTo>
                    <a:pt x="130" y="1617"/>
                    <a:pt x="549" y="2039"/>
                    <a:pt x="1069" y="2039"/>
                  </a:cubicBezTo>
                  <a:cubicBezTo>
                    <a:pt x="1603" y="2039"/>
                    <a:pt x="2022" y="1617"/>
                    <a:pt x="2022" y="1092"/>
                  </a:cubicBezTo>
                  <a:cubicBezTo>
                    <a:pt x="2022" y="568"/>
                    <a:pt x="1603" y="145"/>
                    <a:pt x="1069" y="145"/>
                  </a:cubicBezTo>
                  <a:moveTo>
                    <a:pt x="1069" y="0"/>
                  </a:moveTo>
                  <a:cubicBezTo>
                    <a:pt x="1675" y="0"/>
                    <a:pt x="2152" y="495"/>
                    <a:pt x="2152" y="1092"/>
                  </a:cubicBezTo>
                  <a:cubicBezTo>
                    <a:pt x="2152" y="1690"/>
                    <a:pt x="1675" y="2185"/>
                    <a:pt x="1069" y="2185"/>
                  </a:cubicBezTo>
                  <a:cubicBezTo>
                    <a:pt x="477" y="2185"/>
                    <a:pt x="0" y="1690"/>
                    <a:pt x="0" y="1092"/>
                  </a:cubicBezTo>
                  <a:cubicBezTo>
                    <a:pt x="0" y="495"/>
                    <a:pt x="477" y="0"/>
                    <a:pt x="1069"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69" name="Rectangle 68"/>
          <p:cNvSpPr/>
          <p:nvPr/>
        </p:nvSpPr>
        <p:spPr>
          <a:xfrm>
            <a:off x="7956853" y="5909445"/>
            <a:ext cx="4051829" cy="664797"/>
          </a:xfrm>
          <a:prstGeom prst="rect">
            <a:avLst/>
          </a:prstGeom>
          <a:ln>
            <a:noFill/>
          </a:ln>
        </p:spPr>
        <p:txBody>
          <a:bodyPr vert="horz" wrap="square" lIns="0" tIns="0" rIns="0" bIns="0" rtlCol="0">
            <a:spAutoFit/>
          </a:bodyPr>
          <a:lstStyle/>
          <a:p>
            <a:pPr>
              <a:lnSpc>
                <a:spcPct val="90000"/>
              </a:lnSpc>
              <a:spcBef>
                <a:spcPts val="1200"/>
              </a:spcBef>
            </a:pPr>
            <a:r>
              <a:rPr lang="en-US" sz="1600" spc="-30" dirty="0">
                <a:solidFill>
                  <a:prstClr val="black"/>
                </a:solidFill>
              </a:rPr>
              <a:t>Administrators have access to security reporting that tracks inconsistent access patterns and view users who signed in from unknown sources</a:t>
            </a:r>
          </a:p>
        </p:txBody>
      </p:sp>
      <p:grpSp>
        <p:nvGrpSpPr>
          <p:cNvPr id="70" name="Group 69"/>
          <p:cNvGrpSpPr/>
          <p:nvPr/>
        </p:nvGrpSpPr>
        <p:grpSpPr>
          <a:xfrm>
            <a:off x="679" y="1868344"/>
            <a:ext cx="3210321" cy="618984"/>
            <a:chOff x="-142843" y="2640153"/>
            <a:chExt cx="3210321" cy="618984"/>
          </a:xfrm>
        </p:grpSpPr>
        <p:sp>
          <p:nvSpPr>
            <p:cNvPr id="71" name="Rectangle 70"/>
            <p:cNvSpPr>
              <a:spLocks noChangeAspect="1"/>
            </p:cNvSpPr>
            <p:nvPr>
              <p:custDataLst>
                <p:tags r:id="rId1"/>
              </p:custDataLst>
            </p:nvPr>
          </p:nvSpPr>
          <p:spPr bwMode="auto">
            <a:xfrm>
              <a:off x="1545221" y="2640153"/>
              <a:ext cx="1419536" cy="221599"/>
            </a:xfrm>
            <a:prstGeom prst="rect">
              <a:avLst/>
            </a:prstGeom>
            <a:ln>
              <a:noFill/>
            </a:ln>
          </p:spPr>
          <p:txBody>
            <a:bodyPr vert="horz" wrap="square" lIns="0" tIns="0" rIns="0" bIns="0" rtlCol="0">
              <a:spAutoFit/>
            </a:bodyPr>
            <a:lstStyle/>
            <a:p>
              <a:pPr algn="ctr">
                <a:lnSpc>
                  <a:spcPct val="90000"/>
                </a:lnSpc>
                <a:spcBef>
                  <a:spcPts val="1200"/>
                </a:spcBef>
              </a:pPr>
              <a:r>
                <a:rPr lang="en-US" sz="1600" spc="-30" dirty="0">
                  <a:solidFill>
                    <a:prstClr val="black"/>
                  </a:solidFill>
                  <a:latin typeface="Verdana" panose="020B0604030504040204" pitchFamily="34" charset="0"/>
                  <a:ea typeface="Verdana" panose="020B0604030504040204" pitchFamily="34" charset="0"/>
                  <a:cs typeface="Verdana" panose="020B0604030504040204" pitchFamily="34" charset="0"/>
                </a:rPr>
                <a:t>LDAP v3</a:t>
              </a:r>
            </a:p>
          </p:txBody>
        </p:sp>
        <p:sp>
          <p:nvSpPr>
            <p:cNvPr id="72" name="Rectangle 71"/>
            <p:cNvSpPr>
              <a:spLocks noChangeAspect="1"/>
            </p:cNvSpPr>
            <p:nvPr>
              <p:custDataLst>
                <p:tags r:id="rId2"/>
              </p:custDataLst>
            </p:nvPr>
          </p:nvSpPr>
          <p:spPr bwMode="auto">
            <a:xfrm>
              <a:off x="124824" y="2643510"/>
              <a:ext cx="1922329" cy="221599"/>
            </a:xfrm>
            <a:prstGeom prst="rect">
              <a:avLst/>
            </a:prstGeom>
            <a:ln>
              <a:noFill/>
            </a:ln>
          </p:spPr>
          <p:txBody>
            <a:bodyPr vert="horz" wrap="square" lIns="0" tIns="0" rIns="0" bIns="0" rtlCol="0">
              <a:spAutoFit/>
            </a:bodyPr>
            <a:lstStyle/>
            <a:p>
              <a:pPr algn="ctr">
                <a:lnSpc>
                  <a:spcPct val="90000"/>
                </a:lnSpc>
                <a:spcBef>
                  <a:spcPts val="1200"/>
                </a:spcBef>
              </a:pPr>
              <a:r>
                <a:rPr lang="en-US" sz="1600" spc="-30" dirty="0">
                  <a:solidFill>
                    <a:prstClr val="black"/>
                  </a:solidFill>
                  <a:latin typeface="Verdana" panose="020B0604030504040204" pitchFamily="34" charset="0"/>
                  <a:ea typeface="Verdana" panose="020B0604030504040204" pitchFamily="34" charset="0"/>
                  <a:cs typeface="Verdana" panose="020B0604030504040204" pitchFamily="34" charset="0"/>
                </a:rPr>
                <a:t>PowerShell</a:t>
              </a:r>
            </a:p>
          </p:txBody>
        </p:sp>
        <p:grpSp>
          <p:nvGrpSpPr>
            <p:cNvPr id="73" name="Group 72"/>
            <p:cNvGrpSpPr/>
            <p:nvPr/>
          </p:nvGrpSpPr>
          <p:grpSpPr>
            <a:xfrm>
              <a:off x="-142843" y="2898442"/>
              <a:ext cx="1974053" cy="357338"/>
              <a:chOff x="751803" y="5244570"/>
              <a:chExt cx="1974053" cy="357338"/>
            </a:xfrm>
          </p:grpSpPr>
          <p:sp>
            <p:nvSpPr>
              <p:cNvPr id="77" name="Rectangle 76"/>
              <p:cNvSpPr>
                <a:spLocks noChangeAspect="1"/>
              </p:cNvSpPr>
              <p:nvPr>
                <p:custDataLst>
                  <p:tags r:id="rId5"/>
                </p:custDataLst>
              </p:nvPr>
            </p:nvSpPr>
            <p:spPr bwMode="auto">
              <a:xfrm>
                <a:off x="751803" y="5244570"/>
                <a:ext cx="1974053" cy="221599"/>
              </a:xfrm>
              <a:prstGeom prst="rect">
                <a:avLst/>
              </a:prstGeom>
              <a:ln>
                <a:noFill/>
              </a:ln>
            </p:spPr>
            <p:txBody>
              <a:bodyPr vert="horz" wrap="square" lIns="0" tIns="0" rIns="0" bIns="0" rtlCol="0">
                <a:spAutoFit/>
              </a:bodyPr>
              <a:lstStyle/>
              <a:p>
                <a:pPr algn="ctr">
                  <a:lnSpc>
                    <a:spcPct val="90000"/>
                  </a:lnSpc>
                  <a:spcBef>
                    <a:spcPts val="1200"/>
                  </a:spcBef>
                </a:pPr>
                <a:r>
                  <a:rPr lang="en-US" sz="1600" spc="-30" dirty="0">
                    <a:solidFill>
                      <a:prstClr val="black"/>
                    </a:solidFill>
                    <a:latin typeface="Verdana" panose="020B0604030504040204" pitchFamily="34" charset="0"/>
                    <a:ea typeface="Verdana" panose="020B0604030504040204" pitchFamily="34" charset="0"/>
                    <a:cs typeface="Verdana" panose="020B0604030504040204" pitchFamily="34" charset="0"/>
                  </a:rPr>
                  <a:t>SQL</a:t>
                </a:r>
                <a:endParaRPr lang="en-US" sz="900" spc="-3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78" name="Rectangle 77"/>
              <p:cNvSpPr>
                <a:spLocks noChangeAspect="1"/>
              </p:cNvSpPr>
              <p:nvPr>
                <p:custDataLst>
                  <p:tags r:id="rId6"/>
                </p:custDataLst>
              </p:nvPr>
            </p:nvSpPr>
            <p:spPr bwMode="auto">
              <a:xfrm>
                <a:off x="1129933" y="5449559"/>
                <a:ext cx="1217791" cy="152349"/>
              </a:xfrm>
              <a:prstGeom prst="rect">
                <a:avLst/>
              </a:prstGeom>
              <a:ln>
                <a:noFill/>
              </a:ln>
            </p:spPr>
            <p:txBody>
              <a:bodyPr vert="horz" wrap="square" lIns="0" tIns="0" rIns="0" bIns="0" rtlCol="0">
                <a:spAutoFit/>
              </a:bodyPr>
              <a:lstStyle/>
              <a:p>
                <a:pPr algn="ctr">
                  <a:lnSpc>
                    <a:spcPct val="90000"/>
                  </a:lnSpc>
                  <a:spcBef>
                    <a:spcPts val="1200"/>
                  </a:spcBef>
                </a:pPr>
                <a:r>
                  <a:rPr lang="en-US" sz="1100" spc="-30" dirty="0">
                    <a:solidFill>
                      <a:prstClr val="black"/>
                    </a:solidFill>
                    <a:latin typeface="Verdana" panose="020B0604030504040204" pitchFamily="34" charset="0"/>
                    <a:ea typeface="Verdana" panose="020B0604030504040204" pitchFamily="34" charset="0"/>
                    <a:cs typeface="Verdana" panose="020B0604030504040204" pitchFamily="34" charset="0"/>
                  </a:rPr>
                  <a:t>(ODBC)</a:t>
                </a:r>
                <a:endParaRPr lang="en-US" sz="900" spc="-3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74" name="Group 73"/>
            <p:cNvGrpSpPr/>
            <p:nvPr/>
          </p:nvGrpSpPr>
          <p:grpSpPr>
            <a:xfrm>
              <a:off x="671138" y="2899122"/>
              <a:ext cx="2396340" cy="360015"/>
              <a:chOff x="2607449" y="5884227"/>
              <a:chExt cx="2396340" cy="360015"/>
            </a:xfrm>
          </p:grpSpPr>
          <p:sp>
            <p:nvSpPr>
              <p:cNvPr id="75" name="Rectangle 74"/>
              <p:cNvSpPr>
                <a:spLocks noChangeAspect="1"/>
              </p:cNvSpPr>
              <p:nvPr>
                <p:custDataLst>
                  <p:tags r:id="rId3"/>
                </p:custDataLst>
              </p:nvPr>
            </p:nvSpPr>
            <p:spPr bwMode="auto">
              <a:xfrm>
                <a:off x="2607449" y="5884227"/>
                <a:ext cx="2396340" cy="221599"/>
              </a:xfrm>
              <a:prstGeom prst="rect">
                <a:avLst/>
              </a:prstGeom>
              <a:ln>
                <a:noFill/>
              </a:ln>
            </p:spPr>
            <p:txBody>
              <a:bodyPr vert="horz" wrap="square" lIns="0" tIns="0" rIns="0" bIns="0" rtlCol="0">
                <a:spAutoFit/>
              </a:bodyPr>
              <a:lstStyle/>
              <a:p>
                <a:pPr algn="ctr">
                  <a:lnSpc>
                    <a:spcPct val="90000"/>
                  </a:lnSpc>
                  <a:spcBef>
                    <a:spcPts val="1200"/>
                  </a:spcBef>
                </a:pPr>
                <a:r>
                  <a:rPr lang="en-US" sz="1600" spc="-30" dirty="0">
                    <a:solidFill>
                      <a:prstClr val="black"/>
                    </a:solidFill>
                    <a:latin typeface="Verdana" panose="020B0604030504040204" pitchFamily="34" charset="0"/>
                    <a:ea typeface="Verdana" panose="020B0604030504040204" pitchFamily="34" charset="0"/>
                    <a:cs typeface="Verdana" panose="020B0604030504040204" pitchFamily="34" charset="0"/>
                  </a:rPr>
                  <a:t>Web Services</a:t>
                </a:r>
              </a:p>
            </p:txBody>
          </p:sp>
          <p:sp>
            <p:nvSpPr>
              <p:cNvPr id="76" name="Rectangle 75"/>
              <p:cNvSpPr>
                <a:spLocks noChangeAspect="1"/>
              </p:cNvSpPr>
              <p:nvPr>
                <p:custDataLst>
                  <p:tags r:id="rId4"/>
                </p:custDataLst>
              </p:nvPr>
            </p:nvSpPr>
            <p:spPr bwMode="auto">
              <a:xfrm>
                <a:off x="2812654" y="6091893"/>
                <a:ext cx="2012592" cy="152349"/>
              </a:xfrm>
              <a:prstGeom prst="rect">
                <a:avLst/>
              </a:prstGeom>
              <a:ln>
                <a:noFill/>
              </a:ln>
            </p:spPr>
            <p:txBody>
              <a:bodyPr vert="horz" wrap="square" lIns="0" tIns="0" rIns="0" bIns="0" rtlCol="0">
                <a:spAutoFit/>
              </a:bodyPr>
              <a:lstStyle/>
              <a:p>
                <a:pPr algn="ctr">
                  <a:lnSpc>
                    <a:spcPct val="90000"/>
                  </a:lnSpc>
                  <a:spcBef>
                    <a:spcPts val="1200"/>
                  </a:spcBef>
                </a:pPr>
                <a:r>
                  <a:rPr lang="en-US" sz="1100" spc="-30" dirty="0">
                    <a:solidFill>
                      <a:prstClr val="black"/>
                    </a:solidFill>
                    <a:latin typeface="Verdana" panose="020B0604030504040204" pitchFamily="34" charset="0"/>
                    <a:ea typeface="Verdana" panose="020B0604030504040204" pitchFamily="34" charset="0"/>
                    <a:cs typeface="Verdana" panose="020B0604030504040204" pitchFamily="34" charset="0"/>
                  </a:rPr>
                  <a:t>(SOAP, JAVA, REST)</a:t>
                </a:r>
              </a:p>
            </p:txBody>
          </p:sp>
        </p:grpSp>
      </p:grpSp>
      <p:sp>
        <p:nvSpPr>
          <p:cNvPr id="79" name="Freeform 5"/>
          <p:cNvSpPr>
            <a:spLocks noEditPoints="1"/>
          </p:cNvSpPr>
          <p:nvPr/>
        </p:nvSpPr>
        <p:spPr bwMode="auto">
          <a:xfrm>
            <a:off x="2595321" y="4359187"/>
            <a:ext cx="719164" cy="1068091"/>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89642" tIns="44821" rIns="89642" bIns="44821" numCol="1" anchor="t" anchorCtr="0" compatLnSpc="1">
            <a:prstTxWarp prst="textNoShape">
              <a:avLst/>
            </a:prstTxWarp>
          </a:bodyPr>
          <a:lstStyle/>
          <a:p>
            <a:pPr defTabSz="914367"/>
            <a:endParaRPr lang="en-GB" sz="1765">
              <a:ln w="0"/>
              <a:solidFill>
                <a:srgbClr val="5B9BD5"/>
              </a:solidFill>
              <a:effectLst>
                <a:outerShdw blurRad="38100" dist="25400" dir="5400000" algn="ctr" rotWithShape="0">
                  <a:srgbClr val="6E747A">
                    <a:alpha val="43000"/>
                  </a:srgbClr>
                </a:outerShdw>
              </a:effectLst>
            </a:endParaRPr>
          </a:p>
        </p:txBody>
      </p:sp>
      <p:sp>
        <p:nvSpPr>
          <p:cNvPr id="80" name="Rectangle 79"/>
          <p:cNvSpPr/>
          <p:nvPr/>
        </p:nvSpPr>
        <p:spPr>
          <a:xfrm>
            <a:off x="5289019" y="4628955"/>
            <a:ext cx="1626131" cy="215444"/>
          </a:xfrm>
          <a:prstGeom prst="rect">
            <a:avLst/>
          </a:prstGeom>
          <a:ln>
            <a:noFill/>
          </a:ln>
        </p:spPr>
        <p:txBody>
          <a:bodyPr wrap="square" lIns="0" tIns="0" rIns="0" bIns="0" anchor="ctr">
            <a:spAutoFit/>
          </a:bodyPr>
          <a:lstStyle/>
          <a:p>
            <a:pPr defTabSz="1118108" fontAlgn="base">
              <a:spcAft>
                <a:spcPct val="0"/>
              </a:spcAft>
            </a:pPr>
            <a:r>
              <a:rPr lang="en-US" sz="1400" dirty="0">
                <a:ln>
                  <a:solidFill>
                    <a:srgbClr val="FFFFFF">
                      <a:alpha val="0"/>
                    </a:srgbClr>
                  </a:solidFill>
                </a:ln>
                <a:solidFill>
                  <a:prstClr val="black"/>
                </a:solidFill>
                <a:latin typeface="Segoe"/>
              </a:rPr>
              <a:t>* Application Proxy</a:t>
            </a:r>
          </a:p>
        </p:txBody>
      </p:sp>
    </p:spTree>
    <p:extLst>
      <p:ext uri="{BB962C8B-B14F-4D97-AF65-F5344CB8AC3E}">
        <p14:creationId xmlns:p14="http://schemas.microsoft.com/office/powerpoint/2010/main" val="3392695979"/>
      </p:ext>
    </p:extLst>
  </p:cSld>
  <p:clrMapOvr>
    <a:masterClrMapping/>
  </p:clrMapOvr>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GB" sz="3600" b="1" u="sng" dirty="0">
                <a:effectLst>
                  <a:outerShdw blurRad="38100" dist="38100" dir="2700000" algn="tl">
                    <a:srgbClr val="000000">
                      <a:alpha val="43137"/>
                    </a:srgbClr>
                  </a:outerShdw>
                </a:effectLst>
              </a:rPr>
              <a:t>Problem Statement</a:t>
            </a:r>
          </a:p>
        </p:txBody>
      </p:sp>
      <p:sp>
        <p:nvSpPr>
          <p:cNvPr id="6" name="Content Placeholder 5"/>
          <p:cNvSpPr>
            <a:spLocks noGrp="1"/>
          </p:cNvSpPr>
          <p:nvPr>
            <p:ph idx="1"/>
          </p:nvPr>
        </p:nvSpPr>
        <p:spPr>
          <a:xfrm>
            <a:off x="475488" y="1690688"/>
            <a:ext cx="11253216" cy="3910012"/>
          </a:xfrm>
        </p:spPr>
        <p:txBody>
          <a:bodyPr>
            <a:normAutofit lnSpcReduction="10000"/>
          </a:bodyPr>
          <a:lstStyle/>
          <a:p>
            <a:r>
              <a:rPr lang="en-US" sz="2400" dirty="0"/>
              <a:t>Traditional directories do not work well with cloud workloads</a:t>
            </a:r>
          </a:p>
          <a:p>
            <a:pPr lvl="1">
              <a:spcBef>
                <a:spcPts val="1200"/>
              </a:spcBef>
            </a:pPr>
            <a:r>
              <a:rPr lang="en-US" sz="2000" dirty="0"/>
              <a:t>The protocols (LDAP, Kerberos, etc.) were never planned to be widely accessible through the Internet</a:t>
            </a:r>
          </a:p>
          <a:p>
            <a:pPr lvl="1">
              <a:spcBef>
                <a:spcPts val="1200"/>
              </a:spcBef>
            </a:pPr>
            <a:r>
              <a:rPr lang="en-US" sz="2000" dirty="0"/>
              <a:t>New authentication protocols (OAuth2, </a:t>
            </a:r>
            <a:r>
              <a:rPr lang="en-US" sz="2000" dirty="0" err="1"/>
              <a:t>OpenID</a:t>
            </a:r>
            <a:r>
              <a:rPr lang="en-US" sz="2000" dirty="0"/>
              <a:t> Connect etc.) which are widely adopted and more scalable are taking over</a:t>
            </a:r>
          </a:p>
          <a:p>
            <a:pPr lvl="1">
              <a:spcBef>
                <a:spcPts val="1200"/>
              </a:spcBef>
            </a:pPr>
            <a:r>
              <a:rPr lang="en-US" sz="2000" dirty="0"/>
              <a:t>With the advent of new heterogeneous devices and operating systems, the connection to the directory is not permanent (as it could be with a traditional laptop/desktop computer)</a:t>
            </a:r>
          </a:p>
          <a:p>
            <a:pPr lvl="1">
              <a:spcBef>
                <a:spcPts val="1200"/>
              </a:spcBef>
            </a:pPr>
            <a:r>
              <a:rPr lang="en-US" sz="2000" dirty="0"/>
              <a:t>There is an obvious need for widely interoperable authentication/authorization protocol (heterogeneous OS)</a:t>
            </a:r>
          </a:p>
          <a:p>
            <a:pPr lvl="1">
              <a:spcBef>
                <a:spcPts val="1200"/>
              </a:spcBef>
            </a:pPr>
            <a:r>
              <a:rPr lang="en-US" sz="2000" dirty="0"/>
              <a:t>The presence of multiple authentication systems in the applications themselves breaks the SSO consolidation that has taken place across the last few years</a:t>
            </a:r>
          </a:p>
          <a:p>
            <a:pPr lvl="1"/>
            <a:endParaRPr lang="en-GB" sz="2000" dirty="0"/>
          </a:p>
        </p:txBody>
      </p:sp>
    </p:spTree>
    <p:extLst>
      <p:ext uri="{BB962C8B-B14F-4D97-AF65-F5344CB8AC3E}">
        <p14:creationId xmlns:p14="http://schemas.microsoft.com/office/powerpoint/2010/main" val="49026690"/>
      </p:ext>
    </p:extLst>
  </p:cSld>
  <p:clrMapOvr>
    <a:masterClrMapping/>
  </p:clrMapOvr>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600" b="1" u="sng" dirty="0">
                <a:effectLst>
                  <a:outerShdw blurRad="38100" dist="38100" dir="2700000" algn="tl">
                    <a:srgbClr val="000000">
                      <a:alpha val="43137"/>
                    </a:srgbClr>
                  </a:outerShdw>
                </a:effectLst>
              </a:rPr>
              <a:t>What is Microsoft Azure AD?</a:t>
            </a:r>
          </a:p>
        </p:txBody>
      </p:sp>
      <p:sp>
        <p:nvSpPr>
          <p:cNvPr id="4" name="Content Placeholder 3"/>
          <p:cNvSpPr>
            <a:spLocks noGrp="1"/>
          </p:cNvSpPr>
          <p:nvPr>
            <p:ph idx="1"/>
          </p:nvPr>
        </p:nvSpPr>
        <p:spPr/>
        <p:txBody>
          <a:bodyPr>
            <a:normAutofit/>
          </a:bodyPr>
          <a:lstStyle/>
          <a:p>
            <a:r>
              <a:rPr lang="en-US" sz="2000" dirty="0"/>
              <a:t>A multi-tenant directory in the cloud</a:t>
            </a:r>
          </a:p>
          <a:p>
            <a:r>
              <a:rPr lang="en-US" sz="2000" dirty="0"/>
              <a:t>Extension of AD into the cloud</a:t>
            </a:r>
          </a:p>
          <a:p>
            <a:r>
              <a:rPr lang="en-US" sz="2000" dirty="0"/>
              <a:t>Designed primarily to meet the needs of cloud applications</a:t>
            </a:r>
          </a:p>
          <a:p>
            <a:r>
              <a:rPr lang="en-US" sz="2000" dirty="0"/>
              <a:t>Identity as a service: an essential part of Platform as a Service</a:t>
            </a:r>
          </a:p>
          <a:p>
            <a:endParaRPr lang="en-GB" sz="2000"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52800" y="3028130"/>
            <a:ext cx="5486400" cy="3631473"/>
          </a:xfrm>
          <a:prstGeom prst="rect">
            <a:avLst/>
          </a:prstGeom>
        </p:spPr>
      </p:pic>
    </p:spTree>
    <p:extLst>
      <p:ext uri="{BB962C8B-B14F-4D97-AF65-F5344CB8AC3E}">
        <p14:creationId xmlns:p14="http://schemas.microsoft.com/office/powerpoint/2010/main" val="322567007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8184" y="0"/>
            <a:ext cx="9404723" cy="1400530"/>
          </a:xfrm>
        </p:spPr>
        <p:txBody>
          <a:bodyPr vert="horz" lIns="91440" tIns="45720" rIns="91440" bIns="45720" rtlCol="0" anchor="ctr">
            <a:normAutofit/>
          </a:bodyPr>
          <a:lstStyle/>
          <a:p>
            <a:pPr algn="l"/>
            <a:r>
              <a:rPr lang="en-US" sz="3200" b="1" dirty="0">
                <a:effectLst>
                  <a:outerShdw blurRad="38100" dist="38100" dir="2700000" algn="tl">
                    <a:srgbClr val="000000">
                      <a:alpha val="43137"/>
                    </a:srgbClr>
                  </a:outerShdw>
                </a:effectLst>
              </a:rPr>
              <a:t>Introduction to the Azure cloud</a:t>
            </a:r>
            <a:endParaRPr lang="en-US" sz="3200" b="1" dirty="0">
              <a:effectLst>
                <a:outerShdw blurRad="38100" dist="38100" dir="2700000" algn="tl">
                  <a:srgbClr val="000000">
                    <a:alpha val="43137"/>
                  </a:srgbClr>
                </a:outerShdw>
              </a:effectLst>
              <a:latin typeface="Segoe UI Symbol" panose="020B0502040204020203" pitchFamily="34" charset="0"/>
              <a:ea typeface="Segoe UI Symbol" panose="020B0502040204020203" pitchFamily="34" charset="0"/>
            </a:endParaRPr>
          </a:p>
        </p:txBody>
      </p:sp>
      <p:sp>
        <p:nvSpPr>
          <p:cNvPr id="68" name="TextBox 67"/>
          <p:cNvSpPr txBox="1"/>
          <p:nvPr/>
        </p:nvSpPr>
        <p:spPr>
          <a:xfrm>
            <a:off x="258184" y="1225689"/>
            <a:ext cx="11665296" cy="5632311"/>
          </a:xfrm>
          <a:prstGeom prst="rect">
            <a:avLst/>
          </a:prstGeom>
          <a:noFill/>
        </p:spPr>
        <p:txBody>
          <a:bodyPr wrap="square" rtlCol="0">
            <a:spAutoFit/>
          </a:bodyPr>
          <a:lstStyle/>
          <a:p>
            <a:pPr>
              <a:lnSpc>
                <a:spcPct val="150000"/>
              </a:lnSpc>
            </a:pPr>
            <a:r>
              <a:rPr lang="en-US" sz="2000" dirty="0" smtClean="0"/>
              <a:t>Azure </a:t>
            </a:r>
            <a:r>
              <a:rPr lang="en-US" sz="2000" dirty="0"/>
              <a:t>is Microsoft’s cloud computing platform, a growing collection of integrated services—analytics, computing, database, mobile, networking, storage and web—for moving faster, achieving more and saving money. Here is what else Azure is….</a:t>
            </a:r>
          </a:p>
          <a:p>
            <a:pPr>
              <a:lnSpc>
                <a:spcPct val="150000"/>
              </a:lnSpc>
            </a:pPr>
            <a:endParaRPr lang="en-US" sz="2000" dirty="0" smtClean="0"/>
          </a:p>
          <a:p>
            <a:pPr>
              <a:lnSpc>
                <a:spcPct val="150000"/>
              </a:lnSpc>
            </a:pPr>
            <a:r>
              <a:rPr lang="en-US" sz="2000" dirty="0" smtClean="0"/>
              <a:t>Microsoft </a:t>
            </a:r>
            <a:r>
              <a:rPr lang="en-US" sz="2000" dirty="0"/>
              <a:t>Azure is a cloud computing platform and infrastructure, created by Microsoft, for building, deploying and managing applications and services through a global network of Microsoft-managed and Microsoft partner hosted datacenters.</a:t>
            </a:r>
          </a:p>
          <a:p>
            <a:pPr>
              <a:lnSpc>
                <a:spcPct val="150000"/>
              </a:lnSpc>
            </a:pPr>
            <a:endParaRPr lang="en-US" sz="2000" dirty="0"/>
          </a:p>
          <a:p>
            <a:pPr>
              <a:lnSpc>
                <a:spcPct val="150000"/>
              </a:lnSpc>
            </a:pPr>
            <a:r>
              <a:rPr lang="en-US" sz="2000" dirty="0"/>
              <a:t>Microsoft Azure allows you to perform, provisioning and scaling the necessary resources up/down in the cloud in short period of time and also in on-demand basis --- on a pay as you go basis with agreed SLA.</a:t>
            </a:r>
          </a:p>
          <a:p>
            <a:pPr>
              <a:lnSpc>
                <a:spcPct val="150000"/>
              </a:lnSpc>
            </a:pPr>
            <a:endParaRPr lang="en-US" sz="2400" dirty="0">
              <a:latin typeface="Book Antiqua" panose="02040602050305030304" pitchFamily="18" charset="0"/>
            </a:endParaRPr>
          </a:p>
          <a:p>
            <a:pPr marL="457200" indent="-457200">
              <a:buFont typeface="Arial" panose="020B0604020202020204" pitchFamily="34" charset="0"/>
              <a:buChar char="•"/>
            </a:pPr>
            <a:endParaRPr lang="en-US" sz="2400" dirty="0">
              <a:latin typeface="Book Antiqua" panose="02040602050305030304" pitchFamily="18" charset="0"/>
            </a:endParaRPr>
          </a:p>
        </p:txBody>
      </p:sp>
    </p:spTree>
    <p:extLst>
      <p:ext uri="{BB962C8B-B14F-4D97-AF65-F5344CB8AC3E}">
        <p14:creationId xmlns:p14="http://schemas.microsoft.com/office/powerpoint/2010/main" val="37215670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600" b="1" u="sng" dirty="0">
                <a:effectLst>
                  <a:outerShdw blurRad="38100" dist="38100" dir="2700000" algn="tl">
                    <a:srgbClr val="000000">
                      <a:alpha val="43137"/>
                    </a:srgbClr>
                  </a:outerShdw>
                </a:effectLst>
              </a:rPr>
              <a:t>Why Use Microsoft Azure AD?</a:t>
            </a:r>
          </a:p>
        </p:txBody>
      </p:sp>
      <p:sp>
        <p:nvSpPr>
          <p:cNvPr id="4" name="Content Placeholder 3"/>
          <p:cNvSpPr>
            <a:spLocks noGrp="1"/>
          </p:cNvSpPr>
          <p:nvPr>
            <p:ph idx="1"/>
          </p:nvPr>
        </p:nvSpPr>
        <p:spPr>
          <a:xfrm>
            <a:off x="469392" y="1433866"/>
            <a:ext cx="11253216" cy="4575048"/>
          </a:xfrm>
        </p:spPr>
        <p:txBody>
          <a:bodyPr>
            <a:normAutofit/>
          </a:bodyPr>
          <a:lstStyle/>
          <a:p>
            <a:r>
              <a:rPr lang="fr-FR" sz="2400" dirty="0"/>
              <a:t>Central management of the </a:t>
            </a:r>
            <a:r>
              <a:rPr lang="en-US" sz="2400" dirty="0"/>
              <a:t>entities shared between the different cloud applications in the organization</a:t>
            </a:r>
          </a:p>
          <a:p>
            <a:r>
              <a:rPr lang="en-US" sz="2400" dirty="0"/>
              <a:t>Allows connecting to the Cloud directory from any platform with any device</a:t>
            </a:r>
          </a:p>
          <a:p>
            <a:r>
              <a:rPr lang="en-GB" sz="2400" dirty="0"/>
              <a:t>Allows identities to be shared with a third-party cloud application</a:t>
            </a:r>
          </a:p>
          <a:p>
            <a:r>
              <a:rPr lang="en-GB" sz="2400" dirty="0"/>
              <a:t>Implement widely adopted authentication/authorization protocols</a:t>
            </a:r>
          </a:p>
          <a:p>
            <a:r>
              <a:rPr lang="en-GB" sz="2400" dirty="0"/>
              <a:t>SaaS directory for small orgs with no identity infrastructure</a:t>
            </a:r>
          </a:p>
          <a:p>
            <a:endParaRPr lang="fr-FR" sz="2400" dirty="0"/>
          </a:p>
          <a:p>
            <a:endParaRPr lang="en-GB" sz="2400" dirty="0"/>
          </a:p>
        </p:txBody>
      </p:sp>
    </p:spTree>
    <p:extLst>
      <p:ext uri="{BB962C8B-B14F-4D97-AF65-F5344CB8AC3E}">
        <p14:creationId xmlns:p14="http://schemas.microsoft.com/office/powerpoint/2010/main" val="2950766487"/>
      </p:ext>
    </p:extLst>
  </p:cSld>
  <p:clrMapOvr>
    <a:masterClrMapping/>
  </p:clrMapOvr>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u="sng" dirty="0">
                <a:effectLst>
                  <a:outerShdw blurRad="38100" dist="38100" dir="2700000" algn="tl">
                    <a:srgbClr val="000000">
                      <a:alpha val="43137"/>
                    </a:srgbClr>
                  </a:outerShdw>
                </a:effectLst>
              </a:rPr>
              <a:t>Azure Active Directory Editions - Free</a:t>
            </a:r>
          </a:p>
        </p:txBody>
      </p:sp>
      <p:sp>
        <p:nvSpPr>
          <p:cNvPr id="4" name="Text Placeholder 3"/>
          <p:cNvSpPr>
            <a:spLocks noGrp="1"/>
          </p:cNvSpPr>
          <p:nvPr>
            <p:ph idx="1"/>
          </p:nvPr>
        </p:nvSpPr>
        <p:spPr>
          <a:xfrm>
            <a:off x="892629" y="1590621"/>
            <a:ext cx="11253216" cy="3660648"/>
          </a:xfrm>
        </p:spPr>
        <p:txBody>
          <a:bodyPr>
            <a:normAutofit/>
          </a:bodyPr>
          <a:lstStyle/>
          <a:p>
            <a:r>
              <a:rPr lang="en-US" sz="2400" dirty="0"/>
              <a:t>Manage user accounts</a:t>
            </a:r>
          </a:p>
          <a:p>
            <a:r>
              <a:rPr lang="en-US" sz="2400" dirty="0"/>
              <a:t>Synchronize with on-premises directories</a:t>
            </a:r>
          </a:p>
          <a:p>
            <a:r>
              <a:rPr lang="en-US" sz="2400" dirty="0"/>
              <a:t>Get single sign-on across Azure, Office 365, and thousands of SaaS applications</a:t>
            </a:r>
          </a:p>
        </p:txBody>
      </p:sp>
    </p:spTree>
    <p:extLst>
      <p:ext uri="{BB962C8B-B14F-4D97-AF65-F5344CB8AC3E}">
        <p14:creationId xmlns:p14="http://schemas.microsoft.com/office/powerpoint/2010/main" val="2058204805"/>
      </p:ext>
    </p:extLst>
  </p:cSld>
  <p:clrMapOvr>
    <a:masterClrMapping/>
  </p:clrMapOvr>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u="sng" dirty="0">
                <a:effectLst>
                  <a:outerShdw blurRad="38100" dist="38100" dir="2700000" algn="tl">
                    <a:srgbClr val="000000">
                      <a:alpha val="43137"/>
                    </a:srgbClr>
                  </a:outerShdw>
                </a:effectLst>
              </a:rPr>
              <a:t>Azure Active Directory Editions - Basic</a:t>
            </a:r>
          </a:p>
        </p:txBody>
      </p:sp>
      <p:sp>
        <p:nvSpPr>
          <p:cNvPr id="4" name="Text Placeholder 3"/>
          <p:cNvSpPr>
            <a:spLocks noGrp="1"/>
          </p:cNvSpPr>
          <p:nvPr>
            <p:ph idx="1"/>
          </p:nvPr>
        </p:nvSpPr>
        <p:spPr/>
        <p:txBody>
          <a:bodyPr>
            <a:noAutofit/>
          </a:bodyPr>
          <a:lstStyle/>
          <a:p>
            <a:r>
              <a:rPr lang="en-US" sz="2400" dirty="0"/>
              <a:t>Company branding – Add your company logo and color schemes to your organization’s Sign In and Access Panel pages</a:t>
            </a:r>
          </a:p>
          <a:p>
            <a:r>
              <a:rPr lang="en-US" sz="2400" dirty="0"/>
              <a:t>Group-based application access – Use groups to provision users and assign user access in bulk to thousands of SaaS applications</a:t>
            </a:r>
          </a:p>
          <a:p>
            <a:r>
              <a:rPr lang="en-US" sz="2400" dirty="0"/>
              <a:t>Self-service password reset – Give all users in your directory the capability to reset their password, using the same sign in experience they have for Office 365.</a:t>
            </a:r>
          </a:p>
          <a:p>
            <a:r>
              <a:rPr lang="en-US" sz="2400" dirty="0"/>
              <a:t>Enterprise SLA of 99.9% - At least 99.9% availability of the Azure Active Directory Basic service.</a:t>
            </a:r>
          </a:p>
          <a:p>
            <a:r>
              <a:rPr lang="en-US" sz="2400" dirty="0"/>
              <a:t>Azure Active Directory Application Proxy - Publish on-premises web applications using Azure Active Directory</a:t>
            </a:r>
          </a:p>
        </p:txBody>
      </p:sp>
    </p:spTree>
    <p:extLst>
      <p:ext uri="{BB962C8B-B14F-4D97-AF65-F5344CB8AC3E}">
        <p14:creationId xmlns:p14="http://schemas.microsoft.com/office/powerpoint/2010/main" val="776332928"/>
      </p:ext>
    </p:extLst>
  </p:cSld>
  <p:clrMapOvr>
    <a:masterClrMapping/>
  </p:clrMapOvr>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u="sng" dirty="0">
                <a:effectLst>
                  <a:outerShdw blurRad="38100" dist="38100" dir="2700000" algn="tl">
                    <a:srgbClr val="000000">
                      <a:alpha val="43137"/>
                    </a:srgbClr>
                  </a:outerShdw>
                </a:effectLst>
              </a:rPr>
              <a:t>Azure Active Directory Editions - Premium</a:t>
            </a:r>
          </a:p>
        </p:txBody>
      </p:sp>
      <p:sp>
        <p:nvSpPr>
          <p:cNvPr id="4" name="Text Placeholder 3"/>
          <p:cNvSpPr>
            <a:spLocks noGrp="1"/>
          </p:cNvSpPr>
          <p:nvPr>
            <p:ph idx="1"/>
          </p:nvPr>
        </p:nvSpPr>
        <p:spPr/>
        <p:txBody>
          <a:bodyPr>
            <a:noAutofit/>
          </a:bodyPr>
          <a:lstStyle/>
          <a:p>
            <a:r>
              <a:rPr lang="en-US" sz="2000" dirty="0"/>
              <a:t>Self-service group management - Enables users to create groups, request access to other groups, delegate group ownership so others can approve requests and maintain their group’s memberships</a:t>
            </a:r>
          </a:p>
          <a:p>
            <a:r>
              <a:rPr lang="en-US" sz="2000" dirty="0"/>
              <a:t>Advanced security reports and alerts – View detailed logs showing more advanced anomalies and inconsistent access pattern reports</a:t>
            </a:r>
          </a:p>
          <a:p>
            <a:r>
              <a:rPr lang="en-US" sz="2000" dirty="0"/>
              <a:t>Multi-Factor Authentication – MFA can help secure access to on-premises applications, Azure, Microsoft Online Services like Office 365 </a:t>
            </a:r>
            <a:r>
              <a:rPr lang="en-US" sz="2000" dirty="0" err="1"/>
              <a:t>etc</a:t>
            </a:r>
            <a:r>
              <a:rPr lang="en-US" sz="2000" dirty="0"/>
              <a:t> </a:t>
            </a:r>
          </a:p>
          <a:p>
            <a:r>
              <a:rPr lang="en-US" sz="2000" dirty="0"/>
              <a:t>Microsoft Identity Manager (MIM) - Grant rights to use a MIM server (and CALs) in your on-premises network to support any combination of Hybrid Identity solutions</a:t>
            </a:r>
          </a:p>
          <a:p>
            <a:r>
              <a:rPr lang="en-US" sz="2000" dirty="0"/>
              <a:t>Enterprise SLA of 99.9% - At least 99.9% availability of the Azure Active Directory Premium service</a:t>
            </a:r>
          </a:p>
          <a:p>
            <a:r>
              <a:rPr lang="en-US" sz="2000" dirty="0"/>
              <a:t>Azure Active Directory Application Proxy – Provide secure access to on-premises applications like SharePoint and Exchange/OWA from the Cloud using Azure Active Directory</a:t>
            </a:r>
          </a:p>
          <a:p>
            <a:r>
              <a:rPr lang="en-US" sz="2000" dirty="0"/>
              <a:t>Password reset with write-back - self-service password reset can be written back to on-premises directories</a:t>
            </a:r>
          </a:p>
        </p:txBody>
      </p:sp>
    </p:spTree>
    <p:extLst>
      <p:ext uri="{BB962C8B-B14F-4D97-AF65-F5344CB8AC3E}">
        <p14:creationId xmlns:p14="http://schemas.microsoft.com/office/powerpoint/2010/main" val="1899838386"/>
      </p:ext>
    </p:extLst>
  </p:cSld>
  <p:clrMapOvr>
    <a:masterClrMapping/>
  </p:clrMapOvr>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774827"/>
          </a:xfrm>
        </p:spPr>
        <p:txBody>
          <a:bodyPr>
            <a:normAutofit/>
          </a:bodyPr>
          <a:lstStyle/>
          <a:p>
            <a:r>
              <a:rPr lang="en-GB" sz="3600" b="1" u="sng" dirty="0">
                <a:effectLst>
                  <a:outerShdw blurRad="38100" dist="38100" dir="2700000" algn="tl">
                    <a:srgbClr val="000000">
                      <a:alpha val="43137"/>
                    </a:srgbClr>
                  </a:outerShdw>
                </a:effectLst>
              </a:rPr>
              <a:t>Microsoft Azure AD Design Principle</a:t>
            </a:r>
          </a:p>
        </p:txBody>
      </p:sp>
      <p:sp>
        <p:nvSpPr>
          <p:cNvPr id="4" name="Content Placeholder 3"/>
          <p:cNvSpPr>
            <a:spLocks noGrp="1"/>
          </p:cNvSpPr>
          <p:nvPr>
            <p:ph idx="1"/>
          </p:nvPr>
        </p:nvSpPr>
        <p:spPr>
          <a:xfrm>
            <a:off x="410464" y="1139952"/>
            <a:ext cx="11253216" cy="4300728"/>
          </a:xfrm>
        </p:spPr>
        <p:txBody>
          <a:bodyPr>
            <a:normAutofit/>
          </a:bodyPr>
          <a:lstStyle/>
          <a:p>
            <a:r>
              <a:rPr lang="en-US" sz="2000" dirty="0"/>
              <a:t>The cloud design point demands capabilities that are not part of current-day Windows Server AD</a:t>
            </a:r>
          </a:p>
          <a:p>
            <a:r>
              <a:rPr lang="en-US" sz="2000" dirty="0"/>
              <a:t>Maximize device and platform reach</a:t>
            </a:r>
          </a:p>
          <a:p>
            <a:pPr lvl="1"/>
            <a:r>
              <a:rPr lang="en-US" sz="1800" dirty="0"/>
              <a:t>HTTP/web/REST-based protocols</a:t>
            </a:r>
          </a:p>
          <a:p>
            <a:r>
              <a:rPr lang="en-US" sz="2000" dirty="0"/>
              <a:t>Multi-tenancy</a:t>
            </a:r>
          </a:p>
          <a:p>
            <a:pPr lvl="1"/>
            <a:r>
              <a:rPr lang="en-US" sz="1800" dirty="0"/>
              <a:t>Customer owns the directory, not Microsoft</a:t>
            </a:r>
          </a:p>
          <a:p>
            <a:r>
              <a:rPr lang="en-US" sz="2000" dirty="0"/>
              <a:t>Optimize for availability, consistent performance, and scale</a:t>
            </a:r>
          </a:p>
          <a:p>
            <a:pPr lvl="1"/>
            <a:r>
              <a:rPr lang="en-US" sz="1800" dirty="0"/>
              <a:t>Keep it simple</a:t>
            </a:r>
          </a:p>
        </p:txBody>
      </p:sp>
    </p:spTree>
    <p:extLst>
      <p:ext uri="{BB962C8B-B14F-4D97-AF65-F5344CB8AC3E}">
        <p14:creationId xmlns:p14="http://schemas.microsoft.com/office/powerpoint/2010/main" val="1348714924"/>
      </p:ext>
    </p:extLst>
  </p:cSld>
  <p:clrMapOvr>
    <a:masterClrMapping/>
  </p:clrMapOvr>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u="sng" dirty="0" smtClean="0">
                <a:effectLst>
                  <a:outerShdw blurRad="38100" dist="38100" dir="2700000" algn="tl">
                    <a:srgbClr val="000000">
                      <a:alpha val="43137"/>
                    </a:srgbClr>
                  </a:outerShdw>
                </a:effectLst>
              </a:rPr>
              <a:t>Azure AD Usage </a:t>
            </a:r>
            <a:endParaRPr lang="en-GB" sz="3600" b="1" u="sng" dirty="0">
              <a:effectLst>
                <a:outerShdw blurRad="38100" dist="38100" dir="2700000" algn="tl">
                  <a:srgbClr val="000000">
                    <a:alpha val="43137"/>
                  </a:srgbClr>
                </a:outerShdw>
              </a:effectLst>
            </a:endParaRPr>
          </a:p>
        </p:txBody>
      </p:sp>
      <p:sp>
        <p:nvSpPr>
          <p:cNvPr id="4" name="Content Placeholder 3"/>
          <p:cNvSpPr>
            <a:spLocks noGrp="1"/>
          </p:cNvSpPr>
          <p:nvPr>
            <p:ph idx="1"/>
          </p:nvPr>
        </p:nvSpPr>
        <p:spPr/>
        <p:txBody>
          <a:bodyPr/>
          <a:lstStyle/>
          <a:p>
            <a:r>
              <a:rPr lang="en-US" dirty="0"/>
              <a:t>Consolidate identity management across cloud apps</a:t>
            </a:r>
          </a:p>
          <a:p>
            <a:r>
              <a:rPr lang="en-US" dirty="0"/>
              <a:t>Connect with people from web identity providers and other organizations</a:t>
            </a:r>
          </a:p>
          <a:p>
            <a:endParaRPr lang="en-GB" dirty="0"/>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91338" y="2760323"/>
            <a:ext cx="4009324" cy="39473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54367758"/>
      </p:ext>
    </p:extLst>
  </p:cSld>
  <p:clrMapOvr>
    <a:masterClrMapping/>
  </p:clrMapOvr>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7355" y="55424"/>
            <a:ext cx="10515600" cy="1325563"/>
          </a:xfrm>
        </p:spPr>
        <p:txBody>
          <a:bodyPr>
            <a:normAutofit/>
          </a:bodyPr>
          <a:lstStyle/>
          <a:p>
            <a:r>
              <a:rPr lang="en-GB" sz="3600" b="1" u="sng" dirty="0">
                <a:effectLst>
                  <a:outerShdw blurRad="38100" dist="38100" dir="2700000" algn="tl">
                    <a:srgbClr val="000000">
                      <a:alpha val="43137"/>
                    </a:srgbClr>
                  </a:outerShdw>
                </a:effectLst>
              </a:rPr>
              <a:t>Microsoft Azure AD Protocol</a:t>
            </a:r>
          </a:p>
        </p:txBody>
      </p:sp>
      <p:sp>
        <p:nvSpPr>
          <p:cNvPr id="133" name="Isosceles Triangle 132"/>
          <p:cNvSpPr/>
          <p:nvPr/>
        </p:nvSpPr>
        <p:spPr bwMode="auto">
          <a:xfrm>
            <a:off x="4420232" y="2423579"/>
            <a:ext cx="2591789" cy="2234301"/>
          </a:xfrm>
          <a:prstGeom prst="triangle">
            <a:avLst/>
          </a:prstGeom>
          <a:solidFill>
            <a:sysClr val="window" lastClr="FFFFFF">
              <a:lumMod val="50000"/>
            </a:sysClr>
          </a:solidFill>
          <a:ln w="9525" cap="flat" cmpd="sng" algn="ctr">
            <a:noFill/>
            <a:prstDash val="solid"/>
            <a:headEnd type="none" w="med" len="med"/>
            <a:tailEnd type="none" w="med" len="med"/>
          </a:ln>
          <a:effectLst/>
        </p:spPr>
        <p:txBody>
          <a:bodyPr vert="horz" wrap="square" lIns="121865" tIns="60932" rIns="121865" bIns="60932" numCol="1" rtlCol="0" anchor="ctr" anchorCtr="0" compatLnSpc="1">
            <a:prstTxWarp prst="textNoShape">
              <a:avLst/>
            </a:prstTxWarp>
          </a:bodyPr>
          <a:lstStyle/>
          <a:p>
            <a:pPr algn="ctr" defTabSz="1218286">
              <a:defRPr/>
            </a:pPr>
            <a:endParaRPr lang="en-US" sz="2932" kern="0" dirty="0">
              <a:gradFill>
                <a:gsLst>
                  <a:gs pos="0">
                    <a:srgbClr val="FFFFFF"/>
                  </a:gs>
                  <a:gs pos="100000">
                    <a:srgbClr val="FFFFFF"/>
                  </a:gs>
                </a:gsLst>
                <a:lin ang="5400000" scaled="0"/>
              </a:gradFill>
              <a:latin typeface="Segoe UI"/>
            </a:endParaRPr>
          </a:p>
        </p:txBody>
      </p:sp>
      <p:sp>
        <p:nvSpPr>
          <p:cNvPr id="134" name="Rounded Rectangle 133"/>
          <p:cNvSpPr/>
          <p:nvPr/>
        </p:nvSpPr>
        <p:spPr bwMode="auto">
          <a:xfrm>
            <a:off x="5135407" y="3631308"/>
            <a:ext cx="1165756" cy="870137"/>
          </a:xfrm>
          <a:prstGeom prst="roundRect">
            <a:avLst/>
          </a:pr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21871" tIns="121871" rIns="45707" bIns="45707" numCol="1" spcCol="0" rtlCol="0" fromWordArt="0" anchor="t" anchorCtr="0" forceAA="0" compatLnSpc="1">
            <a:prstTxWarp prst="textNoShape">
              <a:avLst/>
            </a:prstTxWarp>
            <a:noAutofit/>
          </a:bodyPr>
          <a:lstStyle/>
          <a:p>
            <a:pPr algn="ctr" defTabSz="1242685">
              <a:defRPr/>
            </a:pPr>
            <a:endParaRPr lang="en-US" sz="1600" kern="0" spc="-136"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36" name="Picture 6" descr="\\MAGNUM\Projects\Microsoft\Cloud Power FY12\Design\ICONS_PNG\Flexible_Workspace.png"/>
          <p:cNvPicPr>
            <a:picLocks noChangeAspect="1" noChangeArrowheads="1"/>
          </p:cNvPicPr>
          <p:nvPr/>
        </p:nvPicPr>
        <p:blipFill>
          <a:blip r:embed="rId3" cstate="print">
            <a:biLevel thresh="50000"/>
          </a:blip>
          <a:srcRect r="63636"/>
          <a:stretch>
            <a:fillRect/>
          </a:stretch>
        </p:blipFill>
        <p:spPr bwMode="auto">
          <a:xfrm>
            <a:off x="5280910" y="3552191"/>
            <a:ext cx="371379" cy="1021288"/>
          </a:xfrm>
          <a:prstGeom prst="rect">
            <a:avLst/>
          </a:prstGeom>
          <a:noFill/>
          <a:ln>
            <a:noFill/>
          </a:ln>
        </p:spPr>
      </p:pic>
      <p:pic>
        <p:nvPicPr>
          <p:cNvPr id="137" name="Picture 6" descr="\\MAGNUM\Projects\Microsoft\Cloud Power FY12\Design\ICONS_PNG\Flexible_Workspace.png"/>
          <p:cNvPicPr>
            <a:picLocks noChangeAspect="1" noChangeArrowheads="1"/>
          </p:cNvPicPr>
          <p:nvPr/>
        </p:nvPicPr>
        <p:blipFill>
          <a:blip r:embed="rId3" cstate="print">
            <a:biLevel thresh="50000"/>
          </a:blip>
          <a:srcRect r="63636"/>
          <a:stretch>
            <a:fillRect/>
          </a:stretch>
        </p:blipFill>
        <p:spPr bwMode="auto">
          <a:xfrm>
            <a:off x="5773118" y="3552191"/>
            <a:ext cx="371379" cy="1021288"/>
          </a:xfrm>
          <a:prstGeom prst="rect">
            <a:avLst/>
          </a:prstGeom>
          <a:noFill/>
          <a:ln>
            <a:noFill/>
          </a:ln>
        </p:spPr>
      </p:pic>
      <p:pic>
        <p:nvPicPr>
          <p:cNvPr id="138" name="Picture 6" descr="\\MAGNUM\Projects\Microsoft\Cloud Power FY12\Design\ICONS_PNG\Flexible_Workspace.png"/>
          <p:cNvPicPr>
            <a:picLocks noChangeAspect="1" noChangeArrowheads="1"/>
          </p:cNvPicPr>
          <p:nvPr/>
        </p:nvPicPr>
        <p:blipFill>
          <a:blip r:embed="rId3" cstate="print">
            <a:biLevel thresh="50000"/>
          </a:blip>
          <a:srcRect r="63636"/>
          <a:stretch>
            <a:fillRect/>
          </a:stretch>
        </p:blipFill>
        <p:spPr bwMode="auto">
          <a:xfrm>
            <a:off x="5514061" y="2622672"/>
            <a:ext cx="398517" cy="1095920"/>
          </a:xfrm>
          <a:prstGeom prst="rect">
            <a:avLst/>
          </a:prstGeom>
          <a:noFill/>
          <a:ln>
            <a:noFill/>
          </a:ln>
        </p:spPr>
      </p:pic>
      <p:sp>
        <p:nvSpPr>
          <p:cNvPr id="144" name="TextBox 143"/>
          <p:cNvSpPr txBox="1"/>
          <p:nvPr/>
        </p:nvSpPr>
        <p:spPr>
          <a:xfrm>
            <a:off x="4143628" y="1339466"/>
            <a:ext cx="3087704" cy="338554"/>
          </a:xfrm>
          <a:prstGeom prst="rect">
            <a:avLst/>
          </a:prstGeom>
          <a:noFill/>
        </p:spPr>
        <p:txBody>
          <a:bodyPr wrap="none" rtlCol="0">
            <a:spAutoFit/>
          </a:bodyPr>
          <a:lstStyle/>
          <a:p>
            <a:pPr algn="ctr" defTabSz="1219170">
              <a:defRPr/>
            </a:pPr>
            <a:r>
              <a:rPr lang="en-US" sz="1600" kern="0" dirty="0">
                <a:gradFill>
                  <a:gsLst>
                    <a:gs pos="0">
                      <a:sysClr val="windowText" lastClr="000000"/>
                    </a:gs>
                    <a:gs pos="100000">
                      <a:sysClr val="windowText" lastClr="000000"/>
                    </a:gs>
                  </a:gsLst>
                  <a:lin ang="5400000" scaled="0"/>
                </a:gradFill>
                <a:latin typeface="Segoe UI"/>
              </a:rPr>
              <a:t>Microsoft Azure Active Directory</a:t>
            </a:r>
          </a:p>
        </p:txBody>
      </p:sp>
      <p:sp>
        <p:nvSpPr>
          <p:cNvPr id="145" name="Rectangle 144"/>
          <p:cNvSpPr/>
          <p:nvPr/>
        </p:nvSpPr>
        <p:spPr bwMode="auto">
          <a:xfrm>
            <a:off x="3233345" y="1310301"/>
            <a:ext cx="4986125" cy="4332745"/>
          </a:xfrm>
          <a:prstGeom prst="rect">
            <a:avLst/>
          </a:prstGeom>
          <a:noFill/>
          <a:ln w="57150" cap="flat" cmpd="sng" algn="ctr">
            <a:solidFill>
              <a:srgbClr val="FF6600"/>
            </a:solidFill>
            <a:prstDash val="solid"/>
            <a:headEnd type="none" w="med" len="med"/>
            <a:tailEnd type="none" w="med" len="med"/>
          </a:ln>
          <a:effectLst/>
        </p:spPr>
        <p:txBody>
          <a:bodyPr lIns="124297" tIns="124297" rIns="46616" bIns="46616" rtlCol="0" anchor="t" anchorCtr="0"/>
          <a:lstStyle/>
          <a:p>
            <a:pPr algn="ctr" defTabSz="1267415">
              <a:defRPr/>
            </a:pPr>
            <a:endParaRPr lang="en-US" sz="1600" kern="0" spc="-139"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51" name="Group 150"/>
          <p:cNvGrpSpPr/>
          <p:nvPr/>
        </p:nvGrpSpPr>
        <p:grpSpPr>
          <a:xfrm>
            <a:off x="1248338" y="4927787"/>
            <a:ext cx="2000156" cy="745435"/>
            <a:chOff x="2867396" y="4004370"/>
            <a:chExt cx="1500117" cy="559076"/>
          </a:xfrm>
        </p:grpSpPr>
        <p:sp>
          <p:nvSpPr>
            <p:cNvPr id="152" name="Oval 151"/>
            <p:cNvSpPr/>
            <p:nvPr/>
          </p:nvSpPr>
          <p:spPr>
            <a:xfrm flipH="1">
              <a:off x="3649035" y="4050808"/>
              <a:ext cx="197349" cy="197428"/>
            </a:xfrm>
            <a:prstGeom prst="ellipse">
              <a:avLst/>
            </a:prstGeom>
            <a:solidFill>
              <a:srgbClr val="FF6600"/>
            </a:solidFill>
            <a:ln w="25400" cap="flat" cmpd="sng" algn="ctr">
              <a:solidFill>
                <a:srgbClr val="FF6600"/>
              </a:solidFill>
              <a:prstDash val="solid"/>
            </a:ln>
            <a:effectLst/>
          </p:spPr>
          <p:txBody>
            <a:bodyPr rtlCol="0" anchor="ctr"/>
            <a:lstStyle/>
            <a:p>
              <a:pPr algn="ctr" defTabSz="1219170">
                <a:defRPr/>
              </a:pPr>
              <a:endParaRPr lang="en-US" sz="1600" kern="0">
                <a:solidFill>
                  <a:sysClr val="window" lastClr="FFFFFF"/>
                </a:solidFill>
                <a:latin typeface="Segoe UI"/>
              </a:endParaRPr>
            </a:p>
          </p:txBody>
        </p:sp>
        <p:grpSp>
          <p:nvGrpSpPr>
            <p:cNvPr id="153" name="Group 152"/>
            <p:cNvGrpSpPr/>
            <p:nvPr/>
          </p:nvGrpSpPr>
          <p:grpSpPr>
            <a:xfrm>
              <a:off x="2867396" y="4004370"/>
              <a:ext cx="1500117" cy="559076"/>
              <a:chOff x="2867396" y="4004370"/>
              <a:chExt cx="1500117" cy="559076"/>
            </a:xfrm>
          </p:grpSpPr>
          <p:cxnSp>
            <p:nvCxnSpPr>
              <p:cNvPr id="154" name="Straight Connector 153"/>
              <p:cNvCxnSpPr/>
              <p:nvPr/>
            </p:nvCxnSpPr>
            <p:spPr>
              <a:xfrm flipH="1">
                <a:off x="3829733" y="4147956"/>
                <a:ext cx="537780" cy="5195"/>
              </a:xfrm>
              <a:prstGeom prst="line">
                <a:avLst/>
              </a:prstGeom>
              <a:solidFill>
                <a:sysClr val="windowText" lastClr="000000"/>
              </a:solidFill>
              <a:ln w="28575" cap="flat" cmpd="sng" algn="ctr">
                <a:solidFill>
                  <a:srgbClr val="FF6600"/>
                </a:solidFill>
                <a:prstDash val="solid"/>
              </a:ln>
              <a:effectLst/>
            </p:spPr>
          </p:cxnSp>
          <p:sp>
            <p:nvSpPr>
              <p:cNvPr id="155" name="TextBox 154"/>
              <p:cNvSpPr txBox="1"/>
              <p:nvPr/>
            </p:nvSpPr>
            <p:spPr>
              <a:xfrm>
                <a:off x="3056884" y="4309531"/>
                <a:ext cx="1277032" cy="253915"/>
              </a:xfrm>
              <a:prstGeom prst="rect">
                <a:avLst/>
              </a:prstGeom>
              <a:noFill/>
            </p:spPr>
            <p:txBody>
              <a:bodyPr wrap="none" rtlCol="0">
                <a:spAutoFit/>
              </a:bodyPr>
              <a:lstStyle/>
              <a:p>
                <a:pPr algn="r" defTabSz="1219170">
                  <a:defRPr/>
                </a:pPr>
                <a:r>
                  <a:rPr lang="en-US" sz="1600" kern="0" dirty="0">
                    <a:ln>
                      <a:solidFill>
                        <a:srgbClr val="FFFFFF">
                          <a:alpha val="0"/>
                        </a:srgbClr>
                      </a:solidFill>
                    </a:ln>
                    <a:solidFill>
                      <a:sysClr val="windowText" lastClr="000000">
                        <a:alpha val="99000"/>
                      </a:sysClr>
                    </a:solidFill>
                    <a:latin typeface="Segoe UI"/>
                  </a:rPr>
                  <a:t>Interface</a:t>
                </a:r>
                <a:r>
                  <a:rPr lang="en-US" sz="1600" kern="0" dirty="0">
                    <a:ln>
                      <a:solidFill>
                        <a:sysClr val="window" lastClr="FFFFFF">
                          <a:alpha val="0"/>
                        </a:sysClr>
                      </a:solidFill>
                    </a:ln>
                    <a:solidFill>
                      <a:srgbClr val="595959">
                        <a:alpha val="99000"/>
                      </a:srgbClr>
                    </a:solidFill>
                    <a:latin typeface="Segoe UI"/>
                  </a:rPr>
                  <a:t> </a:t>
                </a:r>
                <a:r>
                  <a:rPr lang="en-US" sz="1600" kern="0" dirty="0">
                    <a:ln>
                      <a:solidFill>
                        <a:srgbClr val="FFFFFF">
                          <a:alpha val="0"/>
                        </a:srgbClr>
                      </a:solidFill>
                    </a:ln>
                    <a:solidFill>
                      <a:sysClr val="windowText" lastClr="000000">
                        <a:alpha val="99000"/>
                      </a:sysClr>
                    </a:solidFill>
                    <a:latin typeface="Segoe UI"/>
                  </a:rPr>
                  <a:t>RESTful</a:t>
                </a:r>
              </a:p>
            </p:txBody>
          </p:sp>
          <p:sp>
            <p:nvSpPr>
              <p:cNvPr id="156" name="TextBox 155"/>
              <p:cNvSpPr txBox="1"/>
              <p:nvPr/>
            </p:nvSpPr>
            <p:spPr>
              <a:xfrm>
                <a:off x="2867396" y="4004370"/>
                <a:ext cx="822581" cy="253915"/>
              </a:xfrm>
              <a:prstGeom prst="rect">
                <a:avLst/>
              </a:prstGeom>
              <a:noFill/>
            </p:spPr>
            <p:txBody>
              <a:bodyPr wrap="none" rtlCol="0">
                <a:spAutoFit/>
              </a:bodyPr>
              <a:lstStyle/>
              <a:p>
                <a:pPr algn="r" defTabSz="1219170">
                  <a:defRPr/>
                </a:pPr>
                <a:r>
                  <a:rPr lang="en-US" sz="1600" kern="0" dirty="0">
                    <a:ln>
                      <a:solidFill>
                        <a:srgbClr val="FFFFFF">
                          <a:alpha val="0"/>
                        </a:srgbClr>
                      </a:solidFill>
                    </a:ln>
                    <a:solidFill>
                      <a:sysClr val="windowText" lastClr="000000">
                        <a:alpha val="99000"/>
                      </a:sysClr>
                    </a:solidFill>
                    <a:latin typeface="Segoe UI"/>
                  </a:rPr>
                  <a:t>Graph</a:t>
                </a:r>
                <a:r>
                  <a:rPr lang="en-US" sz="1600" kern="0" dirty="0">
                    <a:ln>
                      <a:solidFill>
                        <a:sysClr val="window" lastClr="FFFFFF">
                          <a:alpha val="0"/>
                        </a:sysClr>
                      </a:solidFill>
                    </a:ln>
                    <a:solidFill>
                      <a:srgbClr val="595959">
                        <a:alpha val="99000"/>
                      </a:srgbClr>
                    </a:solidFill>
                    <a:latin typeface="Segoe UI"/>
                  </a:rPr>
                  <a:t> </a:t>
                </a:r>
                <a:r>
                  <a:rPr lang="en-US" sz="1600" kern="0" dirty="0">
                    <a:ln>
                      <a:solidFill>
                        <a:srgbClr val="FFFFFF">
                          <a:alpha val="0"/>
                        </a:srgbClr>
                      </a:solidFill>
                    </a:ln>
                    <a:solidFill>
                      <a:sysClr val="windowText" lastClr="000000">
                        <a:alpha val="99000"/>
                      </a:sysClr>
                    </a:solidFill>
                    <a:latin typeface="Segoe UI"/>
                  </a:rPr>
                  <a:t>API</a:t>
                </a:r>
              </a:p>
            </p:txBody>
          </p:sp>
        </p:grpSp>
      </p:grpSp>
      <p:grpSp>
        <p:nvGrpSpPr>
          <p:cNvPr id="161" name="Group 160"/>
          <p:cNvGrpSpPr/>
          <p:nvPr/>
        </p:nvGrpSpPr>
        <p:grpSpPr>
          <a:xfrm>
            <a:off x="7800320" y="1792795"/>
            <a:ext cx="2152768" cy="3254947"/>
            <a:chOff x="7781383" y="1653126"/>
            <a:chExt cx="1614576" cy="2441210"/>
          </a:xfrm>
        </p:grpSpPr>
        <p:grpSp>
          <p:nvGrpSpPr>
            <p:cNvPr id="162" name="Group 161"/>
            <p:cNvGrpSpPr/>
            <p:nvPr/>
          </p:nvGrpSpPr>
          <p:grpSpPr>
            <a:xfrm>
              <a:off x="8130294" y="1999275"/>
              <a:ext cx="788908" cy="197428"/>
              <a:chOff x="4572000" y="3022238"/>
              <a:chExt cx="789225" cy="197428"/>
            </a:xfrm>
            <a:solidFill>
              <a:srgbClr val="FF6600"/>
            </a:solidFill>
          </p:grpSpPr>
          <p:sp>
            <p:nvSpPr>
              <p:cNvPr id="178" name="Oval 177"/>
              <p:cNvSpPr/>
              <p:nvPr/>
            </p:nvSpPr>
            <p:spPr>
              <a:xfrm>
                <a:off x="5163797" y="3022238"/>
                <a:ext cx="197428" cy="197428"/>
              </a:xfrm>
              <a:prstGeom prst="ellipse">
                <a:avLst/>
              </a:prstGeom>
              <a:grpFill/>
              <a:ln w="25400" cap="flat" cmpd="sng" algn="ctr">
                <a:solidFill>
                  <a:srgbClr val="FF6600"/>
                </a:solidFill>
                <a:prstDash val="solid"/>
              </a:ln>
              <a:effectLst/>
            </p:spPr>
            <p:txBody>
              <a:bodyPr rtlCol="0" anchor="ctr"/>
              <a:lstStyle/>
              <a:p>
                <a:pPr algn="ctr" defTabSz="1219170">
                  <a:defRPr/>
                </a:pPr>
                <a:endParaRPr lang="en-US" sz="1600" kern="0">
                  <a:solidFill>
                    <a:sysClr val="window" lastClr="FFFFFF"/>
                  </a:solidFill>
                  <a:latin typeface="Segoe UI"/>
                </a:endParaRPr>
              </a:p>
            </p:txBody>
          </p:sp>
          <p:cxnSp>
            <p:nvCxnSpPr>
              <p:cNvPr id="179" name="Straight Connector 178"/>
              <p:cNvCxnSpPr>
                <a:endCxn id="178" idx="2"/>
              </p:cNvCxnSpPr>
              <p:nvPr/>
            </p:nvCxnSpPr>
            <p:spPr>
              <a:xfrm>
                <a:off x="4572000" y="3115757"/>
                <a:ext cx="591797" cy="5195"/>
              </a:xfrm>
              <a:prstGeom prst="line">
                <a:avLst/>
              </a:prstGeom>
              <a:grpFill/>
              <a:ln w="28575" cap="flat" cmpd="sng" algn="ctr">
                <a:solidFill>
                  <a:srgbClr val="FF6600"/>
                </a:solidFill>
                <a:prstDash val="solid"/>
              </a:ln>
              <a:effectLst/>
            </p:spPr>
          </p:cxnSp>
        </p:grpSp>
        <p:sp>
          <p:nvSpPr>
            <p:cNvPr id="163" name="TextBox 162"/>
            <p:cNvSpPr txBox="1"/>
            <p:nvPr/>
          </p:nvSpPr>
          <p:spPr>
            <a:xfrm>
              <a:off x="8233206" y="1653126"/>
              <a:ext cx="662681" cy="253915"/>
            </a:xfrm>
            <a:prstGeom prst="rect">
              <a:avLst/>
            </a:prstGeom>
            <a:noFill/>
          </p:spPr>
          <p:txBody>
            <a:bodyPr wrap="none" rtlCol="0">
              <a:spAutoFit/>
            </a:bodyPr>
            <a:lstStyle/>
            <a:p>
              <a:pPr defTabSz="1219170">
                <a:defRPr/>
              </a:pPr>
              <a:r>
                <a:rPr lang="en-US" sz="1600" kern="0" dirty="0">
                  <a:gradFill>
                    <a:gsLst>
                      <a:gs pos="0">
                        <a:sysClr val="windowText" lastClr="000000"/>
                      </a:gs>
                      <a:gs pos="100000">
                        <a:sysClr val="windowText" lastClr="000000"/>
                      </a:gs>
                    </a:gsLst>
                    <a:lin ang="5400000" scaled="0"/>
                  </a:gradFill>
                  <a:latin typeface="Segoe UI"/>
                </a:rPr>
                <a:t>OAuth2</a:t>
              </a:r>
            </a:p>
          </p:txBody>
        </p:sp>
        <p:grpSp>
          <p:nvGrpSpPr>
            <p:cNvPr id="164" name="Group 163"/>
            <p:cNvGrpSpPr/>
            <p:nvPr/>
          </p:nvGrpSpPr>
          <p:grpSpPr>
            <a:xfrm>
              <a:off x="8130294" y="2602439"/>
              <a:ext cx="788908" cy="197428"/>
              <a:chOff x="4572000" y="3022238"/>
              <a:chExt cx="789225" cy="197428"/>
            </a:xfrm>
            <a:solidFill>
              <a:srgbClr val="FF6600"/>
            </a:solidFill>
          </p:grpSpPr>
          <p:sp>
            <p:nvSpPr>
              <p:cNvPr id="176" name="Oval 175"/>
              <p:cNvSpPr/>
              <p:nvPr/>
            </p:nvSpPr>
            <p:spPr>
              <a:xfrm>
                <a:off x="5163797" y="3022238"/>
                <a:ext cx="197428" cy="197428"/>
              </a:xfrm>
              <a:prstGeom prst="ellipse">
                <a:avLst/>
              </a:prstGeom>
              <a:grpFill/>
              <a:ln w="25400" cap="flat" cmpd="sng" algn="ctr">
                <a:solidFill>
                  <a:srgbClr val="FF6600"/>
                </a:solidFill>
                <a:prstDash val="solid"/>
              </a:ln>
              <a:effectLst/>
            </p:spPr>
            <p:txBody>
              <a:bodyPr rtlCol="0" anchor="ctr"/>
              <a:lstStyle/>
              <a:p>
                <a:pPr algn="ctr" defTabSz="1219170">
                  <a:defRPr/>
                </a:pPr>
                <a:endParaRPr lang="en-US" sz="1600" kern="0">
                  <a:solidFill>
                    <a:sysClr val="window" lastClr="FFFFFF"/>
                  </a:solidFill>
                  <a:latin typeface="Segoe UI"/>
                </a:endParaRPr>
              </a:p>
            </p:txBody>
          </p:sp>
          <p:cxnSp>
            <p:nvCxnSpPr>
              <p:cNvPr id="177" name="Straight Connector 176"/>
              <p:cNvCxnSpPr>
                <a:endCxn id="176" idx="2"/>
              </p:cNvCxnSpPr>
              <p:nvPr/>
            </p:nvCxnSpPr>
            <p:spPr>
              <a:xfrm>
                <a:off x="4572000" y="3115757"/>
                <a:ext cx="591797" cy="5195"/>
              </a:xfrm>
              <a:prstGeom prst="line">
                <a:avLst/>
              </a:prstGeom>
              <a:grpFill/>
              <a:ln w="28575" cap="flat" cmpd="sng" algn="ctr">
                <a:solidFill>
                  <a:srgbClr val="FF6600"/>
                </a:solidFill>
                <a:prstDash val="solid"/>
              </a:ln>
              <a:effectLst/>
            </p:spPr>
          </p:cxnSp>
        </p:grpSp>
        <p:sp>
          <p:nvSpPr>
            <p:cNvPr id="165" name="TextBox 164"/>
            <p:cNvSpPr txBox="1"/>
            <p:nvPr/>
          </p:nvSpPr>
          <p:spPr>
            <a:xfrm>
              <a:off x="8233207" y="2256290"/>
              <a:ext cx="678311" cy="253915"/>
            </a:xfrm>
            <a:prstGeom prst="rect">
              <a:avLst/>
            </a:prstGeom>
            <a:noFill/>
          </p:spPr>
          <p:txBody>
            <a:bodyPr wrap="none" rtlCol="0">
              <a:spAutoFit/>
            </a:bodyPr>
            <a:lstStyle/>
            <a:p>
              <a:pPr defTabSz="1219170">
                <a:defRPr/>
              </a:pPr>
              <a:r>
                <a:rPr lang="en-US" sz="1600" kern="0" dirty="0">
                  <a:gradFill>
                    <a:gsLst>
                      <a:gs pos="0">
                        <a:sysClr val="windowText" lastClr="000000"/>
                      </a:gs>
                      <a:gs pos="100000">
                        <a:sysClr val="windowText" lastClr="000000"/>
                      </a:gs>
                    </a:gsLst>
                    <a:lin ang="5400000" scaled="0"/>
                  </a:gradFill>
                  <a:latin typeface="Segoe UI"/>
                </a:rPr>
                <a:t>SAML-P</a:t>
              </a:r>
            </a:p>
          </p:txBody>
        </p:sp>
        <p:grpSp>
          <p:nvGrpSpPr>
            <p:cNvPr id="166" name="Group 165"/>
            <p:cNvGrpSpPr/>
            <p:nvPr/>
          </p:nvGrpSpPr>
          <p:grpSpPr>
            <a:xfrm>
              <a:off x="8130294" y="3208811"/>
              <a:ext cx="788908" cy="197428"/>
              <a:chOff x="4572000" y="3022238"/>
              <a:chExt cx="789225" cy="197428"/>
            </a:xfrm>
            <a:solidFill>
              <a:srgbClr val="FF6600"/>
            </a:solidFill>
          </p:grpSpPr>
          <p:sp>
            <p:nvSpPr>
              <p:cNvPr id="174" name="Oval 173"/>
              <p:cNvSpPr/>
              <p:nvPr/>
            </p:nvSpPr>
            <p:spPr>
              <a:xfrm>
                <a:off x="5163797" y="3022238"/>
                <a:ext cx="197428" cy="197428"/>
              </a:xfrm>
              <a:prstGeom prst="ellipse">
                <a:avLst/>
              </a:prstGeom>
              <a:grpFill/>
              <a:ln w="25400" cap="flat" cmpd="sng" algn="ctr">
                <a:solidFill>
                  <a:srgbClr val="FF6600"/>
                </a:solidFill>
                <a:prstDash val="solid"/>
              </a:ln>
              <a:effectLst/>
            </p:spPr>
            <p:txBody>
              <a:bodyPr rtlCol="0" anchor="ctr"/>
              <a:lstStyle/>
              <a:p>
                <a:pPr algn="ctr" defTabSz="1219170">
                  <a:defRPr/>
                </a:pPr>
                <a:endParaRPr lang="en-US" sz="1600" kern="0">
                  <a:solidFill>
                    <a:sysClr val="window" lastClr="FFFFFF"/>
                  </a:solidFill>
                  <a:latin typeface="Segoe UI"/>
                </a:endParaRPr>
              </a:p>
            </p:txBody>
          </p:sp>
          <p:cxnSp>
            <p:nvCxnSpPr>
              <p:cNvPr id="175" name="Straight Connector 174"/>
              <p:cNvCxnSpPr>
                <a:endCxn id="174" idx="2"/>
              </p:cNvCxnSpPr>
              <p:nvPr/>
            </p:nvCxnSpPr>
            <p:spPr>
              <a:xfrm>
                <a:off x="4572000" y="3115757"/>
                <a:ext cx="591797" cy="5195"/>
              </a:xfrm>
              <a:prstGeom prst="line">
                <a:avLst/>
              </a:prstGeom>
              <a:grpFill/>
              <a:ln w="28575" cap="flat" cmpd="sng" algn="ctr">
                <a:solidFill>
                  <a:srgbClr val="FF6600"/>
                </a:solidFill>
                <a:prstDash val="solid"/>
              </a:ln>
              <a:effectLst/>
            </p:spPr>
          </p:cxnSp>
        </p:grpSp>
        <p:grpSp>
          <p:nvGrpSpPr>
            <p:cNvPr id="167" name="Group 166"/>
            <p:cNvGrpSpPr/>
            <p:nvPr/>
          </p:nvGrpSpPr>
          <p:grpSpPr>
            <a:xfrm>
              <a:off x="8130294" y="3823840"/>
              <a:ext cx="788908" cy="197428"/>
              <a:chOff x="4572000" y="3022238"/>
              <a:chExt cx="789225" cy="197428"/>
            </a:xfrm>
            <a:solidFill>
              <a:srgbClr val="FF6600"/>
            </a:solidFill>
          </p:grpSpPr>
          <p:sp>
            <p:nvSpPr>
              <p:cNvPr id="172" name="Oval 171"/>
              <p:cNvSpPr/>
              <p:nvPr/>
            </p:nvSpPr>
            <p:spPr>
              <a:xfrm>
                <a:off x="5163797" y="3022238"/>
                <a:ext cx="197428" cy="197428"/>
              </a:xfrm>
              <a:prstGeom prst="ellipse">
                <a:avLst/>
              </a:prstGeom>
              <a:grpFill/>
              <a:ln w="25400" cap="flat" cmpd="sng" algn="ctr">
                <a:solidFill>
                  <a:srgbClr val="FF6600"/>
                </a:solidFill>
                <a:prstDash val="solid"/>
              </a:ln>
              <a:effectLst/>
            </p:spPr>
            <p:txBody>
              <a:bodyPr rtlCol="0" anchor="ctr"/>
              <a:lstStyle/>
              <a:p>
                <a:pPr algn="ctr" defTabSz="1219170">
                  <a:defRPr/>
                </a:pPr>
                <a:endParaRPr lang="en-US" sz="1600" kern="0">
                  <a:solidFill>
                    <a:sysClr val="window" lastClr="FFFFFF"/>
                  </a:solidFill>
                  <a:latin typeface="Segoe UI"/>
                </a:endParaRPr>
              </a:p>
            </p:txBody>
          </p:sp>
          <p:cxnSp>
            <p:nvCxnSpPr>
              <p:cNvPr id="173" name="Straight Connector 172"/>
              <p:cNvCxnSpPr>
                <a:endCxn id="172" idx="2"/>
              </p:cNvCxnSpPr>
              <p:nvPr/>
            </p:nvCxnSpPr>
            <p:spPr>
              <a:xfrm>
                <a:off x="4572000" y="3115757"/>
                <a:ext cx="591797" cy="5195"/>
              </a:xfrm>
              <a:prstGeom prst="line">
                <a:avLst/>
              </a:prstGeom>
              <a:grpFill/>
              <a:ln w="28575" cap="flat" cmpd="sng" algn="ctr">
                <a:solidFill>
                  <a:srgbClr val="FF6600"/>
                </a:solidFill>
                <a:prstDash val="solid"/>
              </a:ln>
              <a:effectLst/>
            </p:spPr>
          </p:cxnSp>
        </p:grpSp>
        <p:sp>
          <p:nvSpPr>
            <p:cNvPr id="168" name="TextBox 167"/>
            <p:cNvSpPr txBox="1"/>
            <p:nvPr/>
          </p:nvSpPr>
          <p:spPr>
            <a:xfrm>
              <a:off x="8233206" y="3477691"/>
              <a:ext cx="785312" cy="253915"/>
            </a:xfrm>
            <a:prstGeom prst="rect">
              <a:avLst/>
            </a:prstGeom>
            <a:noFill/>
          </p:spPr>
          <p:txBody>
            <a:bodyPr wrap="none" rtlCol="0">
              <a:spAutoFit/>
            </a:bodyPr>
            <a:lstStyle/>
            <a:p>
              <a:pPr defTabSz="1219170">
                <a:defRPr/>
              </a:pPr>
              <a:r>
                <a:rPr lang="en-US" sz="1600" kern="0" dirty="0">
                  <a:gradFill>
                    <a:gsLst>
                      <a:gs pos="0">
                        <a:sysClr val="windowText" lastClr="000000"/>
                      </a:gs>
                      <a:gs pos="100000">
                        <a:sysClr val="windowText" lastClr="000000"/>
                      </a:gs>
                    </a:gsLst>
                    <a:lin ang="5400000" scaled="0"/>
                  </a:gradFill>
                  <a:latin typeface="Segoe UI"/>
                </a:rPr>
                <a:t>Metadata</a:t>
              </a:r>
            </a:p>
          </p:txBody>
        </p:sp>
        <p:sp>
          <p:nvSpPr>
            <p:cNvPr id="169" name="Rectangle 168"/>
            <p:cNvSpPr/>
            <p:nvPr/>
          </p:nvSpPr>
          <p:spPr bwMode="auto">
            <a:xfrm>
              <a:off x="7781383" y="1937744"/>
              <a:ext cx="394010" cy="2156592"/>
            </a:xfrm>
            <a:prstGeom prst="rect">
              <a:avLst/>
            </a:prstGeom>
            <a:solidFill>
              <a:srgbClr val="FF6600"/>
            </a:solidFill>
            <a:ln w="38100" cap="flat" cmpd="sng" algn="ctr">
              <a:solidFill>
                <a:srgbClr val="FF6600"/>
              </a:solidFill>
              <a:prstDash val="solid"/>
              <a:headEnd type="none" w="med" len="med"/>
              <a:tailEnd type="none" w="med" len="med"/>
            </a:ln>
            <a:effectLst/>
          </p:spPr>
          <p:txBody>
            <a:bodyPr lIns="124297" tIns="124297" rIns="46616" bIns="46616" rtlCol="0" anchor="t" anchorCtr="0"/>
            <a:lstStyle/>
            <a:p>
              <a:pPr algn="ctr" defTabSz="1267415">
                <a:defRPr/>
              </a:pPr>
              <a:endParaRPr lang="en-US" sz="1600" kern="0" spc="-13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0" name="TextBox 169"/>
            <p:cNvSpPr txBox="1"/>
            <p:nvPr/>
          </p:nvSpPr>
          <p:spPr>
            <a:xfrm rot="16200000">
              <a:off x="7698398" y="2845101"/>
              <a:ext cx="545022" cy="253916"/>
            </a:xfrm>
            <a:prstGeom prst="rect">
              <a:avLst/>
            </a:prstGeom>
            <a:noFill/>
          </p:spPr>
          <p:txBody>
            <a:bodyPr wrap="square" rtlCol="0">
              <a:spAutoFit/>
            </a:bodyPr>
            <a:lstStyle/>
            <a:p>
              <a:pPr algn="ctr" defTabSz="1219170">
                <a:defRPr/>
              </a:pPr>
              <a:r>
                <a:rPr lang="en-US" sz="1600" kern="0" dirty="0">
                  <a:ln>
                    <a:solidFill>
                      <a:srgbClr val="FFFFFF">
                        <a:alpha val="0"/>
                      </a:srgbClr>
                    </a:solidFill>
                  </a:ln>
                  <a:solidFill>
                    <a:sysClr val="window" lastClr="FFFFFF">
                      <a:alpha val="99000"/>
                    </a:sysClr>
                  </a:solidFill>
                  <a:latin typeface="Segoe UI"/>
                </a:rPr>
                <a:t>STS</a:t>
              </a:r>
            </a:p>
          </p:txBody>
        </p:sp>
        <p:sp>
          <p:nvSpPr>
            <p:cNvPr id="171" name="TextBox 170"/>
            <p:cNvSpPr txBox="1"/>
            <p:nvPr/>
          </p:nvSpPr>
          <p:spPr>
            <a:xfrm>
              <a:off x="8245163" y="2856503"/>
              <a:ext cx="1150796" cy="253915"/>
            </a:xfrm>
            <a:prstGeom prst="rect">
              <a:avLst/>
            </a:prstGeom>
            <a:noFill/>
          </p:spPr>
          <p:txBody>
            <a:bodyPr wrap="none" rtlCol="0">
              <a:spAutoFit/>
            </a:bodyPr>
            <a:lstStyle/>
            <a:p>
              <a:pPr defTabSz="1219170">
                <a:defRPr/>
              </a:pPr>
              <a:r>
                <a:rPr lang="en-US" sz="1600" kern="0" dirty="0">
                  <a:gradFill>
                    <a:gsLst>
                      <a:gs pos="0">
                        <a:sysClr val="windowText" lastClr="000000"/>
                      </a:gs>
                      <a:gs pos="100000">
                        <a:sysClr val="windowText" lastClr="000000"/>
                      </a:gs>
                    </a:gsLst>
                    <a:lin ang="5400000" scaled="0"/>
                  </a:gradFill>
                  <a:latin typeface="Segoe UI"/>
                </a:rPr>
                <a:t>WS-Federation</a:t>
              </a:r>
            </a:p>
          </p:txBody>
        </p:sp>
      </p:grpSp>
      <p:sp>
        <p:nvSpPr>
          <p:cNvPr id="36" name="TextBox 35"/>
          <p:cNvSpPr txBox="1"/>
          <p:nvPr/>
        </p:nvSpPr>
        <p:spPr>
          <a:xfrm>
            <a:off x="5231730" y="4737668"/>
            <a:ext cx="803425" cy="338554"/>
          </a:xfrm>
          <a:prstGeom prst="rect">
            <a:avLst/>
          </a:prstGeom>
          <a:noFill/>
        </p:spPr>
        <p:txBody>
          <a:bodyPr wrap="none" rtlCol="0">
            <a:spAutoFit/>
          </a:bodyPr>
          <a:lstStyle/>
          <a:p>
            <a:pPr defTabSz="1219170">
              <a:defRPr/>
            </a:pPr>
            <a:r>
              <a:rPr lang="en-US" sz="1600" kern="0" dirty="0">
                <a:gradFill>
                  <a:gsLst>
                    <a:gs pos="0">
                      <a:sysClr val="windowText" lastClr="000000"/>
                    </a:gs>
                    <a:gs pos="100000">
                      <a:sysClr val="windowText" lastClr="000000"/>
                    </a:gs>
                  </a:gsLst>
                  <a:lin ang="5400000" scaled="0"/>
                </a:gradFill>
                <a:latin typeface="Segoe UI"/>
              </a:rPr>
              <a:t>Tenant</a:t>
            </a:r>
          </a:p>
        </p:txBody>
      </p:sp>
    </p:spTree>
    <p:extLst>
      <p:ext uri="{BB962C8B-B14F-4D97-AF65-F5344CB8AC3E}">
        <p14:creationId xmlns:p14="http://schemas.microsoft.com/office/powerpoint/2010/main" val="3108459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3600" b="1" u="sng" dirty="0" smtClean="0">
                <a:effectLst>
                  <a:outerShdw blurRad="38100" dist="38100" dir="2700000" algn="tl">
                    <a:srgbClr val="000000">
                      <a:alpha val="43137"/>
                    </a:srgbClr>
                  </a:outerShdw>
                </a:effectLst>
              </a:rPr>
              <a:t>Module 6: Microsoft Azure SQL</a:t>
            </a:r>
            <a:endParaRPr lang="en-IN" sz="3600" b="1" u="sng" dirty="0">
              <a:effectLst>
                <a:outerShdw blurRad="38100" dist="38100" dir="2700000" algn="tl">
                  <a:srgbClr val="000000">
                    <a:alpha val="43137"/>
                  </a:srgbClr>
                </a:outerShdw>
              </a:effectLst>
            </a:endParaRPr>
          </a:p>
        </p:txBody>
      </p:sp>
      <p:pic>
        <p:nvPicPr>
          <p:cNvPr id="4" name="Content Placeholder 3"/>
          <p:cNvPicPr>
            <a:picLocks noGrp="1" noChangeAspect="1"/>
          </p:cNvPicPr>
          <p:nvPr>
            <p:ph idx="1"/>
          </p:nvPr>
        </p:nvPicPr>
        <p:blipFill>
          <a:blip r:embed="rId3"/>
          <a:stretch>
            <a:fillRect/>
          </a:stretch>
        </p:blipFill>
        <p:spPr>
          <a:xfrm>
            <a:off x="5829" y="1263535"/>
            <a:ext cx="12186171" cy="5303521"/>
          </a:xfrm>
          <a:prstGeom prst="rect">
            <a:avLst/>
          </a:prstGeom>
        </p:spPr>
      </p:pic>
    </p:spTree>
    <p:extLst>
      <p:ext uri="{BB962C8B-B14F-4D97-AF65-F5344CB8AC3E}">
        <p14:creationId xmlns:p14="http://schemas.microsoft.com/office/powerpoint/2010/main" val="336590287"/>
      </p:ext>
    </p:extLst>
  </p:cSld>
  <p:clrMapOvr>
    <a:masterClrMapping/>
  </p:clrMapOvr>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IN"/>
          </a:p>
        </p:txBody>
      </p:sp>
      <p:pic>
        <p:nvPicPr>
          <p:cNvPr id="4" name="Picture 3"/>
          <p:cNvPicPr>
            <a:picLocks noChangeAspect="1"/>
          </p:cNvPicPr>
          <p:nvPr/>
        </p:nvPicPr>
        <p:blipFill>
          <a:blip r:embed="rId3"/>
          <a:stretch>
            <a:fillRect/>
          </a:stretch>
        </p:blipFill>
        <p:spPr>
          <a:xfrm>
            <a:off x="116378" y="722427"/>
            <a:ext cx="12075622" cy="5703657"/>
          </a:xfrm>
          <a:prstGeom prst="rect">
            <a:avLst/>
          </a:prstGeom>
        </p:spPr>
      </p:pic>
    </p:spTree>
    <p:extLst>
      <p:ext uri="{BB962C8B-B14F-4D97-AF65-F5344CB8AC3E}">
        <p14:creationId xmlns:p14="http://schemas.microsoft.com/office/powerpoint/2010/main" val="3971183850"/>
      </p:ext>
    </p:extLst>
  </p:cSld>
  <p:clrMapOvr>
    <a:masterClrMapping/>
  </p:clrMapOvr>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Content Placeholder 2"/>
          <p:cNvSpPr>
            <a:spLocks noGrp="1"/>
          </p:cNvSpPr>
          <p:nvPr>
            <p:ph idx="1"/>
          </p:nvPr>
        </p:nvSpPr>
        <p:spPr/>
        <p:txBody>
          <a:bodyPr/>
          <a:lstStyle/>
          <a:p>
            <a:endParaRPr lang="en-IN"/>
          </a:p>
        </p:txBody>
      </p:sp>
      <p:pic>
        <p:nvPicPr>
          <p:cNvPr id="4" name="Picture 3"/>
          <p:cNvPicPr>
            <a:picLocks noChangeAspect="1"/>
          </p:cNvPicPr>
          <p:nvPr/>
        </p:nvPicPr>
        <p:blipFill>
          <a:blip r:embed="rId3"/>
          <a:stretch>
            <a:fillRect/>
          </a:stretch>
        </p:blipFill>
        <p:spPr>
          <a:xfrm>
            <a:off x="117041" y="365125"/>
            <a:ext cx="11957917" cy="3401961"/>
          </a:xfrm>
          <a:prstGeom prst="rect">
            <a:avLst/>
          </a:prstGeom>
        </p:spPr>
      </p:pic>
      <p:pic>
        <p:nvPicPr>
          <p:cNvPr id="5" name="Picture 4"/>
          <p:cNvPicPr>
            <a:picLocks noChangeAspect="1"/>
          </p:cNvPicPr>
          <p:nvPr/>
        </p:nvPicPr>
        <p:blipFill>
          <a:blip r:embed="rId4"/>
          <a:stretch>
            <a:fillRect/>
          </a:stretch>
        </p:blipFill>
        <p:spPr>
          <a:xfrm>
            <a:off x="0" y="3767086"/>
            <a:ext cx="12192000" cy="3090914"/>
          </a:xfrm>
          <a:prstGeom prst="rect">
            <a:avLst/>
          </a:prstGeom>
        </p:spPr>
      </p:pic>
    </p:spTree>
    <p:extLst>
      <p:ext uri="{BB962C8B-B14F-4D97-AF65-F5344CB8AC3E}">
        <p14:creationId xmlns:p14="http://schemas.microsoft.com/office/powerpoint/2010/main" val="83323019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p:cNvPicPr>
            <a:picLocks noChangeAspect="1"/>
          </p:cNvPicPr>
          <p:nvPr/>
        </p:nvPicPr>
        <p:blipFill rotWithShape="1">
          <a:blip r:embed="rId3" cstate="email">
            <a:extLst>
              <a:ext uri="{28A0092B-C50C-407E-A947-70E740481C1C}">
                <a14:useLocalDpi xmlns:a14="http://schemas.microsoft.com/office/drawing/2010/main"/>
              </a:ext>
            </a:extLst>
          </a:blip>
          <a:srcRect b="23496"/>
          <a:stretch/>
        </p:blipFill>
        <p:spPr>
          <a:xfrm>
            <a:off x="-330875" y="-59723"/>
            <a:ext cx="12746345" cy="6483084"/>
          </a:xfrm>
          <a:prstGeom prst="rect">
            <a:avLst/>
          </a:prstGeom>
        </p:spPr>
      </p:pic>
      <p:pic>
        <p:nvPicPr>
          <p:cNvPr id="53" name="World map" descr="world-map.png"/>
          <p:cNvPicPr>
            <a:picLocks noChangeAspect="1"/>
          </p:cNvPicPr>
          <p:nvPr/>
        </p:nvPicPr>
        <p:blipFill rotWithShape="1">
          <a:blip r:embed="rId4" cstate="email">
            <a:grayscl/>
            <a:extLst>
              <a:ext uri="{28A0092B-C50C-407E-A947-70E740481C1C}">
                <a14:useLocalDpi xmlns:a14="http://schemas.microsoft.com/office/drawing/2010/main"/>
              </a:ext>
            </a:extLst>
          </a:blip>
          <a:srcRect/>
          <a:stretch/>
        </p:blipFill>
        <p:spPr>
          <a:xfrm>
            <a:off x="-10727" y="777617"/>
            <a:ext cx="12180750" cy="6151101"/>
          </a:xfrm>
          <a:prstGeom prst="rect">
            <a:avLst/>
          </a:prstGeom>
          <a:noFill/>
          <a:ln>
            <a:noFill/>
          </a:ln>
        </p:spPr>
      </p:pic>
      <p:pic>
        <p:nvPicPr>
          <p:cNvPr id="173" name="Picture 17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82018" y="2990875"/>
            <a:ext cx="549144" cy="527467"/>
          </a:xfrm>
          <a:prstGeom prst="rect">
            <a:avLst/>
          </a:prstGeom>
          <a:effectLst>
            <a:outerShdw blurRad="63500" sx="102000" sy="102000" algn="ctr" rotWithShape="0">
              <a:prstClr val="black">
                <a:alpha val="40000"/>
              </a:prstClr>
            </a:outerShdw>
          </a:effectLst>
        </p:spPr>
      </p:pic>
      <p:sp>
        <p:nvSpPr>
          <p:cNvPr id="2" name="Title 1"/>
          <p:cNvSpPr>
            <a:spLocks noGrp="1"/>
          </p:cNvSpPr>
          <p:nvPr>
            <p:ph type="title"/>
          </p:nvPr>
        </p:nvSpPr>
        <p:spPr>
          <a:xfrm>
            <a:off x="73181" y="104833"/>
            <a:ext cx="11056800" cy="747597"/>
          </a:xfrm>
        </p:spPr>
        <p:txBody>
          <a:bodyPr/>
          <a:lstStyle/>
          <a:p>
            <a:pPr algn="ctr"/>
            <a:r>
              <a:rPr lang="en-US" sz="4400" spc="-100" dirty="0">
                <a:solidFill>
                  <a:schemeClr val="bg1"/>
                </a:solidFill>
              </a:rPr>
              <a:t>Hyper scale Infrastructure </a:t>
            </a:r>
            <a:r>
              <a:rPr lang="en-US" sz="4400" dirty="0">
                <a:solidFill>
                  <a:schemeClr val="bg1"/>
                </a:solidFill>
              </a:rPr>
              <a:t>is the enabler</a:t>
            </a:r>
          </a:p>
        </p:txBody>
      </p:sp>
      <p:sp>
        <p:nvSpPr>
          <p:cNvPr id="27" name="TextBox 26"/>
          <p:cNvSpPr txBox="1"/>
          <p:nvPr/>
        </p:nvSpPr>
        <p:spPr>
          <a:xfrm>
            <a:off x="401217" y="739755"/>
            <a:ext cx="11564164" cy="369265"/>
          </a:xfrm>
          <a:prstGeom prst="rect">
            <a:avLst/>
          </a:prstGeom>
          <a:ln>
            <a:noFill/>
            <a:tailEnd type="oval" w="med" len="med"/>
          </a:ln>
        </p:spPr>
        <p:style>
          <a:lnRef idx="1">
            <a:schemeClr val="accent1"/>
          </a:lnRef>
          <a:fillRef idx="0">
            <a:schemeClr val="accent1"/>
          </a:fillRef>
          <a:effectRef idx="0">
            <a:schemeClr val="accent1"/>
          </a:effectRef>
          <a:fontRef idx="minor">
            <a:schemeClr val="tx1"/>
          </a:fontRef>
        </p:style>
        <p:txBody>
          <a:bodyPr wrap="square" lIns="91371" tIns="45687" rIns="91371" bIns="45687" rtlCol="0">
            <a:spAutoFit/>
          </a:bodyPr>
          <a:lstStyle/>
          <a:p>
            <a:pPr algn="ctr" defTabSz="1218092">
              <a:defRPr/>
            </a:pPr>
            <a:r>
              <a:rPr lang="en-US" dirty="0" smtClean="0"/>
              <a:t>38 </a:t>
            </a:r>
            <a:r>
              <a:rPr lang="en-US" dirty="0"/>
              <a:t>Regions Worldwide, </a:t>
            </a:r>
            <a:r>
              <a:rPr lang="en-US" dirty="0" smtClean="0"/>
              <a:t>4 Upcoming Regions…huge </a:t>
            </a:r>
            <a:r>
              <a:rPr lang="en-US" dirty="0"/>
              <a:t>capacity around the world…growing every year</a:t>
            </a:r>
          </a:p>
        </p:txBody>
      </p:sp>
      <p:sp>
        <p:nvSpPr>
          <p:cNvPr id="3" name="Rectangle 2"/>
          <p:cNvSpPr/>
          <p:nvPr/>
        </p:nvSpPr>
        <p:spPr>
          <a:xfrm>
            <a:off x="143462" y="5222559"/>
            <a:ext cx="7977655" cy="1077218"/>
          </a:xfrm>
          <a:prstGeom prst="rect">
            <a:avLst/>
          </a:prstGeom>
          <a:noFill/>
        </p:spPr>
        <p:txBody>
          <a:bodyPr wrap="square">
            <a:spAutoFit/>
          </a:bodyPr>
          <a:lstStyle/>
          <a:p>
            <a:pPr marL="177766" lvl="1" indent="-177766" defTabSz="913788">
              <a:buSzPct val="60000"/>
              <a:buFont typeface="Wingdings" panose="05000000000000000000" pitchFamily="2" charset="2"/>
              <a:buChar char=""/>
              <a:tabLst>
                <a:tab pos="177766" algn="l"/>
              </a:tabLst>
              <a:defRPr/>
            </a:pPr>
            <a:r>
              <a:rPr lang="en-US" sz="1600" spc="-29" dirty="0">
                <a:latin typeface="Segoe UI Light" panose="020B0502040204020203" pitchFamily="34" charset="0"/>
                <a:cs typeface="Segoe UI Light" panose="020B0502040204020203" pitchFamily="34" charset="0"/>
              </a:rPr>
              <a:t>100+ datacenters</a:t>
            </a:r>
          </a:p>
          <a:p>
            <a:pPr marL="177766" lvl="1" indent="-177766" defTabSz="913788">
              <a:buSzPct val="60000"/>
              <a:buFont typeface="Wingdings" panose="05000000000000000000" pitchFamily="2" charset="2"/>
              <a:buChar char=""/>
              <a:tabLst>
                <a:tab pos="177766" algn="l"/>
              </a:tabLst>
              <a:defRPr/>
            </a:pPr>
            <a:r>
              <a:rPr lang="en-US" sz="1600" spc="-29" dirty="0">
                <a:latin typeface="Segoe UI Light" panose="020B0502040204020203" pitchFamily="34" charset="0"/>
                <a:cs typeface="Segoe UI Light" panose="020B0502040204020203" pitchFamily="34" charset="0"/>
              </a:rPr>
              <a:t>Top 3 networks in the world</a:t>
            </a:r>
          </a:p>
          <a:p>
            <a:pPr marL="177766" lvl="1" indent="-177766" defTabSz="913788">
              <a:buSzPct val="60000"/>
              <a:buFont typeface="Wingdings" panose="05000000000000000000" pitchFamily="2" charset="2"/>
              <a:buChar char=""/>
              <a:tabLst>
                <a:tab pos="177766" algn="l"/>
              </a:tabLst>
              <a:defRPr/>
            </a:pPr>
            <a:r>
              <a:rPr lang="en-US" sz="1600" spc="-29" dirty="0">
                <a:latin typeface="Segoe UI Light" panose="020B0502040204020203" pitchFamily="34" charset="0"/>
                <a:cs typeface="Segoe UI Light" panose="020B0502040204020203" pitchFamily="34" charset="0"/>
              </a:rPr>
              <a:t>2.5x AWS, 7x Google DC Regions</a:t>
            </a:r>
          </a:p>
          <a:p>
            <a:pPr marL="177766" lvl="1" indent="-177766" defTabSz="913788">
              <a:buSzPct val="60000"/>
              <a:buFont typeface="Wingdings" panose="05000000000000000000" pitchFamily="2" charset="2"/>
              <a:buChar char=""/>
              <a:tabLst>
                <a:tab pos="177766" algn="l"/>
              </a:tabLst>
              <a:defRPr/>
            </a:pPr>
            <a:r>
              <a:rPr lang="en-US" sz="1600" spc="-29" dirty="0">
                <a:latin typeface="Segoe UI Light" panose="020B0502040204020203" pitchFamily="34" charset="0"/>
                <a:cs typeface="Segoe UI Light" panose="020B0502040204020203" pitchFamily="34" charset="0"/>
              </a:rPr>
              <a:t>G Series – Largest VM in World, 32 cores, 448GB Ram, SSD…</a:t>
            </a:r>
          </a:p>
        </p:txBody>
      </p:sp>
      <p:sp>
        <p:nvSpPr>
          <p:cNvPr id="67" name="Rectangle 66"/>
          <p:cNvSpPr/>
          <p:nvPr/>
        </p:nvSpPr>
        <p:spPr bwMode="auto">
          <a:xfrm>
            <a:off x="6843824" y="6331504"/>
            <a:ext cx="176499" cy="145056"/>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prstTxWarp prst="textNoShape">
              <a:avLst/>
            </a:prstTxWarp>
          </a:bodyPr>
          <a:lstStyle/>
          <a:p>
            <a:pPr algn="ctr" defTabSz="1218092">
              <a:defRPr/>
            </a:pPr>
            <a:endParaRPr lang="en-US" spc="-100" dirty="0">
              <a:solidFill>
                <a:srgbClr val="FFFFFF"/>
              </a:solidFill>
              <a:latin typeface="Segoe UI Light"/>
              <a:cs typeface="Segoe UI" pitchFamily="34" charset="0"/>
            </a:endParaRPr>
          </a:p>
        </p:txBody>
      </p:sp>
      <p:sp>
        <p:nvSpPr>
          <p:cNvPr id="68" name="Rectangle 67"/>
          <p:cNvSpPr/>
          <p:nvPr/>
        </p:nvSpPr>
        <p:spPr bwMode="auto">
          <a:xfrm>
            <a:off x="6849218" y="6065892"/>
            <a:ext cx="176314" cy="143260"/>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prstTxWarp prst="textNoShape">
              <a:avLst/>
            </a:prstTxWarp>
          </a:bodyPr>
          <a:lstStyle/>
          <a:p>
            <a:pPr algn="ctr" defTabSz="1218092">
              <a:defRPr/>
            </a:pPr>
            <a:endParaRPr lang="en-US" sz="784" spc="-100" dirty="0">
              <a:solidFill>
                <a:srgbClr val="FFFFFF"/>
              </a:solidFill>
              <a:latin typeface="Segoe UI"/>
              <a:cs typeface="Segoe UI" pitchFamily="34" charset="0"/>
            </a:endParaRPr>
          </a:p>
        </p:txBody>
      </p:sp>
      <p:sp>
        <p:nvSpPr>
          <p:cNvPr id="4" name="Rectangle 3"/>
          <p:cNvSpPr/>
          <p:nvPr/>
        </p:nvSpPr>
        <p:spPr>
          <a:xfrm>
            <a:off x="6978622" y="5961197"/>
            <a:ext cx="1179323" cy="343443"/>
          </a:xfrm>
          <a:prstGeom prst="rect">
            <a:avLst/>
          </a:prstGeom>
        </p:spPr>
        <p:txBody>
          <a:bodyPr wrap="none">
            <a:spAutoFit/>
          </a:bodyPr>
          <a:lstStyle/>
          <a:p>
            <a:pPr defTabSz="914072">
              <a:defRPr/>
            </a:pPr>
            <a:r>
              <a:rPr lang="en-US" sz="1600" spc="-29" dirty="0">
                <a:solidFill>
                  <a:srgbClr val="FFB900">
                    <a:lumMod val="50000"/>
                  </a:srgbClr>
                </a:solidFill>
                <a:latin typeface="Segoe UI Light" panose="020B0502040204020203" pitchFamily="34" charset="0"/>
                <a:cs typeface="Segoe UI Light" panose="020B0502040204020203" pitchFamily="34" charset="0"/>
              </a:rPr>
              <a:t>Operational</a:t>
            </a:r>
            <a:endParaRPr lang="en-US" sz="1600" dirty="0">
              <a:solidFill>
                <a:srgbClr val="505050"/>
              </a:solidFill>
              <a:latin typeface="Segoe UI"/>
            </a:endParaRPr>
          </a:p>
        </p:txBody>
      </p:sp>
      <p:sp>
        <p:nvSpPr>
          <p:cNvPr id="69" name="Rectangle 68"/>
          <p:cNvSpPr/>
          <p:nvPr/>
        </p:nvSpPr>
        <p:spPr>
          <a:xfrm>
            <a:off x="6987146" y="6220809"/>
            <a:ext cx="2601625" cy="343443"/>
          </a:xfrm>
          <a:prstGeom prst="rect">
            <a:avLst/>
          </a:prstGeom>
        </p:spPr>
        <p:txBody>
          <a:bodyPr wrap="none">
            <a:spAutoFit/>
          </a:bodyPr>
          <a:lstStyle/>
          <a:p>
            <a:pPr defTabSz="914072">
              <a:defRPr/>
            </a:pPr>
            <a:r>
              <a:rPr lang="en-US" sz="1600" spc="-29" dirty="0" smtClean="0">
                <a:solidFill>
                  <a:srgbClr val="FFB900">
                    <a:lumMod val="50000"/>
                  </a:srgbClr>
                </a:solidFill>
                <a:latin typeface="Segoe UI Light" panose="020B0502040204020203" pitchFamily="34" charset="0"/>
                <a:cs typeface="Segoe UI Light" panose="020B0502040204020203" pitchFamily="34" charset="0"/>
              </a:rPr>
              <a:t>Announced/Not Operational</a:t>
            </a:r>
            <a:endParaRPr lang="en-US" sz="1600" dirty="0">
              <a:solidFill>
                <a:srgbClr val="505050"/>
              </a:solidFill>
              <a:latin typeface="Segoe UI"/>
            </a:endParaRPr>
          </a:p>
        </p:txBody>
      </p:sp>
      <p:sp>
        <p:nvSpPr>
          <p:cNvPr id="74" name="Rectangle 73"/>
          <p:cNvSpPr/>
          <p:nvPr/>
        </p:nvSpPr>
        <p:spPr bwMode="auto">
          <a:xfrm>
            <a:off x="1838370" y="2331148"/>
            <a:ext cx="633455"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Central US</a:t>
            </a:r>
          </a:p>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Iowa</a:t>
            </a:r>
          </a:p>
        </p:txBody>
      </p:sp>
      <p:sp>
        <p:nvSpPr>
          <p:cNvPr id="57" name="Rectangle 56"/>
          <p:cNvSpPr/>
          <p:nvPr/>
        </p:nvSpPr>
        <p:spPr bwMode="auto">
          <a:xfrm>
            <a:off x="954817" y="3131748"/>
            <a:ext cx="60357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West US</a:t>
            </a: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California</a:t>
            </a:r>
          </a:p>
        </p:txBody>
      </p:sp>
      <p:sp>
        <p:nvSpPr>
          <p:cNvPr id="76" name="Rectangle 75"/>
          <p:cNvSpPr/>
          <p:nvPr/>
        </p:nvSpPr>
        <p:spPr bwMode="auto">
          <a:xfrm>
            <a:off x="3989676" y="3109169"/>
            <a:ext cx="568819"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East US</a:t>
            </a: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Virginia</a:t>
            </a:r>
          </a:p>
        </p:txBody>
      </p:sp>
      <p:sp>
        <p:nvSpPr>
          <p:cNvPr id="78" name="Rectangle 77"/>
          <p:cNvSpPr/>
          <p:nvPr/>
        </p:nvSpPr>
        <p:spPr bwMode="auto">
          <a:xfrm>
            <a:off x="3439869" y="3725833"/>
            <a:ext cx="66737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US </a:t>
            </a:r>
            <a:r>
              <a:rPr lang="en-US" sz="784" dirty="0" err="1">
                <a:solidFill>
                  <a:srgbClr val="FFFFFF"/>
                </a:solidFill>
                <a:latin typeface="Segoe UI Light"/>
                <a:ea typeface="Verdana" panose="020B0604030504040204" pitchFamily="34" charset="0"/>
                <a:cs typeface="Arial" panose="020B0604020202020204" pitchFamily="34" charset="0"/>
              </a:rPr>
              <a:t>Gov</a:t>
            </a:r>
            <a:endParaRPr lang="en-US" sz="784" dirty="0">
              <a:solidFill>
                <a:srgbClr val="FFFFFF"/>
              </a:solidFill>
              <a:latin typeface="Segoe UI Light"/>
              <a:ea typeface="Verdana" panose="020B0604030504040204" pitchFamily="34" charset="0"/>
              <a:cs typeface="Arial" panose="020B0604020202020204" pitchFamily="34" charset="0"/>
            </a:endParaRP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Virginia</a:t>
            </a:r>
          </a:p>
        </p:txBody>
      </p:sp>
      <p:sp>
        <p:nvSpPr>
          <p:cNvPr id="85" name="Rectangle 84"/>
          <p:cNvSpPr/>
          <p:nvPr/>
        </p:nvSpPr>
        <p:spPr bwMode="auto">
          <a:xfrm>
            <a:off x="2231162" y="1827587"/>
            <a:ext cx="909246"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North Central US</a:t>
            </a: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Illinois</a:t>
            </a:r>
          </a:p>
        </p:txBody>
      </p:sp>
      <p:sp>
        <p:nvSpPr>
          <p:cNvPr id="86" name="Rectangle 85"/>
          <p:cNvSpPr/>
          <p:nvPr/>
        </p:nvSpPr>
        <p:spPr bwMode="auto">
          <a:xfrm>
            <a:off x="1232634" y="2597539"/>
            <a:ext cx="525934"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US </a:t>
            </a:r>
            <a:r>
              <a:rPr lang="en-US" sz="784" dirty="0" err="1">
                <a:solidFill>
                  <a:srgbClr val="FFFFFF"/>
                </a:solidFill>
                <a:latin typeface="Segoe UI Light"/>
                <a:ea typeface="Verdana" panose="020B0604030504040204" pitchFamily="34" charset="0"/>
                <a:cs typeface="Arial" panose="020B0604020202020204" pitchFamily="34" charset="0"/>
              </a:rPr>
              <a:t>Gov</a:t>
            </a:r>
            <a:endParaRPr lang="en-US" sz="784" dirty="0">
              <a:solidFill>
                <a:srgbClr val="FFFFFF"/>
              </a:solidFill>
              <a:latin typeface="Segoe UI Light"/>
              <a:ea typeface="Verdana" panose="020B0604030504040204" pitchFamily="34" charset="0"/>
              <a:cs typeface="Arial" panose="020B0604020202020204" pitchFamily="34" charset="0"/>
            </a:endParaRP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Iowa</a:t>
            </a:r>
          </a:p>
        </p:txBody>
      </p:sp>
      <p:sp>
        <p:nvSpPr>
          <p:cNvPr id="88" name="Rectangle 87"/>
          <p:cNvSpPr>
            <a:spLocks/>
          </p:cNvSpPr>
          <p:nvPr/>
        </p:nvSpPr>
        <p:spPr bwMode="auto">
          <a:xfrm>
            <a:off x="1357997" y="3636457"/>
            <a:ext cx="952843"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South Central US</a:t>
            </a: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Texas</a:t>
            </a:r>
          </a:p>
        </p:txBody>
      </p:sp>
      <p:sp>
        <p:nvSpPr>
          <p:cNvPr id="90" name="Rectangle 89"/>
          <p:cNvSpPr/>
          <p:nvPr/>
        </p:nvSpPr>
        <p:spPr bwMode="auto">
          <a:xfrm>
            <a:off x="4859473" y="5397907"/>
            <a:ext cx="844357"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Brazil South</a:t>
            </a: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Sao Paulo State</a:t>
            </a:r>
          </a:p>
        </p:txBody>
      </p:sp>
      <p:sp>
        <p:nvSpPr>
          <p:cNvPr id="92" name="Rectangle 91"/>
          <p:cNvSpPr/>
          <p:nvPr/>
        </p:nvSpPr>
        <p:spPr bwMode="auto">
          <a:xfrm>
            <a:off x="6078609" y="2078678"/>
            <a:ext cx="78043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West Europe</a:t>
            </a: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Netherlands</a:t>
            </a:r>
          </a:p>
        </p:txBody>
      </p:sp>
      <p:sp>
        <p:nvSpPr>
          <p:cNvPr id="94" name="Rectangle 93"/>
          <p:cNvSpPr/>
          <p:nvPr/>
        </p:nvSpPr>
        <p:spPr bwMode="auto">
          <a:xfrm>
            <a:off x="9498289" y="2509581"/>
            <a:ext cx="78337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a:solidFill>
                  <a:srgbClr val="FFFFFF"/>
                </a:solidFill>
                <a:latin typeface="Segoe UI Light"/>
                <a:ea typeface="Verdana" panose="020B0604030504040204" pitchFamily="34" charset="0"/>
                <a:cs typeface="Arial" panose="020B0604020202020204" pitchFamily="34" charset="0"/>
              </a:rPr>
              <a:t>China North *</a:t>
            </a:r>
            <a:endParaRPr lang="en-US" sz="784" dirty="0">
              <a:solidFill>
                <a:srgbClr val="FFFFFF"/>
              </a:solidFill>
              <a:latin typeface="Segoe UI Light"/>
              <a:ea typeface="Verdana" panose="020B0604030504040204" pitchFamily="34" charset="0"/>
              <a:cs typeface="Arial" panose="020B0604020202020204" pitchFamily="34" charset="0"/>
            </a:endParaRP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Beijing</a:t>
            </a:r>
          </a:p>
        </p:txBody>
      </p:sp>
      <p:sp>
        <p:nvSpPr>
          <p:cNvPr id="96" name="Rectangle 95"/>
          <p:cNvSpPr/>
          <p:nvPr/>
        </p:nvSpPr>
        <p:spPr bwMode="auto">
          <a:xfrm>
            <a:off x="8647303" y="2906522"/>
            <a:ext cx="762013"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China South *</a:t>
            </a: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Shanghai</a:t>
            </a:r>
          </a:p>
        </p:txBody>
      </p:sp>
      <p:sp>
        <p:nvSpPr>
          <p:cNvPr id="98" name="Rectangle 97"/>
          <p:cNvSpPr/>
          <p:nvPr/>
        </p:nvSpPr>
        <p:spPr bwMode="auto">
          <a:xfrm>
            <a:off x="10862799" y="2820524"/>
            <a:ext cx="882617"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Japan East</a:t>
            </a: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Tokyo, Saitama</a:t>
            </a:r>
          </a:p>
        </p:txBody>
      </p:sp>
      <p:sp>
        <p:nvSpPr>
          <p:cNvPr id="99" name="Rectangle 98"/>
          <p:cNvSpPr/>
          <p:nvPr/>
        </p:nvSpPr>
        <p:spPr bwMode="auto">
          <a:xfrm>
            <a:off x="10862799" y="3277678"/>
            <a:ext cx="72199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Japan West</a:t>
            </a: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Osaka</a:t>
            </a:r>
          </a:p>
        </p:txBody>
      </p:sp>
      <p:grpSp>
        <p:nvGrpSpPr>
          <p:cNvPr id="10" name="Group 9"/>
          <p:cNvGrpSpPr/>
          <p:nvPr/>
        </p:nvGrpSpPr>
        <p:grpSpPr>
          <a:xfrm>
            <a:off x="8306484" y="3673741"/>
            <a:ext cx="1065615" cy="735011"/>
            <a:chOff x="8473045" y="3746910"/>
            <a:chExt cx="1086983" cy="749750"/>
          </a:xfrm>
        </p:grpSpPr>
        <p:pic>
          <p:nvPicPr>
            <p:cNvPr id="72" name="Picture 7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73045" y="3958616"/>
              <a:ext cx="560155" cy="538044"/>
            </a:xfrm>
            <a:prstGeom prst="rect">
              <a:avLst/>
            </a:prstGeom>
            <a:effectLst>
              <a:outerShdw blurRad="63500" sx="102000" sy="102000" algn="ctr" rotWithShape="0">
                <a:prstClr val="black">
                  <a:alpha val="40000"/>
                </a:prstClr>
              </a:outerShdw>
            </a:effectLst>
          </p:spPr>
        </p:pic>
        <p:sp>
          <p:nvSpPr>
            <p:cNvPr id="104" name="Rectangle 103"/>
            <p:cNvSpPr/>
            <p:nvPr/>
          </p:nvSpPr>
          <p:spPr bwMode="auto">
            <a:xfrm>
              <a:off x="8820698" y="3746910"/>
              <a:ext cx="739330"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India South</a:t>
              </a: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Chennai</a:t>
              </a:r>
            </a:p>
          </p:txBody>
        </p:sp>
        <p:cxnSp>
          <p:nvCxnSpPr>
            <p:cNvPr id="107" name="Straight Connector 106"/>
            <p:cNvCxnSpPr>
              <a:stCxn id="104" idx="2"/>
            </p:cNvCxnSpPr>
            <p:nvPr/>
          </p:nvCxnSpPr>
          <p:spPr>
            <a:xfrm flipH="1">
              <a:off x="8751755" y="4027105"/>
              <a:ext cx="438608" cy="206874"/>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110" name="Rectangle 109"/>
          <p:cNvSpPr/>
          <p:nvPr/>
        </p:nvSpPr>
        <p:spPr bwMode="auto">
          <a:xfrm>
            <a:off x="9984656" y="3932621"/>
            <a:ext cx="72171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East Asia</a:t>
            </a: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Hong Kong</a:t>
            </a:r>
          </a:p>
        </p:txBody>
      </p:sp>
      <p:sp>
        <p:nvSpPr>
          <p:cNvPr id="113" name="Rectangle 112"/>
          <p:cNvSpPr/>
          <p:nvPr/>
        </p:nvSpPr>
        <p:spPr bwMode="auto">
          <a:xfrm>
            <a:off x="8294853" y="4452450"/>
            <a:ext cx="621457"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SE Asia</a:t>
            </a: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Singapore</a:t>
            </a:r>
          </a:p>
        </p:txBody>
      </p:sp>
      <p:sp>
        <p:nvSpPr>
          <p:cNvPr id="118" name="Rectangle 117"/>
          <p:cNvSpPr/>
          <p:nvPr/>
        </p:nvSpPr>
        <p:spPr bwMode="auto">
          <a:xfrm>
            <a:off x="9145442" y="5511719"/>
            <a:ext cx="1016034"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Australia South East</a:t>
            </a: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Victoria</a:t>
            </a:r>
          </a:p>
        </p:txBody>
      </p:sp>
      <p:sp>
        <p:nvSpPr>
          <p:cNvPr id="119" name="Rectangle 118"/>
          <p:cNvSpPr/>
          <p:nvPr/>
        </p:nvSpPr>
        <p:spPr bwMode="auto">
          <a:xfrm>
            <a:off x="10654637" y="4956028"/>
            <a:ext cx="930153"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Australia East</a:t>
            </a: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New South Wales</a:t>
            </a:r>
          </a:p>
        </p:txBody>
      </p:sp>
      <p:sp>
        <p:nvSpPr>
          <p:cNvPr id="8" name="Rectangle 7"/>
          <p:cNvSpPr/>
          <p:nvPr/>
        </p:nvSpPr>
        <p:spPr>
          <a:xfrm>
            <a:off x="6828733" y="6465877"/>
            <a:ext cx="2146758" cy="343443"/>
          </a:xfrm>
          <a:prstGeom prst="rect">
            <a:avLst/>
          </a:prstGeom>
        </p:spPr>
        <p:txBody>
          <a:bodyPr wrap="none">
            <a:spAutoFit/>
          </a:bodyPr>
          <a:lstStyle/>
          <a:p>
            <a:pPr marL="0" lvl="1" defTabSz="913788">
              <a:buSzPct val="100000"/>
              <a:defRPr/>
            </a:pPr>
            <a:r>
              <a:rPr lang="en-US" sz="1600" spc="-29" dirty="0">
                <a:solidFill>
                  <a:srgbClr val="505050"/>
                </a:solidFill>
                <a:latin typeface="Segoe UI Light" panose="020B0502040204020203" pitchFamily="34" charset="0"/>
                <a:cs typeface="Segoe UI Light" panose="020B0502040204020203" pitchFamily="34" charset="0"/>
              </a:rPr>
              <a:t>* Operated by 21Vianet</a:t>
            </a:r>
          </a:p>
        </p:txBody>
      </p:sp>
      <p:grpSp>
        <p:nvGrpSpPr>
          <p:cNvPr id="9" name="Group 8"/>
          <p:cNvGrpSpPr/>
          <p:nvPr/>
        </p:nvGrpSpPr>
        <p:grpSpPr>
          <a:xfrm>
            <a:off x="8050000" y="3352541"/>
            <a:ext cx="722678" cy="885034"/>
            <a:chOff x="8211418" y="3419269"/>
            <a:chExt cx="737169" cy="902781"/>
          </a:xfrm>
        </p:grpSpPr>
        <p:sp>
          <p:nvSpPr>
            <p:cNvPr id="121" name="Rectangle 120"/>
            <p:cNvSpPr/>
            <p:nvPr/>
          </p:nvSpPr>
          <p:spPr bwMode="auto">
            <a:xfrm>
              <a:off x="8211418" y="3419269"/>
              <a:ext cx="737169"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India Central</a:t>
              </a:r>
            </a:p>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Pune</a:t>
              </a:r>
            </a:p>
          </p:txBody>
        </p:sp>
        <p:pic>
          <p:nvPicPr>
            <p:cNvPr id="125" name="Picture 1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302437" y="3784006"/>
              <a:ext cx="560155" cy="538044"/>
            </a:xfrm>
            <a:prstGeom prst="rect">
              <a:avLst/>
            </a:prstGeom>
            <a:effectLst>
              <a:outerShdw blurRad="63500" sx="102000" sy="102000" algn="ctr" rotWithShape="0">
                <a:prstClr val="black">
                  <a:alpha val="40000"/>
                </a:prstClr>
              </a:outerShdw>
            </a:effectLst>
          </p:spPr>
        </p:pic>
        <p:cxnSp>
          <p:nvCxnSpPr>
            <p:cNvPr id="126" name="Straight Connector 125"/>
            <p:cNvCxnSpPr>
              <a:stCxn id="121" idx="2"/>
            </p:cNvCxnSpPr>
            <p:nvPr/>
          </p:nvCxnSpPr>
          <p:spPr>
            <a:xfrm>
              <a:off x="8580003" y="3699464"/>
              <a:ext cx="6574" cy="36005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pic>
        <p:nvPicPr>
          <p:cNvPr id="129" name="Picture 12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69520" y="4222091"/>
            <a:ext cx="549144" cy="527467"/>
          </a:xfrm>
          <a:prstGeom prst="rect">
            <a:avLst/>
          </a:prstGeom>
          <a:effectLst>
            <a:outerShdw blurRad="63500" sx="102000" sy="102000" algn="ctr" rotWithShape="0">
              <a:prstClr val="black">
                <a:alpha val="40000"/>
              </a:prstClr>
            </a:outerShdw>
          </a:effectLst>
        </p:spPr>
      </p:pic>
      <p:pic>
        <p:nvPicPr>
          <p:cNvPr id="131" name="Picture 13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72100" y="3581913"/>
            <a:ext cx="549144" cy="527467"/>
          </a:xfrm>
          <a:prstGeom prst="rect">
            <a:avLst/>
          </a:prstGeom>
          <a:effectLst>
            <a:outerShdw blurRad="63500" sx="102000" sy="102000" algn="ctr" rotWithShape="0">
              <a:prstClr val="black">
                <a:alpha val="40000"/>
              </a:prstClr>
            </a:outerShdw>
          </a:effectLst>
        </p:spPr>
      </p:pic>
      <p:pic>
        <p:nvPicPr>
          <p:cNvPr id="138" name="Picture 13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42444" y="5540736"/>
            <a:ext cx="549144" cy="527467"/>
          </a:xfrm>
          <a:prstGeom prst="rect">
            <a:avLst/>
          </a:prstGeom>
          <a:effectLst>
            <a:outerShdw blurRad="63500" sx="102000" sy="102000" algn="ctr" rotWithShape="0">
              <a:prstClr val="black">
                <a:alpha val="40000"/>
              </a:prstClr>
            </a:outerShdw>
          </a:effectLst>
        </p:spPr>
      </p:pic>
      <p:pic>
        <p:nvPicPr>
          <p:cNvPr id="139" name="Picture 13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657635" y="5414868"/>
            <a:ext cx="549144" cy="527467"/>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76428" y="3303899"/>
            <a:ext cx="549144" cy="527467"/>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442881" y="3009087"/>
            <a:ext cx="549144" cy="527467"/>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262045" y="2989737"/>
            <a:ext cx="549144" cy="527467"/>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73302" y="3131750"/>
            <a:ext cx="549144" cy="527467"/>
          </a:xfrm>
          <a:prstGeom prst="rect">
            <a:avLst/>
          </a:prstGeom>
          <a:effectLst>
            <a:outerShdw blurRad="63500" sx="102000" sy="102000" algn="ctr" rotWithShape="0">
              <a:prstClr val="black">
                <a:alpha val="40000"/>
              </a:prstClr>
            </a:outerShdw>
          </a:effectLst>
        </p:spPr>
      </p:pic>
      <p:cxnSp>
        <p:nvCxnSpPr>
          <p:cNvPr id="114" name="Straight Connector 113"/>
          <p:cNvCxnSpPr>
            <a:stCxn id="113" idx="3"/>
          </p:cNvCxnSpPr>
          <p:nvPr/>
        </p:nvCxnSpPr>
        <p:spPr>
          <a:xfrm flipV="1">
            <a:off x="8916311" y="4489780"/>
            <a:ext cx="425461" cy="14543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stCxn id="110" idx="1"/>
          </p:cNvCxnSpPr>
          <p:nvPr/>
        </p:nvCxnSpPr>
        <p:spPr>
          <a:xfrm flipH="1" flipV="1">
            <a:off x="9640014" y="3849623"/>
            <a:ext cx="344641" cy="265758"/>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stCxn id="96" idx="2"/>
          </p:cNvCxnSpPr>
          <p:nvPr/>
        </p:nvCxnSpPr>
        <p:spPr>
          <a:xfrm>
            <a:off x="9028309" y="3272041"/>
            <a:ext cx="822691" cy="29821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a:stCxn id="99" idx="1"/>
          </p:cNvCxnSpPr>
          <p:nvPr/>
        </p:nvCxnSpPr>
        <p:spPr>
          <a:xfrm flipH="1" flipV="1">
            <a:off x="10452756" y="3399766"/>
            <a:ext cx="410042" cy="6067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a:stCxn id="98" idx="1"/>
          </p:cNvCxnSpPr>
          <p:nvPr/>
        </p:nvCxnSpPr>
        <p:spPr>
          <a:xfrm flipH="1">
            <a:off x="10541994" y="3003284"/>
            <a:ext cx="320805" cy="25912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stCxn id="94" idx="2"/>
          </p:cNvCxnSpPr>
          <p:nvPr/>
        </p:nvCxnSpPr>
        <p:spPr>
          <a:xfrm flipH="1">
            <a:off x="9721758" y="2875100"/>
            <a:ext cx="168217" cy="40157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stCxn id="119" idx="2"/>
          </p:cNvCxnSpPr>
          <p:nvPr/>
        </p:nvCxnSpPr>
        <p:spPr>
          <a:xfrm flipH="1">
            <a:off x="10927893" y="5321548"/>
            <a:ext cx="191821" cy="35911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stCxn id="118" idx="3"/>
          </p:cNvCxnSpPr>
          <p:nvPr/>
        </p:nvCxnSpPr>
        <p:spPr>
          <a:xfrm>
            <a:off x="10161476" y="5694479"/>
            <a:ext cx="551791" cy="114329"/>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55653" y="2510191"/>
            <a:ext cx="549144" cy="527467"/>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28515" y="2484218"/>
            <a:ext cx="549144" cy="527467"/>
          </a:xfrm>
          <a:prstGeom prst="rect">
            <a:avLst/>
          </a:prstGeom>
          <a:effectLst>
            <a:outerShdw blurRad="63500" sx="102000" sy="102000" algn="ctr" rotWithShape="0">
              <a:prstClr val="black">
                <a:alpha val="40000"/>
              </a:prstClr>
            </a:outerShdw>
          </a:effectLst>
        </p:spPr>
      </p:pic>
      <p:cxnSp>
        <p:nvCxnSpPr>
          <p:cNvPr id="144" name="Straight Connector 143"/>
          <p:cNvCxnSpPr>
            <a:stCxn id="92" idx="2"/>
          </p:cNvCxnSpPr>
          <p:nvPr/>
        </p:nvCxnSpPr>
        <p:spPr>
          <a:xfrm flipH="1">
            <a:off x="6134343" y="2444197"/>
            <a:ext cx="334481" cy="334233"/>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a:stCxn id="82" idx="0"/>
          </p:cNvCxnSpPr>
          <p:nvPr/>
        </p:nvCxnSpPr>
        <p:spPr>
          <a:xfrm flipV="1">
            <a:off x="5211992" y="2752395"/>
            <a:ext cx="491839" cy="12270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flipV="1">
            <a:off x="1558387" y="3260494"/>
            <a:ext cx="394790" cy="5401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pic>
        <p:nvPicPr>
          <p:cNvPr id="176" name="Picture 17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90381" y="3413494"/>
            <a:ext cx="549144" cy="527467"/>
          </a:xfrm>
          <a:prstGeom prst="rect">
            <a:avLst/>
          </a:prstGeom>
          <a:effectLst>
            <a:outerShdw blurRad="63500" sx="102000" sy="102000" algn="ctr" rotWithShape="0">
              <a:prstClr val="black">
                <a:alpha val="40000"/>
              </a:prstClr>
            </a:outerShdw>
          </a:effectLst>
        </p:spPr>
      </p:pic>
      <p:pic>
        <p:nvPicPr>
          <p:cNvPr id="177" name="Picture 17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32216" y="2879873"/>
            <a:ext cx="549144" cy="527467"/>
          </a:xfrm>
          <a:prstGeom prst="rect">
            <a:avLst/>
          </a:prstGeom>
          <a:effectLst>
            <a:outerShdw blurRad="63500" sx="102000" sy="102000" algn="ctr" rotWithShape="0">
              <a:prstClr val="black">
                <a:alpha val="40000"/>
              </a:prstClr>
            </a:outerShdw>
          </a:effectLst>
        </p:spPr>
      </p:pic>
      <p:pic>
        <p:nvPicPr>
          <p:cNvPr id="178" name="Picture 17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61540" y="2959600"/>
            <a:ext cx="549144" cy="527467"/>
          </a:xfrm>
          <a:prstGeom prst="rect">
            <a:avLst/>
          </a:prstGeom>
          <a:effectLst>
            <a:outerShdw blurRad="63500" sx="102000" sy="102000" algn="ctr" rotWithShape="0">
              <a:prstClr val="black">
                <a:alpha val="40000"/>
              </a:prstClr>
            </a:outerShdw>
          </a:effectLst>
        </p:spPr>
      </p:pic>
      <p:pic>
        <p:nvPicPr>
          <p:cNvPr id="181" name="Picture 18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061538" y="3084697"/>
            <a:ext cx="549144" cy="527467"/>
          </a:xfrm>
          <a:prstGeom prst="rect">
            <a:avLst/>
          </a:prstGeom>
          <a:effectLst>
            <a:outerShdw blurRad="63500" sx="102000" sy="102000" algn="ctr" rotWithShape="0">
              <a:prstClr val="black">
                <a:alpha val="40000"/>
              </a:prstClr>
            </a:outerShdw>
          </a:effectLst>
        </p:spPr>
      </p:pic>
      <p:pic>
        <p:nvPicPr>
          <p:cNvPr id="182" name="Picture 18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16055" y="5045375"/>
            <a:ext cx="549144" cy="527467"/>
          </a:xfrm>
          <a:prstGeom prst="rect">
            <a:avLst/>
          </a:prstGeom>
          <a:effectLst>
            <a:outerShdw blurRad="63500" sx="102000" sy="102000" algn="ctr" rotWithShape="0">
              <a:prstClr val="black">
                <a:alpha val="40000"/>
              </a:prstClr>
            </a:outerShdw>
          </a:effectLst>
        </p:spPr>
      </p:pic>
      <p:cxnSp>
        <p:nvCxnSpPr>
          <p:cNvPr id="149" name="Straight Connector 148"/>
          <p:cNvCxnSpPr>
            <a:stCxn id="76" idx="1"/>
          </p:cNvCxnSpPr>
          <p:nvPr/>
        </p:nvCxnSpPr>
        <p:spPr>
          <a:xfrm flipH="1">
            <a:off x="3333885" y="3291929"/>
            <a:ext cx="655790" cy="6061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3400490" y="2289369"/>
            <a:ext cx="1290404" cy="894478"/>
            <a:chOff x="3468676" y="2334779"/>
            <a:chExt cx="1316279" cy="912414"/>
          </a:xfrm>
        </p:grpSpPr>
        <p:sp>
          <p:nvSpPr>
            <p:cNvPr id="109" name="Rectangle 108"/>
            <p:cNvSpPr/>
            <p:nvPr/>
          </p:nvSpPr>
          <p:spPr bwMode="auto">
            <a:xfrm>
              <a:off x="3950139" y="2334779"/>
              <a:ext cx="834816" cy="37284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Canada East</a:t>
              </a: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Quebec City</a:t>
              </a:r>
            </a:p>
          </p:txBody>
        </p:sp>
        <p:pic>
          <p:nvPicPr>
            <p:cNvPr id="180" name="Picture 17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68676" y="2709149"/>
              <a:ext cx="560155" cy="538044"/>
            </a:xfrm>
            <a:prstGeom prst="rect">
              <a:avLst/>
            </a:prstGeom>
            <a:effectLst>
              <a:outerShdw blurRad="63500" sx="102000" sy="102000" algn="ctr" rotWithShape="0">
                <a:prstClr val="black">
                  <a:alpha val="40000"/>
                </a:prstClr>
              </a:outerShdw>
            </a:effectLst>
          </p:spPr>
        </p:pic>
        <p:cxnSp>
          <p:nvCxnSpPr>
            <p:cNvPr id="150" name="Straight Connector 149"/>
            <p:cNvCxnSpPr>
              <a:stCxn id="109" idx="2"/>
            </p:cNvCxnSpPr>
            <p:nvPr/>
          </p:nvCxnSpPr>
          <p:spPr>
            <a:xfrm flipH="1">
              <a:off x="3745379" y="2707627"/>
              <a:ext cx="622168" cy="275059"/>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2909366" y="2236716"/>
            <a:ext cx="919008" cy="1082457"/>
            <a:chOff x="2967704" y="2281069"/>
            <a:chExt cx="937436" cy="1104163"/>
          </a:xfrm>
        </p:grpSpPr>
        <p:sp>
          <p:nvSpPr>
            <p:cNvPr id="108" name="Rectangle 107"/>
            <p:cNvSpPr/>
            <p:nvPr/>
          </p:nvSpPr>
          <p:spPr bwMode="auto">
            <a:xfrm>
              <a:off x="2967704" y="2281069"/>
              <a:ext cx="937436" cy="330603"/>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Canada Central</a:t>
              </a: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Toronto</a:t>
              </a:r>
            </a:p>
          </p:txBody>
        </p:sp>
        <p:pic>
          <p:nvPicPr>
            <p:cNvPr id="179" name="Picture 17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69247" y="2847188"/>
              <a:ext cx="560155" cy="538044"/>
            </a:xfrm>
            <a:prstGeom prst="rect">
              <a:avLst/>
            </a:prstGeom>
            <a:effectLst>
              <a:outerShdw blurRad="63500" sx="102000" sy="102000" algn="ctr" rotWithShape="0">
                <a:prstClr val="black">
                  <a:alpha val="40000"/>
                </a:prstClr>
              </a:outerShdw>
            </a:effectLst>
          </p:spPr>
        </p:pic>
        <p:cxnSp>
          <p:nvCxnSpPr>
            <p:cNvPr id="151" name="Straight Connector 150"/>
            <p:cNvCxnSpPr/>
            <p:nvPr/>
          </p:nvCxnSpPr>
          <p:spPr>
            <a:xfrm>
              <a:off x="3431924" y="2607412"/>
              <a:ext cx="14024" cy="509688"/>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cxnSp>
        <p:nvCxnSpPr>
          <p:cNvPr id="152" name="Straight Connector 151"/>
          <p:cNvCxnSpPr>
            <a:stCxn id="85" idx="2"/>
          </p:cNvCxnSpPr>
          <p:nvPr/>
        </p:nvCxnSpPr>
        <p:spPr>
          <a:xfrm>
            <a:off x="2685785" y="2193106"/>
            <a:ext cx="352552" cy="103692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stCxn id="74" idx="2"/>
          </p:cNvCxnSpPr>
          <p:nvPr/>
        </p:nvCxnSpPr>
        <p:spPr>
          <a:xfrm>
            <a:off x="2155097" y="2696668"/>
            <a:ext cx="754269" cy="450633"/>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stCxn id="88" idx="3"/>
          </p:cNvCxnSpPr>
          <p:nvPr/>
        </p:nvCxnSpPr>
        <p:spPr>
          <a:xfrm flipV="1">
            <a:off x="2310839" y="3681674"/>
            <a:ext cx="451416" cy="13754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stCxn id="86" idx="3"/>
          </p:cNvCxnSpPr>
          <p:nvPr/>
        </p:nvCxnSpPr>
        <p:spPr>
          <a:xfrm>
            <a:off x="1758568" y="2780300"/>
            <a:ext cx="1142115" cy="36700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a:stCxn id="77" idx="1"/>
          </p:cNvCxnSpPr>
          <p:nvPr/>
        </p:nvCxnSpPr>
        <p:spPr>
          <a:xfrm flipH="1" flipV="1">
            <a:off x="3333885" y="3354903"/>
            <a:ext cx="937962" cy="34506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a:stCxn id="78" idx="0"/>
          </p:cNvCxnSpPr>
          <p:nvPr/>
        </p:nvCxnSpPr>
        <p:spPr>
          <a:xfrm flipH="1" flipV="1">
            <a:off x="3333887" y="3354903"/>
            <a:ext cx="439668" cy="37093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stCxn id="90" idx="1"/>
          </p:cNvCxnSpPr>
          <p:nvPr/>
        </p:nvCxnSpPr>
        <p:spPr>
          <a:xfrm flipH="1" flipV="1">
            <a:off x="4487796" y="5316612"/>
            <a:ext cx="371677" cy="26405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7456939" y="3665524"/>
            <a:ext cx="1164881" cy="527467"/>
            <a:chOff x="7606465" y="3738529"/>
            <a:chExt cx="1188239" cy="538044"/>
          </a:xfrm>
        </p:grpSpPr>
        <p:pic>
          <p:nvPicPr>
            <p:cNvPr id="89" name="Picture 8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34549" y="3738529"/>
              <a:ext cx="560155" cy="538044"/>
            </a:xfrm>
            <a:prstGeom prst="rect">
              <a:avLst/>
            </a:prstGeom>
            <a:effectLst>
              <a:outerShdw blurRad="63500" sx="102000" sy="102000" algn="ctr" rotWithShape="0">
                <a:prstClr val="black">
                  <a:alpha val="40000"/>
                </a:prstClr>
              </a:outerShdw>
            </a:effectLst>
          </p:spPr>
        </p:pic>
        <p:sp>
          <p:nvSpPr>
            <p:cNvPr id="91" name="Rectangle 90"/>
            <p:cNvSpPr/>
            <p:nvPr/>
          </p:nvSpPr>
          <p:spPr bwMode="auto">
            <a:xfrm>
              <a:off x="7606465" y="3913029"/>
              <a:ext cx="693614"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India West</a:t>
              </a: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Mumbai</a:t>
              </a:r>
            </a:p>
          </p:txBody>
        </p:sp>
        <p:cxnSp>
          <p:nvCxnSpPr>
            <p:cNvPr id="93" name="Straight Connector 92"/>
            <p:cNvCxnSpPr>
              <a:stCxn id="91" idx="3"/>
            </p:cNvCxnSpPr>
            <p:nvPr/>
          </p:nvCxnSpPr>
          <p:spPr>
            <a:xfrm flipV="1">
              <a:off x="8300078" y="4009260"/>
              <a:ext cx="215625" cy="4386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95" name="Rectangle 94"/>
          <p:cNvSpPr/>
          <p:nvPr/>
        </p:nvSpPr>
        <p:spPr bwMode="auto">
          <a:xfrm>
            <a:off x="6900785" y="2410789"/>
            <a:ext cx="1077686" cy="365519"/>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Germany North East</a:t>
            </a: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Magdeburg</a:t>
            </a:r>
          </a:p>
        </p:txBody>
      </p:sp>
      <p:pic>
        <p:nvPicPr>
          <p:cNvPr id="97" name="Picture 9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24012" y="2527301"/>
            <a:ext cx="549144" cy="527467"/>
          </a:xfrm>
          <a:prstGeom prst="rect">
            <a:avLst/>
          </a:prstGeom>
          <a:effectLst>
            <a:outerShdw blurRad="63500" sx="102000" sy="102000" algn="ctr" rotWithShape="0">
              <a:prstClr val="black">
                <a:alpha val="40000"/>
              </a:prstClr>
            </a:outerShdw>
          </a:effectLst>
        </p:spPr>
      </p:pic>
      <p:cxnSp>
        <p:nvCxnSpPr>
          <p:cNvPr id="100" name="Straight Connector 99"/>
          <p:cNvCxnSpPr>
            <a:stCxn id="95" idx="1"/>
          </p:cNvCxnSpPr>
          <p:nvPr/>
        </p:nvCxnSpPr>
        <p:spPr>
          <a:xfrm flipH="1">
            <a:off x="6400632" y="2593549"/>
            <a:ext cx="500154" cy="202818"/>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sp>
        <p:nvSpPr>
          <p:cNvPr id="101" name="Rectangle 100"/>
          <p:cNvSpPr/>
          <p:nvPr/>
        </p:nvSpPr>
        <p:spPr bwMode="auto">
          <a:xfrm>
            <a:off x="6800594" y="2850055"/>
            <a:ext cx="944304" cy="365519"/>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Germany Central</a:t>
            </a: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Frankfurt</a:t>
            </a:r>
          </a:p>
        </p:txBody>
      </p:sp>
      <p:pic>
        <p:nvPicPr>
          <p:cNvPr id="103" name="Picture 10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982708" y="2616531"/>
            <a:ext cx="549144" cy="527467"/>
          </a:xfrm>
          <a:prstGeom prst="rect">
            <a:avLst/>
          </a:prstGeom>
          <a:effectLst>
            <a:outerShdw blurRad="63500" sx="102000" sy="102000" algn="ctr" rotWithShape="0">
              <a:prstClr val="black">
                <a:alpha val="40000"/>
              </a:prstClr>
            </a:outerShdw>
          </a:effectLst>
        </p:spPr>
      </p:pic>
      <p:cxnSp>
        <p:nvCxnSpPr>
          <p:cNvPr id="102" name="Straight Connector 101"/>
          <p:cNvCxnSpPr>
            <a:stCxn id="101" idx="1"/>
          </p:cNvCxnSpPr>
          <p:nvPr/>
        </p:nvCxnSpPr>
        <p:spPr>
          <a:xfrm flipH="1" flipV="1">
            <a:off x="6261693" y="2879836"/>
            <a:ext cx="538901" cy="152979"/>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sp>
        <p:nvSpPr>
          <p:cNvPr id="105" name="Rectangle 104"/>
          <p:cNvSpPr/>
          <p:nvPr/>
        </p:nvSpPr>
        <p:spPr bwMode="auto">
          <a:xfrm>
            <a:off x="5015899" y="2130357"/>
            <a:ext cx="887955" cy="365519"/>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United Kingdom</a:t>
            </a:r>
          </a:p>
          <a:p>
            <a:pPr algn="ctr" defTabSz="1218092"/>
            <a:r>
              <a:rPr lang="en-US" sz="784" dirty="0">
                <a:solidFill>
                  <a:srgbClr val="FFFFFF"/>
                </a:solidFill>
                <a:latin typeface="Segoe UI Light"/>
                <a:ea typeface="Verdana" panose="020B0604030504040204" pitchFamily="34" charset="0"/>
                <a:cs typeface="Arial" panose="020B0604020202020204" pitchFamily="34" charset="0"/>
              </a:rPr>
              <a:t>Regions</a:t>
            </a:r>
          </a:p>
        </p:txBody>
      </p:sp>
      <p:pic>
        <p:nvPicPr>
          <p:cNvPr id="106" name="Picture 10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38295" y="2473684"/>
            <a:ext cx="549144" cy="527467"/>
          </a:xfrm>
          <a:prstGeom prst="rect">
            <a:avLst/>
          </a:prstGeom>
          <a:effectLst>
            <a:outerShdw blurRad="63500" sx="102000" sy="102000" algn="ctr" rotWithShape="0">
              <a:prstClr val="black">
                <a:alpha val="40000"/>
              </a:prstClr>
            </a:outerShdw>
          </a:effectLst>
        </p:spPr>
      </p:pic>
      <p:cxnSp>
        <p:nvCxnSpPr>
          <p:cNvPr id="111" name="Straight Connector 110"/>
          <p:cNvCxnSpPr/>
          <p:nvPr/>
        </p:nvCxnSpPr>
        <p:spPr>
          <a:xfrm>
            <a:off x="5462778" y="2492976"/>
            <a:ext cx="448518" cy="246618"/>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sp>
        <p:nvSpPr>
          <p:cNvPr id="82" name="Rectangle 81"/>
          <p:cNvSpPr/>
          <p:nvPr/>
        </p:nvSpPr>
        <p:spPr bwMode="auto">
          <a:xfrm>
            <a:off x="4809346" y="2875100"/>
            <a:ext cx="80529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North Europe</a:t>
            </a: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Ireland</a:t>
            </a:r>
          </a:p>
        </p:txBody>
      </p:sp>
      <p:sp>
        <p:nvSpPr>
          <p:cNvPr id="77" name="Rectangle 76"/>
          <p:cNvSpPr/>
          <p:nvPr/>
        </p:nvSpPr>
        <p:spPr bwMode="auto">
          <a:xfrm>
            <a:off x="4271848" y="3517204"/>
            <a:ext cx="63388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defRPr/>
            </a:pPr>
            <a:r>
              <a:rPr lang="en-US" sz="784" dirty="0">
                <a:solidFill>
                  <a:srgbClr val="FFFFFF"/>
                </a:solidFill>
                <a:latin typeface="Segoe UI Light"/>
                <a:ea typeface="Verdana" panose="020B0604030504040204" pitchFamily="34" charset="0"/>
                <a:cs typeface="Arial" panose="020B0604020202020204" pitchFamily="34" charset="0"/>
              </a:rPr>
              <a:t>East US 2</a:t>
            </a:r>
          </a:p>
          <a:p>
            <a:pPr algn="ct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Virginia</a:t>
            </a:r>
          </a:p>
        </p:txBody>
      </p:sp>
    </p:spTree>
    <p:extLst>
      <p:ext uri="{BB962C8B-B14F-4D97-AF65-F5344CB8AC3E}">
        <p14:creationId xmlns:p14="http://schemas.microsoft.com/office/powerpoint/2010/main" val="2639726063"/>
      </p:ext>
    </p:extLst>
  </p:cSld>
  <p:clrMapOvr>
    <a:masterClrMapping/>
  </p:clrMapOvr>
  <p:transition spd="slow">
    <p:push dir="u"/>
  </p:transition>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4" name="Content Placeholder 3"/>
          <p:cNvPicPr>
            <a:picLocks noGrp="1" noChangeAspect="1"/>
          </p:cNvPicPr>
          <p:nvPr>
            <p:ph idx="1"/>
          </p:nvPr>
        </p:nvPicPr>
        <p:blipFill>
          <a:blip r:embed="rId3"/>
          <a:stretch>
            <a:fillRect/>
          </a:stretch>
        </p:blipFill>
        <p:spPr>
          <a:xfrm>
            <a:off x="708452" y="365125"/>
            <a:ext cx="10645348" cy="5264150"/>
          </a:xfrm>
          <a:prstGeom prst="rect">
            <a:avLst/>
          </a:prstGeom>
        </p:spPr>
      </p:pic>
    </p:spTree>
    <p:extLst>
      <p:ext uri="{BB962C8B-B14F-4D97-AF65-F5344CB8AC3E}">
        <p14:creationId xmlns:p14="http://schemas.microsoft.com/office/powerpoint/2010/main" val="2723103716"/>
      </p:ext>
    </p:extLst>
  </p:cSld>
  <p:clrMapOvr>
    <a:masterClrMapping/>
  </p:clrMapOvr>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Content Placeholder 2"/>
          <p:cNvSpPr>
            <a:spLocks noGrp="1"/>
          </p:cNvSpPr>
          <p:nvPr>
            <p:ph idx="1"/>
          </p:nvPr>
        </p:nvSpPr>
        <p:spPr/>
        <p:txBody>
          <a:bodyPr/>
          <a:lstStyle/>
          <a:p>
            <a:endParaRPr lang="en-IN"/>
          </a:p>
        </p:txBody>
      </p:sp>
      <p:pic>
        <p:nvPicPr>
          <p:cNvPr id="4" name="Picture 3"/>
          <p:cNvPicPr>
            <a:picLocks noChangeAspect="1"/>
          </p:cNvPicPr>
          <p:nvPr/>
        </p:nvPicPr>
        <p:blipFill>
          <a:blip r:embed="rId2"/>
          <a:stretch>
            <a:fillRect/>
          </a:stretch>
        </p:blipFill>
        <p:spPr>
          <a:xfrm>
            <a:off x="1" y="0"/>
            <a:ext cx="12179826" cy="6857999"/>
          </a:xfrm>
          <a:prstGeom prst="rect">
            <a:avLst/>
          </a:prstGeom>
        </p:spPr>
      </p:pic>
    </p:spTree>
    <p:extLst>
      <p:ext uri="{BB962C8B-B14F-4D97-AF65-F5344CB8AC3E}">
        <p14:creationId xmlns:p14="http://schemas.microsoft.com/office/powerpoint/2010/main" val="1248946913"/>
      </p:ext>
    </p:extLst>
  </p:cSld>
  <p:clrMapOvr>
    <a:masterClrMapping/>
  </p:clrMapOvr>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Content Placeholder 2"/>
          <p:cNvSpPr>
            <a:spLocks noGrp="1"/>
          </p:cNvSpPr>
          <p:nvPr>
            <p:ph idx="1"/>
          </p:nvPr>
        </p:nvSpPr>
        <p:spPr/>
        <p:txBody>
          <a:bodyPr/>
          <a:lstStyle/>
          <a:p>
            <a:endParaRPr lang="en-IN"/>
          </a:p>
        </p:txBody>
      </p:sp>
      <p:pic>
        <p:nvPicPr>
          <p:cNvPr id="4" name="Picture 3"/>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487042328"/>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612980" y="2588895"/>
            <a:ext cx="7586662" cy="769441"/>
          </a:xfrm>
          <a:prstGeom prst="rect">
            <a:avLst/>
          </a:prstGeom>
        </p:spPr>
        <p:txBody>
          <a:bodyPr wrap="square">
            <a:spAutoFit/>
          </a:bodyPr>
          <a:lstStyle/>
          <a:p>
            <a:r>
              <a:rPr lang="en-IN" sz="4400" b="1" u="sng" dirty="0" smtClean="0">
                <a:effectLst>
                  <a:outerShdw blurRad="38100" dist="38100" dir="2700000" algn="tl">
                    <a:srgbClr val="000000">
                      <a:alpha val="43137"/>
                    </a:srgbClr>
                  </a:outerShdw>
                </a:effectLst>
              </a:rPr>
              <a:t>Module 7: </a:t>
            </a:r>
            <a:r>
              <a:rPr lang="en-IN" sz="4400" b="1" u="sng" dirty="0">
                <a:effectLst>
                  <a:outerShdw blurRad="38100" dist="38100" dir="2700000" algn="tl">
                    <a:srgbClr val="000000">
                      <a:alpha val="43137"/>
                    </a:srgbClr>
                  </a:outerShdw>
                </a:effectLst>
              </a:rPr>
              <a:t>Azure Web Apps </a:t>
            </a:r>
          </a:p>
        </p:txBody>
      </p:sp>
    </p:spTree>
    <p:extLst>
      <p:ext uri="{BB962C8B-B14F-4D97-AF65-F5344CB8AC3E}">
        <p14:creationId xmlns:p14="http://schemas.microsoft.com/office/powerpoint/2010/main" val="2977697694"/>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292269" y="1068296"/>
            <a:ext cx="9267825" cy="4486275"/>
          </a:xfrm>
          <a:prstGeom prst="rect">
            <a:avLst/>
          </a:prstGeom>
        </p:spPr>
      </p:pic>
    </p:spTree>
    <p:extLst>
      <p:ext uri="{BB962C8B-B14F-4D97-AF65-F5344CB8AC3E}">
        <p14:creationId xmlns:p14="http://schemas.microsoft.com/office/powerpoint/2010/main" val="2354582004"/>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p:nvPr/>
        </p:nvSpPr>
        <p:spPr>
          <a:xfrm>
            <a:off x="0" y="0"/>
            <a:ext cx="12182047" cy="6852401"/>
          </a:xfrm>
          <a:custGeom>
            <a:avLst/>
            <a:gdLst/>
            <a:ahLst/>
            <a:cxnLst/>
            <a:rect l="l" t="t" r="r" b="b"/>
            <a:pathLst>
              <a:path w="12435840" h="6995159">
                <a:moveTo>
                  <a:pt x="12435840" y="0"/>
                </a:moveTo>
                <a:lnTo>
                  <a:pt x="0" y="0"/>
                </a:lnTo>
                <a:lnTo>
                  <a:pt x="0" y="6995158"/>
                </a:lnTo>
                <a:lnTo>
                  <a:pt x="12435840" y="6995158"/>
                </a:lnTo>
                <a:lnTo>
                  <a:pt x="12435840" y="0"/>
                </a:lnTo>
                <a:close/>
              </a:path>
            </a:pathLst>
          </a:custGeom>
          <a:solidFill>
            <a:schemeClr val="bg1"/>
          </a:solidFill>
        </p:spPr>
        <p:txBody>
          <a:bodyPr wrap="square" lIns="0" tIns="0" rIns="0" bIns="0" rtlCol="0">
            <a:noAutofit/>
          </a:bodyPr>
          <a:lstStyle/>
          <a:p>
            <a:pPr marL="12441">
              <a:lnSpc>
                <a:spcPts val="5491"/>
              </a:lnSpc>
              <a:spcBef>
                <a:spcPts val="274"/>
              </a:spcBef>
            </a:pPr>
            <a:r>
              <a:rPr lang="en-IN" b="1" dirty="0" smtClean="0"/>
              <a:t>																														App </a:t>
            </a:r>
            <a:r>
              <a:rPr lang="en-IN" b="1" dirty="0"/>
              <a:t>Service</a:t>
            </a:r>
            <a:r>
              <a:rPr lang="en-IN" dirty="0"/>
              <a:t> Web </a:t>
            </a:r>
            <a:r>
              <a:rPr lang="en-IN" b="1" dirty="0"/>
              <a:t>Apps</a:t>
            </a:r>
            <a:r>
              <a:rPr lang="en-IN" dirty="0"/>
              <a:t> is a fully managed compute platform that is optimized for hosting websites and web applications. This platform-as-a-</a:t>
            </a:r>
            <a:r>
              <a:rPr lang="en-IN" b="1" dirty="0"/>
              <a:t>service</a:t>
            </a:r>
            <a:r>
              <a:rPr lang="en-IN" dirty="0"/>
              <a:t> (PaaS) offering of Microsoft </a:t>
            </a:r>
            <a:r>
              <a:rPr lang="en-IN" b="1" dirty="0"/>
              <a:t>Azure</a:t>
            </a:r>
            <a:r>
              <a:rPr lang="en-IN" dirty="0"/>
              <a:t> lets you focus on your business logic while </a:t>
            </a:r>
            <a:r>
              <a:rPr lang="en-IN" b="1" dirty="0"/>
              <a:t>Azure</a:t>
            </a:r>
            <a:r>
              <a:rPr lang="en-IN" dirty="0"/>
              <a:t> takes care of the infrastructure to run and scale your </a:t>
            </a:r>
            <a:r>
              <a:rPr lang="en-IN" b="1" dirty="0" smtClean="0"/>
              <a:t>apps.</a:t>
            </a:r>
            <a:endParaRPr lang="en-IN" dirty="0"/>
          </a:p>
        </p:txBody>
      </p:sp>
      <p:sp>
        <p:nvSpPr>
          <p:cNvPr id="9" name="object 9"/>
          <p:cNvSpPr txBox="1"/>
          <p:nvPr/>
        </p:nvSpPr>
        <p:spPr>
          <a:xfrm>
            <a:off x="436050" y="446112"/>
            <a:ext cx="698873" cy="275999"/>
          </a:xfrm>
          <a:prstGeom prst="rect">
            <a:avLst/>
          </a:prstGeom>
        </p:spPr>
        <p:txBody>
          <a:bodyPr wrap="square" lIns="0" tIns="0" rIns="0" bIns="0" rtlCol="0">
            <a:noAutofit/>
          </a:bodyPr>
          <a:lstStyle/>
          <a:p>
            <a:pPr marL="12441">
              <a:lnSpc>
                <a:spcPts val="2175"/>
              </a:lnSpc>
              <a:spcBef>
                <a:spcPts val="109"/>
              </a:spcBef>
            </a:pPr>
            <a:endParaRPr sz="1959" dirty="0">
              <a:latin typeface="Segoe UI"/>
              <a:cs typeface="Segoe UI"/>
            </a:endParaRPr>
          </a:p>
        </p:txBody>
      </p:sp>
      <p:sp>
        <p:nvSpPr>
          <p:cNvPr id="8" name="object 8"/>
          <p:cNvSpPr txBox="1"/>
          <p:nvPr/>
        </p:nvSpPr>
        <p:spPr>
          <a:xfrm>
            <a:off x="134844" y="1340375"/>
            <a:ext cx="1729487" cy="697606"/>
          </a:xfrm>
          <a:prstGeom prst="rect">
            <a:avLst/>
          </a:prstGeom>
        </p:spPr>
        <p:txBody>
          <a:bodyPr wrap="square" lIns="0" tIns="0" rIns="0" bIns="0" rtlCol="0">
            <a:noAutofit/>
          </a:bodyPr>
          <a:lstStyle/>
          <a:p>
            <a:pPr marL="12441">
              <a:lnSpc>
                <a:spcPts val="5491"/>
              </a:lnSpc>
              <a:spcBef>
                <a:spcPts val="274"/>
              </a:spcBef>
            </a:pPr>
            <a:r>
              <a:rPr sz="3600" b="1" u="sng" spc="-82" dirty="0">
                <a:effectLst>
                  <a:outerShdw blurRad="38100" dist="38100" dir="2700000" algn="tl">
                    <a:srgbClr val="000000">
                      <a:alpha val="43137"/>
                    </a:srgbClr>
                  </a:outerShdw>
                </a:effectLst>
                <a:latin typeface="Segoe UI Light"/>
                <a:cs typeface="Segoe UI Light"/>
              </a:rPr>
              <a:t>A</a:t>
            </a:r>
            <a:r>
              <a:rPr sz="3600" b="1" u="sng" spc="-58" dirty="0">
                <a:effectLst>
                  <a:outerShdw blurRad="38100" dist="38100" dir="2700000" algn="tl">
                    <a:srgbClr val="000000">
                      <a:alpha val="43137"/>
                    </a:srgbClr>
                  </a:outerShdw>
                </a:effectLst>
                <a:latin typeface="Segoe UI Light"/>
                <a:cs typeface="Segoe UI Light"/>
              </a:rPr>
              <a:t>z</a:t>
            </a:r>
            <a:r>
              <a:rPr sz="3600" b="1" u="sng" spc="-77" dirty="0">
                <a:effectLst>
                  <a:outerShdw blurRad="38100" dist="38100" dir="2700000" algn="tl">
                    <a:srgbClr val="000000">
                      <a:alpha val="43137"/>
                    </a:srgbClr>
                  </a:outerShdw>
                </a:effectLst>
                <a:latin typeface="Segoe UI Light"/>
                <a:cs typeface="Segoe UI Light"/>
              </a:rPr>
              <a:t>u</a:t>
            </a:r>
            <a:r>
              <a:rPr sz="3600" b="1" u="sng" spc="-196" dirty="0">
                <a:effectLst>
                  <a:outerShdw blurRad="38100" dist="38100" dir="2700000" algn="tl">
                    <a:srgbClr val="000000">
                      <a:alpha val="43137"/>
                    </a:srgbClr>
                  </a:outerShdw>
                </a:effectLst>
                <a:latin typeface="Segoe UI Light"/>
                <a:cs typeface="Segoe UI Light"/>
              </a:rPr>
              <a:t>r</a:t>
            </a:r>
            <a:r>
              <a:rPr sz="3600" b="1" u="sng" dirty="0">
                <a:effectLst>
                  <a:outerShdw blurRad="38100" dist="38100" dir="2700000" algn="tl">
                    <a:srgbClr val="000000">
                      <a:alpha val="43137"/>
                    </a:srgbClr>
                  </a:outerShdw>
                </a:effectLst>
                <a:latin typeface="Segoe UI Light"/>
                <a:cs typeface="Segoe UI Light"/>
              </a:rPr>
              <a:t>e</a:t>
            </a:r>
          </a:p>
        </p:txBody>
      </p:sp>
      <p:sp>
        <p:nvSpPr>
          <p:cNvPr id="7" name="object 7"/>
          <p:cNvSpPr txBox="1"/>
          <p:nvPr/>
        </p:nvSpPr>
        <p:spPr>
          <a:xfrm>
            <a:off x="1223209" y="1337725"/>
            <a:ext cx="1282243" cy="697606"/>
          </a:xfrm>
          <a:prstGeom prst="rect">
            <a:avLst/>
          </a:prstGeom>
        </p:spPr>
        <p:txBody>
          <a:bodyPr wrap="square" lIns="0" tIns="0" rIns="0" bIns="0" rtlCol="0">
            <a:noAutofit/>
          </a:bodyPr>
          <a:lstStyle/>
          <a:p>
            <a:pPr marL="12441">
              <a:lnSpc>
                <a:spcPts val="5491"/>
              </a:lnSpc>
              <a:spcBef>
                <a:spcPts val="274"/>
              </a:spcBef>
            </a:pPr>
            <a:r>
              <a:rPr sz="3600" b="1" u="sng" spc="-82" dirty="0">
                <a:effectLst>
                  <a:outerShdw blurRad="38100" dist="38100" dir="2700000" algn="tl">
                    <a:srgbClr val="000000">
                      <a:alpha val="43137"/>
                    </a:srgbClr>
                  </a:outerShdw>
                </a:effectLst>
                <a:latin typeface="Segoe UI Light"/>
                <a:cs typeface="Segoe UI Light"/>
              </a:rPr>
              <a:t>A</a:t>
            </a:r>
            <a:r>
              <a:rPr sz="3600" b="1" u="sng" spc="-73" dirty="0">
                <a:effectLst>
                  <a:outerShdw blurRad="38100" dist="38100" dir="2700000" algn="tl">
                    <a:srgbClr val="000000">
                      <a:alpha val="43137"/>
                    </a:srgbClr>
                  </a:outerShdw>
                </a:effectLst>
                <a:latin typeface="Segoe UI Light"/>
                <a:cs typeface="Segoe UI Light"/>
              </a:rPr>
              <a:t>p</a:t>
            </a:r>
            <a:r>
              <a:rPr sz="3600" b="1" u="sng" dirty="0">
                <a:effectLst>
                  <a:outerShdw blurRad="38100" dist="38100" dir="2700000" algn="tl">
                    <a:srgbClr val="000000">
                      <a:alpha val="43137"/>
                    </a:srgbClr>
                  </a:outerShdw>
                </a:effectLst>
                <a:latin typeface="Segoe UI Light"/>
                <a:cs typeface="Segoe UI Light"/>
              </a:rPr>
              <a:t>p</a:t>
            </a:r>
          </a:p>
        </p:txBody>
      </p:sp>
      <p:sp>
        <p:nvSpPr>
          <p:cNvPr id="6" name="object 6"/>
          <p:cNvSpPr txBox="1"/>
          <p:nvPr/>
        </p:nvSpPr>
        <p:spPr>
          <a:xfrm>
            <a:off x="1999175" y="1337724"/>
            <a:ext cx="2387371" cy="697607"/>
          </a:xfrm>
          <a:prstGeom prst="rect">
            <a:avLst/>
          </a:prstGeom>
        </p:spPr>
        <p:txBody>
          <a:bodyPr wrap="square" lIns="0" tIns="0" rIns="0" bIns="0" rtlCol="0">
            <a:noAutofit/>
          </a:bodyPr>
          <a:lstStyle/>
          <a:p>
            <a:pPr marL="12441">
              <a:lnSpc>
                <a:spcPts val="5491"/>
              </a:lnSpc>
              <a:spcBef>
                <a:spcPts val="274"/>
              </a:spcBef>
            </a:pPr>
            <a:r>
              <a:rPr sz="3600" b="1" u="sng" spc="-87" dirty="0" smtClean="0">
                <a:effectLst>
                  <a:outerShdw blurRad="38100" dist="38100" dir="2700000" algn="tl">
                    <a:srgbClr val="000000">
                      <a:alpha val="43137"/>
                    </a:srgbClr>
                  </a:outerShdw>
                </a:effectLst>
                <a:latin typeface="Segoe UI Light"/>
                <a:cs typeface="Segoe UI Light"/>
              </a:rPr>
              <a:t>S</a:t>
            </a:r>
            <a:r>
              <a:rPr sz="3600" b="1" u="sng" spc="-63" dirty="0" smtClean="0">
                <a:effectLst>
                  <a:outerShdw blurRad="38100" dist="38100" dir="2700000" algn="tl">
                    <a:srgbClr val="000000">
                      <a:alpha val="43137"/>
                    </a:srgbClr>
                  </a:outerShdw>
                </a:effectLst>
                <a:latin typeface="Segoe UI Light"/>
                <a:cs typeface="Segoe UI Light"/>
              </a:rPr>
              <a:t>e</a:t>
            </a:r>
            <a:r>
              <a:rPr sz="3600" b="1" u="sng" spc="294" dirty="0" smtClean="0">
                <a:effectLst>
                  <a:outerShdw blurRad="38100" dist="38100" dir="2700000" algn="tl">
                    <a:srgbClr val="000000">
                      <a:alpha val="43137"/>
                    </a:srgbClr>
                  </a:outerShdw>
                </a:effectLst>
                <a:latin typeface="Segoe UI Light"/>
                <a:cs typeface="Segoe UI Light"/>
              </a:rPr>
              <a:t>r</a:t>
            </a:r>
            <a:r>
              <a:rPr sz="3600" b="1" u="sng" spc="-68" dirty="0" smtClean="0">
                <a:effectLst>
                  <a:outerShdw blurRad="38100" dist="38100" dir="2700000" algn="tl">
                    <a:srgbClr val="000000">
                      <a:alpha val="43137"/>
                    </a:srgbClr>
                  </a:outerShdw>
                </a:effectLst>
                <a:latin typeface="Segoe UI Light"/>
                <a:cs typeface="Segoe UI Light"/>
              </a:rPr>
              <a:t>v</a:t>
            </a:r>
            <a:r>
              <a:rPr sz="3600" b="1" u="sng" spc="-102" dirty="0" smtClean="0">
                <a:effectLst>
                  <a:outerShdw blurRad="38100" dist="38100" dir="2700000" algn="tl">
                    <a:srgbClr val="000000">
                      <a:alpha val="43137"/>
                    </a:srgbClr>
                  </a:outerShdw>
                </a:effectLst>
                <a:latin typeface="Segoe UI Light"/>
                <a:cs typeface="Segoe UI Light"/>
              </a:rPr>
              <a:t>i</a:t>
            </a:r>
            <a:r>
              <a:rPr sz="3600" b="1" u="sng" spc="-87" dirty="0" smtClean="0">
                <a:effectLst>
                  <a:outerShdw blurRad="38100" dist="38100" dir="2700000" algn="tl">
                    <a:srgbClr val="000000">
                      <a:alpha val="43137"/>
                    </a:srgbClr>
                  </a:outerShdw>
                </a:effectLst>
                <a:latin typeface="Segoe UI Light"/>
                <a:cs typeface="Segoe UI Light"/>
              </a:rPr>
              <a:t>c</a:t>
            </a:r>
            <a:r>
              <a:rPr sz="3600" b="1" u="sng" dirty="0" smtClean="0">
                <a:effectLst>
                  <a:outerShdw blurRad="38100" dist="38100" dir="2700000" algn="tl">
                    <a:srgbClr val="000000">
                      <a:alpha val="43137"/>
                    </a:srgbClr>
                  </a:outerShdw>
                </a:effectLst>
                <a:latin typeface="Segoe UI Light"/>
                <a:cs typeface="Segoe UI Light"/>
              </a:rPr>
              <a:t>e</a:t>
            </a:r>
            <a:r>
              <a:rPr lang="en-IN" sz="3600" b="1" u="sng" dirty="0" smtClean="0">
                <a:effectLst>
                  <a:outerShdw blurRad="38100" dist="38100" dir="2700000" algn="tl">
                    <a:srgbClr val="000000">
                      <a:alpha val="43137"/>
                    </a:srgbClr>
                  </a:outerShdw>
                </a:effectLst>
                <a:latin typeface="Segoe UI Light"/>
                <a:cs typeface="Segoe UI Light"/>
              </a:rPr>
              <a:t>:</a:t>
            </a:r>
            <a:endParaRPr sz="3600" b="1" u="sng" dirty="0">
              <a:effectLst>
                <a:outerShdw blurRad="38100" dist="38100" dir="2700000" algn="tl">
                  <a:srgbClr val="000000">
                    <a:alpha val="43137"/>
                  </a:srgbClr>
                </a:outerShdw>
              </a:effectLst>
              <a:latin typeface="Segoe UI Light"/>
              <a:cs typeface="Segoe UI Light"/>
            </a:endParaRPr>
          </a:p>
        </p:txBody>
      </p:sp>
      <p:sp>
        <p:nvSpPr>
          <p:cNvPr id="5" name="object 5"/>
          <p:cNvSpPr txBox="1"/>
          <p:nvPr/>
        </p:nvSpPr>
        <p:spPr>
          <a:xfrm>
            <a:off x="400221" y="2910456"/>
            <a:ext cx="3900934" cy="697917"/>
          </a:xfrm>
          <a:prstGeom prst="rect">
            <a:avLst/>
          </a:prstGeom>
        </p:spPr>
        <p:txBody>
          <a:bodyPr wrap="square" lIns="0" tIns="0" rIns="0" bIns="0" rtlCol="0">
            <a:noAutofit/>
          </a:bodyPr>
          <a:lstStyle/>
          <a:p>
            <a:pPr marL="12441">
              <a:lnSpc>
                <a:spcPts val="5496"/>
              </a:lnSpc>
              <a:spcBef>
                <a:spcPts val="274"/>
              </a:spcBef>
            </a:pPr>
            <a:endParaRPr sz="5290" dirty="0">
              <a:latin typeface="Segoe UI Light"/>
              <a:cs typeface="Segoe UI Light"/>
            </a:endParaRPr>
          </a:p>
        </p:txBody>
      </p:sp>
      <p:sp>
        <p:nvSpPr>
          <p:cNvPr id="4" name="object 4"/>
          <p:cNvSpPr txBox="1"/>
          <p:nvPr/>
        </p:nvSpPr>
        <p:spPr>
          <a:xfrm>
            <a:off x="4327384" y="2910456"/>
            <a:ext cx="3379886" cy="697917"/>
          </a:xfrm>
          <a:prstGeom prst="rect">
            <a:avLst/>
          </a:prstGeom>
        </p:spPr>
        <p:txBody>
          <a:bodyPr wrap="square" lIns="0" tIns="0" rIns="0" bIns="0" rtlCol="0">
            <a:noAutofit/>
          </a:bodyPr>
          <a:lstStyle/>
          <a:p>
            <a:pPr marL="12441">
              <a:lnSpc>
                <a:spcPts val="5496"/>
              </a:lnSpc>
              <a:spcBef>
                <a:spcPts val="274"/>
              </a:spcBef>
            </a:pPr>
            <a:endParaRPr sz="5290" dirty="0">
              <a:latin typeface="Segoe UI Light"/>
              <a:cs typeface="Segoe UI Light"/>
            </a:endParaRPr>
          </a:p>
        </p:txBody>
      </p:sp>
      <p:sp>
        <p:nvSpPr>
          <p:cNvPr id="3" name="object 3"/>
          <p:cNvSpPr txBox="1"/>
          <p:nvPr/>
        </p:nvSpPr>
        <p:spPr>
          <a:xfrm>
            <a:off x="402074" y="4568625"/>
            <a:ext cx="3058801" cy="814123"/>
          </a:xfrm>
          <a:prstGeom prst="rect">
            <a:avLst/>
          </a:prstGeom>
        </p:spPr>
        <p:txBody>
          <a:bodyPr wrap="square" lIns="0" tIns="0" rIns="0" bIns="0" rtlCol="0">
            <a:noAutofit/>
          </a:bodyPr>
          <a:lstStyle/>
          <a:p>
            <a:pPr marL="12441" marR="37668">
              <a:lnSpc>
                <a:spcPts val="2194"/>
              </a:lnSpc>
              <a:spcBef>
                <a:spcPts val="109"/>
              </a:spcBef>
            </a:pPr>
            <a:endParaRPr sz="1959" dirty="0">
              <a:latin typeface="Segoe UI"/>
              <a:cs typeface="Segoe UI"/>
            </a:endParaRPr>
          </a:p>
        </p:txBody>
      </p:sp>
      <p:sp>
        <p:nvSpPr>
          <p:cNvPr id="2" name="object 2"/>
          <p:cNvSpPr txBox="1"/>
          <p:nvPr/>
        </p:nvSpPr>
        <p:spPr>
          <a:xfrm>
            <a:off x="402075" y="5645054"/>
            <a:ext cx="3781320" cy="814123"/>
          </a:xfrm>
          <a:prstGeom prst="rect">
            <a:avLst/>
          </a:prstGeom>
        </p:spPr>
        <p:txBody>
          <a:bodyPr wrap="square" lIns="0" tIns="0" rIns="0" bIns="0" rtlCol="0">
            <a:noAutofit/>
          </a:bodyPr>
          <a:lstStyle/>
          <a:p>
            <a:pPr marL="12441" marR="37668">
              <a:lnSpc>
                <a:spcPts val="2194"/>
              </a:lnSpc>
              <a:spcBef>
                <a:spcPts val="109"/>
              </a:spcBef>
            </a:pPr>
            <a:endParaRPr sz="1959" dirty="0">
              <a:latin typeface="Segoe UI"/>
              <a:cs typeface="Segoe UI"/>
            </a:endParaRPr>
          </a:p>
        </p:txBody>
      </p:sp>
    </p:spTree>
    <p:extLst>
      <p:ext uri="{BB962C8B-B14F-4D97-AF65-F5344CB8AC3E}">
        <p14:creationId xmlns:p14="http://schemas.microsoft.com/office/powerpoint/2010/main" val="3724744323"/>
      </p:ext>
    </p:extLst>
  </p:cSld>
  <p:clrMapOvr>
    <a:masterClrMapping/>
  </p:clrMapOvr>
  <p:timing>
    <p:tnLst>
      <p:par>
        <p:cTn id="1" dur="indefinite" restart="never" nodeType="tmRoot"/>
      </p:par>
    </p:tn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object 24"/>
          <p:cNvSpPr/>
          <p:nvPr/>
        </p:nvSpPr>
        <p:spPr>
          <a:xfrm>
            <a:off x="0" y="1555"/>
            <a:ext cx="12182047" cy="6852401"/>
          </a:xfrm>
          <a:custGeom>
            <a:avLst/>
            <a:gdLst/>
            <a:ahLst/>
            <a:cxnLst/>
            <a:rect l="l" t="t" r="r" b="b"/>
            <a:pathLst>
              <a:path w="12435840" h="6995159">
                <a:moveTo>
                  <a:pt x="12435840" y="0"/>
                </a:moveTo>
                <a:lnTo>
                  <a:pt x="0" y="0"/>
                </a:lnTo>
                <a:lnTo>
                  <a:pt x="0" y="6995158"/>
                </a:lnTo>
                <a:lnTo>
                  <a:pt x="12435840" y="6995158"/>
                </a:lnTo>
                <a:lnTo>
                  <a:pt x="12435840" y="0"/>
                </a:lnTo>
                <a:close/>
              </a:path>
            </a:pathLst>
          </a:custGeom>
          <a:solidFill>
            <a:schemeClr val="bg2">
              <a:lumMod val="50000"/>
            </a:schemeClr>
          </a:solidFill>
        </p:spPr>
        <p:txBody>
          <a:bodyPr wrap="square" lIns="0" tIns="0" rIns="0" bIns="0" rtlCol="0">
            <a:noAutofit/>
          </a:bodyPr>
          <a:lstStyle/>
          <a:p>
            <a:endParaRPr sz="1763"/>
          </a:p>
        </p:txBody>
      </p:sp>
      <p:sp>
        <p:nvSpPr>
          <p:cNvPr id="17" name="object 17"/>
          <p:cNvSpPr/>
          <p:nvPr/>
        </p:nvSpPr>
        <p:spPr>
          <a:xfrm>
            <a:off x="5920738" y="2361891"/>
            <a:ext cx="163066" cy="291362"/>
          </a:xfrm>
          <a:custGeom>
            <a:avLst/>
            <a:gdLst/>
            <a:ahLst/>
            <a:cxnLst/>
            <a:rect l="l" t="t" r="r" b="b"/>
            <a:pathLst>
              <a:path w="166463" h="297432">
                <a:moveTo>
                  <a:pt x="0" y="297432"/>
                </a:moveTo>
                <a:lnTo>
                  <a:pt x="166463" y="201211"/>
                </a:lnTo>
                <a:lnTo>
                  <a:pt x="166463" y="0"/>
                </a:lnTo>
                <a:lnTo>
                  <a:pt x="0" y="104989"/>
                </a:lnTo>
                <a:lnTo>
                  <a:pt x="0" y="297432"/>
                </a:lnTo>
                <a:close/>
              </a:path>
            </a:pathLst>
          </a:custGeom>
          <a:solidFill>
            <a:srgbClr val="FFFFFF"/>
          </a:solidFill>
        </p:spPr>
        <p:txBody>
          <a:bodyPr wrap="square" lIns="0" tIns="0" rIns="0" bIns="0" rtlCol="0">
            <a:noAutofit/>
          </a:bodyPr>
          <a:lstStyle/>
          <a:p>
            <a:endParaRPr sz="1763"/>
          </a:p>
        </p:txBody>
      </p:sp>
      <p:sp>
        <p:nvSpPr>
          <p:cNvPr id="18" name="object 18"/>
          <p:cNvSpPr/>
          <p:nvPr/>
        </p:nvSpPr>
        <p:spPr>
          <a:xfrm>
            <a:off x="5714773" y="2361890"/>
            <a:ext cx="163069" cy="291362"/>
          </a:xfrm>
          <a:custGeom>
            <a:avLst/>
            <a:gdLst/>
            <a:ahLst/>
            <a:cxnLst/>
            <a:rect l="l" t="t" r="r" b="b"/>
            <a:pathLst>
              <a:path w="166466" h="297432">
                <a:moveTo>
                  <a:pt x="0" y="201211"/>
                </a:moveTo>
                <a:lnTo>
                  <a:pt x="166466" y="297432"/>
                </a:lnTo>
                <a:lnTo>
                  <a:pt x="166466" y="104990"/>
                </a:lnTo>
                <a:lnTo>
                  <a:pt x="0" y="0"/>
                </a:lnTo>
                <a:lnTo>
                  <a:pt x="0" y="201211"/>
                </a:lnTo>
                <a:close/>
              </a:path>
            </a:pathLst>
          </a:custGeom>
          <a:solidFill>
            <a:srgbClr val="FFFFFF"/>
          </a:solidFill>
        </p:spPr>
        <p:txBody>
          <a:bodyPr wrap="square" lIns="0" tIns="0" rIns="0" bIns="0" rtlCol="0">
            <a:noAutofit/>
          </a:bodyPr>
          <a:lstStyle/>
          <a:p>
            <a:endParaRPr sz="1763"/>
          </a:p>
        </p:txBody>
      </p:sp>
      <p:sp>
        <p:nvSpPr>
          <p:cNvPr id="19" name="object 19"/>
          <p:cNvSpPr/>
          <p:nvPr/>
        </p:nvSpPr>
        <p:spPr>
          <a:xfrm>
            <a:off x="5731943" y="2216210"/>
            <a:ext cx="343258" cy="205665"/>
          </a:xfrm>
          <a:custGeom>
            <a:avLst/>
            <a:gdLst/>
            <a:ahLst/>
            <a:cxnLst/>
            <a:rect l="l" t="t" r="r" b="b"/>
            <a:pathLst>
              <a:path w="350409" h="209950">
                <a:moveTo>
                  <a:pt x="166442" y="0"/>
                </a:moveTo>
                <a:lnTo>
                  <a:pt x="0" y="96221"/>
                </a:lnTo>
                <a:lnTo>
                  <a:pt x="166442" y="209950"/>
                </a:lnTo>
                <a:lnTo>
                  <a:pt x="350409" y="96221"/>
                </a:lnTo>
                <a:lnTo>
                  <a:pt x="166442" y="0"/>
                </a:lnTo>
                <a:close/>
              </a:path>
            </a:pathLst>
          </a:custGeom>
          <a:solidFill>
            <a:srgbClr val="FFFFFF"/>
          </a:solidFill>
        </p:spPr>
        <p:txBody>
          <a:bodyPr wrap="square" lIns="0" tIns="0" rIns="0" bIns="0" rtlCol="0">
            <a:noAutofit/>
          </a:bodyPr>
          <a:lstStyle/>
          <a:p>
            <a:endParaRPr sz="1763"/>
          </a:p>
        </p:txBody>
      </p:sp>
      <p:sp>
        <p:nvSpPr>
          <p:cNvPr id="20" name="object 20"/>
          <p:cNvSpPr/>
          <p:nvPr/>
        </p:nvSpPr>
        <p:spPr>
          <a:xfrm>
            <a:off x="5825825" y="2970328"/>
            <a:ext cx="137837" cy="68551"/>
          </a:xfrm>
          <a:custGeom>
            <a:avLst/>
            <a:gdLst/>
            <a:ahLst/>
            <a:cxnLst/>
            <a:rect l="l" t="t" r="r" b="b"/>
            <a:pathLst>
              <a:path w="140709" h="69979">
                <a:moveTo>
                  <a:pt x="140709" y="0"/>
                </a:moveTo>
                <a:lnTo>
                  <a:pt x="18034" y="0"/>
                </a:lnTo>
                <a:lnTo>
                  <a:pt x="0" y="69979"/>
                </a:lnTo>
                <a:lnTo>
                  <a:pt x="126315" y="69979"/>
                </a:lnTo>
                <a:lnTo>
                  <a:pt x="140709" y="0"/>
                </a:lnTo>
                <a:close/>
              </a:path>
            </a:pathLst>
          </a:custGeom>
          <a:solidFill>
            <a:srgbClr val="FFFFFF"/>
          </a:solidFill>
        </p:spPr>
        <p:txBody>
          <a:bodyPr wrap="square" lIns="0" tIns="0" rIns="0" bIns="0" rtlCol="0">
            <a:noAutofit/>
          </a:bodyPr>
          <a:lstStyle/>
          <a:p>
            <a:endParaRPr sz="1763"/>
          </a:p>
        </p:txBody>
      </p:sp>
      <p:sp>
        <p:nvSpPr>
          <p:cNvPr id="21" name="object 21"/>
          <p:cNvSpPr/>
          <p:nvPr/>
        </p:nvSpPr>
        <p:spPr>
          <a:xfrm>
            <a:off x="5508816" y="1873424"/>
            <a:ext cx="726579" cy="1165456"/>
          </a:xfrm>
          <a:custGeom>
            <a:avLst/>
            <a:gdLst/>
            <a:ahLst/>
            <a:cxnLst/>
            <a:rect l="l" t="t" r="r" b="b"/>
            <a:pathLst>
              <a:path w="741716" h="1189736">
                <a:moveTo>
                  <a:pt x="256874" y="988533"/>
                </a:moveTo>
                <a:lnTo>
                  <a:pt x="78842" y="988533"/>
                </a:lnTo>
                <a:lnTo>
                  <a:pt x="78842" y="131237"/>
                </a:lnTo>
                <a:lnTo>
                  <a:pt x="80344" y="0"/>
                </a:lnTo>
                <a:lnTo>
                  <a:pt x="70078" y="0"/>
                </a:lnTo>
                <a:lnTo>
                  <a:pt x="25693" y="22886"/>
                </a:lnTo>
                <a:lnTo>
                  <a:pt x="4187" y="60727"/>
                </a:lnTo>
                <a:lnTo>
                  <a:pt x="0" y="87481"/>
                </a:lnTo>
                <a:lnTo>
                  <a:pt x="0" y="1111004"/>
                </a:lnTo>
                <a:lnTo>
                  <a:pt x="12076" y="1153770"/>
                </a:lnTo>
                <a:lnTo>
                  <a:pt x="41693" y="1182236"/>
                </a:lnTo>
                <a:lnTo>
                  <a:pt x="323612" y="1189735"/>
                </a:lnTo>
                <a:lnTo>
                  <a:pt x="341647" y="1119756"/>
                </a:lnTo>
                <a:lnTo>
                  <a:pt x="323248" y="1116126"/>
                </a:lnTo>
                <a:lnTo>
                  <a:pt x="310581" y="1114196"/>
                </a:lnTo>
                <a:lnTo>
                  <a:pt x="302735" y="1111246"/>
                </a:lnTo>
                <a:lnTo>
                  <a:pt x="298803" y="1104555"/>
                </a:lnTo>
                <a:lnTo>
                  <a:pt x="297858" y="1093511"/>
                </a:lnTo>
                <a:lnTo>
                  <a:pt x="300455" y="1082865"/>
                </a:lnTo>
                <a:lnTo>
                  <a:pt x="307838" y="1074302"/>
                </a:lnTo>
                <a:lnTo>
                  <a:pt x="319391" y="1067213"/>
                </a:lnTo>
                <a:lnTo>
                  <a:pt x="334500" y="1060984"/>
                </a:lnTo>
                <a:lnTo>
                  <a:pt x="341647" y="1058515"/>
                </a:lnTo>
                <a:lnTo>
                  <a:pt x="473073" y="1058515"/>
                </a:lnTo>
                <a:lnTo>
                  <a:pt x="486106" y="1066348"/>
                </a:lnTo>
                <a:lnTo>
                  <a:pt x="494723" y="1075460"/>
                </a:lnTo>
                <a:lnTo>
                  <a:pt x="498917" y="1087135"/>
                </a:lnTo>
                <a:lnTo>
                  <a:pt x="499358" y="1093511"/>
                </a:lnTo>
                <a:lnTo>
                  <a:pt x="495667" y="1110381"/>
                </a:lnTo>
                <a:lnTo>
                  <a:pt x="486889" y="1118755"/>
                </a:lnTo>
                <a:lnTo>
                  <a:pt x="481825" y="1119756"/>
                </a:lnTo>
                <a:lnTo>
                  <a:pt x="464321" y="1119756"/>
                </a:lnTo>
                <a:lnTo>
                  <a:pt x="449927" y="1189735"/>
                </a:lnTo>
                <a:lnTo>
                  <a:pt x="727115" y="1189736"/>
                </a:lnTo>
                <a:lnTo>
                  <a:pt x="741716" y="1188411"/>
                </a:lnTo>
                <a:lnTo>
                  <a:pt x="727115" y="965386"/>
                </a:lnTo>
                <a:lnTo>
                  <a:pt x="727115" y="988533"/>
                </a:lnTo>
                <a:lnTo>
                  <a:pt x="256874" y="988533"/>
                </a:lnTo>
                <a:close/>
              </a:path>
            </a:pathLst>
          </a:custGeom>
          <a:solidFill>
            <a:srgbClr val="FFFFFF"/>
          </a:solidFill>
        </p:spPr>
        <p:txBody>
          <a:bodyPr wrap="square" lIns="0" tIns="0" rIns="0" bIns="0" rtlCol="0">
            <a:noAutofit/>
          </a:bodyPr>
          <a:lstStyle/>
          <a:p>
            <a:endParaRPr sz="1763"/>
          </a:p>
        </p:txBody>
      </p:sp>
      <p:sp>
        <p:nvSpPr>
          <p:cNvPr id="22" name="object 22"/>
          <p:cNvSpPr/>
          <p:nvPr/>
        </p:nvSpPr>
        <p:spPr>
          <a:xfrm>
            <a:off x="5758145" y="1958536"/>
            <a:ext cx="73599" cy="43446"/>
          </a:xfrm>
          <a:custGeom>
            <a:avLst/>
            <a:gdLst/>
            <a:ahLst/>
            <a:cxnLst/>
            <a:rect l="l" t="t" r="r" b="b"/>
            <a:pathLst>
              <a:path w="75132" h="44351">
                <a:moveTo>
                  <a:pt x="74470" y="44351"/>
                </a:moveTo>
                <a:lnTo>
                  <a:pt x="75132" y="596"/>
                </a:lnTo>
                <a:lnTo>
                  <a:pt x="25815" y="596"/>
                </a:lnTo>
                <a:lnTo>
                  <a:pt x="9369" y="0"/>
                </a:lnTo>
                <a:lnTo>
                  <a:pt x="0" y="44351"/>
                </a:lnTo>
                <a:lnTo>
                  <a:pt x="74470" y="44351"/>
                </a:lnTo>
                <a:close/>
              </a:path>
            </a:pathLst>
          </a:custGeom>
          <a:solidFill>
            <a:srgbClr val="FFFFFF"/>
          </a:solidFill>
        </p:spPr>
        <p:txBody>
          <a:bodyPr wrap="square" lIns="0" tIns="0" rIns="0" bIns="0" rtlCol="0">
            <a:noAutofit/>
          </a:bodyPr>
          <a:lstStyle/>
          <a:p>
            <a:endParaRPr sz="1763"/>
          </a:p>
        </p:txBody>
      </p:sp>
      <p:sp>
        <p:nvSpPr>
          <p:cNvPr id="23" name="object 23"/>
          <p:cNvSpPr/>
          <p:nvPr/>
        </p:nvSpPr>
        <p:spPr>
          <a:xfrm>
            <a:off x="5586049" y="1873424"/>
            <a:ext cx="712289" cy="1164158"/>
          </a:xfrm>
          <a:custGeom>
            <a:avLst/>
            <a:gdLst/>
            <a:ahLst/>
            <a:cxnLst/>
            <a:rect l="l" t="t" r="r" b="b"/>
            <a:pathLst>
              <a:path w="727128" h="1188411">
                <a:moveTo>
                  <a:pt x="100550" y="0"/>
                </a:moveTo>
                <a:lnTo>
                  <a:pt x="1502" y="0"/>
                </a:lnTo>
                <a:lnTo>
                  <a:pt x="0" y="131237"/>
                </a:lnTo>
                <a:lnTo>
                  <a:pt x="175681" y="131237"/>
                </a:lnTo>
                <a:lnTo>
                  <a:pt x="185051" y="86885"/>
                </a:lnTo>
                <a:lnTo>
                  <a:pt x="172187" y="82712"/>
                </a:lnTo>
                <a:lnTo>
                  <a:pt x="166485" y="71383"/>
                </a:lnTo>
                <a:lnTo>
                  <a:pt x="170443" y="53134"/>
                </a:lnTo>
                <a:lnTo>
                  <a:pt x="180724" y="45694"/>
                </a:lnTo>
                <a:lnTo>
                  <a:pt x="194721" y="43812"/>
                </a:lnTo>
                <a:lnTo>
                  <a:pt x="446801" y="43755"/>
                </a:lnTo>
                <a:lnTo>
                  <a:pt x="461621" y="44397"/>
                </a:lnTo>
                <a:lnTo>
                  <a:pt x="473869" y="48891"/>
                </a:lnTo>
                <a:lnTo>
                  <a:pt x="480974" y="61087"/>
                </a:lnTo>
                <a:lnTo>
                  <a:pt x="481809" y="69973"/>
                </a:lnTo>
                <a:lnTo>
                  <a:pt x="476879" y="82084"/>
                </a:lnTo>
                <a:lnTo>
                  <a:pt x="464479" y="86724"/>
                </a:lnTo>
                <a:lnTo>
                  <a:pt x="448199" y="87481"/>
                </a:lnTo>
                <a:lnTo>
                  <a:pt x="250814" y="87481"/>
                </a:lnTo>
                <a:lnTo>
                  <a:pt x="250152" y="131237"/>
                </a:lnTo>
                <a:lnTo>
                  <a:pt x="648272" y="131237"/>
                </a:lnTo>
                <a:lnTo>
                  <a:pt x="648272" y="965386"/>
                </a:lnTo>
                <a:lnTo>
                  <a:pt x="662874" y="1188411"/>
                </a:lnTo>
                <a:lnTo>
                  <a:pt x="700239" y="1170406"/>
                </a:lnTo>
                <a:lnTo>
                  <a:pt x="723048" y="1136248"/>
                </a:lnTo>
                <a:lnTo>
                  <a:pt x="727128" y="1111005"/>
                </a:lnTo>
                <a:lnTo>
                  <a:pt x="727128" y="87482"/>
                </a:lnTo>
                <a:lnTo>
                  <a:pt x="717017" y="46519"/>
                </a:lnTo>
                <a:lnTo>
                  <a:pt x="690240" y="14432"/>
                </a:lnTo>
                <a:lnTo>
                  <a:pt x="652129" y="113"/>
                </a:lnTo>
                <a:lnTo>
                  <a:pt x="100550" y="0"/>
                </a:lnTo>
                <a:close/>
              </a:path>
            </a:pathLst>
          </a:custGeom>
          <a:solidFill>
            <a:srgbClr val="FFFFFF"/>
          </a:solidFill>
        </p:spPr>
        <p:txBody>
          <a:bodyPr wrap="square" lIns="0" tIns="0" rIns="0" bIns="0" rtlCol="0">
            <a:noAutofit/>
          </a:bodyPr>
          <a:lstStyle/>
          <a:p>
            <a:endParaRPr sz="1763"/>
          </a:p>
        </p:txBody>
      </p:sp>
      <p:sp>
        <p:nvSpPr>
          <p:cNvPr id="16" name="object 16"/>
          <p:cNvSpPr/>
          <p:nvPr/>
        </p:nvSpPr>
        <p:spPr>
          <a:xfrm>
            <a:off x="4653363" y="1358598"/>
            <a:ext cx="0" cy="2597145"/>
          </a:xfrm>
          <a:custGeom>
            <a:avLst/>
            <a:gdLst/>
            <a:ahLst/>
            <a:cxnLst/>
            <a:rect l="l" t="t" r="r" b="b"/>
            <a:pathLst>
              <a:path h="2651252">
                <a:moveTo>
                  <a:pt x="0" y="0"/>
                </a:moveTo>
                <a:lnTo>
                  <a:pt x="0" y="2651252"/>
                </a:lnTo>
              </a:path>
            </a:pathLst>
          </a:custGeom>
          <a:ln w="9154">
            <a:solidFill>
              <a:srgbClr val="006FC0"/>
            </a:solidFill>
          </a:ln>
        </p:spPr>
        <p:txBody>
          <a:bodyPr wrap="square" lIns="0" tIns="0" rIns="0" bIns="0" rtlCol="0">
            <a:noAutofit/>
          </a:bodyPr>
          <a:lstStyle/>
          <a:p>
            <a:endParaRPr sz="1763"/>
          </a:p>
        </p:txBody>
      </p:sp>
      <p:sp>
        <p:nvSpPr>
          <p:cNvPr id="15" name="object 15"/>
          <p:cNvSpPr/>
          <p:nvPr/>
        </p:nvSpPr>
        <p:spPr>
          <a:xfrm>
            <a:off x="2950390" y="1855598"/>
            <a:ext cx="585330" cy="1165148"/>
          </a:xfrm>
          <a:custGeom>
            <a:avLst/>
            <a:gdLst/>
            <a:ahLst/>
            <a:cxnLst/>
            <a:rect l="l" t="t" r="r" b="b"/>
            <a:pathLst>
              <a:path w="597524" h="1189422">
                <a:moveTo>
                  <a:pt x="579248" y="377918"/>
                </a:moveTo>
                <a:lnTo>
                  <a:pt x="577690" y="416830"/>
                </a:lnTo>
                <a:lnTo>
                  <a:pt x="587607" y="410234"/>
                </a:lnTo>
                <a:lnTo>
                  <a:pt x="579248" y="377918"/>
                </a:lnTo>
                <a:close/>
              </a:path>
              <a:path w="597524" h="1189422">
                <a:moveTo>
                  <a:pt x="522930" y="323495"/>
                </a:moveTo>
                <a:lnTo>
                  <a:pt x="524593" y="324930"/>
                </a:lnTo>
                <a:lnTo>
                  <a:pt x="527735" y="327829"/>
                </a:lnTo>
                <a:lnTo>
                  <a:pt x="532367" y="332102"/>
                </a:lnTo>
                <a:lnTo>
                  <a:pt x="533924" y="333539"/>
                </a:lnTo>
                <a:lnTo>
                  <a:pt x="537105" y="336614"/>
                </a:lnTo>
                <a:lnTo>
                  <a:pt x="539650" y="339038"/>
                </a:lnTo>
                <a:lnTo>
                  <a:pt x="537779" y="215835"/>
                </a:lnTo>
                <a:lnTo>
                  <a:pt x="530461" y="330287"/>
                </a:lnTo>
                <a:lnTo>
                  <a:pt x="529708" y="206343"/>
                </a:lnTo>
                <a:lnTo>
                  <a:pt x="522930" y="323495"/>
                </a:lnTo>
                <a:close/>
              </a:path>
              <a:path w="597524" h="1189422">
                <a:moveTo>
                  <a:pt x="541647" y="341006"/>
                </a:moveTo>
                <a:lnTo>
                  <a:pt x="543046" y="342358"/>
                </a:lnTo>
                <a:lnTo>
                  <a:pt x="546507" y="345795"/>
                </a:lnTo>
                <a:lnTo>
                  <a:pt x="548686" y="347942"/>
                </a:lnTo>
                <a:lnTo>
                  <a:pt x="546507" y="345795"/>
                </a:lnTo>
                <a:lnTo>
                  <a:pt x="541647" y="341006"/>
                </a:lnTo>
                <a:lnTo>
                  <a:pt x="538026" y="446101"/>
                </a:lnTo>
                <a:lnTo>
                  <a:pt x="547941" y="438350"/>
                </a:lnTo>
                <a:lnTo>
                  <a:pt x="557857" y="430888"/>
                </a:lnTo>
                <a:lnTo>
                  <a:pt x="557660" y="356909"/>
                </a:lnTo>
                <a:lnTo>
                  <a:pt x="551276" y="350530"/>
                </a:lnTo>
                <a:lnTo>
                  <a:pt x="552048" y="351296"/>
                </a:lnTo>
                <a:lnTo>
                  <a:pt x="553769" y="234819"/>
                </a:lnTo>
                <a:lnTo>
                  <a:pt x="545795" y="225327"/>
                </a:lnTo>
                <a:lnTo>
                  <a:pt x="541647" y="341006"/>
                </a:lnTo>
                <a:close/>
              </a:path>
              <a:path w="597524" h="1189422">
                <a:moveTo>
                  <a:pt x="558432" y="357675"/>
                </a:moveTo>
                <a:lnTo>
                  <a:pt x="557660" y="356909"/>
                </a:lnTo>
                <a:lnTo>
                  <a:pt x="557857" y="430888"/>
                </a:lnTo>
                <a:lnTo>
                  <a:pt x="567773" y="423715"/>
                </a:lnTo>
                <a:lnTo>
                  <a:pt x="561022" y="360263"/>
                </a:lnTo>
                <a:lnTo>
                  <a:pt x="563202" y="362410"/>
                </a:lnTo>
                <a:lnTo>
                  <a:pt x="561710" y="244310"/>
                </a:lnTo>
                <a:lnTo>
                  <a:pt x="553769" y="234819"/>
                </a:lnTo>
                <a:lnTo>
                  <a:pt x="552048" y="351296"/>
                </a:lnTo>
                <a:lnTo>
                  <a:pt x="558432" y="357675"/>
                </a:lnTo>
                <a:close/>
              </a:path>
              <a:path w="597524" h="1189422">
                <a:moveTo>
                  <a:pt x="561710" y="244310"/>
                </a:moveTo>
                <a:lnTo>
                  <a:pt x="563202" y="362410"/>
                </a:lnTo>
                <a:lnTo>
                  <a:pt x="568062" y="367200"/>
                </a:lnTo>
                <a:lnTo>
                  <a:pt x="570059" y="369167"/>
                </a:lnTo>
                <a:lnTo>
                  <a:pt x="568062" y="367200"/>
                </a:lnTo>
                <a:lnTo>
                  <a:pt x="566663" y="365847"/>
                </a:lnTo>
                <a:lnTo>
                  <a:pt x="563202" y="362410"/>
                </a:lnTo>
                <a:lnTo>
                  <a:pt x="561022" y="360263"/>
                </a:lnTo>
                <a:lnTo>
                  <a:pt x="567773" y="423715"/>
                </a:lnTo>
                <a:lnTo>
                  <a:pt x="577690" y="416830"/>
                </a:lnTo>
                <a:lnTo>
                  <a:pt x="579248" y="377918"/>
                </a:lnTo>
                <a:lnTo>
                  <a:pt x="587607" y="410234"/>
                </a:lnTo>
                <a:lnTo>
                  <a:pt x="586779" y="384710"/>
                </a:lnTo>
                <a:lnTo>
                  <a:pt x="585115" y="383275"/>
                </a:lnTo>
                <a:lnTo>
                  <a:pt x="581973" y="380376"/>
                </a:lnTo>
                <a:lnTo>
                  <a:pt x="577341" y="376103"/>
                </a:lnTo>
                <a:lnTo>
                  <a:pt x="575784" y="374666"/>
                </a:lnTo>
                <a:lnTo>
                  <a:pt x="572604" y="371591"/>
                </a:lnTo>
                <a:lnTo>
                  <a:pt x="577538" y="263290"/>
                </a:lnTo>
                <a:lnTo>
                  <a:pt x="569630" y="253800"/>
                </a:lnTo>
                <a:lnTo>
                  <a:pt x="561710" y="244310"/>
                </a:lnTo>
                <a:close/>
              </a:path>
              <a:path w="597524" h="1189422">
                <a:moveTo>
                  <a:pt x="597524" y="403926"/>
                </a:moveTo>
                <a:lnTo>
                  <a:pt x="596510" y="392977"/>
                </a:lnTo>
                <a:lnTo>
                  <a:pt x="594747" y="391584"/>
                </a:lnTo>
                <a:lnTo>
                  <a:pt x="591561" y="388836"/>
                </a:lnTo>
                <a:lnTo>
                  <a:pt x="588681" y="386426"/>
                </a:lnTo>
                <a:lnTo>
                  <a:pt x="597524" y="403926"/>
                </a:lnTo>
                <a:close/>
              </a:path>
              <a:path w="597524" h="1189422">
                <a:moveTo>
                  <a:pt x="434344" y="101907"/>
                </a:moveTo>
                <a:lnTo>
                  <a:pt x="432309" y="99867"/>
                </a:lnTo>
                <a:lnTo>
                  <a:pt x="430546" y="218542"/>
                </a:lnTo>
                <a:lnTo>
                  <a:pt x="438260" y="228453"/>
                </a:lnTo>
                <a:lnTo>
                  <a:pt x="446145" y="238384"/>
                </a:lnTo>
                <a:lnTo>
                  <a:pt x="454200" y="248355"/>
                </a:lnTo>
                <a:lnTo>
                  <a:pt x="462425" y="258384"/>
                </a:lnTo>
                <a:lnTo>
                  <a:pt x="470821" y="268490"/>
                </a:lnTo>
                <a:lnTo>
                  <a:pt x="479388" y="278693"/>
                </a:lnTo>
                <a:lnTo>
                  <a:pt x="488125" y="289012"/>
                </a:lnTo>
                <a:lnTo>
                  <a:pt x="497033" y="299466"/>
                </a:lnTo>
                <a:lnTo>
                  <a:pt x="504939" y="308704"/>
                </a:lnTo>
                <a:lnTo>
                  <a:pt x="513199" y="315229"/>
                </a:lnTo>
                <a:lnTo>
                  <a:pt x="514962" y="316621"/>
                </a:lnTo>
                <a:lnTo>
                  <a:pt x="518147" y="319369"/>
                </a:lnTo>
                <a:lnTo>
                  <a:pt x="518194" y="462469"/>
                </a:lnTo>
                <a:lnTo>
                  <a:pt x="528110" y="454140"/>
                </a:lnTo>
                <a:lnTo>
                  <a:pt x="538026" y="446101"/>
                </a:lnTo>
                <a:lnTo>
                  <a:pt x="541647" y="341006"/>
                </a:lnTo>
                <a:lnTo>
                  <a:pt x="545795" y="225327"/>
                </a:lnTo>
                <a:lnTo>
                  <a:pt x="537779" y="215835"/>
                </a:lnTo>
                <a:lnTo>
                  <a:pt x="539650" y="339038"/>
                </a:lnTo>
                <a:lnTo>
                  <a:pt x="537105" y="336614"/>
                </a:lnTo>
                <a:lnTo>
                  <a:pt x="532367" y="332102"/>
                </a:lnTo>
                <a:lnTo>
                  <a:pt x="527735" y="327829"/>
                </a:lnTo>
                <a:lnTo>
                  <a:pt x="522930" y="323495"/>
                </a:lnTo>
                <a:lnTo>
                  <a:pt x="529708" y="206343"/>
                </a:lnTo>
                <a:lnTo>
                  <a:pt x="521573" y="196850"/>
                </a:lnTo>
                <a:lnTo>
                  <a:pt x="521028" y="321780"/>
                </a:lnTo>
                <a:lnTo>
                  <a:pt x="521573" y="196850"/>
                </a:lnTo>
                <a:lnTo>
                  <a:pt x="513363" y="187357"/>
                </a:lnTo>
                <a:lnTo>
                  <a:pt x="511260" y="313607"/>
                </a:lnTo>
                <a:lnTo>
                  <a:pt x="505067" y="177863"/>
                </a:lnTo>
                <a:lnTo>
                  <a:pt x="496676" y="168369"/>
                </a:lnTo>
                <a:lnTo>
                  <a:pt x="488177" y="158875"/>
                </a:lnTo>
                <a:lnTo>
                  <a:pt x="479561" y="149381"/>
                </a:lnTo>
                <a:lnTo>
                  <a:pt x="470816" y="139886"/>
                </a:lnTo>
                <a:lnTo>
                  <a:pt x="461933" y="130391"/>
                </a:lnTo>
                <a:lnTo>
                  <a:pt x="452900" y="120897"/>
                </a:lnTo>
                <a:lnTo>
                  <a:pt x="443707" y="111402"/>
                </a:lnTo>
                <a:lnTo>
                  <a:pt x="434344" y="101907"/>
                </a:lnTo>
                <a:close/>
              </a:path>
              <a:path w="597524" h="1189422">
                <a:moveTo>
                  <a:pt x="566733" y="911319"/>
                </a:moveTo>
                <a:lnTo>
                  <a:pt x="570511" y="923215"/>
                </a:lnTo>
                <a:lnTo>
                  <a:pt x="576117" y="935610"/>
                </a:lnTo>
                <a:lnTo>
                  <a:pt x="583342" y="948294"/>
                </a:lnTo>
                <a:lnTo>
                  <a:pt x="595116" y="962848"/>
                </a:lnTo>
                <a:lnTo>
                  <a:pt x="604413" y="971124"/>
                </a:lnTo>
                <a:lnTo>
                  <a:pt x="614385" y="978157"/>
                </a:lnTo>
                <a:lnTo>
                  <a:pt x="624920" y="983926"/>
                </a:lnTo>
                <a:lnTo>
                  <a:pt x="635910" y="988407"/>
                </a:lnTo>
                <a:lnTo>
                  <a:pt x="647241" y="991580"/>
                </a:lnTo>
                <a:lnTo>
                  <a:pt x="658805" y="993421"/>
                </a:lnTo>
                <a:lnTo>
                  <a:pt x="670490" y="993908"/>
                </a:lnTo>
                <a:lnTo>
                  <a:pt x="682185" y="993020"/>
                </a:lnTo>
                <a:lnTo>
                  <a:pt x="693779" y="990733"/>
                </a:lnTo>
                <a:lnTo>
                  <a:pt x="705163" y="987027"/>
                </a:lnTo>
                <a:lnTo>
                  <a:pt x="716225" y="981878"/>
                </a:lnTo>
                <a:lnTo>
                  <a:pt x="726854" y="975264"/>
                </a:lnTo>
                <a:lnTo>
                  <a:pt x="731833" y="971512"/>
                </a:lnTo>
                <a:lnTo>
                  <a:pt x="741866" y="960946"/>
                </a:lnTo>
                <a:lnTo>
                  <a:pt x="748729" y="950380"/>
                </a:lnTo>
                <a:lnTo>
                  <a:pt x="749998" y="944273"/>
                </a:lnTo>
                <a:lnTo>
                  <a:pt x="764747" y="947379"/>
                </a:lnTo>
                <a:lnTo>
                  <a:pt x="779285" y="950109"/>
                </a:lnTo>
                <a:lnTo>
                  <a:pt x="793598" y="952487"/>
                </a:lnTo>
                <a:lnTo>
                  <a:pt x="807676" y="954538"/>
                </a:lnTo>
                <a:lnTo>
                  <a:pt x="821506" y="956285"/>
                </a:lnTo>
                <a:lnTo>
                  <a:pt x="835075" y="957754"/>
                </a:lnTo>
                <a:lnTo>
                  <a:pt x="848372" y="958967"/>
                </a:lnTo>
                <a:lnTo>
                  <a:pt x="861384" y="959951"/>
                </a:lnTo>
                <a:lnTo>
                  <a:pt x="874099" y="960728"/>
                </a:lnTo>
                <a:lnTo>
                  <a:pt x="886504" y="961323"/>
                </a:lnTo>
                <a:lnTo>
                  <a:pt x="898588" y="961760"/>
                </a:lnTo>
                <a:lnTo>
                  <a:pt x="910338" y="962064"/>
                </a:lnTo>
                <a:lnTo>
                  <a:pt x="921741" y="962259"/>
                </a:lnTo>
                <a:lnTo>
                  <a:pt x="943462" y="962419"/>
                </a:lnTo>
                <a:lnTo>
                  <a:pt x="958727" y="962432"/>
                </a:lnTo>
                <a:lnTo>
                  <a:pt x="948029" y="972286"/>
                </a:lnTo>
                <a:lnTo>
                  <a:pt x="937748" y="980852"/>
                </a:lnTo>
                <a:lnTo>
                  <a:pt x="928309" y="988972"/>
                </a:lnTo>
                <a:lnTo>
                  <a:pt x="920135" y="997492"/>
                </a:lnTo>
                <a:lnTo>
                  <a:pt x="913652" y="1007256"/>
                </a:lnTo>
                <a:lnTo>
                  <a:pt x="913361" y="1007831"/>
                </a:lnTo>
                <a:lnTo>
                  <a:pt x="898319" y="1018388"/>
                </a:lnTo>
                <a:lnTo>
                  <a:pt x="867855" y="1037513"/>
                </a:lnTo>
                <a:lnTo>
                  <a:pt x="836928" y="1054079"/>
                </a:lnTo>
                <a:lnTo>
                  <a:pt x="805593" y="1068193"/>
                </a:lnTo>
                <a:lnTo>
                  <a:pt x="773904" y="1079964"/>
                </a:lnTo>
                <a:lnTo>
                  <a:pt x="741914" y="1089502"/>
                </a:lnTo>
                <a:lnTo>
                  <a:pt x="709679" y="1096916"/>
                </a:lnTo>
                <a:lnTo>
                  <a:pt x="677252" y="1102314"/>
                </a:lnTo>
                <a:lnTo>
                  <a:pt x="644688" y="1105805"/>
                </a:lnTo>
                <a:lnTo>
                  <a:pt x="612041" y="1107498"/>
                </a:lnTo>
                <a:lnTo>
                  <a:pt x="595703" y="1107705"/>
                </a:lnTo>
                <a:lnTo>
                  <a:pt x="578007" y="1107431"/>
                </a:lnTo>
                <a:lnTo>
                  <a:pt x="542696" y="1105222"/>
                </a:lnTo>
                <a:lnTo>
                  <a:pt x="507631" y="1100753"/>
                </a:lnTo>
                <a:lnTo>
                  <a:pt x="472974" y="1093968"/>
                </a:lnTo>
                <a:lnTo>
                  <a:pt x="438889" y="1084814"/>
                </a:lnTo>
                <a:lnTo>
                  <a:pt x="405539" y="1073235"/>
                </a:lnTo>
                <a:lnTo>
                  <a:pt x="373088" y="1059178"/>
                </a:lnTo>
                <a:lnTo>
                  <a:pt x="341699" y="1042587"/>
                </a:lnTo>
                <a:lnTo>
                  <a:pt x="311535" y="1023409"/>
                </a:lnTo>
                <a:lnTo>
                  <a:pt x="282760" y="1001589"/>
                </a:lnTo>
                <a:lnTo>
                  <a:pt x="268944" y="989671"/>
                </a:lnTo>
                <a:lnTo>
                  <a:pt x="288555" y="1103129"/>
                </a:lnTo>
                <a:lnTo>
                  <a:pt x="311967" y="1116774"/>
                </a:lnTo>
                <a:lnTo>
                  <a:pt x="335889" y="1129269"/>
                </a:lnTo>
                <a:lnTo>
                  <a:pt x="360288" y="1140606"/>
                </a:lnTo>
                <a:lnTo>
                  <a:pt x="410379" y="1159780"/>
                </a:lnTo>
                <a:lnTo>
                  <a:pt x="461967" y="1174242"/>
                </a:lnTo>
                <a:lnTo>
                  <a:pt x="514781" y="1183936"/>
                </a:lnTo>
                <a:lnTo>
                  <a:pt x="541562" y="1186979"/>
                </a:lnTo>
                <a:lnTo>
                  <a:pt x="568547" y="1188810"/>
                </a:lnTo>
                <a:lnTo>
                  <a:pt x="595703" y="1189422"/>
                </a:lnTo>
                <a:lnTo>
                  <a:pt x="614760" y="1189147"/>
                </a:lnTo>
                <a:lnTo>
                  <a:pt x="652820" y="1186909"/>
                </a:lnTo>
                <a:lnTo>
                  <a:pt x="690716" y="1182328"/>
                </a:lnTo>
                <a:lnTo>
                  <a:pt x="728340" y="1175296"/>
                </a:lnTo>
                <a:lnTo>
                  <a:pt x="765583" y="1165703"/>
                </a:lnTo>
                <a:lnTo>
                  <a:pt x="802335" y="1153441"/>
                </a:lnTo>
                <a:lnTo>
                  <a:pt x="838487" y="1138401"/>
                </a:lnTo>
                <a:lnTo>
                  <a:pt x="873931" y="1120473"/>
                </a:lnTo>
                <a:lnTo>
                  <a:pt x="908558" y="1099549"/>
                </a:lnTo>
                <a:lnTo>
                  <a:pt x="942259" y="1075519"/>
                </a:lnTo>
                <a:lnTo>
                  <a:pt x="996574" y="1031085"/>
                </a:lnTo>
                <a:lnTo>
                  <a:pt x="1031132" y="997488"/>
                </a:lnTo>
                <a:lnTo>
                  <a:pt x="1062383" y="961725"/>
                </a:lnTo>
                <a:lnTo>
                  <a:pt x="1090304" y="924008"/>
                </a:lnTo>
                <a:lnTo>
                  <a:pt x="1094888" y="726347"/>
                </a:lnTo>
                <a:lnTo>
                  <a:pt x="1088309" y="720376"/>
                </a:lnTo>
                <a:lnTo>
                  <a:pt x="1080572" y="714262"/>
                </a:lnTo>
                <a:lnTo>
                  <a:pt x="1071821" y="707862"/>
                </a:lnTo>
                <a:lnTo>
                  <a:pt x="1062197" y="701034"/>
                </a:lnTo>
                <a:lnTo>
                  <a:pt x="1051841" y="693638"/>
                </a:lnTo>
                <a:lnTo>
                  <a:pt x="1040896" y="685531"/>
                </a:lnTo>
                <a:lnTo>
                  <a:pt x="1029504" y="676571"/>
                </a:lnTo>
                <a:lnTo>
                  <a:pt x="1017806" y="666617"/>
                </a:lnTo>
                <a:lnTo>
                  <a:pt x="1005945" y="655528"/>
                </a:lnTo>
                <a:lnTo>
                  <a:pt x="1004124" y="653721"/>
                </a:lnTo>
                <a:lnTo>
                  <a:pt x="1009064" y="641999"/>
                </a:lnTo>
                <a:lnTo>
                  <a:pt x="1012246" y="630276"/>
                </a:lnTo>
                <a:lnTo>
                  <a:pt x="1013806" y="618553"/>
                </a:lnTo>
                <a:lnTo>
                  <a:pt x="1013881" y="606830"/>
                </a:lnTo>
                <a:lnTo>
                  <a:pt x="1012607" y="595107"/>
                </a:lnTo>
                <a:lnTo>
                  <a:pt x="1010120" y="583384"/>
                </a:lnTo>
                <a:lnTo>
                  <a:pt x="1006556" y="571662"/>
                </a:lnTo>
                <a:lnTo>
                  <a:pt x="1002052" y="559939"/>
                </a:lnTo>
                <a:lnTo>
                  <a:pt x="996744" y="548216"/>
                </a:lnTo>
                <a:lnTo>
                  <a:pt x="986298" y="536803"/>
                </a:lnTo>
                <a:lnTo>
                  <a:pt x="976712" y="529530"/>
                </a:lnTo>
                <a:lnTo>
                  <a:pt x="966419" y="523035"/>
                </a:lnTo>
                <a:lnTo>
                  <a:pt x="955540" y="517391"/>
                </a:lnTo>
                <a:lnTo>
                  <a:pt x="944196" y="512670"/>
                </a:lnTo>
                <a:lnTo>
                  <a:pt x="932506" y="508944"/>
                </a:lnTo>
                <a:lnTo>
                  <a:pt x="920590" y="506286"/>
                </a:lnTo>
                <a:lnTo>
                  <a:pt x="908569" y="504767"/>
                </a:lnTo>
                <a:lnTo>
                  <a:pt x="896564" y="504461"/>
                </a:lnTo>
                <a:lnTo>
                  <a:pt x="884693" y="505438"/>
                </a:lnTo>
                <a:lnTo>
                  <a:pt x="873078" y="507771"/>
                </a:lnTo>
                <a:lnTo>
                  <a:pt x="861839" y="511533"/>
                </a:lnTo>
                <a:lnTo>
                  <a:pt x="851096" y="516795"/>
                </a:lnTo>
                <a:lnTo>
                  <a:pt x="849829" y="517541"/>
                </a:lnTo>
                <a:lnTo>
                  <a:pt x="841095" y="510181"/>
                </a:lnTo>
                <a:lnTo>
                  <a:pt x="832352" y="502666"/>
                </a:lnTo>
                <a:lnTo>
                  <a:pt x="823592" y="494995"/>
                </a:lnTo>
                <a:lnTo>
                  <a:pt x="814808" y="487169"/>
                </a:lnTo>
                <a:lnTo>
                  <a:pt x="805990" y="479188"/>
                </a:lnTo>
                <a:lnTo>
                  <a:pt x="797131" y="471051"/>
                </a:lnTo>
                <a:lnTo>
                  <a:pt x="788222" y="462758"/>
                </a:lnTo>
                <a:lnTo>
                  <a:pt x="779255" y="454310"/>
                </a:lnTo>
                <a:lnTo>
                  <a:pt x="770222" y="445707"/>
                </a:lnTo>
                <a:lnTo>
                  <a:pt x="761114" y="436948"/>
                </a:lnTo>
                <a:lnTo>
                  <a:pt x="751922" y="428034"/>
                </a:lnTo>
                <a:lnTo>
                  <a:pt x="742639" y="418964"/>
                </a:lnTo>
                <a:lnTo>
                  <a:pt x="733257" y="409739"/>
                </a:lnTo>
                <a:lnTo>
                  <a:pt x="723767" y="400358"/>
                </a:lnTo>
                <a:lnTo>
                  <a:pt x="714160" y="390822"/>
                </a:lnTo>
                <a:lnTo>
                  <a:pt x="704429" y="381130"/>
                </a:lnTo>
                <a:lnTo>
                  <a:pt x="694564" y="371283"/>
                </a:lnTo>
                <a:lnTo>
                  <a:pt x="684559" y="361280"/>
                </a:lnTo>
                <a:lnTo>
                  <a:pt x="677369" y="354087"/>
                </a:lnTo>
                <a:lnTo>
                  <a:pt x="681211" y="216201"/>
                </a:lnTo>
                <a:lnTo>
                  <a:pt x="661334" y="223495"/>
                </a:lnTo>
                <a:lnTo>
                  <a:pt x="641021" y="231796"/>
                </a:lnTo>
                <a:lnTo>
                  <a:pt x="620280" y="241160"/>
                </a:lnTo>
                <a:lnTo>
                  <a:pt x="599116" y="251639"/>
                </a:lnTo>
                <a:lnTo>
                  <a:pt x="577538" y="263290"/>
                </a:lnTo>
                <a:lnTo>
                  <a:pt x="572604" y="371591"/>
                </a:lnTo>
                <a:lnTo>
                  <a:pt x="577341" y="376103"/>
                </a:lnTo>
                <a:lnTo>
                  <a:pt x="581973" y="380376"/>
                </a:lnTo>
                <a:lnTo>
                  <a:pt x="586779" y="384710"/>
                </a:lnTo>
                <a:lnTo>
                  <a:pt x="587607" y="410234"/>
                </a:lnTo>
                <a:lnTo>
                  <a:pt x="597524" y="403926"/>
                </a:lnTo>
                <a:lnTo>
                  <a:pt x="588681" y="386426"/>
                </a:lnTo>
                <a:lnTo>
                  <a:pt x="591561" y="388836"/>
                </a:lnTo>
                <a:lnTo>
                  <a:pt x="596510" y="392977"/>
                </a:lnTo>
                <a:lnTo>
                  <a:pt x="598448" y="394598"/>
                </a:lnTo>
                <a:lnTo>
                  <a:pt x="596510" y="392977"/>
                </a:lnTo>
                <a:lnTo>
                  <a:pt x="597524" y="403926"/>
                </a:lnTo>
                <a:lnTo>
                  <a:pt x="604770" y="399501"/>
                </a:lnTo>
                <a:lnTo>
                  <a:pt x="614365" y="408968"/>
                </a:lnTo>
                <a:lnTo>
                  <a:pt x="624083" y="418305"/>
                </a:lnTo>
                <a:lnTo>
                  <a:pt x="633910" y="427519"/>
                </a:lnTo>
                <a:lnTo>
                  <a:pt x="643832" y="436618"/>
                </a:lnTo>
                <a:lnTo>
                  <a:pt x="653835" y="445608"/>
                </a:lnTo>
                <a:lnTo>
                  <a:pt x="663907" y="454496"/>
                </a:lnTo>
                <a:lnTo>
                  <a:pt x="674033" y="463288"/>
                </a:lnTo>
                <a:lnTo>
                  <a:pt x="684199" y="471992"/>
                </a:lnTo>
                <a:lnTo>
                  <a:pt x="694393" y="480614"/>
                </a:lnTo>
                <a:lnTo>
                  <a:pt x="704601" y="489161"/>
                </a:lnTo>
                <a:lnTo>
                  <a:pt x="714808" y="497640"/>
                </a:lnTo>
                <a:lnTo>
                  <a:pt x="725002" y="506057"/>
                </a:lnTo>
                <a:lnTo>
                  <a:pt x="735169" y="514419"/>
                </a:lnTo>
                <a:lnTo>
                  <a:pt x="745295" y="522734"/>
                </a:lnTo>
                <a:lnTo>
                  <a:pt x="755366" y="531007"/>
                </a:lnTo>
                <a:lnTo>
                  <a:pt x="765370" y="539246"/>
                </a:lnTo>
                <a:lnTo>
                  <a:pt x="775292" y="547458"/>
                </a:lnTo>
                <a:lnTo>
                  <a:pt x="785118" y="555649"/>
                </a:lnTo>
                <a:lnTo>
                  <a:pt x="794836" y="563825"/>
                </a:lnTo>
                <a:lnTo>
                  <a:pt x="804432" y="571995"/>
                </a:lnTo>
                <a:lnTo>
                  <a:pt x="799219" y="584006"/>
                </a:lnTo>
                <a:lnTo>
                  <a:pt x="795335" y="596442"/>
                </a:lnTo>
                <a:lnTo>
                  <a:pt x="792846" y="609099"/>
                </a:lnTo>
                <a:lnTo>
                  <a:pt x="791820" y="621776"/>
                </a:lnTo>
                <a:lnTo>
                  <a:pt x="792326" y="634267"/>
                </a:lnTo>
                <a:lnTo>
                  <a:pt x="794432" y="646371"/>
                </a:lnTo>
                <a:lnTo>
                  <a:pt x="798205" y="657883"/>
                </a:lnTo>
                <a:lnTo>
                  <a:pt x="803713" y="668602"/>
                </a:lnTo>
                <a:lnTo>
                  <a:pt x="811026" y="678324"/>
                </a:lnTo>
                <a:lnTo>
                  <a:pt x="813530" y="680964"/>
                </a:lnTo>
                <a:lnTo>
                  <a:pt x="821553" y="691608"/>
                </a:lnTo>
                <a:lnTo>
                  <a:pt x="830491" y="700951"/>
                </a:lnTo>
                <a:lnTo>
                  <a:pt x="840218" y="708993"/>
                </a:lnTo>
                <a:lnTo>
                  <a:pt x="850607" y="715734"/>
                </a:lnTo>
                <a:lnTo>
                  <a:pt x="861533" y="721174"/>
                </a:lnTo>
                <a:lnTo>
                  <a:pt x="872871" y="725314"/>
                </a:lnTo>
                <a:lnTo>
                  <a:pt x="884494" y="728153"/>
                </a:lnTo>
                <a:lnTo>
                  <a:pt x="896278" y="729692"/>
                </a:lnTo>
                <a:lnTo>
                  <a:pt x="908095" y="729930"/>
                </a:lnTo>
                <a:lnTo>
                  <a:pt x="919821" y="728868"/>
                </a:lnTo>
                <a:lnTo>
                  <a:pt x="931330" y="726505"/>
                </a:lnTo>
                <a:lnTo>
                  <a:pt x="942497" y="722842"/>
                </a:lnTo>
                <a:lnTo>
                  <a:pt x="953195" y="717878"/>
                </a:lnTo>
                <a:lnTo>
                  <a:pt x="963298" y="711614"/>
                </a:lnTo>
                <a:lnTo>
                  <a:pt x="967825" y="708206"/>
                </a:lnTo>
                <a:lnTo>
                  <a:pt x="976892" y="699135"/>
                </a:lnTo>
                <a:lnTo>
                  <a:pt x="989847" y="709207"/>
                </a:lnTo>
                <a:lnTo>
                  <a:pt x="1002288" y="718352"/>
                </a:lnTo>
                <a:lnTo>
                  <a:pt x="1014216" y="726670"/>
                </a:lnTo>
                <a:lnTo>
                  <a:pt x="1025630" y="734262"/>
                </a:lnTo>
                <a:lnTo>
                  <a:pt x="1036532" y="741226"/>
                </a:lnTo>
                <a:lnTo>
                  <a:pt x="1046921" y="747663"/>
                </a:lnTo>
                <a:lnTo>
                  <a:pt x="1056797" y="753672"/>
                </a:lnTo>
                <a:lnTo>
                  <a:pt x="1066160" y="759352"/>
                </a:lnTo>
                <a:lnTo>
                  <a:pt x="1075012" y="764805"/>
                </a:lnTo>
                <a:lnTo>
                  <a:pt x="1083351" y="770128"/>
                </a:lnTo>
                <a:lnTo>
                  <a:pt x="1085821" y="771761"/>
                </a:lnTo>
                <a:lnTo>
                  <a:pt x="1080324" y="782732"/>
                </a:lnTo>
                <a:lnTo>
                  <a:pt x="1074771" y="793702"/>
                </a:lnTo>
                <a:lnTo>
                  <a:pt x="1069108" y="804673"/>
                </a:lnTo>
                <a:lnTo>
                  <a:pt x="1063279" y="815644"/>
                </a:lnTo>
                <a:lnTo>
                  <a:pt x="1057228" y="826614"/>
                </a:lnTo>
                <a:lnTo>
                  <a:pt x="1050900" y="837585"/>
                </a:lnTo>
                <a:lnTo>
                  <a:pt x="1044240" y="848556"/>
                </a:lnTo>
                <a:lnTo>
                  <a:pt x="1037192" y="859526"/>
                </a:lnTo>
                <a:lnTo>
                  <a:pt x="1029701" y="870497"/>
                </a:lnTo>
                <a:lnTo>
                  <a:pt x="1022289" y="880699"/>
                </a:lnTo>
                <a:lnTo>
                  <a:pt x="1005288" y="884640"/>
                </a:lnTo>
                <a:lnTo>
                  <a:pt x="988961" y="886811"/>
                </a:lnTo>
                <a:lnTo>
                  <a:pt x="968959" y="888300"/>
                </a:lnTo>
                <a:lnTo>
                  <a:pt x="957665" y="888703"/>
                </a:lnTo>
                <a:lnTo>
                  <a:pt x="945553" y="888834"/>
                </a:lnTo>
                <a:lnTo>
                  <a:pt x="932659" y="888659"/>
                </a:lnTo>
                <a:lnTo>
                  <a:pt x="919016" y="888143"/>
                </a:lnTo>
                <a:lnTo>
                  <a:pt x="904657" y="887252"/>
                </a:lnTo>
                <a:lnTo>
                  <a:pt x="889618" y="885953"/>
                </a:lnTo>
                <a:lnTo>
                  <a:pt x="873932" y="884211"/>
                </a:lnTo>
                <a:lnTo>
                  <a:pt x="857633" y="881992"/>
                </a:lnTo>
                <a:lnTo>
                  <a:pt x="840754" y="879263"/>
                </a:lnTo>
                <a:lnTo>
                  <a:pt x="823331" y="875989"/>
                </a:lnTo>
                <a:lnTo>
                  <a:pt x="805397" y="872136"/>
                </a:lnTo>
                <a:lnTo>
                  <a:pt x="786986" y="867670"/>
                </a:lnTo>
                <a:lnTo>
                  <a:pt x="768132" y="862558"/>
                </a:lnTo>
                <a:lnTo>
                  <a:pt x="765747" y="851928"/>
                </a:lnTo>
                <a:lnTo>
                  <a:pt x="759702" y="839298"/>
                </a:lnTo>
                <a:lnTo>
                  <a:pt x="751664" y="828013"/>
                </a:lnTo>
                <a:lnTo>
                  <a:pt x="749998" y="826245"/>
                </a:lnTo>
                <a:lnTo>
                  <a:pt x="740948" y="816047"/>
                </a:lnTo>
                <a:lnTo>
                  <a:pt x="731287" y="807243"/>
                </a:lnTo>
                <a:lnTo>
                  <a:pt x="721098" y="799834"/>
                </a:lnTo>
                <a:lnTo>
                  <a:pt x="710464" y="793819"/>
                </a:lnTo>
                <a:lnTo>
                  <a:pt x="699469" y="789198"/>
                </a:lnTo>
                <a:lnTo>
                  <a:pt x="688195" y="785972"/>
                </a:lnTo>
                <a:lnTo>
                  <a:pt x="676726" y="784139"/>
                </a:lnTo>
                <a:lnTo>
                  <a:pt x="665145" y="783701"/>
                </a:lnTo>
                <a:lnTo>
                  <a:pt x="653537" y="784656"/>
                </a:lnTo>
                <a:lnTo>
                  <a:pt x="641983" y="787005"/>
                </a:lnTo>
                <a:lnTo>
                  <a:pt x="630567" y="790748"/>
                </a:lnTo>
                <a:lnTo>
                  <a:pt x="619372" y="795884"/>
                </a:lnTo>
                <a:lnTo>
                  <a:pt x="613837" y="799003"/>
                </a:lnTo>
                <a:lnTo>
                  <a:pt x="603741" y="794669"/>
                </a:lnTo>
                <a:lnTo>
                  <a:pt x="593622" y="789781"/>
                </a:lnTo>
                <a:lnTo>
                  <a:pt x="583458" y="784383"/>
                </a:lnTo>
                <a:lnTo>
                  <a:pt x="573226" y="778520"/>
                </a:lnTo>
                <a:lnTo>
                  <a:pt x="562905" y="772236"/>
                </a:lnTo>
                <a:lnTo>
                  <a:pt x="552473" y="765575"/>
                </a:lnTo>
                <a:lnTo>
                  <a:pt x="541907" y="758582"/>
                </a:lnTo>
                <a:lnTo>
                  <a:pt x="531185" y="751301"/>
                </a:lnTo>
                <a:lnTo>
                  <a:pt x="520285" y="743777"/>
                </a:lnTo>
                <a:lnTo>
                  <a:pt x="509185" y="736054"/>
                </a:lnTo>
                <a:lnTo>
                  <a:pt x="497863" y="728176"/>
                </a:lnTo>
                <a:lnTo>
                  <a:pt x="486298" y="720187"/>
                </a:lnTo>
                <a:lnTo>
                  <a:pt x="474465" y="712133"/>
                </a:lnTo>
                <a:lnTo>
                  <a:pt x="468609" y="708206"/>
                </a:lnTo>
                <a:lnTo>
                  <a:pt x="458068" y="698169"/>
                </a:lnTo>
                <a:lnTo>
                  <a:pt x="447494" y="691303"/>
                </a:lnTo>
                <a:lnTo>
                  <a:pt x="441377" y="690034"/>
                </a:lnTo>
                <a:lnTo>
                  <a:pt x="436273" y="798666"/>
                </a:lnTo>
                <a:lnTo>
                  <a:pt x="447023" y="806893"/>
                </a:lnTo>
                <a:lnTo>
                  <a:pt x="457622" y="814706"/>
                </a:lnTo>
                <a:lnTo>
                  <a:pt x="468105" y="822143"/>
                </a:lnTo>
                <a:lnTo>
                  <a:pt x="478509" y="829238"/>
                </a:lnTo>
                <a:lnTo>
                  <a:pt x="488869" y="836029"/>
                </a:lnTo>
                <a:lnTo>
                  <a:pt x="499220" y="842550"/>
                </a:lnTo>
                <a:lnTo>
                  <a:pt x="509600" y="848838"/>
                </a:lnTo>
                <a:lnTo>
                  <a:pt x="520043" y="854929"/>
                </a:lnTo>
                <a:lnTo>
                  <a:pt x="530586" y="860858"/>
                </a:lnTo>
                <a:lnTo>
                  <a:pt x="541264" y="866662"/>
                </a:lnTo>
                <a:lnTo>
                  <a:pt x="552113" y="872375"/>
                </a:lnTo>
                <a:lnTo>
                  <a:pt x="563169" y="878036"/>
                </a:lnTo>
                <a:lnTo>
                  <a:pt x="568470" y="880699"/>
                </a:lnTo>
                <a:lnTo>
                  <a:pt x="565503" y="889853"/>
                </a:lnTo>
                <a:lnTo>
                  <a:pt x="564993" y="900129"/>
                </a:lnTo>
                <a:lnTo>
                  <a:pt x="566733" y="911319"/>
                </a:lnTo>
                <a:close/>
              </a:path>
              <a:path w="597524" h="1189422">
                <a:moveTo>
                  <a:pt x="121024" y="804803"/>
                </a:moveTo>
                <a:lnTo>
                  <a:pt x="108986" y="775250"/>
                </a:lnTo>
                <a:lnTo>
                  <a:pt x="98909" y="745233"/>
                </a:lnTo>
                <a:lnTo>
                  <a:pt x="90772" y="714842"/>
                </a:lnTo>
                <a:lnTo>
                  <a:pt x="84554" y="684165"/>
                </a:lnTo>
                <a:lnTo>
                  <a:pt x="95607" y="913073"/>
                </a:lnTo>
                <a:lnTo>
                  <a:pt x="123725" y="953352"/>
                </a:lnTo>
                <a:lnTo>
                  <a:pt x="141827" y="975959"/>
                </a:lnTo>
                <a:lnTo>
                  <a:pt x="160712" y="997470"/>
                </a:lnTo>
                <a:lnTo>
                  <a:pt x="169104" y="889800"/>
                </a:lnTo>
                <a:lnTo>
                  <a:pt x="151062" y="862167"/>
                </a:lnTo>
                <a:lnTo>
                  <a:pt x="135042" y="833805"/>
                </a:lnTo>
                <a:lnTo>
                  <a:pt x="121024" y="804803"/>
                </a:lnTo>
                <a:close/>
              </a:path>
              <a:path w="597524" h="1189422">
                <a:moveTo>
                  <a:pt x="505067" y="177863"/>
                </a:moveTo>
                <a:lnTo>
                  <a:pt x="511260" y="313607"/>
                </a:lnTo>
                <a:lnTo>
                  <a:pt x="513363" y="187357"/>
                </a:lnTo>
                <a:lnTo>
                  <a:pt x="505067" y="177863"/>
                </a:lnTo>
                <a:close/>
              </a:path>
              <a:path w="597524" h="1189422">
                <a:moveTo>
                  <a:pt x="529708" y="206343"/>
                </a:moveTo>
                <a:lnTo>
                  <a:pt x="530461" y="330287"/>
                </a:lnTo>
                <a:lnTo>
                  <a:pt x="537779" y="215835"/>
                </a:lnTo>
                <a:lnTo>
                  <a:pt x="529708" y="206343"/>
                </a:lnTo>
                <a:close/>
              </a:path>
              <a:path w="597524" h="1189422">
                <a:moveTo>
                  <a:pt x="194798" y="149258"/>
                </a:moveTo>
                <a:lnTo>
                  <a:pt x="160242" y="182854"/>
                </a:lnTo>
                <a:lnTo>
                  <a:pt x="128995" y="218615"/>
                </a:lnTo>
                <a:lnTo>
                  <a:pt x="101075" y="256331"/>
                </a:lnTo>
                <a:lnTo>
                  <a:pt x="76505" y="295791"/>
                </a:lnTo>
                <a:lnTo>
                  <a:pt x="55304" y="336783"/>
                </a:lnTo>
                <a:lnTo>
                  <a:pt x="37493" y="379096"/>
                </a:lnTo>
                <a:lnTo>
                  <a:pt x="23092" y="422519"/>
                </a:lnTo>
                <a:lnTo>
                  <a:pt x="12122" y="466842"/>
                </a:lnTo>
                <a:lnTo>
                  <a:pt x="4602" y="511852"/>
                </a:lnTo>
                <a:lnTo>
                  <a:pt x="555" y="557339"/>
                </a:lnTo>
                <a:lnTo>
                  <a:pt x="0" y="603092"/>
                </a:lnTo>
                <a:lnTo>
                  <a:pt x="2957" y="648900"/>
                </a:lnTo>
                <a:lnTo>
                  <a:pt x="9447" y="694551"/>
                </a:lnTo>
                <a:lnTo>
                  <a:pt x="19490" y="739835"/>
                </a:lnTo>
                <a:lnTo>
                  <a:pt x="33107" y="784540"/>
                </a:lnTo>
                <a:lnTo>
                  <a:pt x="50319" y="828455"/>
                </a:lnTo>
                <a:lnTo>
                  <a:pt x="71146" y="871370"/>
                </a:lnTo>
                <a:lnTo>
                  <a:pt x="95607" y="913073"/>
                </a:lnTo>
                <a:lnTo>
                  <a:pt x="84554" y="684165"/>
                </a:lnTo>
                <a:lnTo>
                  <a:pt x="80235" y="653291"/>
                </a:lnTo>
                <a:lnTo>
                  <a:pt x="77795" y="622307"/>
                </a:lnTo>
                <a:lnTo>
                  <a:pt x="77213" y="591304"/>
                </a:lnTo>
                <a:lnTo>
                  <a:pt x="78469" y="560369"/>
                </a:lnTo>
                <a:lnTo>
                  <a:pt x="81543" y="529590"/>
                </a:lnTo>
                <a:lnTo>
                  <a:pt x="86413" y="499057"/>
                </a:lnTo>
                <a:lnTo>
                  <a:pt x="93060" y="468858"/>
                </a:lnTo>
                <a:lnTo>
                  <a:pt x="101463" y="439081"/>
                </a:lnTo>
                <a:lnTo>
                  <a:pt x="111601" y="409815"/>
                </a:lnTo>
                <a:lnTo>
                  <a:pt x="123455" y="381149"/>
                </a:lnTo>
                <a:lnTo>
                  <a:pt x="137004" y="353171"/>
                </a:lnTo>
                <a:lnTo>
                  <a:pt x="152227" y="325970"/>
                </a:lnTo>
                <a:lnTo>
                  <a:pt x="169104" y="299633"/>
                </a:lnTo>
                <a:lnTo>
                  <a:pt x="167512" y="309346"/>
                </a:lnTo>
                <a:lnTo>
                  <a:pt x="165976" y="319270"/>
                </a:lnTo>
                <a:lnTo>
                  <a:pt x="164551" y="329428"/>
                </a:lnTo>
                <a:lnTo>
                  <a:pt x="163292" y="339841"/>
                </a:lnTo>
                <a:lnTo>
                  <a:pt x="162255" y="350533"/>
                </a:lnTo>
                <a:lnTo>
                  <a:pt x="161495" y="361524"/>
                </a:lnTo>
                <a:lnTo>
                  <a:pt x="161067" y="372837"/>
                </a:lnTo>
                <a:lnTo>
                  <a:pt x="161029" y="384496"/>
                </a:lnTo>
                <a:lnTo>
                  <a:pt x="161434" y="396520"/>
                </a:lnTo>
                <a:lnTo>
                  <a:pt x="162338" y="408934"/>
                </a:lnTo>
                <a:lnTo>
                  <a:pt x="163798" y="421759"/>
                </a:lnTo>
                <a:lnTo>
                  <a:pt x="165868" y="435017"/>
                </a:lnTo>
                <a:lnTo>
                  <a:pt x="168604" y="448730"/>
                </a:lnTo>
                <a:lnTo>
                  <a:pt x="172062" y="462921"/>
                </a:lnTo>
                <a:lnTo>
                  <a:pt x="176296" y="477612"/>
                </a:lnTo>
                <a:lnTo>
                  <a:pt x="181364" y="492824"/>
                </a:lnTo>
                <a:lnTo>
                  <a:pt x="187262" y="508439"/>
                </a:lnTo>
                <a:lnTo>
                  <a:pt x="181015" y="518459"/>
                </a:lnTo>
                <a:lnTo>
                  <a:pt x="175393" y="528837"/>
                </a:lnTo>
                <a:lnTo>
                  <a:pt x="170433" y="539537"/>
                </a:lnTo>
                <a:lnTo>
                  <a:pt x="166170" y="550524"/>
                </a:lnTo>
                <a:lnTo>
                  <a:pt x="162639" y="561764"/>
                </a:lnTo>
                <a:lnTo>
                  <a:pt x="159877" y="573219"/>
                </a:lnTo>
                <a:lnTo>
                  <a:pt x="157918" y="584855"/>
                </a:lnTo>
                <a:lnTo>
                  <a:pt x="156799" y="596637"/>
                </a:lnTo>
                <a:lnTo>
                  <a:pt x="156555" y="608529"/>
                </a:lnTo>
                <a:lnTo>
                  <a:pt x="157222" y="620495"/>
                </a:lnTo>
                <a:lnTo>
                  <a:pt x="158834" y="632500"/>
                </a:lnTo>
                <a:lnTo>
                  <a:pt x="161428" y="644508"/>
                </a:lnTo>
                <a:lnTo>
                  <a:pt x="165040" y="656485"/>
                </a:lnTo>
                <a:lnTo>
                  <a:pt x="169705" y="668394"/>
                </a:lnTo>
                <a:lnTo>
                  <a:pt x="175458" y="680200"/>
                </a:lnTo>
                <a:lnTo>
                  <a:pt x="182335" y="691868"/>
                </a:lnTo>
                <a:lnTo>
                  <a:pt x="187262" y="699135"/>
                </a:lnTo>
                <a:lnTo>
                  <a:pt x="196327" y="699135"/>
                </a:lnTo>
                <a:lnTo>
                  <a:pt x="196327" y="708206"/>
                </a:lnTo>
                <a:lnTo>
                  <a:pt x="192692" y="721390"/>
                </a:lnTo>
                <a:lnTo>
                  <a:pt x="189318" y="734556"/>
                </a:lnTo>
                <a:lnTo>
                  <a:pt x="186204" y="747686"/>
                </a:lnTo>
                <a:lnTo>
                  <a:pt x="183350" y="760762"/>
                </a:lnTo>
                <a:lnTo>
                  <a:pt x="180756" y="773766"/>
                </a:lnTo>
                <a:lnTo>
                  <a:pt x="178423" y="786680"/>
                </a:lnTo>
                <a:lnTo>
                  <a:pt x="176350" y="799485"/>
                </a:lnTo>
                <a:lnTo>
                  <a:pt x="174537" y="812165"/>
                </a:lnTo>
                <a:lnTo>
                  <a:pt x="172985" y="824701"/>
                </a:lnTo>
                <a:lnTo>
                  <a:pt x="171693" y="837075"/>
                </a:lnTo>
                <a:lnTo>
                  <a:pt x="170662" y="849268"/>
                </a:lnTo>
                <a:lnTo>
                  <a:pt x="169891" y="861264"/>
                </a:lnTo>
                <a:lnTo>
                  <a:pt x="169381" y="873044"/>
                </a:lnTo>
                <a:lnTo>
                  <a:pt x="169131" y="884589"/>
                </a:lnTo>
                <a:lnTo>
                  <a:pt x="169104" y="889800"/>
                </a:lnTo>
                <a:lnTo>
                  <a:pt x="160712" y="997470"/>
                </a:lnTo>
                <a:lnTo>
                  <a:pt x="180346" y="1017877"/>
                </a:lnTo>
                <a:lnTo>
                  <a:pt x="200694" y="1037175"/>
                </a:lnTo>
                <a:lnTo>
                  <a:pt x="221724" y="1055355"/>
                </a:lnTo>
                <a:lnTo>
                  <a:pt x="243399" y="1072413"/>
                </a:lnTo>
                <a:lnTo>
                  <a:pt x="265688" y="1088339"/>
                </a:lnTo>
                <a:lnTo>
                  <a:pt x="288555" y="1103129"/>
                </a:lnTo>
                <a:lnTo>
                  <a:pt x="268944" y="989671"/>
                </a:lnTo>
                <a:lnTo>
                  <a:pt x="267669" y="980881"/>
                </a:lnTo>
                <a:lnTo>
                  <a:pt x="266701" y="971649"/>
                </a:lnTo>
                <a:lnTo>
                  <a:pt x="266048" y="961985"/>
                </a:lnTo>
                <a:lnTo>
                  <a:pt x="265717" y="951894"/>
                </a:lnTo>
                <a:lnTo>
                  <a:pt x="265717" y="941387"/>
                </a:lnTo>
                <a:lnTo>
                  <a:pt x="266055" y="930469"/>
                </a:lnTo>
                <a:lnTo>
                  <a:pt x="266738" y="919149"/>
                </a:lnTo>
                <a:lnTo>
                  <a:pt x="267776" y="907435"/>
                </a:lnTo>
                <a:lnTo>
                  <a:pt x="269176" y="895335"/>
                </a:lnTo>
                <a:lnTo>
                  <a:pt x="270946" y="882856"/>
                </a:lnTo>
                <a:lnTo>
                  <a:pt x="273093" y="870006"/>
                </a:lnTo>
                <a:lnTo>
                  <a:pt x="275626" y="856793"/>
                </a:lnTo>
                <a:lnTo>
                  <a:pt x="278552" y="843225"/>
                </a:lnTo>
                <a:lnTo>
                  <a:pt x="281879" y="829310"/>
                </a:lnTo>
                <a:lnTo>
                  <a:pt x="285615" y="815055"/>
                </a:lnTo>
                <a:lnTo>
                  <a:pt x="289768" y="800468"/>
                </a:lnTo>
                <a:lnTo>
                  <a:pt x="294347" y="785557"/>
                </a:lnTo>
                <a:lnTo>
                  <a:pt x="299358" y="770330"/>
                </a:lnTo>
                <a:lnTo>
                  <a:pt x="304809" y="754795"/>
                </a:lnTo>
                <a:lnTo>
                  <a:pt x="305246" y="753589"/>
                </a:lnTo>
                <a:lnTo>
                  <a:pt x="316062" y="756875"/>
                </a:lnTo>
                <a:lnTo>
                  <a:pt x="328037" y="757154"/>
                </a:lnTo>
                <a:lnTo>
                  <a:pt x="340498" y="755103"/>
                </a:lnTo>
                <a:lnTo>
                  <a:pt x="352767" y="751402"/>
                </a:lnTo>
                <a:lnTo>
                  <a:pt x="364170" y="746728"/>
                </a:lnTo>
                <a:lnTo>
                  <a:pt x="368778" y="744519"/>
                </a:lnTo>
                <a:lnTo>
                  <a:pt x="379558" y="751577"/>
                </a:lnTo>
                <a:lnTo>
                  <a:pt x="388883" y="760102"/>
                </a:lnTo>
                <a:lnTo>
                  <a:pt x="397885" y="768956"/>
                </a:lnTo>
                <a:lnTo>
                  <a:pt x="407697" y="777001"/>
                </a:lnTo>
                <a:lnTo>
                  <a:pt x="414175" y="780831"/>
                </a:lnTo>
                <a:lnTo>
                  <a:pt x="425335" y="789991"/>
                </a:lnTo>
                <a:lnTo>
                  <a:pt x="436273" y="798666"/>
                </a:lnTo>
                <a:lnTo>
                  <a:pt x="441377" y="690034"/>
                </a:lnTo>
                <a:lnTo>
                  <a:pt x="448702" y="678196"/>
                </a:lnTo>
                <a:lnTo>
                  <a:pt x="454905" y="666359"/>
                </a:lnTo>
                <a:lnTo>
                  <a:pt x="460006" y="654522"/>
                </a:lnTo>
                <a:lnTo>
                  <a:pt x="464026" y="642686"/>
                </a:lnTo>
                <a:lnTo>
                  <a:pt x="466985" y="630851"/>
                </a:lnTo>
                <a:lnTo>
                  <a:pt x="468904" y="619016"/>
                </a:lnTo>
                <a:lnTo>
                  <a:pt x="469804" y="607181"/>
                </a:lnTo>
                <a:lnTo>
                  <a:pt x="469706" y="595345"/>
                </a:lnTo>
                <a:lnTo>
                  <a:pt x="468631" y="583510"/>
                </a:lnTo>
                <a:lnTo>
                  <a:pt x="466599" y="571674"/>
                </a:lnTo>
                <a:lnTo>
                  <a:pt x="463630" y="559838"/>
                </a:lnTo>
                <a:lnTo>
                  <a:pt x="459747" y="548002"/>
                </a:lnTo>
                <a:lnTo>
                  <a:pt x="454968" y="536164"/>
                </a:lnTo>
                <a:lnTo>
                  <a:pt x="450474" y="526611"/>
                </a:lnTo>
                <a:lnTo>
                  <a:pt x="459492" y="521046"/>
                </a:lnTo>
                <a:lnTo>
                  <a:pt x="468609" y="508440"/>
                </a:lnTo>
                <a:lnTo>
                  <a:pt x="478527" y="498668"/>
                </a:lnTo>
                <a:lnTo>
                  <a:pt x="488445" y="489185"/>
                </a:lnTo>
                <a:lnTo>
                  <a:pt x="498362" y="479991"/>
                </a:lnTo>
                <a:lnTo>
                  <a:pt x="508278" y="471085"/>
                </a:lnTo>
                <a:lnTo>
                  <a:pt x="518194" y="462469"/>
                </a:lnTo>
                <a:lnTo>
                  <a:pt x="518147" y="319369"/>
                </a:lnTo>
                <a:lnTo>
                  <a:pt x="513199" y="315229"/>
                </a:lnTo>
                <a:lnTo>
                  <a:pt x="504939" y="308704"/>
                </a:lnTo>
                <a:lnTo>
                  <a:pt x="495700" y="314495"/>
                </a:lnTo>
                <a:lnTo>
                  <a:pt x="486443" y="320753"/>
                </a:lnTo>
                <a:lnTo>
                  <a:pt x="477151" y="327445"/>
                </a:lnTo>
                <a:lnTo>
                  <a:pt x="467808" y="334536"/>
                </a:lnTo>
                <a:lnTo>
                  <a:pt x="458396" y="341992"/>
                </a:lnTo>
                <a:lnTo>
                  <a:pt x="448899" y="349780"/>
                </a:lnTo>
                <a:lnTo>
                  <a:pt x="439299" y="357865"/>
                </a:lnTo>
                <a:lnTo>
                  <a:pt x="429579" y="366214"/>
                </a:lnTo>
                <a:lnTo>
                  <a:pt x="419724" y="374793"/>
                </a:lnTo>
                <a:lnTo>
                  <a:pt x="409715" y="383567"/>
                </a:lnTo>
                <a:lnTo>
                  <a:pt x="399535" y="392503"/>
                </a:lnTo>
                <a:lnTo>
                  <a:pt x="389168" y="401566"/>
                </a:lnTo>
                <a:lnTo>
                  <a:pt x="378598" y="410723"/>
                </a:lnTo>
                <a:lnTo>
                  <a:pt x="367806" y="419940"/>
                </a:lnTo>
                <a:lnTo>
                  <a:pt x="359711" y="426743"/>
                </a:lnTo>
                <a:lnTo>
                  <a:pt x="356146" y="437300"/>
                </a:lnTo>
                <a:lnTo>
                  <a:pt x="347560" y="447867"/>
                </a:lnTo>
                <a:lnTo>
                  <a:pt x="341546" y="453986"/>
                </a:lnTo>
                <a:lnTo>
                  <a:pt x="329147" y="450470"/>
                </a:lnTo>
                <a:lnTo>
                  <a:pt x="316750" y="448213"/>
                </a:lnTo>
                <a:lnTo>
                  <a:pt x="304354" y="447214"/>
                </a:lnTo>
                <a:lnTo>
                  <a:pt x="291960" y="447473"/>
                </a:lnTo>
                <a:lnTo>
                  <a:pt x="279566" y="448990"/>
                </a:lnTo>
                <a:lnTo>
                  <a:pt x="267171" y="451766"/>
                </a:lnTo>
                <a:lnTo>
                  <a:pt x="259880" y="453986"/>
                </a:lnTo>
                <a:lnTo>
                  <a:pt x="252612" y="437221"/>
                </a:lnTo>
                <a:lnTo>
                  <a:pt x="246174" y="420836"/>
                </a:lnTo>
                <a:lnTo>
                  <a:pt x="240529" y="404858"/>
                </a:lnTo>
                <a:lnTo>
                  <a:pt x="235635" y="389318"/>
                </a:lnTo>
                <a:lnTo>
                  <a:pt x="231455" y="374244"/>
                </a:lnTo>
                <a:lnTo>
                  <a:pt x="227947" y="359667"/>
                </a:lnTo>
                <a:lnTo>
                  <a:pt x="225074" y="345616"/>
                </a:lnTo>
                <a:lnTo>
                  <a:pt x="222795" y="332119"/>
                </a:lnTo>
                <a:lnTo>
                  <a:pt x="221072" y="319207"/>
                </a:lnTo>
                <a:lnTo>
                  <a:pt x="219864" y="306910"/>
                </a:lnTo>
                <a:lnTo>
                  <a:pt x="219133" y="295255"/>
                </a:lnTo>
                <a:lnTo>
                  <a:pt x="218839" y="284274"/>
                </a:lnTo>
                <a:lnTo>
                  <a:pt x="218943" y="273995"/>
                </a:lnTo>
                <a:lnTo>
                  <a:pt x="219405" y="264448"/>
                </a:lnTo>
                <a:lnTo>
                  <a:pt x="220186" y="255662"/>
                </a:lnTo>
                <a:lnTo>
                  <a:pt x="221247" y="247667"/>
                </a:lnTo>
                <a:lnTo>
                  <a:pt x="222548" y="240491"/>
                </a:lnTo>
                <a:lnTo>
                  <a:pt x="232545" y="227071"/>
                </a:lnTo>
                <a:lnTo>
                  <a:pt x="241528" y="218091"/>
                </a:lnTo>
                <a:lnTo>
                  <a:pt x="250510" y="209109"/>
                </a:lnTo>
                <a:lnTo>
                  <a:pt x="259491" y="200127"/>
                </a:lnTo>
                <a:lnTo>
                  <a:pt x="268470" y="191147"/>
                </a:lnTo>
                <a:lnTo>
                  <a:pt x="277447" y="182170"/>
                </a:lnTo>
                <a:lnTo>
                  <a:pt x="287838" y="175055"/>
                </a:lnTo>
                <a:lnTo>
                  <a:pt x="297747" y="168517"/>
                </a:lnTo>
                <a:lnTo>
                  <a:pt x="307844" y="161981"/>
                </a:lnTo>
                <a:lnTo>
                  <a:pt x="318224" y="155446"/>
                </a:lnTo>
                <a:lnTo>
                  <a:pt x="328981" y="148911"/>
                </a:lnTo>
                <a:lnTo>
                  <a:pt x="340207" y="142375"/>
                </a:lnTo>
                <a:lnTo>
                  <a:pt x="351997" y="135838"/>
                </a:lnTo>
                <a:lnTo>
                  <a:pt x="364445" y="129300"/>
                </a:lnTo>
                <a:lnTo>
                  <a:pt x="368778" y="127109"/>
                </a:lnTo>
                <a:lnTo>
                  <a:pt x="374961" y="137696"/>
                </a:lnTo>
                <a:lnTo>
                  <a:pt x="381314" y="148131"/>
                </a:lnTo>
                <a:lnTo>
                  <a:pt x="387837" y="158434"/>
                </a:lnTo>
                <a:lnTo>
                  <a:pt x="394530" y="168624"/>
                </a:lnTo>
                <a:lnTo>
                  <a:pt x="401393" y="178719"/>
                </a:lnTo>
                <a:lnTo>
                  <a:pt x="408426" y="188740"/>
                </a:lnTo>
                <a:lnTo>
                  <a:pt x="415629" y="198704"/>
                </a:lnTo>
                <a:lnTo>
                  <a:pt x="423003" y="208632"/>
                </a:lnTo>
                <a:lnTo>
                  <a:pt x="430546" y="218542"/>
                </a:lnTo>
                <a:lnTo>
                  <a:pt x="432309" y="99867"/>
                </a:lnTo>
                <a:lnTo>
                  <a:pt x="444836" y="95848"/>
                </a:lnTo>
                <a:lnTo>
                  <a:pt x="469891" y="88773"/>
                </a:lnTo>
                <a:lnTo>
                  <a:pt x="494945" y="82980"/>
                </a:lnTo>
                <a:lnTo>
                  <a:pt x="519999" y="78470"/>
                </a:lnTo>
                <a:lnTo>
                  <a:pt x="545053" y="75241"/>
                </a:lnTo>
                <a:lnTo>
                  <a:pt x="570107" y="73293"/>
                </a:lnTo>
                <a:lnTo>
                  <a:pt x="595161" y="72625"/>
                </a:lnTo>
                <a:lnTo>
                  <a:pt x="595703" y="72625"/>
                </a:lnTo>
                <a:lnTo>
                  <a:pt x="613394" y="72963"/>
                </a:lnTo>
                <a:lnTo>
                  <a:pt x="631066" y="73969"/>
                </a:lnTo>
                <a:lnTo>
                  <a:pt x="648697" y="75629"/>
                </a:lnTo>
                <a:lnTo>
                  <a:pt x="666267" y="77929"/>
                </a:lnTo>
                <a:lnTo>
                  <a:pt x="683756" y="80856"/>
                </a:lnTo>
                <a:lnTo>
                  <a:pt x="701144" y="84395"/>
                </a:lnTo>
                <a:lnTo>
                  <a:pt x="718409" y="88534"/>
                </a:lnTo>
                <a:lnTo>
                  <a:pt x="735531" y="93259"/>
                </a:lnTo>
                <a:lnTo>
                  <a:pt x="752490" y="98555"/>
                </a:lnTo>
                <a:lnTo>
                  <a:pt x="769266" y="104410"/>
                </a:lnTo>
                <a:lnTo>
                  <a:pt x="785837" y="110810"/>
                </a:lnTo>
                <a:lnTo>
                  <a:pt x="802185" y="117740"/>
                </a:lnTo>
                <a:lnTo>
                  <a:pt x="818287" y="125188"/>
                </a:lnTo>
                <a:lnTo>
                  <a:pt x="834124" y="133140"/>
                </a:lnTo>
                <a:lnTo>
                  <a:pt x="849675" y="141582"/>
                </a:lnTo>
                <a:lnTo>
                  <a:pt x="864920" y="150500"/>
                </a:lnTo>
                <a:lnTo>
                  <a:pt x="879838" y="159881"/>
                </a:lnTo>
                <a:lnTo>
                  <a:pt x="894409" y="169712"/>
                </a:lnTo>
                <a:lnTo>
                  <a:pt x="908612" y="179977"/>
                </a:lnTo>
                <a:lnTo>
                  <a:pt x="922428" y="190665"/>
                </a:lnTo>
                <a:lnTo>
                  <a:pt x="909907" y="189381"/>
                </a:lnTo>
                <a:lnTo>
                  <a:pt x="896847" y="188288"/>
                </a:lnTo>
                <a:lnTo>
                  <a:pt x="883257" y="187440"/>
                </a:lnTo>
                <a:lnTo>
                  <a:pt x="869141" y="186892"/>
                </a:lnTo>
                <a:lnTo>
                  <a:pt x="854509" y="186697"/>
                </a:lnTo>
                <a:lnTo>
                  <a:pt x="839365" y="186911"/>
                </a:lnTo>
                <a:lnTo>
                  <a:pt x="823717" y="187588"/>
                </a:lnTo>
                <a:lnTo>
                  <a:pt x="807572" y="188782"/>
                </a:lnTo>
                <a:lnTo>
                  <a:pt x="790937" y="190548"/>
                </a:lnTo>
                <a:lnTo>
                  <a:pt x="773819" y="192940"/>
                </a:lnTo>
                <a:lnTo>
                  <a:pt x="756223" y="196013"/>
                </a:lnTo>
                <a:lnTo>
                  <a:pt x="738158" y="199821"/>
                </a:lnTo>
                <a:lnTo>
                  <a:pt x="719629" y="204419"/>
                </a:lnTo>
                <a:lnTo>
                  <a:pt x="700645" y="209861"/>
                </a:lnTo>
                <a:lnTo>
                  <a:pt x="681211" y="216201"/>
                </a:lnTo>
                <a:lnTo>
                  <a:pt x="677369" y="354087"/>
                </a:lnTo>
                <a:lnTo>
                  <a:pt x="704182" y="341203"/>
                </a:lnTo>
                <a:lnTo>
                  <a:pt x="730139" y="329736"/>
                </a:lnTo>
                <a:lnTo>
                  <a:pt x="755196" y="319604"/>
                </a:lnTo>
                <a:lnTo>
                  <a:pt x="779314" y="310725"/>
                </a:lnTo>
                <a:lnTo>
                  <a:pt x="802452" y="303017"/>
                </a:lnTo>
                <a:lnTo>
                  <a:pt x="824568" y="296399"/>
                </a:lnTo>
                <a:lnTo>
                  <a:pt x="845623" y="290790"/>
                </a:lnTo>
                <a:lnTo>
                  <a:pt x="865575" y="286106"/>
                </a:lnTo>
                <a:lnTo>
                  <a:pt x="884383" y="282267"/>
                </a:lnTo>
                <a:lnTo>
                  <a:pt x="902007" y="279190"/>
                </a:lnTo>
                <a:lnTo>
                  <a:pt x="918406" y="276795"/>
                </a:lnTo>
                <a:lnTo>
                  <a:pt x="933539" y="274999"/>
                </a:lnTo>
                <a:lnTo>
                  <a:pt x="947365" y="273720"/>
                </a:lnTo>
                <a:lnTo>
                  <a:pt x="959843" y="272877"/>
                </a:lnTo>
                <a:lnTo>
                  <a:pt x="970933" y="272388"/>
                </a:lnTo>
                <a:lnTo>
                  <a:pt x="980593" y="272171"/>
                </a:lnTo>
                <a:lnTo>
                  <a:pt x="1000590" y="272337"/>
                </a:lnTo>
                <a:lnTo>
                  <a:pt x="1004124" y="272391"/>
                </a:lnTo>
                <a:lnTo>
                  <a:pt x="1004124" y="281462"/>
                </a:lnTo>
                <a:lnTo>
                  <a:pt x="1018556" y="300795"/>
                </a:lnTo>
                <a:lnTo>
                  <a:pt x="1031905" y="320639"/>
                </a:lnTo>
                <a:lnTo>
                  <a:pt x="1044179" y="340959"/>
                </a:lnTo>
                <a:lnTo>
                  <a:pt x="1055384" y="361722"/>
                </a:lnTo>
                <a:lnTo>
                  <a:pt x="1065527" y="382894"/>
                </a:lnTo>
                <a:lnTo>
                  <a:pt x="1074615" y="404440"/>
                </a:lnTo>
                <a:lnTo>
                  <a:pt x="1082656" y="426327"/>
                </a:lnTo>
                <a:lnTo>
                  <a:pt x="1089654" y="448520"/>
                </a:lnTo>
                <a:lnTo>
                  <a:pt x="1095619" y="470985"/>
                </a:lnTo>
                <a:lnTo>
                  <a:pt x="1100555" y="493689"/>
                </a:lnTo>
                <a:lnTo>
                  <a:pt x="1104471" y="516597"/>
                </a:lnTo>
                <a:lnTo>
                  <a:pt x="1107372" y="539675"/>
                </a:lnTo>
                <a:lnTo>
                  <a:pt x="1109266" y="562890"/>
                </a:lnTo>
                <a:lnTo>
                  <a:pt x="1110159" y="586206"/>
                </a:lnTo>
                <a:lnTo>
                  <a:pt x="1110059" y="609591"/>
                </a:lnTo>
                <a:lnTo>
                  <a:pt x="1108972" y="633010"/>
                </a:lnTo>
                <a:lnTo>
                  <a:pt x="1106904" y="656429"/>
                </a:lnTo>
                <a:lnTo>
                  <a:pt x="1103863" y="679815"/>
                </a:lnTo>
                <a:lnTo>
                  <a:pt x="1099856" y="703132"/>
                </a:lnTo>
                <a:lnTo>
                  <a:pt x="1094888" y="726347"/>
                </a:lnTo>
                <a:lnTo>
                  <a:pt x="1090304" y="924008"/>
                </a:lnTo>
                <a:lnTo>
                  <a:pt x="1114877" y="884547"/>
                </a:lnTo>
                <a:lnTo>
                  <a:pt x="1136080" y="843554"/>
                </a:lnTo>
                <a:lnTo>
                  <a:pt x="1153892" y="801240"/>
                </a:lnTo>
                <a:lnTo>
                  <a:pt x="1168294" y="757816"/>
                </a:lnTo>
                <a:lnTo>
                  <a:pt x="1179266" y="713493"/>
                </a:lnTo>
                <a:lnTo>
                  <a:pt x="1186785" y="668482"/>
                </a:lnTo>
                <a:lnTo>
                  <a:pt x="1190833" y="622994"/>
                </a:lnTo>
                <a:lnTo>
                  <a:pt x="1191389" y="577241"/>
                </a:lnTo>
                <a:lnTo>
                  <a:pt x="1188432" y="531432"/>
                </a:lnTo>
                <a:lnTo>
                  <a:pt x="1181941" y="485781"/>
                </a:lnTo>
                <a:lnTo>
                  <a:pt x="1171897" y="440497"/>
                </a:lnTo>
                <a:lnTo>
                  <a:pt x="1158279" y="395791"/>
                </a:lnTo>
                <a:lnTo>
                  <a:pt x="1141066" y="351875"/>
                </a:lnTo>
                <a:lnTo>
                  <a:pt x="1120238" y="308961"/>
                </a:lnTo>
                <a:lnTo>
                  <a:pt x="1095775" y="267257"/>
                </a:lnTo>
                <a:lnTo>
                  <a:pt x="1067656" y="226977"/>
                </a:lnTo>
                <a:lnTo>
                  <a:pt x="1030677" y="185319"/>
                </a:lnTo>
                <a:lnTo>
                  <a:pt x="990701" y="147584"/>
                </a:lnTo>
                <a:lnTo>
                  <a:pt x="948000" y="113881"/>
                </a:lnTo>
                <a:lnTo>
                  <a:pt x="902847" y="84320"/>
                </a:lnTo>
                <a:lnTo>
                  <a:pt x="855515" y="59008"/>
                </a:lnTo>
                <a:lnTo>
                  <a:pt x="806276" y="38055"/>
                </a:lnTo>
                <a:lnTo>
                  <a:pt x="755403" y="21569"/>
                </a:lnTo>
                <a:lnTo>
                  <a:pt x="703168" y="9658"/>
                </a:lnTo>
                <a:lnTo>
                  <a:pt x="649843" y="2432"/>
                </a:lnTo>
                <a:lnTo>
                  <a:pt x="595703" y="0"/>
                </a:lnTo>
                <a:lnTo>
                  <a:pt x="576641" y="273"/>
                </a:lnTo>
                <a:lnTo>
                  <a:pt x="538574" y="2481"/>
                </a:lnTo>
                <a:lnTo>
                  <a:pt x="500671" y="6950"/>
                </a:lnTo>
                <a:lnTo>
                  <a:pt x="463043" y="13735"/>
                </a:lnTo>
                <a:lnTo>
                  <a:pt x="425797" y="22889"/>
                </a:lnTo>
                <a:lnTo>
                  <a:pt x="389042" y="34467"/>
                </a:lnTo>
                <a:lnTo>
                  <a:pt x="352887" y="48525"/>
                </a:lnTo>
                <a:lnTo>
                  <a:pt x="317441" y="65117"/>
                </a:lnTo>
                <a:lnTo>
                  <a:pt x="282813" y="84297"/>
                </a:lnTo>
                <a:lnTo>
                  <a:pt x="249111" y="106119"/>
                </a:lnTo>
                <a:lnTo>
                  <a:pt x="232641" y="118039"/>
                </a:lnTo>
                <a:lnTo>
                  <a:pt x="194798" y="149258"/>
                </a:lnTo>
                <a:close/>
              </a:path>
            </a:pathLst>
          </a:custGeom>
          <a:solidFill>
            <a:srgbClr val="FFFFFF"/>
          </a:solidFill>
        </p:spPr>
        <p:txBody>
          <a:bodyPr wrap="square" lIns="0" tIns="0" rIns="0" bIns="0" rtlCol="0">
            <a:noAutofit/>
          </a:bodyPr>
          <a:lstStyle/>
          <a:p>
            <a:endParaRPr sz="1763"/>
          </a:p>
        </p:txBody>
      </p:sp>
      <p:sp>
        <p:nvSpPr>
          <p:cNvPr id="12" name="object 12"/>
          <p:cNvSpPr/>
          <p:nvPr/>
        </p:nvSpPr>
        <p:spPr>
          <a:xfrm>
            <a:off x="8168821" y="2336914"/>
            <a:ext cx="242910" cy="241122"/>
          </a:xfrm>
          <a:custGeom>
            <a:avLst/>
            <a:gdLst/>
            <a:ahLst/>
            <a:cxnLst/>
            <a:rect l="l" t="t" r="r" b="b"/>
            <a:pathLst>
              <a:path w="247971" h="246145">
                <a:moveTo>
                  <a:pt x="247971" y="123072"/>
                </a:moveTo>
                <a:lnTo>
                  <a:pt x="247142" y="108028"/>
                </a:lnTo>
                <a:lnTo>
                  <a:pt x="244710" y="93623"/>
                </a:lnTo>
                <a:lnTo>
                  <a:pt x="240755" y="79936"/>
                </a:lnTo>
                <a:lnTo>
                  <a:pt x="235361" y="67050"/>
                </a:lnTo>
                <a:lnTo>
                  <a:pt x="228609" y="55045"/>
                </a:lnTo>
                <a:lnTo>
                  <a:pt x="220579" y="44003"/>
                </a:lnTo>
                <a:lnTo>
                  <a:pt x="211355" y="34004"/>
                </a:lnTo>
                <a:lnTo>
                  <a:pt x="201018" y="25130"/>
                </a:lnTo>
                <a:lnTo>
                  <a:pt x="189650" y="17462"/>
                </a:lnTo>
                <a:lnTo>
                  <a:pt x="177331" y="11081"/>
                </a:lnTo>
                <a:lnTo>
                  <a:pt x="164145" y="6068"/>
                </a:lnTo>
                <a:lnTo>
                  <a:pt x="150172" y="2505"/>
                </a:lnTo>
                <a:lnTo>
                  <a:pt x="135495" y="471"/>
                </a:lnTo>
                <a:lnTo>
                  <a:pt x="123985" y="0"/>
                </a:lnTo>
                <a:lnTo>
                  <a:pt x="108824" y="822"/>
                </a:lnTo>
                <a:lnTo>
                  <a:pt x="94308" y="3237"/>
                </a:lnTo>
                <a:lnTo>
                  <a:pt x="80517" y="7162"/>
                </a:lnTo>
                <a:lnTo>
                  <a:pt x="67534" y="12516"/>
                </a:lnTo>
                <a:lnTo>
                  <a:pt x="55440" y="19219"/>
                </a:lnTo>
                <a:lnTo>
                  <a:pt x="44317" y="27189"/>
                </a:lnTo>
                <a:lnTo>
                  <a:pt x="34245" y="36345"/>
                </a:lnTo>
                <a:lnTo>
                  <a:pt x="25307" y="46606"/>
                </a:lnTo>
                <a:lnTo>
                  <a:pt x="17585" y="57891"/>
                </a:lnTo>
                <a:lnTo>
                  <a:pt x="11158" y="70119"/>
                </a:lnTo>
                <a:lnTo>
                  <a:pt x="6110" y="83208"/>
                </a:lnTo>
                <a:lnTo>
                  <a:pt x="2522" y="97078"/>
                </a:lnTo>
                <a:lnTo>
                  <a:pt x="475" y="111647"/>
                </a:lnTo>
                <a:lnTo>
                  <a:pt x="0" y="123072"/>
                </a:lnTo>
                <a:lnTo>
                  <a:pt x="828" y="136469"/>
                </a:lnTo>
                <a:lnTo>
                  <a:pt x="3259" y="149724"/>
                </a:lnTo>
                <a:lnTo>
                  <a:pt x="7212" y="162695"/>
                </a:lnTo>
                <a:lnTo>
                  <a:pt x="12604" y="175241"/>
                </a:lnTo>
                <a:lnTo>
                  <a:pt x="19354" y="187220"/>
                </a:lnTo>
                <a:lnTo>
                  <a:pt x="27381" y="198489"/>
                </a:lnTo>
                <a:lnTo>
                  <a:pt x="36604" y="208907"/>
                </a:lnTo>
                <a:lnTo>
                  <a:pt x="46940" y="218332"/>
                </a:lnTo>
                <a:lnTo>
                  <a:pt x="58308" y="226622"/>
                </a:lnTo>
                <a:lnTo>
                  <a:pt x="70626" y="233636"/>
                </a:lnTo>
                <a:lnTo>
                  <a:pt x="83814" y="239231"/>
                </a:lnTo>
                <a:lnTo>
                  <a:pt x="97789" y="243265"/>
                </a:lnTo>
                <a:lnTo>
                  <a:pt x="112471" y="245598"/>
                </a:lnTo>
                <a:lnTo>
                  <a:pt x="123985" y="246145"/>
                </a:lnTo>
                <a:lnTo>
                  <a:pt x="139141" y="245193"/>
                </a:lnTo>
                <a:lnTo>
                  <a:pt x="153653" y="242432"/>
                </a:lnTo>
                <a:lnTo>
                  <a:pt x="167442" y="238003"/>
                </a:lnTo>
                <a:lnTo>
                  <a:pt x="180423" y="232048"/>
                </a:lnTo>
                <a:lnTo>
                  <a:pt x="192517" y="224709"/>
                </a:lnTo>
                <a:lnTo>
                  <a:pt x="203642" y="216129"/>
                </a:lnTo>
                <a:lnTo>
                  <a:pt x="213714" y="206448"/>
                </a:lnTo>
                <a:lnTo>
                  <a:pt x="222654" y="195809"/>
                </a:lnTo>
                <a:lnTo>
                  <a:pt x="230379" y="184354"/>
                </a:lnTo>
                <a:lnTo>
                  <a:pt x="236807" y="172224"/>
                </a:lnTo>
                <a:lnTo>
                  <a:pt x="241857" y="159561"/>
                </a:lnTo>
                <a:lnTo>
                  <a:pt x="245447" y="146507"/>
                </a:lnTo>
                <a:lnTo>
                  <a:pt x="247496" y="133204"/>
                </a:lnTo>
                <a:lnTo>
                  <a:pt x="247971" y="123072"/>
                </a:lnTo>
                <a:close/>
              </a:path>
            </a:pathLst>
          </a:custGeom>
          <a:solidFill>
            <a:srgbClr val="FFFFFF"/>
          </a:solidFill>
        </p:spPr>
        <p:txBody>
          <a:bodyPr wrap="square" lIns="0" tIns="0" rIns="0" bIns="0" rtlCol="0">
            <a:noAutofit/>
          </a:bodyPr>
          <a:lstStyle/>
          <a:p>
            <a:endParaRPr sz="1763"/>
          </a:p>
        </p:txBody>
      </p:sp>
      <p:sp>
        <p:nvSpPr>
          <p:cNvPr id="13" name="object 13"/>
          <p:cNvSpPr/>
          <p:nvPr/>
        </p:nvSpPr>
        <p:spPr>
          <a:xfrm>
            <a:off x="7613566" y="1837434"/>
            <a:ext cx="1353411" cy="921472"/>
          </a:xfrm>
          <a:custGeom>
            <a:avLst/>
            <a:gdLst/>
            <a:ahLst/>
            <a:cxnLst/>
            <a:rect l="l" t="t" r="r" b="b"/>
            <a:pathLst>
              <a:path w="1381607" h="940669">
                <a:moveTo>
                  <a:pt x="664236" y="336069"/>
                </a:moveTo>
                <a:lnTo>
                  <a:pt x="664236" y="316493"/>
                </a:lnTo>
                <a:lnTo>
                  <a:pt x="584518" y="316493"/>
                </a:lnTo>
                <a:lnTo>
                  <a:pt x="606678" y="288997"/>
                </a:lnTo>
                <a:lnTo>
                  <a:pt x="625522" y="265615"/>
                </a:lnTo>
                <a:lnTo>
                  <a:pt x="641319" y="246015"/>
                </a:lnTo>
                <a:lnTo>
                  <a:pt x="654336" y="229863"/>
                </a:lnTo>
                <a:lnTo>
                  <a:pt x="664844" y="216825"/>
                </a:lnTo>
                <a:lnTo>
                  <a:pt x="673111" y="206567"/>
                </a:lnTo>
                <a:lnTo>
                  <a:pt x="679405" y="198757"/>
                </a:lnTo>
                <a:lnTo>
                  <a:pt x="683996" y="193061"/>
                </a:lnTo>
                <a:lnTo>
                  <a:pt x="687153" y="189145"/>
                </a:lnTo>
                <a:lnTo>
                  <a:pt x="690236" y="185318"/>
                </a:lnTo>
                <a:lnTo>
                  <a:pt x="690808" y="184609"/>
                </a:lnTo>
                <a:lnTo>
                  <a:pt x="712965" y="212108"/>
                </a:lnTo>
                <a:lnTo>
                  <a:pt x="731805" y="235491"/>
                </a:lnTo>
                <a:lnTo>
                  <a:pt x="747598" y="255093"/>
                </a:lnTo>
                <a:lnTo>
                  <a:pt x="760612" y="271246"/>
                </a:lnTo>
                <a:lnTo>
                  <a:pt x="771117" y="284284"/>
                </a:lnTo>
                <a:lnTo>
                  <a:pt x="779381" y="294541"/>
                </a:lnTo>
                <a:lnTo>
                  <a:pt x="785674" y="302350"/>
                </a:lnTo>
                <a:lnTo>
                  <a:pt x="790262" y="308045"/>
                </a:lnTo>
                <a:lnTo>
                  <a:pt x="793417" y="311961"/>
                </a:lnTo>
                <a:lnTo>
                  <a:pt x="796498" y="315785"/>
                </a:lnTo>
                <a:lnTo>
                  <a:pt x="797069" y="316493"/>
                </a:lnTo>
                <a:lnTo>
                  <a:pt x="717381" y="316493"/>
                </a:lnTo>
                <a:lnTo>
                  <a:pt x="717381" y="430754"/>
                </a:lnTo>
                <a:lnTo>
                  <a:pt x="730943" y="433429"/>
                </a:lnTo>
                <a:lnTo>
                  <a:pt x="744074" y="436891"/>
                </a:lnTo>
                <a:lnTo>
                  <a:pt x="756740" y="441138"/>
                </a:lnTo>
                <a:lnTo>
                  <a:pt x="768906" y="446170"/>
                </a:lnTo>
                <a:lnTo>
                  <a:pt x="780540" y="451988"/>
                </a:lnTo>
                <a:lnTo>
                  <a:pt x="791605" y="458593"/>
                </a:lnTo>
                <a:lnTo>
                  <a:pt x="802070" y="465982"/>
                </a:lnTo>
                <a:lnTo>
                  <a:pt x="811898" y="474158"/>
                </a:lnTo>
                <a:lnTo>
                  <a:pt x="821058" y="483119"/>
                </a:lnTo>
                <a:lnTo>
                  <a:pt x="829513" y="492866"/>
                </a:lnTo>
                <a:lnTo>
                  <a:pt x="837231" y="503398"/>
                </a:lnTo>
                <a:lnTo>
                  <a:pt x="841367" y="509885"/>
                </a:lnTo>
                <a:lnTo>
                  <a:pt x="871806" y="493616"/>
                </a:lnTo>
                <a:lnTo>
                  <a:pt x="896343" y="480502"/>
                </a:lnTo>
                <a:lnTo>
                  <a:pt x="915615" y="470202"/>
                </a:lnTo>
                <a:lnTo>
                  <a:pt x="930258" y="462377"/>
                </a:lnTo>
                <a:lnTo>
                  <a:pt x="940906" y="456685"/>
                </a:lnTo>
                <a:lnTo>
                  <a:pt x="948197" y="452789"/>
                </a:lnTo>
                <a:lnTo>
                  <a:pt x="952766" y="450347"/>
                </a:lnTo>
                <a:lnTo>
                  <a:pt x="956505" y="448349"/>
                </a:lnTo>
                <a:lnTo>
                  <a:pt x="939142" y="420787"/>
                </a:lnTo>
                <a:lnTo>
                  <a:pt x="927038" y="401572"/>
                </a:lnTo>
                <a:lnTo>
                  <a:pt x="919243" y="389199"/>
                </a:lnTo>
                <a:lnTo>
                  <a:pt x="914810" y="382161"/>
                </a:lnTo>
                <a:lnTo>
                  <a:pt x="912789" y="378953"/>
                </a:lnTo>
                <a:lnTo>
                  <a:pt x="912207" y="378030"/>
                </a:lnTo>
                <a:lnTo>
                  <a:pt x="946919" y="383774"/>
                </a:lnTo>
                <a:lnTo>
                  <a:pt x="976186" y="388616"/>
                </a:lnTo>
                <a:lnTo>
                  <a:pt x="1000473" y="392635"/>
                </a:lnTo>
                <a:lnTo>
                  <a:pt x="1020244" y="395907"/>
                </a:lnTo>
                <a:lnTo>
                  <a:pt x="1035964" y="398508"/>
                </a:lnTo>
                <a:lnTo>
                  <a:pt x="1048097" y="400516"/>
                </a:lnTo>
                <a:lnTo>
                  <a:pt x="1057108" y="402007"/>
                </a:lnTo>
                <a:lnTo>
                  <a:pt x="1063461" y="403058"/>
                </a:lnTo>
                <a:lnTo>
                  <a:pt x="1067621" y="403746"/>
                </a:lnTo>
                <a:lnTo>
                  <a:pt x="1071218" y="404341"/>
                </a:lnTo>
                <a:lnTo>
                  <a:pt x="1071613" y="404407"/>
                </a:lnTo>
                <a:lnTo>
                  <a:pt x="1057753" y="437084"/>
                </a:lnTo>
                <a:lnTo>
                  <a:pt x="1045830" y="465194"/>
                </a:lnTo>
                <a:lnTo>
                  <a:pt x="1035698" y="489081"/>
                </a:lnTo>
                <a:lnTo>
                  <a:pt x="1027212" y="509088"/>
                </a:lnTo>
                <a:lnTo>
                  <a:pt x="1020225" y="525560"/>
                </a:lnTo>
                <a:lnTo>
                  <a:pt x="1014593" y="538839"/>
                </a:lnTo>
                <a:lnTo>
                  <a:pt x="1010168" y="549271"/>
                </a:lnTo>
                <a:lnTo>
                  <a:pt x="1006806" y="557198"/>
                </a:lnTo>
                <a:lnTo>
                  <a:pt x="1004360" y="562964"/>
                </a:lnTo>
                <a:lnTo>
                  <a:pt x="1002685" y="566914"/>
                </a:lnTo>
                <a:lnTo>
                  <a:pt x="1001063" y="570738"/>
                </a:lnTo>
                <a:lnTo>
                  <a:pt x="1000773" y="571421"/>
                </a:lnTo>
                <a:lnTo>
                  <a:pt x="993690" y="539762"/>
                </a:lnTo>
                <a:lnTo>
                  <a:pt x="988806" y="517927"/>
                </a:lnTo>
                <a:lnTo>
                  <a:pt x="985711" y="504093"/>
                </a:lnTo>
                <a:lnTo>
                  <a:pt x="983998" y="496434"/>
                </a:lnTo>
                <a:lnTo>
                  <a:pt x="983257" y="493124"/>
                </a:lnTo>
                <a:lnTo>
                  <a:pt x="983078" y="492320"/>
                </a:lnTo>
                <a:lnTo>
                  <a:pt x="953397" y="509504"/>
                </a:lnTo>
                <a:lnTo>
                  <a:pt x="929830" y="523147"/>
                </a:lnTo>
                <a:lnTo>
                  <a:pt x="911672" y="533660"/>
                </a:lnTo>
                <a:lnTo>
                  <a:pt x="898218" y="541449"/>
                </a:lnTo>
                <a:lnTo>
                  <a:pt x="888762" y="546924"/>
                </a:lnTo>
                <a:lnTo>
                  <a:pt x="882600" y="550491"/>
                </a:lnTo>
                <a:lnTo>
                  <a:pt x="879026" y="552560"/>
                </a:lnTo>
                <a:lnTo>
                  <a:pt x="876787" y="553856"/>
                </a:lnTo>
                <a:lnTo>
                  <a:pt x="880382" y="566480"/>
                </a:lnTo>
                <a:lnTo>
                  <a:pt x="882842" y="579101"/>
                </a:lnTo>
                <a:lnTo>
                  <a:pt x="884381" y="591721"/>
                </a:lnTo>
                <a:lnTo>
                  <a:pt x="885216" y="604340"/>
                </a:lnTo>
                <a:lnTo>
                  <a:pt x="885561" y="616960"/>
                </a:lnTo>
                <a:lnTo>
                  <a:pt x="885584" y="643207"/>
                </a:lnTo>
                <a:lnTo>
                  <a:pt x="885228" y="654844"/>
                </a:lnTo>
                <a:lnTo>
                  <a:pt x="884262" y="667566"/>
                </a:lnTo>
                <a:lnTo>
                  <a:pt x="882380" y="681071"/>
                </a:lnTo>
                <a:lnTo>
                  <a:pt x="879279" y="695054"/>
                </a:lnTo>
                <a:lnTo>
                  <a:pt x="876787" y="703306"/>
                </a:lnTo>
                <a:lnTo>
                  <a:pt x="906468" y="720490"/>
                </a:lnTo>
                <a:lnTo>
                  <a:pt x="930035" y="734133"/>
                </a:lnTo>
                <a:lnTo>
                  <a:pt x="948193" y="744646"/>
                </a:lnTo>
                <a:lnTo>
                  <a:pt x="961647" y="752435"/>
                </a:lnTo>
                <a:lnTo>
                  <a:pt x="971103" y="757910"/>
                </a:lnTo>
                <a:lnTo>
                  <a:pt x="977265" y="761477"/>
                </a:lnTo>
                <a:lnTo>
                  <a:pt x="980839" y="763546"/>
                </a:lnTo>
                <a:lnTo>
                  <a:pt x="983078" y="764842"/>
                </a:lnTo>
                <a:lnTo>
                  <a:pt x="999195" y="736032"/>
                </a:lnTo>
                <a:lnTo>
                  <a:pt x="1010832" y="715231"/>
                </a:lnTo>
                <a:lnTo>
                  <a:pt x="1018717" y="701135"/>
                </a:lnTo>
                <a:lnTo>
                  <a:pt x="1023581" y="692440"/>
                </a:lnTo>
                <a:lnTo>
                  <a:pt x="1026154" y="687841"/>
                </a:lnTo>
                <a:lnTo>
                  <a:pt x="1027345" y="685712"/>
                </a:lnTo>
                <a:lnTo>
                  <a:pt x="1038080" y="719451"/>
                </a:lnTo>
                <a:lnTo>
                  <a:pt x="1047262" y="748312"/>
                </a:lnTo>
                <a:lnTo>
                  <a:pt x="1055012" y="772673"/>
                </a:lnTo>
                <a:lnTo>
                  <a:pt x="1061453" y="792918"/>
                </a:lnTo>
                <a:lnTo>
                  <a:pt x="1066705" y="809426"/>
                </a:lnTo>
                <a:lnTo>
                  <a:pt x="1070890" y="822579"/>
                </a:lnTo>
                <a:lnTo>
                  <a:pt x="1074128" y="832758"/>
                </a:lnTo>
                <a:lnTo>
                  <a:pt x="1076542" y="840344"/>
                </a:lnTo>
                <a:lnTo>
                  <a:pt x="1078252" y="845719"/>
                </a:lnTo>
                <a:lnTo>
                  <a:pt x="1079379" y="849263"/>
                </a:lnTo>
                <a:lnTo>
                  <a:pt x="1080372" y="852384"/>
                </a:lnTo>
                <a:lnTo>
                  <a:pt x="1080491" y="852756"/>
                </a:lnTo>
                <a:lnTo>
                  <a:pt x="1045883" y="859986"/>
                </a:lnTo>
                <a:lnTo>
                  <a:pt x="1016379" y="866151"/>
                </a:lnTo>
                <a:lnTo>
                  <a:pt x="991570" y="871334"/>
                </a:lnTo>
                <a:lnTo>
                  <a:pt x="971051" y="875621"/>
                </a:lnTo>
                <a:lnTo>
                  <a:pt x="954414" y="879097"/>
                </a:lnTo>
                <a:lnTo>
                  <a:pt x="941251" y="881847"/>
                </a:lnTo>
                <a:lnTo>
                  <a:pt x="931156" y="883956"/>
                </a:lnTo>
                <a:lnTo>
                  <a:pt x="923722" y="885509"/>
                </a:lnTo>
                <a:lnTo>
                  <a:pt x="918542" y="886592"/>
                </a:lnTo>
                <a:lnTo>
                  <a:pt x="915209" y="887288"/>
                </a:lnTo>
                <a:lnTo>
                  <a:pt x="912207" y="887915"/>
                </a:lnTo>
                <a:lnTo>
                  <a:pt x="928333" y="859108"/>
                </a:lnTo>
                <a:lnTo>
                  <a:pt x="939977" y="838309"/>
                </a:lnTo>
                <a:lnTo>
                  <a:pt x="947868" y="824213"/>
                </a:lnTo>
                <a:lnTo>
                  <a:pt x="952736" y="815517"/>
                </a:lnTo>
                <a:lnTo>
                  <a:pt x="955311" y="810916"/>
                </a:lnTo>
                <a:lnTo>
                  <a:pt x="956505" y="808784"/>
                </a:lnTo>
                <a:lnTo>
                  <a:pt x="926824" y="791601"/>
                </a:lnTo>
                <a:lnTo>
                  <a:pt x="903257" y="777957"/>
                </a:lnTo>
                <a:lnTo>
                  <a:pt x="885099" y="767444"/>
                </a:lnTo>
                <a:lnTo>
                  <a:pt x="871645" y="759655"/>
                </a:lnTo>
                <a:lnTo>
                  <a:pt x="862189" y="754181"/>
                </a:lnTo>
                <a:lnTo>
                  <a:pt x="856027" y="750613"/>
                </a:lnTo>
                <a:lnTo>
                  <a:pt x="852453" y="748544"/>
                </a:lnTo>
                <a:lnTo>
                  <a:pt x="850214" y="747248"/>
                </a:lnTo>
                <a:lnTo>
                  <a:pt x="841307" y="757727"/>
                </a:lnTo>
                <a:lnTo>
                  <a:pt x="832042" y="767494"/>
                </a:lnTo>
                <a:lnTo>
                  <a:pt x="822418" y="776549"/>
                </a:lnTo>
                <a:lnTo>
                  <a:pt x="812436" y="784891"/>
                </a:lnTo>
                <a:lnTo>
                  <a:pt x="802095" y="792521"/>
                </a:lnTo>
                <a:lnTo>
                  <a:pt x="791395" y="799439"/>
                </a:lnTo>
                <a:lnTo>
                  <a:pt x="780337" y="805645"/>
                </a:lnTo>
                <a:lnTo>
                  <a:pt x="768920" y="811138"/>
                </a:lnTo>
                <a:lnTo>
                  <a:pt x="757144" y="815920"/>
                </a:lnTo>
                <a:lnTo>
                  <a:pt x="745009" y="819989"/>
                </a:lnTo>
                <a:lnTo>
                  <a:pt x="732515" y="823346"/>
                </a:lnTo>
                <a:lnTo>
                  <a:pt x="719662" y="825990"/>
                </a:lnTo>
                <a:lnTo>
                  <a:pt x="717381" y="826379"/>
                </a:lnTo>
                <a:lnTo>
                  <a:pt x="717381" y="940669"/>
                </a:lnTo>
                <a:lnTo>
                  <a:pt x="1107063" y="940669"/>
                </a:lnTo>
                <a:lnTo>
                  <a:pt x="1129436" y="939758"/>
                </a:lnTo>
                <a:lnTo>
                  <a:pt x="1172692" y="932688"/>
                </a:lnTo>
                <a:lnTo>
                  <a:pt x="1213478" y="919103"/>
                </a:lnTo>
                <a:lnTo>
                  <a:pt x="1251208" y="899584"/>
                </a:lnTo>
                <a:lnTo>
                  <a:pt x="1285298" y="874711"/>
                </a:lnTo>
                <a:lnTo>
                  <a:pt x="1315163" y="845064"/>
                </a:lnTo>
                <a:lnTo>
                  <a:pt x="1340219" y="811221"/>
                </a:lnTo>
                <a:lnTo>
                  <a:pt x="1359882" y="773765"/>
                </a:lnTo>
                <a:lnTo>
                  <a:pt x="1373567" y="733274"/>
                </a:lnTo>
                <a:lnTo>
                  <a:pt x="1380690" y="690329"/>
                </a:lnTo>
                <a:lnTo>
                  <a:pt x="1381607" y="668117"/>
                </a:lnTo>
                <a:lnTo>
                  <a:pt x="1381015" y="649858"/>
                </a:lnTo>
                <a:lnTo>
                  <a:pt x="1376376" y="614634"/>
                </a:lnTo>
                <a:lnTo>
                  <a:pt x="1367353" y="581308"/>
                </a:lnTo>
                <a:lnTo>
                  <a:pt x="1354210" y="550092"/>
                </a:lnTo>
                <a:lnTo>
                  <a:pt x="1337215" y="521197"/>
                </a:lnTo>
                <a:lnTo>
                  <a:pt x="1316633" y="494834"/>
                </a:lnTo>
                <a:lnTo>
                  <a:pt x="1292730" y="471214"/>
                </a:lnTo>
                <a:lnTo>
                  <a:pt x="1265772" y="450547"/>
                </a:lnTo>
                <a:lnTo>
                  <a:pt x="1236023" y="433046"/>
                </a:lnTo>
                <a:lnTo>
                  <a:pt x="1203751" y="418920"/>
                </a:lnTo>
                <a:lnTo>
                  <a:pt x="1186751" y="413189"/>
                </a:lnTo>
                <a:lnTo>
                  <a:pt x="1190358" y="400568"/>
                </a:lnTo>
                <a:lnTo>
                  <a:pt x="1194370" y="375327"/>
                </a:lnTo>
                <a:lnTo>
                  <a:pt x="1195555" y="350085"/>
                </a:lnTo>
                <a:lnTo>
                  <a:pt x="1195629" y="334058"/>
                </a:lnTo>
                <a:lnTo>
                  <a:pt x="1194579" y="306645"/>
                </a:lnTo>
                <a:lnTo>
                  <a:pt x="1191484" y="279845"/>
                </a:lnTo>
                <a:lnTo>
                  <a:pt x="1186422" y="253743"/>
                </a:lnTo>
                <a:lnTo>
                  <a:pt x="1179474" y="228426"/>
                </a:lnTo>
                <a:lnTo>
                  <a:pt x="1170719" y="203980"/>
                </a:lnTo>
                <a:lnTo>
                  <a:pt x="1160237" y="180489"/>
                </a:lnTo>
                <a:lnTo>
                  <a:pt x="1148107" y="158040"/>
                </a:lnTo>
                <a:lnTo>
                  <a:pt x="1134410" y="136719"/>
                </a:lnTo>
                <a:lnTo>
                  <a:pt x="1119225" y="116610"/>
                </a:lnTo>
                <a:lnTo>
                  <a:pt x="1102632" y="97801"/>
                </a:lnTo>
                <a:lnTo>
                  <a:pt x="1084710" y="80376"/>
                </a:lnTo>
                <a:lnTo>
                  <a:pt x="1065540" y="64421"/>
                </a:lnTo>
                <a:lnTo>
                  <a:pt x="1045200" y="50022"/>
                </a:lnTo>
                <a:lnTo>
                  <a:pt x="1023772" y="37265"/>
                </a:lnTo>
                <a:lnTo>
                  <a:pt x="1001333" y="26236"/>
                </a:lnTo>
                <a:lnTo>
                  <a:pt x="977965" y="17019"/>
                </a:lnTo>
                <a:lnTo>
                  <a:pt x="953746" y="9702"/>
                </a:lnTo>
                <a:lnTo>
                  <a:pt x="928757" y="4369"/>
                </a:lnTo>
                <a:lnTo>
                  <a:pt x="903078" y="1106"/>
                </a:lnTo>
                <a:lnTo>
                  <a:pt x="876787" y="0"/>
                </a:lnTo>
                <a:lnTo>
                  <a:pt x="855735" y="589"/>
                </a:lnTo>
                <a:lnTo>
                  <a:pt x="835115" y="2338"/>
                </a:lnTo>
                <a:lnTo>
                  <a:pt x="795304" y="9214"/>
                </a:lnTo>
                <a:lnTo>
                  <a:pt x="757618" y="20415"/>
                </a:lnTo>
                <a:lnTo>
                  <a:pt x="722324" y="35730"/>
                </a:lnTo>
                <a:lnTo>
                  <a:pt x="689687" y="54949"/>
                </a:lnTo>
                <a:lnTo>
                  <a:pt x="659974" y="77860"/>
                </a:lnTo>
                <a:lnTo>
                  <a:pt x="633450" y="104252"/>
                </a:lnTo>
                <a:lnTo>
                  <a:pt x="610381" y="133914"/>
                </a:lnTo>
                <a:lnTo>
                  <a:pt x="591032" y="166635"/>
                </a:lnTo>
                <a:lnTo>
                  <a:pt x="575670" y="202203"/>
                </a:lnTo>
                <a:lnTo>
                  <a:pt x="566924" y="192261"/>
                </a:lnTo>
                <a:lnTo>
                  <a:pt x="548170" y="173796"/>
                </a:lnTo>
                <a:lnTo>
                  <a:pt x="527828" y="157407"/>
                </a:lnTo>
                <a:lnTo>
                  <a:pt x="506014" y="143318"/>
                </a:lnTo>
                <a:lnTo>
                  <a:pt x="482839" y="131753"/>
                </a:lnTo>
                <a:lnTo>
                  <a:pt x="458418" y="122934"/>
                </a:lnTo>
                <a:lnTo>
                  <a:pt x="432865" y="117086"/>
                </a:lnTo>
                <a:lnTo>
                  <a:pt x="406292" y="114430"/>
                </a:lnTo>
                <a:lnTo>
                  <a:pt x="398539" y="114290"/>
                </a:lnTo>
                <a:lnTo>
                  <a:pt x="378886" y="115071"/>
                </a:lnTo>
                <a:lnTo>
                  <a:pt x="359810" y="117375"/>
                </a:lnTo>
                <a:lnTo>
                  <a:pt x="341359" y="121143"/>
                </a:lnTo>
                <a:lnTo>
                  <a:pt x="323579" y="126314"/>
                </a:lnTo>
                <a:lnTo>
                  <a:pt x="306516" y="132831"/>
                </a:lnTo>
                <a:lnTo>
                  <a:pt x="290217" y="140634"/>
                </a:lnTo>
                <a:lnTo>
                  <a:pt x="274728" y="149663"/>
                </a:lnTo>
                <a:lnTo>
                  <a:pt x="260096" y="159859"/>
                </a:lnTo>
                <a:lnTo>
                  <a:pt x="246367" y="171162"/>
                </a:lnTo>
                <a:lnTo>
                  <a:pt x="233588" y="183514"/>
                </a:lnTo>
                <a:lnTo>
                  <a:pt x="221806" y="196856"/>
                </a:lnTo>
                <a:lnTo>
                  <a:pt x="211066" y="211127"/>
                </a:lnTo>
                <a:lnTo>
                  <a:pt x="201416" y="226268"/>
                </a:lnTo>
                <a:lnTo>
                  <a:pt x="192902" y="242221"/>
                </a:lnTo>
                <a:lnTo>
                  <a:pt x="185570" y="258926"/>
                </a:lnTo>
                <a:lnTo>
                  <a:pt x="179466" y="276323"/>
                </a:lnTo>
                <a:lnTo>
                  <a:pt x="174638" y="294354"/>
                </a:lnTo>
                <a:lnTo>
                  <a:pt x="171132" y="312958"/>
                </a:lnTo>
                <a:lnTo>
                  <a:pt x="168995" y="332078"/>
                </a:lnTo>
                <a:lnTo>
                  <a:pt x="168272" y="351653"/>
                </a:lnTo>
                <a:lnTo>
                  <a:pt x="168323" y="365085"/>
                </a:lnTo>
                <a:lnTo>
                  <a:pt x="169648" y="389289"/>
                </a:lnTo>
                <a:lnTo>
                  <a:pt x="174643" y="414004"/>
                </a:lnTo>
                <a:lnTo>
                  <a:pt x="177131" y="421971"/>
                </a:lnTo>
                <a:lnTo>
                  <a:pt x="161459" y="427639"/>
                </a:lnTo>
                <a:lnTo>
                  <a:pt x="131816" y="441295"/>
                </a:lnTo>
                <a:lnTo>
                  <a:pt x="104617" y="457957"/>
                </a:lnTo>
                <a:lnTo>
                  <a:pt x="80075" y="477521"/>
                </a:lnTo>
                <a:lnTo>
                  <a:pt x="58403" y="499881"/>
                </a:lnTo>
                <a:lnTo>
                  <a:pt x="39813" y="524931"/>
                </a:lnTo>
                <a:lnTo>
                  <a:pt x="24518" y="552566"/>
                </a:lnTo>
                <a:lnTo>
                  <a:pt x="12730" y="582680"/>
                </a:lnTo>
                <a:lnTo>
                  <a:pt x="4662" y="615167"/>
                </a:lnTo>
                <a:lnTo>
                  <a:pt x="526" y="649922"/>
                </a:lnTo>
                <a:lnTo>
                  <a:pt x="0" y="668117"/>
                </a:lnTo>
                <a:lnTo>
                  <a:pt x="853" y="690329"/>
                </a:lnTo>
                <a:lnTo>
                  <a:pt x="7502" y="733274"/>
                </a:lnTo>
                <a:lnTo>
                  <a:pt x="20342" y="773765"/>
                </a:lnTo>
                <a:lnTo>
                  <a:pt x="38894" y="811221"/>
                </a:lnTo>
                <a:lnTo>
                  <a:pt x="62680" y="845063"/>
                </a:lnTo>
                <a:lnTo>
                  <a:pt x="91222" y="874711"/>
                </a:lnTo>
                <a:lnTo>
                  <a:pt x="124042" y="899584"/>
                </a:lnTo>
                <a:lnTo>
                  <a:pt x="160661" y="919103"/>
                </a:lnTo>
                <a:lnTo>
                  <a:pt x="200602" y="932688"/>
                </a:lnTo>
                <a:lnTo>
                  <a:pt x="243385" y="939758"/>
                </a:lnTo>
                <a:lnTo>
                  <a:pt x="265694" y="940669"/>
                </a:lnTo>
                <a:lnTo>
                  <a:pt x="664236" y="940669"/>
                </a:lnTo>
                <a:lnTo>
                  <a:pt x="664236" y="826379"/>
                </a:lnTo>
                <a:lnTo>
                  <a:pt x="650249" y="823619"/>
                </a:lnTo>
                <a:lnTo>
                  <a:pt x="636723" y="820058"/>
                </a:lnTo>
                <a:lnTo>
                  <a:pt x="623694" y="815734"/>
                </a:lnTo>
                <a:lnTo>
                  <a:pt x="611200" y="810684"/>
                </a:lnTo>
                <a:lnTo>
                  <a:pt x="599279" y="804945"/>
                </a:lnTo>
                <a:lnTo>
                  <a:pt x="587968" y="798555"/>
                </a:lnTo>
                <a:lnTo>
                  <a:pt x="577303" y="791550"/>
                </a:lnTo>
                <a:lnTo>
                  <a:pt x="567324" y="783968"/>
                </a:lnTo>
                <a:lnTo>
                  <a:pt x="558066" y="775846"/>
                </a:lnTo>
                <a:lnTo>
                  <a:pt x="549568" y="767222"/>
                </a:lnTo>
                <a:lnTo>
                  <a:pt x="541867" y="758132"/>
                </a:lnTo>
                <a:lnTo>
                  <a:pt x="540250" y="756030"/>
                </a:lnTo>
                <a:lnTo>
                  <a:pt x="509644" y="771220"/>
                </a:lnTo>
                <a:lnTo>
                  <a:pt x="485562" y="783173"/>
                </a:lnTo>
                <a:lnTo>
                  <a:pt x="467222" y="792276"/>
                </a:lnTo>
                <a:lnTo>
                  <a:pt x="453840" y="798917"/>
                </a:lnTo>
                <a:lnTo>
                  <a:pt x="444637" y="803485"/>
                </a:lnTo>
                <a:lnTo>
                  <a:pt x="438830" y="806367"/>
                </a:lnTo>
                <a:lnTo>
                  <a:pt x="435636" y="807952"/>
                </a:lnTo>
                <a:lnTo>
                  <a:pt x="433959" y="808784"/>
                </a:lnTo>
                <a:lnTo>
                  <a:pt x="450085" y="837591"/>
                </a:lnTo>
                <a:lnTo>
                  <a:pt x="461729" y="858390"/>
                </a:lnTo>
                <a:lnTo>
                  <a:pt x="469620" y="872486"/>
                </a:lnTo>
                <a:lnTo>
                  <a:pt x="474488" y="881182"/>
                </a:lnTo>
                <a:lnTo>
                  <a:pt x="477064" y="885783"/>
                </a:lnTo>
                <a:lnTo>
                  <a:pt x="478257" y="887915"/>
                </a:lnTo>
                <a:lnTo>
                  <a:pt x="443650" y="880685"/>
                </a:lnTo>
                <a:lnTo>
                  <a:pt x="414145" y="874520"/>
                </a:lnTo>
                <a:lnTo>
                  <a:pt x="389337" y="869337"/>
                </a:lnTo>
                <a:lnTo>
                  <a:pt x="368817" y="865050"/>
                </a:lnTo>
                <a:lnTo>
                  <a:pt x="352180" y="861574"/>
                </a:lnTo>
                <a:lnTo>
                  <a:pt x="339017" y="858824"/>
                </a:lnTo>
                <a:lnTo>
                  <a:pt x="328923" y="856715"/>
                </a:lnTo>
                <a:lnTo>
                  <a:pt x="321489" y="855161"/>
                </a:lnTo>
                <a:lnTo>
                  <a:pt x="316308" y="854079"/>
                </a:lnTo>
                <a:lnTo>
                  <a:pt x="312975" y="853383"/>
                </a:lnTo>
                <a:lnTo>
                  <a:pt x="309974" y="852756"/>
                </a:lnTo>
                <a:lnTo>
                  <a:pt x="320708" y="819016"/>
                </a:lnTo>
                <a:lnTo>
                  <a:pt x="329890" y="790155"/>
                </a:lnTo>
                <a:lnTo>
                  <a:pt x="337641" y="765794"/>
                </a:lnTo>
                <a:lnTo>
                  <a:pt x="344081" y="745549"/>
                </a:lnTo>
                <a:lnTo>
                  <a:pt x="349333" y="729041"/>
                </a:lnTo>
                <a:lnTo>
                  <a:pt x="353518" y="715888"/>
                </a:lnTo>
                <a:lnTo>
                  <a:pt x="356757" y="705709"/>
                </a:lnTo>
                <a:lnTo>
                  <a:pt x="359170" y="698123"/>
                </a:lnTo>
                <a:lnTo>
                  <a:pt x="360880" y="692749"/>
                </a:lnTo>
                <a:lnTo>
                  <a:pt x="362008" y="689205"/>
                </a:lnTo>
                <a:lnTo>
                  <a:pt x="363000" y="686084"/>
                </a:lnTo>
                <a:lnTo>
                  <a:pt x="363119" y="685711"/>
                </a:lnTo>
                <a:lnTo>
                  <a:pt x="379236" y="714522"/>
                </a:lnTo>
                <a:lnTo>
                  <a:pt x="390873" y="735323"/>
                </a:lnTo>
                <a:lnTo>
                  <a:pt x="398758" y="749419"/>
                </a:lnTo>
                <a:lnTo>
                  <a:pt x="403623" y="758114"/>
                </a:lnTo>
                <a:lnTo>
                  <a:pt x="406195" y="762713"/>
                </a:lnTo>
                <a:lnTo>
                  <a:pt x="407387" y="764842"/>
                </a:lnTo>
                <a:lnTo>
                  <a:pt x="437067" y="747659"/>
                </a:lnTo>
                <a:lnTo>
                  <a:pt x="460634" y="734015"/>
                </a:lnTo>
                <a:lnTo>
                  <a:pt x="478792" y="723502"/>
                </a:lnTo>
                <a:lnTo>
                  <a:pt x="492247" y="715713"/>
                </a:lnTo>
                <a:lnTo>
                  <a:pt x="501702" y="710239"/>
                </a:lnTo>
                <a:lnTo>
                  <a:pt x="507865" y="706671"/>
                </a:lnTo>
                <a:lnTo>
                  <a:pt x="511438" y="704602"/>
                </a:lnTo>
                <a:lnTo>
                  <a:pt x="513677" y="703306"/>
                </a:lnTo>
                <a:lnTo>
                  <a:pt x="505903" y="690167"/>
                </a:lnTo>
                <a:lnTo>
                  <a:pt x="500817" y="678077"/>
                </a:lnTo>
                <a:lnTo>
                  <a:pt x="497850" y="666471"/>
                </a:lnTo>
                <a:lnTo>
                  <a:pt x="496430" y="654784"/>
                </a:lnTo>
                <a:lnTo>
                  <a:pt x="495987" y="642450"/>
                </a:lnTo>
                <a:lnTo>
                  <a:pt x="496003" y="618832"/>
                </a:lnTo>
                <a:lnTo>
                  <a:pt x="496361" y="605012"/>
                </a:lnTo>
                <a:lnTo>
                  <a:pt x="497331" y="591801"/>
                </a:lnTo>
                <a:lnTo>
                  <a:pt x="499221" y="579499"/>
                </a:lnTo>
                <a:lnTo>
                  <a:pt x="502336" y="568407"/>
                </a:lnTo>
                <a:lnTo>
                  <a:pt x="504830" y="562639"/>
                </a:lnTo>
                <a:lnTo>
                  <a:pt x="501874" y="560683"/>
                </a:lnTo>
                <a:lnTo>
                  <a:pt x="493847" y="555373"/>
                </a:lnTo>
                <a:lnTo>
                  <a:pt x="482011" y="547543"/>
                </a:lnTo>
                <a:lnTo>
                  <a:pt x="467629" y="538028"/>
                </a:lnTo>
                <a:lnTo>
                  <a:pt x="451963" y="527664"/>
                </a:lnTo>
                <a:lnTo>
                  <a:pt x="436275" y="517285"/>
                </a:lnTo>
                <a:lnTo>
                  <a:pt x="421827" y="507726"/>
                </a:lnTo>
                <a:lnTo>
                  <a:pt x="409880" y="499823"/>
                </a:lnTo>
                <a:lnTo>
                  <a:pt x="401698" y="494410"/>
                </a:lnTo>
                <a:lnTo>
                  <a:pt x="398539" y="492320"/>
                </a:lnTo>
                <a:lnTo>
                  <a:pt x="382409" y="521123"/>
                </a:lnTo>
                <a:lnTo>
                  <a:pt x="370764" y="541917"/>
                </a:lnTo>
                <a:lnTo>
                  <a:pt x="362873" y="556007"/>
                </a:lnTo>
                <a:lnTo>
                  <a:pt x="358006" y="564698"/>
                </a:lnTo>
                <a:lnTo>
                  <a:pt x="355432" y="569294"/>
                </a:lnTo>
                <a:lnTo>
                  <a:pt x="354241" y="571421"/>
                </a:lnTo>
                <a:lnTo>
                  <a:pt x="343511" y="537681"/>
                </a:lnTo>
                <a:lnTo>
                  <a:pt x="334333" y="508821"/>
                </a:lnTo>
                <a:lnTo>
                  <a:pt x="326585" y="484460"/>
                </a:lnTo>
                <a:lnTo>
                  <a:pt x="320148" y="464218"/>
                </a:lnTo>
                <a:lnTo>
                  <a:pt x="314899" y="447713"/>
                </a:lnTo>
                <a:lnTo>
                  <a:pt x="310717" y="434563"/>
                </a:lnTo>
                <a:lnTo>
                  <a:pt x="307481" y="424388"/>
                </a:lnTo>
                <a:lnTo>
                  <a:pt x="305069" y="416805"/>
                </a:lnTo>
                <a:lnTo>
                  <a:pt x="303361" y="411434"/>
                </a:lnTo>
                <a:lnTo>
                  <a:pt x="302235" y="407893"/>
                </a:lnTo>
                <a:lnTo>
                  <a:pt x="301244" y="404777"/>
                </a:lnTo>
                <a:lnTo>
                  <a:pt x="301126" y="404407"/>
                </a:lnTo>
                <a:lnTo>
                  <a:pt x="336029" y="398935"/>
                </a:lnTo>
                <a:lnTo>
                  <a:pt x="365737" y="394278"/>
                </a:lnTo>
                <a:lnTo>
                  <a:pt x="390669" y="390369"/>
                </a:lnTo>
                <a:lnTo>
                  <a:pt x="411243" y="387144"/>
                </a:lnTo>
                <a:lnTo>
                  <a:pt x="427877" y="384536"/>
                </a:lnTo>
                <a:lnTo>
                  <a:pt x="440991" y="382480"/>
                </a:lnTo>
                <a:lnTo>
                  <a:pt x="451003" y="380911"/>
                </a:lnTo>
                <a:lnTo>
                  <a:pt x="458331" y="379762"/>
                </a:lnTo>
                <a:lnTo>
                  <a:pt x="463395" y="378968"/>
                </a:lnTo>
                <a:lnTo>
                  <a:pt x="466613" y="378463"/>
                </a:lnTo>
                <a:lnTo>
                  <a:pt x="469380" y="378030"/>
                </a:lnTo>
                <a:lnTo>
                  <a:pt x="452026" y="405596"/>
                </a:lnTo>
                <a:lnTo>
                  <a:pt x="439929" y="424812"/>
                </a:lnTo>
                <a:lnTo>
                  <a:pt x="432140" y="437185"/>
                </a:lnTo>
                <a:lnTo>
                  <a:pt x="427710" y="444221"/>
                </a:lnTo>
                <a:lnTo>
                  <a:pt x="425692" y="447427"/>
                </a:lnTo>
                <a:lnTo>
                  <a:pt x="425112" y="448348"/>
                </a:lnTo>
                <a:lnTo>
                  <a:pt x="454793" y="465532"/>
                </a:lnTo>
                <a:lnTo>
                  <a:pt x="478359" y="479176"/>
                </a:lnTo>
                <a:lnTo>
                  <a:pt x="496517" y="489688"/>
                </a:lnTo>
                <a:lnTo>
                  <a:pt x="509972" y="497478"/>
                </a:lnTo>
                <a:lnTo>
                  <a:pt x="519427" y="502952"/>
                </a:lnTo>
                <a:lnTo>
                  <a:pt x="525590" y="506520"/>
                </a:lnTo>
                <a:lnTo>
                  <a:pt x="529164" y="508589"/>
                </a:lnTo>
                <a:lnTo>
                  <a:pt x="531402" y="509885"/>
                </a:lnTo>
                <a:lnTo>
                  <a:pt x="540310" y="499412"/>
                </a:lnTo>
                <a:lnTo>
                  <a:pt x="549575" y="489651"/>
                </a:lnTo>
                <a:lnTo>
                  <a:pt x="559199" y="480601"/>
                </a:lnTo>
                <a:lnTo>
                  <a:pt x="569181" y="472261"/>
                </a:lnTo>
                <a:lnTo>
                  <a:pt x="579522" y="464633"/>
                </a:lnTo>
                <a:lnTo>
                  <a:pt x="590221" y="457716"/>
                </a:lnTo>
                <a:lnTo>
                  <a:pt x="601279" y="451510"/>
                </a:lnTo>
                <a:lnTo>
                  <a:pt x="612696" y="446014"/>
                </a:lnTo>
                <a:lnTo>
                  <a:pt x="624472" y="441230"/>
                </a:lnTo>
                <a:lnTo>
                  <a:pt x="636608" y="437157"/>
                </a:lnTo>
                <a:lnTo>
                  <a:pt x="649102" y="433795"/>
                </a:lnTo>
                <a:lnTo>
                  <a:pt x="661955" y="431144"/>
                </a:lnTo>
                <a:lnTo>
                  <a:pt x="664236" y="430754"/>
                </a:lnTo>
                <a:lnTo>
                  <a:pt x="664236" y="336069"/>
                </a:lnTo>
                <a:close/>
              </a:path>
            </a:pathLst>
          </a:custGeom>
          <a:solidFill>
            <a:srgbClr val="FFFFFF"/>
          </a:solidFill>
        </p:spPr>
        <p:txBody>
          <a:bodyPr wrap="square" lIns="0" tIns="0" rIns="0" bIns="0" rtlCol="0">
            <a:noAutofit/>
          </a:bodyPr>
          <a:lstStyle/>
          <a:p>
            <a:endParaRPr sz="1763"/>
          </a:p>
        </p:txBody>
      </p:sp>
      <p:sp>
        <p:nvSpPr>
          <p:cNvPr id="14" name="object 14"/>
          <p:cNvSpPr/>
          <p:nvPr/>
        </p:nvSpPr>
        <p:spPr>
          <a:xfrm>
            <a:off x="8186155" y="2758907"/>
            <a:ext cx="208213" cy="378909"/>
          </a:xfrm>
          <a:custGeom>
            <a:avLst/>
            <a:gdLst/>
            <a:ahLst/>
            <a:cxnLst/>
            <a:rect l="l" t="t" r="r" b="b"/>
            <a:pathLst>
              <a:path w="212551" h="386803">
                <a:moveTo>
                  <a:pt x="132863" y="140400"/>
                </a:moveTo>
                <a:lnTo>
                  <a:pt x="132863" y="0"/>
                </a:lnTo>
                <a:lnTo>
                  <a:pt x="79717" y="0"/>
                </a:lnTo>
                <a:lnTo>
                  <a:pt x="79717" y="175814"/>
                </a:lnTo>
                <a:lnTo>
                  <a:pt x="65139" y="179297"/>
                </a:lnTo>
                <a:lnTo>
                  <a:pt x="52032" y="184586"/>
                </a:lnTo>
                <a:lnTo>
                  <a:pt x="40396" y="191541"/>
                </a:lnTo>
                <a:lnTo>
                  <a:pt x="30230" y="200022"/>
                </a:lnTo>
                <a:lnTo>
                  <a:pt x="21535" y="209888"/>
                </a:lnTo>
                <a:lnTo>
                  <a:pt x="14312" y="221000"/>
                </a:lnTo>
                <a:lnTo>
                  <a:pt x="8558" y="233216"/>
                </a:lnTo>
                <a:lnTo>
                  <a:pt x="4276" y="246398"/>
                </a:lnTo>
                <a:lnTo>
                  <a:pt x="1465" y="260405"/>
                </a:lnTo>
                <a:lnTo>
                  <a:pt x="124" y="275096"/>
                </a:lnTo>
                <a:lnTo>
                  <a:pt x="0" y="281307"/>
                </a:lnTo>
                <a:lnTo>
                  <a:pt x="939" y="294695"/>
                </a:lnTo>
                <a:lnTo>
                  <a:pt x="3693" y="307889"/>
                </a:lnTo>
                <a:lnTo>
                  <a:pt x="8163" y="320698"/>
                </a:lnTo>
                <a:lnTo>
                  <a:pt x="14253" y="332927"/>
                </a:lnTo>
                <a:lnTo>
                  <a:pt x="21865" y="344385"/>
                </a:lnTo>
                <a:lnTo>
                  <a:pt x="30901" y="354877"/>
                </a:lnTo>
                <a:lnTo>
                  <a:pt x="41265" y="364211"/>
                </a:lnTo>
                <a:lnTo>
                  <a:pt x="52859" y="372194"/>
                </a:lnTo>
                <a:lnTo>
                  <a:pt x="65586" y="378633"/>
                </a:lnTo>
                <a:lnTo>
                  <a:pt x="79348" y="383334"/>
                </a:lnTo>
                <a:lnTo>
                  <a:pt x="94048" y="386106"/>
                </a:lnTo>
                <a:lnTo>
                  <a:pt x="106290" y="386803"/>
                </a:lnTo>
                <a:lnTo>
                  <a:pt x="121665" y="385697"/>
                </a:lnTo>
                <a:lnTo>
                  <a:pt x="136178" y="382507"/>
                </a:lnTo>
                <a:lnTo>
                  <a:pt x="149732" y="377427"/>
                </a:lnTo>
                <a:lnTo>
                  <a:pt x="162229" y="370649"/>
                </a:lnTo>
                <a:lnTo>
                  <a:pt x="173572" y="362367"/>
                </a:lnTo>
                <a:lnTo>
                  <a:pt x="183665" y="352774"/>
                </a:lnTo>
                <a:lnTo>
                  <a:pt x="192409" y="342062"/>
                </a:lnTo>
                <a:lnTo>
                  <a:pt x="199708" y="330426"/>
                </a:lnTo>
                <a:lnTo>
                  <a:pt x="205465" y="318057"/>
                </a:lnTo>
                <a:lnTo>
                  <a:pt x="209582" y="305150"/>
                </a:lnTo>
                <a:lnTo>
                  <a:pt x="211962" y="291897"/>
                </a:lnTo>
                <a:lnTo>
                  <a:pt x="212551" y="281307"/>
                </a:lnTo>
                <a:lnTo>
                  <a:pt x="211594" y="266373"/>
                </a:lnTo>
                <a:lnTo>
                  <a:pt x="208817" y="252066"/>
                </a:lnTo>
                <a:lnTo>
                  <a:pt x="204362" y="238526"/>
                </a:lnTo>
                <a:lnTo>
                  <a:pt x="198370" y="225894"/>
                </a:lnTo>
                <a:lnTo>
                  <a:pt x="190982" y="214310"/>
                </a:lnTo>
                <a:lnTo>
                  <a:pt x="182339" y="203914"/>
                </a:lnTo>
                <a:lnTo>
                  <a:pt x="172584" y="194846"/>
                </a:lnTo>
                <a:lnTo>
                  <a:pt x="161856" y="187247"/>
                </a:lnTo>
                <a:lnTo>
                  <a:pt x="150298" y="181257"/>
                </a:lnTo>
                <a:lnTo>
                  <a:pt x="138051" y="177015"/>
                </a:lnTo>
                <a:lnTo>
                  <a:pt x="132863" y="175814"/>
                </a:lnTo>
                <a:lnTo>
                  <a:pt x="132863" y="140400"/>
                </a:lnTo>
                <a:close/>
              </a:path>
            </a:pathLst>
          </a:custGeom>
          <a:solidFill>
            <a:srgbClr val="FFFFFF"/>
          </a:solidFill>
        </p:spPr>
        <p:txBody>
          <a:bodyPr wrap="square" lIns="0" tIns="0" rIns="0" bIns="0" rtlCol="0">
            <a:noAutofit/>
          </a:bodyPr>
          <a:lstStyle/>
          <a:p>
            <a:endParaRPr sz="1763"/>
          </a:p>
        </p:txBody>
      </p:sp>
      <p:sp>
        <p:nvSpPr>
          <p:cNvPr id="11" name="object 11"/>
          <p:cNvSpPr/>
          <p:nvPr/>
        </p:nvSpPr>
        <p:spPr>
          <a:xfrm>
            <a:off x="7116645" y="1358598"/>
            <a:ext cx="0" cy="2597145"/>
          </a:xfrm>
          <a:custGeom>
            <a:avLst/>
            <a:gdLst/>
            <a:ahLst/>
            <a:cxnLst/>
            <a:rect l="l" t="t" r="r" b="b"/>
            <a:pathLst>
              <a:path h="2651252">
                <a:moveTo>
                  <a:pt x="0" y="0"/>
                </a:moveTo>
                <a:lnTo>
                  <a:pt x="0" y="2651252"/>
                </a:lnTo>
              </a:path>
            </a:pathLst>
          </a:custGeom>
          <a:ln w="9154">
            <a:solidFill>
              <a:srgbClr val="006FC0"/>
            </a:solidFill>
          </a:ln>
        </p:spPr>
        <p:txBody>
          <a:bodyPr wrap="square" lIns="0" tIns="0" rIns="0" bIns="0" rtlCol="0">
            <a:noAutofit/>
          </a:bodyPr>
          <a:lstStyle/>
          <a:p>
            <a:endParaRPr sz="1763"/>
          </a:p>
        </p:txBody>
      </p:sp>
      <p:sp>
        <p:nvSpPr>
          <p:cNvPr id="10" name="object 10"/>
          <p:cNvSpPr txBox="1"/>
          <p:nvPr/>
        </p:nvSpPr>
        <p:spPr>
          <a:xfrm>
            <a:off x="5416980" y="3301146"/>
            <a:ext cx="1056360" cy="679389"/>
          </a:xfrm>
          <a:prstGeom prst="rect">
            <a:avLst/>
          </a:prstGeom>
        </p:spPr>
        <p:txBody>
          <a:bodyPr wrap="square" lIns="0" tIns="0" rIns="0" bIns="0" rtlCol="0">
            <a:noAutofit/>
          </a:bodyPr>
          <a:lstStyle/>
          <a:p>
            <a:pPr marL="58423" marR="81528" algn="ctr">
              <a:lnSpc>
                <a:spcPts val="2567"/>
              </a:lnSpc>
              <a:spcBef>
                <a:spcPts val="128"/>
              </a:spcBef>
            </a:pPr>
            <a:r>
              <a:rPr sz="3453" spc="-39" baseline="1066" dirty="0" smtClean="0">
                <a:solidFill>
                  <a:srgbClr val="FFFFFF"/>
                </a:solidFill>
                <a:latin typeface="Segoe UI Light"/>
                <a:cs typeface="Segoe UI Light"/>
              </a:rPr>
              <a:t>M</a:t>
            </a:r>
            <a:r>
              <a:rPr sz="3453" spc="29" baseline="1066" dirty="0" smtClean="0">
                <a:solidFill>
                  <a:srgbClr val="FFFFFF"/>
                </a:solidFill>
                <a:latin typeface="Segoe UI Light"/>
                <a:cs typeface="Segoe UI Light"/>
              </a:rPr>
              <a:t>o</a:t>
            </a:r>
            <a:r>
              <a:rPr sz="3453" spc="-34" baseline="1066" dirty="0" smtClean="0">
                <a:solidFill>
                  <a:srgbClr val="FFFFFF"/>
                </a:solidFill>
                <a:latin typeface="Segoe UI Light"/>
                <a:cs typeface="Segoe UI Light"/>
              </a:rPr>
              <a:t>b</a:t>
            </a:r>
            <a:r>
              <a:rPr sz="3453" spc="15" baseline="1066" dirty="0" smtClean="0">
                <a:solidFill>
                  <a:srgbClr val="FFFFFF"/>
                </a:solidFill>
                <a:latin typeface="Segoe UI Light"/>
                <a:cs typeface="Segoe UI Light"/>
              </a:rPr>
              <a:t>il</a:t>
            </a:r>
            <a:r>
              <a:rPr lang="en-IN" sz="3453" spc="15" baseline="1066" dirty="0" smtClean="0">
                <a:solidFill>
                  <a:srgbClr val="FFFFFF"/>
                </a:solidFill>
                <a:latin typeface="Segoe UI Light"/>
                <a:cs typeface="Segoe UI Light"/>
              </a:rPr>
              <a:t>e</a:t>
            </a:r>
            <a:endParaRPr lang="en-IN" sz="3453" baseline="1066" dirty="0">
              <a:solidFill>
                <a:srgbClr val="FFFFFF"/>
              </a:solidFill>
              <a:latin typeface="Segoe UI Light"/>
              <a:cs typeface="Segoe UI Light"/>
            </a:endParaRPr>
          </a:p>
          <a:p>
            <a:pPr marL="58423" marR="81528" algn="ctr">
              <a:lnSpc>
                <a:spcPts val="2567"/>
              </a:lnSpc>
              <a:spcBef>
                <a:spcPts val="128"/>
              </a:spcBef>
            </a:pPr>
            <a:r>
              <a:rPr lang="en-IN" sz="2302" spc="-28" dirty="0" smtClean="0">
                <a:solidFill>
                  <a:srgbClr val="FFFFFF"/>
                </a:solidFill>
                <a:latin typeface="Segoe UI Light"/>
                <a:cs typeface="Segoe UI Light"/>
              </a:rPr>
              <a:t>App</a:t>
            </a:r>
            <a:endParaRPr sz="2302" dirty="0">
              <a:latin typeface="Segoe UI Light"/>
              <a:cs typeface="Segoe UI Light"/>
            </a:endParaRPr>
          </a:p>
        </p:txBody>
      </p:sp>
      <p:sp>
        <p:nvSpPr>
          <p:cNvPr id="9" name="object 9"/>
          <p:cNvSpPr txBox="1"/>
          <p:nvPr/>
        </p:nvSpPr>
        <p:spPr>
          <a:xfrm>
            <a:off x="2664823" y="3313214"/>
            <a:ext cx="1682647" cy="679389"/>
          </a:xfrm>
          <a:prstGeom prst="rect">
            <a:avLst/>
          </a:prstGeom>
        </p:spPr>
        <p:txBody>
          <a:bodyPr wrap="square" lIns="0" tIns="0" rIns="0" bIns="0" rtlCol="0">
            <a:noAutofit/>
          </a:bodyPr>
          <a:lstStyle/>
          <a:p>
            <a:pPr marL="175119" marR="190123" algn="ctr">
              <a:lnSpc>
                <a:spcPts val="2567"/>
              </a:lnSpc>
              <a:spcBef>
                <a:spcPts val="128"/>
              </a:spcBef>
            </a:pPr>
            <a:r>
              <a:rPr sz="3453" spc="15" baseline="1066" dirty="0" smtClean="0">
                <a:solidFill>
                  <a:srgbClr val="FFFFFF"/>
                </a:solidFill>
                <a:latin typeface="Segoe UI Light"/>
                <a:cs typeface="Segoe UI Light"/>
              </a:rPr>
              <a:t>A</a:t>
            </a:r>
            <a:r>
              <a:rPr sz="3453" spc="-24" baseline="1066" dirty="0" smtClean="0">
                <a:solidFill>
                  <a:srgbClr val="FFFFFF"/>
                </a:solidFill>
                <a:latin typeface="Segoe UI Light"/>
                <a:cs typeface="Segoe UI Light"/>
              </a:rPr>
              <a:t>z</a:t>
            </a:r>
            <a:r>
              <a:rPr sz="3453" spc="20" baseline="1066" dirty="0" smtClean="0">
                <a:solidFill>
                  <a:srgbClr val="FFFFFF"/>
                </a:solidFill>
                <a:latin typeface="Segoe UI Light"/>
                <a:cs typeface="Segoe UI Light"/>
              </a:rPr>
              <a:t>u</a:t>
            </a:r>
            <a:r>
              <a:rPr sz="3453" spc="-64" baseline="1066" dirty="0" smtClean="0">
                <a:solidFill>
                  <a:srgbClr val="FFFFFF"/>
                </a:solidFill>
                <a:latin typeface="Segoe UI Light"/>
                <a:cs typeface="Segoe UI Light"/>
              </a:rPr>
              <a:t>r</a:t>
            </a:r>
            <a:r>
              <a:rPr sz="3453" baseline="1066" dirty="0" smtClean="0">
                <a:solidFill>
                  <a:srgbClr val="FFFFFF"/>
                </a:solidFill>
                <a:latin typeface="Segoe UI Light"/>
                <a:cs typeface="Segoe UI Light"/>
              </a:rPr>
              <a:t>e</a:t>
            </a:r>
            <a:r>
              <a:rPr lang="en-IN" sz="3453" baseline="1066" dirty="0" smtClean="0">
                <a:solidFill>
                  <a:srgbClr val="FFFFFF"/>
                </a:solidFill>
                <a:latin typeface="Segoe UI Light"/>
                <a:cs typeface="Segoe UI Light"/>
              </a:rPr>
              <a:t> Web App</a:t>
            </a:r>
            <a:endParaRPr sz="2302" dirty="0">
              <a:latin typeface="Segoe UI Light"/>
              <a:cs typeface="Segoe UI Light"/>
            </a:endParaRPr>
          </a:p>
        </p:txBody>
      </p:sp>
      <p:sp>
        <p:nvSpPr>
          <p:cNvPr id="8" name="object 8"/>
          <p:cNvSpPr txBox="1"/>
          <p:nvPr/>
        </p:nvSpPr>
        <p:spPr>
          <a:xfrm>
            <a:off x="7821915" y="3311966"/>
            <a:ext cx="1058235" cy="679956"/>
          </a:xfrm>
          <a:prstGeom prst="rect">
            <a:avLst/>
          </a:prstGeom>
        </p:spPr>
        <p:txBody>
          <a:bodyPr wrap="square" lIns="0" tIns="0" rIns="0" bIns="0" rtlCol="0">
            <a:noAutofit/>
          </a:bodyPr>
          <a:lstStyle/>
          <a:p>
            <a:pPr marL="76564" marR="109363" algn="ctr">
              <a:lnSpc>
                <a:spcPts val="2567"/>
              </a:lnSpc>
              <a:spcBef>
                <a:spcPts val="128"/>
              </a:spcBef>
            </a:pPr>
            <a:r>
              <a:rPr lang="en-IN" sz="3453" baseline="1066" dirty="0" smtClean="0">
                <a:solidFill>
                  <a:srgbClr val="FFFFFF"/>
                </a:solidFill>
                <a:latin typeface="Segoe UI Light"/>
                <a:cs typeface="Segoe UI Light"/>
              </a:rPr>
              <a:t>Logic App</a:t>
            </a:r>
            <a:endParaRPr sz="2302" dirty="0">
              <a:latin typeface="Segoe UI Light"/>
              <a:cs typeface="Segoe UI Light"/>
            </a:endParaRPr>
          </a:p>
        </p:txBody>
      </p:sp>
      <p:sp>
        <p:nvSpPr>
          <p:cNvPr id="7" name="object 7"/>
          <p:cNvSpPr txBox="1"/>
          <p:nvPr/>
        </p:nvSpPr>
        <p:spPr>
          <a:xfrm>
            <a:off x="2016906" y="4856564"/>
            <a:ext cx="1011365" cy="634904"/>
          </a:xfrm>
          <a:prstGeom prst="rect">
            <a:avLst/>
          </a:prstGeom>
        </p:spPr>
        <p:txBody>
          <a:bodyPr wrap="square" lIns="0" tIns="0" rIns="0" bIns="0" rtlCol="0">
            <a:noAutofit/>
          </a:bodyPr>
          <a:lstStyle/>
          <a:p>
            <a:pPr marL="12441">
              <a:lnSpc>
                <a:spcPts val="5001"/>
              </a:lnSpc>
              <a:spcBef>
                <a:spcPts val="250"/>
              </a:spcBef>
            </a:pPr>
            <a:endParaRPr sz="4800" dirty="0">
              <a:latin typeface="Segoe UI Light"/>
              <a:cs typeface="Segoe UI Light"/>
            </a:endParaRPr>
          </a:p>
        </p:txBody>
      </p:sp>
      <p:sp>
        <p:nvSpPr>
          <p:cNvPr id="6" name="object 6"/>
          <p:cNvSpPr txBox="1"/>
          <p:nvPr/>
        </p:nvSpPr>
        <p:spPr>
          <a:xfrm>
            <a:off x="3075295" y="4856564"/>
            <a:ext cx="6201709" cy="634904"/>
          </a:xfrm>
          <a:prstGeom prst="rect">
            <a:avLst/>
          </a:prstGeom>
        </p:spPr>
        <p:txBody>
          <a:bodyPr wrap="square" lIns="0" tIns="0" rIns="0" bIns="0" rtlCol="0">
            <a:noAutofit/>
          </a:bodyPr>
          <a:lstStyle/>
          <a:p>
            <a:pPr marL="12441">
              <a:lnSpc>
                <a:spcPts val="5001"/>
              </a:lnSpc>
              <a:spcBef>
                <a:spcPts val="250"/>
              </a:spcBef>
            </a:pPr>
            <a:r>
              <a:rPr lang="en-IN" sz="4800" spc="24" dirty="0" smtClean="0">
                <a:solidFill>
                  <a:srgbClr val="FFFFFF"/>
                </a:solidFill>
                <a:latin typeface="Segoe UI Light"/>
                <a:cs typeface="Segoe UI Light"/>
              </a:rPr>
              <a:t>A</a:t>
            </a:r>
            <a:r>
              <a:rPr sz="4800" dirty="0" smtClean="0">
                <a:solidFill>
                  <a:srgbClr val="FFFFFF"/>
                </a:solidFill>
                <a:latin typeface="Segoe UI Light"/>
                <a:cs typeface="Segoe UI Light"/>
              </a:rPr>
              <a:t>pp</a:t>
            </a:r>
            <a:r>
              <a:rPr lang="en-IN" sz="4800" dirty="0" smtClean="0">
                <a:solidFill>
                  <a:srgbClr val="FFFFFF"/>
                </a:solidFill>
                <a:latin typeface="Segoe UI Light"/>
                <a:cs typeface="Segoe UI Light"/>
              </a:rPr>
              <a:t> Services</a:t>
            </a:r>
            <a:endParaRPr sz="4800" dirty="0">
              <a:latin typeface="Segoe UI Light"/>
              <a:cs typeface="Segoe UI Light"/>
            </a:endParaRPr>
          </a:p>
        </p:txBody>
      </p:sp>
      <p:sp>
        <p:nvSpPr>
          <p:cNvPr id="5" name="object 5"/>
          <p:cNvSpPr txBox="1"/>
          <p:nvPr/>
        </p:nvSpPr>
        <p:spPr>
          <a:xfrm>
            <a:off x="4222748" y="4856564"/>
            <a:ext cx="2100901" cy="634904"/>
          </a:xfrm>
          <a:prstGeom prst="rect">
            <a:avLst/>
          </a:prstGeom>
        </p:spPr>
        <p:txBody>
          <a:bodyPr wrap="square" lIns="0" tIns="0" rIns="0" bIns="0" rtlCol="0">
            <a:noAutofit/>
          </a:bodyPr>
          <a:lstStyle/>
          <a:p>
            <a:pPr marL="12441">
              <a:lnSpc>
                <a:spcPts val="5001"/>
              </a:lnSpc>
              <a:spcBef>
                <a:spcPts val="250"/>
              </a:spcBef>
            </a:pPr>
            <a:endParaRPr sz="4800" dirty="0">
              <a:latin typeface="Segoe UI Light"/>
              <a:cs typeface="Segoe UI Light"/>
            </a:endParaRPr>
          </a:p>
        </p:txBody>
      </p:sp>
      <p:sp>
        <p:nvSpPr>
          <p:cNvPr id="4" name="object 4"/>
          <p:cNvSpPr txBox="1"/>
          <p:nvPr/>
        </p:nvSpPr>
        <p:spPr>
          <a:xfrm>
            <a:off x="6391380" y="4856564"/>
            <a:ext cx="567945" cy="634904"/>
          </a:xfrm>
          <a:prstGeom prst="rect">
            <a:avLst/>
          </a:prstGeom>
        </p:spPr>
        <p:txBody>
          <a:bodyPr wrap="square" lIns="0" tIns="0" rIns="0" bIns="0" rtlCol="0">
            <a:noAutofit/>
          </a:bodyPr>
          <a:lstStyle/>
          <a:p>
            <a:pPr marL="12441">
              <a:lnSpc>
                <a:spcPts val="5001"/>
              </a:lnSpc>
              <a:spcBef>
                <a:spcPts val="250"/>
              </a:spcBef>
            </a:pPr>
            <a:endParaRPr sz="4800" dirty="0">
              <a:latin typeface="Segoe UI Light"/>
              <a:cs typeface="Segoe UI Light"/>
            </a:endParaRPr>
          </a:p>
        </p:txBody>
      </p:sp>
      <p:sp>
        <p:nvSpPr>
          <p:cNvPr id="3" name="object 3"/>
          <p:cNvSpPr txBox="1"/>
          <p:nvPr/>
        </p:nvSpPr>
        <p:spPr>
          <a:xfrm>
            <a:off x="7009334" y="4856564"/>
            <a:ext cx="1607209" cy="634904"/>
          </a:xfrm>
          <a:prstGeom prst="rect">
            <a:avLst/>
          </a:prstGeom>
        </p:spPr>
        <p:txBody>
          <a:bodyPr wrap="square" lIns="0" tIns="0" rIns="0" bIns="0" rtlCol="0">
            <a:noAutofit/>
          </a:bodyPr>
          <a:lstStyle/>
          <a:p>
            <a:pPr marL="12441">
              <a:lnSpc>
                <a:spcPts val="5001"/>
              </a:lnSpc>
              <a:spcBef>
                <a:spcPts val="250"/>
              </a:spcBef>
            </a:pPr>
            <a:endParaRPr sz="4800" dirty="0">
              <a:latin typeface="Segoe UI Light"/>
              <a:cs typeface="Segoe UI Light"/>
            </a:endParaRPr>
          </a:p>
        </p:txBody>
      </p:sp>
      <p:sp>
        <p:nvSpPr>
          <p:cNvPr id="2" name="object 2"/>
          <p:cNvSpPr txBox="1"/>
          <p:nvPr/>
        </p:nvSpPr>
        <p:spPr>
          <a:xfrm>
            <a:off x="8666765" y="4856564"/>
            <a:ext cx="1557945" cy="634904"/>
          </a:xfrm>
          <a:prstGeom prst="rect">
            <a:avLst/>
          </a:prstGeom>
        </p:spPr>
        <p:txBody>
          <a:bodyPr wrap="square" lIns="0" tIns="0" rIns="0" bIns="0" rtlCol="0">
            <a:noAutofit/>
          </a:bodyPr>
          <a:lstStyle/>
          <a:p>
            <a:pPr marL="12441">
              <a:lnSpc>
                <a:spcPts val="5001"/>
              </a:lnSpc>
              <a:spcBef>
                <a:spcPts val="250"/>
              </a:spcBef>
            </a:pPr>
            <a:endParaRPr sz="4800" dirty="0">
              <a:latin typeface="Segoe UI Light"/>
              <a:cs typeface="Segoe UI Light"/>
            </a:endParaRPr>
          </a:p>
        </p:txBody>
      </p:sp>
    </p:spTree>
    <p:extLst>
      <p:ext uri="{BB962C8B-B14F-4D97-AF65-F5344CB8AC3E}">
        <p14:creationId xmlns:p14="http://schemas.microsoft.com/office/powerpoint/2010/main" val="91615903"/>
      </p:ext>
    </p:extLst>
  </p:cSld>
  <p:clrMapOvr>
    <a:masterClrMapping/>
  </p:clrMapOvr>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9" name="object 9"/>
          <p:cNvSpPr/>
          <p:nvPr/>
        </p:nvSpPr>
        <p:spPr>
          <a:xfrm>
            <a:off x="0" y="1555"/>
            <a:ext cx="12182047" cy="6852401"/>
          </a:xfrm>
          <a:custGeom>
            <a:avLst/>
            <a:gdLst/>
            <a:ahLst/>
            <a:cxnLst/>
            <a:rect l="l" t="t" r="r" b="b"/>
            <a:pathLst>
              <a:path w="12435840" h="6995159">
                <a:moveTo>
                  <a:pt x="12435840" y="0"/>
                </a:moveTo>
                <a:lnTo>
                  <a:pt x="0" y="0"/>
                </a:lnTo>
                <a:lnTo>
                  <a:pt x="0" y="6995158"/>
                </a:lnTo>
                <a:lnTo>
                  <a:pt x="12435840" y="6995158"/>
                </a:lnTo>
                <a:lnTo>
                  <a:pt x="12435840" y="0"/>
                </a:lnTo>
                <a:close/>
              </a:path>
            </a:pathLst>
          </a:custGeom>
          <a:solidFill>
            <a:schemeClr val="bg2">
              <a:lumMod val="50000"/>
            </a:schemeClr>
          </a:solidFill>
        </p:spPr>
        <p:txBody>
          <a:bodyPr wrap="square" lIns="0" tIns="0" rIns="0" bIns="0" rtlCol="0">
            <a:noAutofit/>
          </a:bodyPr>
          <a:lstStyle/>
          <a:p>
            <a:endParaRPr sz="1763"/>
          </a:p>
        </p:txBody>
      </p:sp>
      <p:sp>
        <p:nvSpPr>
          <p:cNvPr id="8" name="object 8"/>
          <p:cNvSpPr/>
          <p:nvPr/>
        </p:nvSpPr>
        <p:spPr>
          <a:xfrm>
            <a:off x="1298821" y="2196114"/>
            <a:ext cx="3045512" cy="3045512"/>
          </a:xfrm>
          <a:prstGeom prst="rect">
            <a:avLst/>
          </a:prstGeom>
          <a:blipFill>
            <a:blip r:embed="rId2" cstate="print"/>
            <a:stretch>
              <a:fillRect/>
            </a:stretch>
          </a:blipFill>
        </p:spPr>
        <p:txBody>
          <a:bodyPr wrap="square" lIns="0" tIns="0" rIns="0" bIns="0" rtlCol="0">
            <a:noAutofit/>
          </a:bodyPr>
          <a:lstStyle/>
          <a:p>
            <a:endParaRPr sz="1763"/>
          </a:p>
        </p:txBody>
      </p:sp>
      <p:sp>
        <p:nvSpPr>
          <p:cNvPr id="7" name="object 7"/>
          <p:cNvSpPr/>
          <p:nvPr/>
        </p:nvSpPr>
        <p:spPr>
          <a:xfrm>
            <a:off x="4828032" y="3548680"/>
            <a:ext cx="447869" cy="80616"/>
          </a:xfrm>
          <a:custGeom>
            <a:avLst/>
            <a:gdLst/>
            <a:ahLst/>
            <a:cxnLst/>
            <a:rect l="l" t="t" r="r" b="b"/>
            <a:pathLst>
              <a:path w="457200" h="82296">
                <a:moveTo>
                  <a:pt x="0" y="82296"/>
                </a:moveTo>
                <a:lnTo>
                  <a:pt x="457200" y="82296"/>
                </a:lnTo>
                <a:lnTo>
                  <a:pt x="457200" y="0"/>
                </a:lnTo>
                <a:lnTo>
                  <a:pt x="0" y="0"/>
                </a:lnTo>
                <a:lnTo>
                  <a:pt x="0" y="82296"/>
                </a:lnTo>
                <a:close/>
              </a:path>
            </a:pathLst>
          </a:custGeom>
          <a:solidFill>
            <a:srgbClr val="FFFFFF"/>
          </a:solidFill>
        </p:spPr>
        <p:txBody>
          <a:bodyPr wrap="square" lIns="0" tIns="0" rIns="0" bIns="0" rtlCol="0">
            <a:noAutofit/>
          </a:bodyPr>
          <a:lstStyle/>
          <a:p>
            <a:endParaRPr sz="1763"/>
          </a:p>
        </p:txBody>
      </p:sp>
      <p:sp>
        <p:nvSpPr>
          <p:cNvPr id="6" name="object 6"/>
          <p:cNvSpPr/>
          <p:nvPr/>
        </p:nvSpPr>
        <p:spPr>
          <a:xfrm>
            <a:off x="4828032" y="3727829"/>
            <a:ext cx="447869" cy="89573"/>
          </a:xfrm>
          <a:custGeom>
            <a:avLst/>
            <a:gdLst/>
            <a:ahLst/>
            <a:cxnLst/>
            <a:rect l="l" t="t" r="r" b="b"/>
            <a:pathLst>
              <a:path w="457200" h="91439">
                <a:moveTo>
                  <a:pt x="0" y="91439"/>
                </a:moveTo>
                <a:lnTo>
                  <a:pt x="457200" y="91439"/>
                </a:lnTo>
                <a:lnTo>
                  <a:pt x="457200" y="0"/>
                </a:lnTo>
                <a:lnTo>
                  <a:pt x="0" y="0"/>
                </a:lnTo>
                <a:lnTo>
                  <a:pt x="0" y="91439"/>
                </a:lnTo>
                <a:close/>
              </a:path>
            </a:pathLst>
          </a:custGeom>
          <a:solidFill>
            <a:srgbClr val="FFFFFF"/>
          </a:solidFill>
        </p:spPr>
        <p:txBody>
          <a:bodyPr wrap="square" lIns="0" tIns="0" rIns="0" bIns="0" rtlCol="0">
            <a:noAutofit/>
          </a:bodyPr>
          <a:lstStyle/>
          <a:p>
            <a:endParaRPr sz="1763"/>
          </a:p>
        </p:txBody>
      </p:sp>
      <p:sp>
        <p:nvSpPr>
          <p:cNvPr id="5" name="object 5"/>
          <p:cNvSpPr txBox="1"/>
          <p:nvPr/>
        </p:nvSpPr>
        <p:spPr>
          <a:xfrm>
            <a:off x="5612550" y="3242827"/>
            <a:ext cx="1777167" cy="922162"/>
          </a:xfrm>
          <a:prstGeom prst="rect">
            <a:avLst/>
          </a:prstGeom>
        </p:spPr>
        <p:txBody>
          <a:bodyPr wrap="square" lIns="0" tIns="0" rIns="0" bIns="0" rtlCol="0">
            <a:noAutofit/>
          </a:bodyPr>
          <a:lstStyle/>
          <a:p>
            <a:pPr marL="12441">
              <a:lnSpc>
                <a:spcPts val="7258"/>
              </a:lnSpc>
              <a:spcBef>
                <a:spcPts val="362"/>
              </a:spcBef>
            </a:pPr>
            <a:r>
              <a:rPr sz="7053" dirty="0">
                <a:solidFill>
                  <a:srgbClr val="FFFFFF"/>
                </a:solidFill>
                <a:latin typeface="Segoe UI Light"/>
                <a:cs typeface="Segoe UI Light"/>
              </a:rPr>
              <a:t>O</a:t>
            </a:r>
            <a:r>
              <a:rPr sz="7053" spc="9" dirty="0">
                <a:solidFill>
                  <a:srgbClr val="FFFFFF"/>
                </a:solidFill>
                <a:latin typeface="Segoe UI Light"/>
                <a:cs typeface="Segoe UI Light"/>
              </a:rPr>
              <a:t>n</a:t>
            </a:r>
            <a:r>
              <a:rPr sz="7053" dirty="0">
                <a:solidFill>
                  <a:srgbClr val="FFFFFF"/>
                </a:solidFill>
                <a:latin typeface="Segoe UI Light"/>
                <a:cs typeface="Segoe UI Light"/>
              </a:rPr>
              <a:t>e</a:t>
            </a:r>
            <a:endParaRPr sz="7053">
              <a:latin typeface="Segoe UI Light"/>
              <a:cs typeface="Segoe UI Light"/>
            </a:endParaRPr>
          </a:p>
        </p:txBody>
      </p:sp>
      <p:sp>
        <p:nvSpPr>
          <p:cNvPr id="4" name="object 4"/>
          <p:cNvSpPr txBox="1"/>
          <p:nvPr/>
        </p:nvSpPr>
        <p:spPr>
          <a:xfrm>
            <a:off x="7467230" y="3242827"/>
            <a:ext cx="1992514" cy="922162"/>
          </a:xfrm>
          <a:prstGeom prst="rect">
            <a:avLst/>
          </a:prstGeom>
        </p:spPr>
        <p:txBody>
          <a:bodyPr wrap="square" lIns="0" tIns="0" rIns="0" bIns="0" rtlCol="0">
            <a:noAutofit/>
          </a:bodyPr>
          <a:lstStyle/>
          <a:p>
            <a:pPr marL="12441">
              <a:lnSpc>
                <a:spcPts val="7258"/>
              </a:lnSpc>
              <a:spcBef>
                <a:spcPts val="362"/>
              </a:spcBef>
            </a:pPr>
            <a:r>
              <a:rPr sz="7053" dirty="0">
                <a:solidFill>
                  <a:srgbClr val="FFFFFF"/>
                </a:solidFill>
                <a:latin typeface="Segoe UI Light"/>
                <a:cs typeface="Segoe UI Light"/>
              </a:rPr>
              <a:t>pr</a:t>
            </a:r>
            <a:r>
              <a:rPr sz="7053" spc="19" dirty="0">
                <a:solidFill>
                  <a:srgbClr val="FFFFFF"/>
                </a:solidFill>
                <a:latin typeface="Segoe UI Light"/>
                <a:cs typeface="Segoe UI Light"/>
              </a:rPr>
              <a:t>i</a:t>
            </a:r>
            <a:r>
              <a:rPr sz="7053" spc="-28" dirty="0">
                <a:solidFill>
                  <a:srgbClr val="FFFFFF"/>
                </a:solidFill>
                <a:latin typeface="Segoe UI Light"/>
                <a:cs typeface="Segoe UI Light"/>
              </a:rPr>
              <a:t>c</a:t>
            </a:r>
            <a:r>
              <a:rPr sz="7053" dirty="0">
                <a:solidFill>
                  <a:srgbClr val="FFFFFF"/>
                </a:solidFill>
                <a:latin typeface="Segoe UI Light"/>
                <a:cs typeface="Segoe UI Light"/>
              </a:rPr>
              <a:t>e</a:t>
            </a:r>
            <a:endParaRPr sz="7053">
              <a:latin typeface="Segoe UI Light"/>
              <a:cs typeface="Segoe UI Light"/>
            </a:endParaRPr>
          </a:p>
        </p:txBody>
      </p:sp>
      <p:sp>
        <p:nvSpPr>
          <p:cNvPr id="3" name="object 3"/>
          <p:cNvSpPr txBox="1"/>
          <p:nvPr/>
        </p:nvSpPr>
        <p:spPr>
          <a:xfrm>
            <a:off x="4828032" y="3727829"/>
            <a:ext cx="447869" cy="89573"/>
          </a:xfrm>
          <a:prstGeom prst="rect">
            <a:avLst/>
          </a:prstGeom>
        </p:spPr>
        <p:txBody>
          <a:bodyPr wrap="square" lIns="0" tIns="0" rIns="0" bIns="0" rtlCol="0">
            <a:noAutofit/>
          </a:bodyPr>
          <a:lstStyle/>
          <a:p>
            <a:pPr marL="24882">
              <a:lnSpc>
                <a:spcPts val="686"/>
              </a:lnSpc>
              <a:spcBef>
                <a:spcPts val="19"/>
              </a:spcBef>
            </a:pPr>
            <a:endParaRPr sz="686"/>
          </a:p>
        </p:txBody>
      </p:sp>
      <p:sp>
        <p:nvSpPr>
          <p:cNvPr id="2" name="object 2"/>
          <p:cNvSpPr txBox="1"/>
          <p:nvPr/>
        </p:nvSpPr>
        <p:spPr>
          <a:xfrm>
            <a:off x="4828032" y="3548680"/>
            <a:ext cx="447869" cy="80616"/>
          </a:xfrm>
          <a:prstGeom prst="rect">
            <a:avLst/>
          </a:prstGeom>
        </p:spPr>
        <p:txBody>
          <a:bodyPr wrap="square" lIns="0" tIns="0" rIns="0" bIns="0" rtlCol="0">
            <a:noAutofit/>
          </a:bodyPr>
          <a:lstStyle/>
          <a:p>
            <a:pPr marL="24882">
              <a:lnSpc>
                <a:spcPts val="588"/>
              </a:lnSpc>
              <a:spcBef>
                <a:spcPts val="47"/>
              </a:spcBef>
            </a:pPr>
            <a:endParaRPr sz="588"/>
          </a:p>
        </p:txBody>
      </p:sp>
    </p:spTree>
    <p:extLst>
      <p:ext uri="{BB962C8B-B14F-4D97-AF65-F5344CB8AC3E}">
        <p14:creationId xmlns:p14="http://schemas.microsoft.com/office/powerpoint/2010/main" val="1164282467"/>
      </p:ext>
    </p:extLst>
  </p:cSld>
  <p:clrMapOvr>
    <a:masterClrMapping/>
  </p:clrMapOvr>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object 31"/>
          <p:cNvSpPr/>
          <p:nvPr/>
        </p:nvSpPr>
        <p:spPr>
          <a:xfrm>
            <a:off x="0" y="1555"/>
            <a:ext cx="12182047" cy="6852401"/>
          </a:xfrm>
          <a:custGeom>
            <a:avLst/>
            <a:gdLst/>
            <a:ahLst/>
            <a:cxnLst/>
            <a:rect l="l" t="t" r="r" b="b"/>
            <a:pathLst>
              <a:path w="12435840" h="6995159">
                <a:moveTo>
                  <a:pt x="12435840" y="0"/>
                </a:moveTo>
                <a:lnTo>
                  <a:pt x="0" y="0"/>
                </a:lnTo>
                <a:lnTo>
                  <a:pt x="0" y="6995158"/>
                </a:lnTo>
                <a:lnTo>
                  <a:pt x="12435840" y="6995158"/>
                </a:lnTo>
                <a:lnTo>
                  <a:pt x="12435840" y="0"/>
                </a:lnTo>
                <a:close/>
              </a:path>
            </a:pathLst>
          </a:custGeom>
          <a:solidFill>
            <a:schemeClr val="bg2">
              <a:lumMod val="50000"/>
            </a:schemeClr>
          </a:solidFill>
        </p:spPr>
        <p:txBody>
          <a:bodyPr wrap="square" lIns="0" tIns="0" rIns="0" bIns="0" rtlCol="0">
            <a:noAutofit/>
          </a:bodyPr>
          <a:lstStyle/>
          <a:p>
            <a:endParaRPr sz="1763"/>
          </a:p>
        </p:txBody>
      </p:sp>
      <p:sp>
        <p:nvSpPr>
          <p:cNvPr id="18" name="object 18"/>
          <p:cNvSpPr/>
          <p:nvPr/>
        </p:nvSpPr>
        <p:spPr>
          <a:xfrm>
            <a:off x="2341564" y="2244390"/>
            <a:ext cx="686546" cy="684854"/>
          </a:xfrm>
          <a:custGeom>
            <a:avLst/>
            <a:gdLst/>
            <a:ahLst/>
            <a:cxnLst/>
            <a:rect l="l" t="t" r="r" b="b"/>
            <a:pathLst>
              <a:path w="700849" h="699122">
                <a:moveTo>
                  <a:pt x="573" y="332928"/>
                </a:moveTo>
                <a:lnTo>
                  <a:pt x="0" y="359821"/>
                </a:lnTo>
                <a:lnTo>
                  <a:pt x="1481" y="386747"/>
                </a:lnTo>
                <a:lnTo>
                  <a:pt x="5040" y="413580"/>
                </a:lnTo>
                <a:lnTo>
                  <a:pt x="10703" y="440198"/>
                </a:lnTo>
                <a:lnTo>
                  <a:pt x="18493" y="466475"/>
                </a:lnTo>
                <a:lnTo>
                  <a:pt x="28434" y="492288"/>
                </a:lnTo>
                <a:lnTo>
                  <a:pt x="40550" y="517513"/>
                </a:lnTo>
                <a:lnTo>
                  <a:pt x="47128" y="356499"/>
                </a:lnTo>
                <a:lnTo>
                  <a:pt x="47671" y="333301"/>
                </a:lnTo>
                <a:lnTo>
                  <a:pt x="49996" y="310202"/>
                </a:lnTo>
                <a:lnTo>
                  <a:pt x="54087" y="287303"/>
                </a:lnTo>
                <a:lnTo>
                  <a:pt x="59928" y="264704"/>
                </a:lnTo>
                <a:lnTo>
                  <a:pt x="67502" y="242506"/>
                </a:lnTo>
                <a:lnTo>
                  <a:pt x="76794" y="220807"/>
                </a:lnTo>
                <a:lnTo>
                  <a:pt x="87787" y="199709"/>
                </a:lnTo>
                <a:lnTo>
                  <a:pt x="100466" y="179310"/>
                </a:lnTo>
                <a:lnTo>
                  <a:pt x="114814" y="159712"/>
                </a:lnTo>
                <a:lnTo>
                  <a:pt x="130816" y="141015"/>
                </a:lnTo>
                <a:lnTo>
                  <a:pt x="148455" y="123317"/>
                </a:lnTo>
                <a:lnTo>
                  <a:pt x="167715" y="106720"/>
                </a:lnTo>
                <a:lnTo>
                  <a:pt x="189586" y="91092"/>
                </a:lnTo>
                <a:lnTo>
                  <a:pt x="212441" y="78140"/>
                </a:lnTo>
                <a:lnTo>
                  <a:pt x="236128" y="67713"/>
                </a:lnTo>
                <a:lnTo>
                  <a:pt x="260497" y="59661"/>
                </a:lnTo>
                <a:lnTo>
                  <a:pt x="285396" y="53835"/>
                </a:lnTo>
                <a:lnTo>
                  <a:pt x="310675" y="50084"/>
                </a:lnTo>
                <a:lnTo>
                  <a:pt x="336182" y="48258"/>
                </a:lnTo>
                <a:lnTo>
                  <a:pt x="349646" y="48019"/>
                </a:lnTo>
                <a:lnTo>
                  <a:pt x="363288" y="48300"/>
                </a:lnTo>
                <a:lnTo>
                  <a:pt x="390492" y="50559"/>
                </a:lnTo>
                <a:lnTo>
                  <a:pt x="417456" y="55107"/>
                </a:lnTo>
                <a:lnTo>
                  <a:pt x="444018" y="61977"/>
                </a:lnTo>
                <a:lnTo>
                  <a:pt x="470020" y="71201"/>
                </a:lnTo>
                <a:lnTo>
                  <a:pt x="495298" y="82811"/>
                </a:lnTo>
                <a:lnTo>
                  <a:pt x="519693" y="96838"/>
                </a:lnTo>
                <a:lnTo>
                  <a:pt x="543045" y="113316"/>
                </a:lnTo>
                <a:lnTo>
                  <a:pt x="565191" y="132276"/>
                </a:lnTo>
                <a:lnTo>
                  <a:pt x="585971" y="153749"/>
                </a:lnTo>
                <a:lnTo>
                  <a:pt x="610090" y="185873"/>
                </a:lnTo>
                <a:lnTo>
                  <a:pt x="622470" y="207076"/>
                </a:lnTo>
                <a:lnTo>
                  <a:pt x="632956" y="228935"/>
                </a:lnTo>
                <a:lnTo>
                  <a:pt x="641563" y="251339"/>
                </a:lnTo>
                <a:lnTo>
                  <a:pt x="648308" y="274175"/>
                </a:lnTo>
                <a:lnTo>
                  <a:pt x="653207" y="297331"/>
                </a:lnTo>
                <a:lnTo>
                  <a:pt x="656275" y="320696"/>
                </a:lnTo>
                <a:lnTo>
                  <a:pt x="657529" y="344157"/>
                </a:lnTo>
                <a:lnTo>
                  <a:pt x="656986" y="367602"/>
                </a:lnTo>
                <a:lnTo>
                  <a:pt x="654660" y="390919"/>
                </a:lnTo>
                <a:lnTo>
                  <a:pt x="650568" y="413995"/>
                </a:lnTo>
                <a:lnTo>
                  <a:pt x="644726" y="436720"/>
                </a:lnTo>
                <a:lnTo>
                  <a:pt x="637151" y="458980"/>
                </a:lnTo>
                <a:lnTo>
                  <a:pt x="627858" y="480664"/>
                </a:lnTo>
                <a:lnTo>
                  <a:pt x="616863" y="501660"/>
                </a:lnTo>
                <a:lnTo>
                  <a:pt x="604182" y="521855"/>
                </a:lnTo>
                <a:lnTo>
                  <a:pt x="589832" y="541137"/>
                </a:lnTo>
                <a:lnTo>
                  <a:pt x="573828" y="559395"/>
                </a:lnTo>
                <a:lnTo>
                  <a:pt x="556187" y="576515"/>
                </a:lnTo>
                <a:lnTo>
                  <a:pt x="536925" y="592387"/>
                </a:lnTo>
                <a:lnTo>
                  <a:pt x="515582" y="607769"/>
                </a:lnTo>
                <a:lnTo>
                  <a:pt x="492922" y="621042"/>
                </a:lnTo>
                <a:lnTo>
                  <a:pt x="469217" y="632206"/>
                </a:lnTo>
                <a:lnTo>
                  <a:pt x="444739" y="641261"/>
                </a:lnTo>
                <a:lnTo>
                  <a:pt x="419759" y="648206"/>
                </a:lnTo>
                <a:lnTo>
                  <a:pt x="394549" y="653042"/>
                </a:lnTo>
                <a:lnTo>
                  <a:pt x="369380" y="655768"/>
                </a:lnTo>
                <a:lnTo>
                  <a:pt x="349646" y="656430"/>
                </a:lnTo>
                <a:lnTo>
                  <a:pt x="336005" y="656111"/>
                </a:lnTo>
                <a:lnTo>
                  <a:pt x="308820" y="653566"/>
                </a:lnTo>
                <a:lnTo>
                  <a:pt x="281923" y="648508"/>
                </a:lnTo>
                <a:lnTo>
                  <a:pt x="255509" y="640969"/>
                </a:lnTo>
                <a:lnTo>
                  <a:pt x="229768" y="630979"/>
                </a:lnTo>
                <a:lnTo>
                  <a:pt x="204894" y="618572"/>
                </a:lnTo>
                <a:lnTo>
                  <a:pt x="181080" y="603780"/>
                </a:lnTo>
                <a:lnTo>
                  <a:pt x="158518" y="586634"/>
                </a:lnTo>
                <a:lnTo>
                  <a:pt x="137400" y="567166"/>
                </a:lnTo>
                <a:lnTo>
                  <a:pt x="117920" y="545409"/>
                </a:lnTo>
                <a:lnTo>
                  <a:pt x="94564" y="513286"/>
                </a:lnTo>
                <a:lnTo>
                  <a:pt x="82186" y="492188"/>
                </a:lnTo>
                <a:lnTo>
                  <a:pt x="71701" y="470491"/>
                </a:lnTo>
                <a:lnTo>
                  <a:pt x="63094" y="448293"/>
                </a:lnTo>
                <a:lnTo>
                  <a:pt x="71403" y="565702"/>
                </a:lnTo>
                <a:lnTo>
                  <a:pt x="93352" y="591485"/>
                </a:lnTo>
                <a:lnTo>
                  <a:pt x="117290" y="614417"/>
                </a:lnTo>
                <a:lnTo>
                  <a:pt x="142962" y="634532"/>
                </a:lnTo>
                <a:lnTo>
                  <a:pt x="170112" y="651861"/>
                </a:lnTo>
                <a:lnTo>
                  <a:pt x="198481" y="666435"/>
                </a:lnTo>
                <a:lnTo>
                  <a:pt x="227814" y="678288"/>
                </a:lnTo>
                <a:lnTo>
                  <a:pt x="257853" y="687451"/>
                </a:lnTo>
                <a:lnTo>
                  <a:pt x="288343" y="693956"/>
                </a:lnTo>
                <a:lnTo>
                  <a:pt x="319026" y="697836"/>
                </a:lnTo>
                <a:lnTo>
                  <a:pt x="349646" y="699122"/>
                </a:lnTo>
                <a:lnTo>
                  <a:pt x="362329" y="698917"/>
                </a:lnTo>
                <a:lnTo>
                  <a:pt x="387650" y="697260"/>
                </a:lnTo>
                <a:lnTo>
                  <a:pt x="412832" y="693902"/>
                </a:lnTo>
                <a:lnTo>
                  <a:pt x="437785" y="688797"/>
                </a:lnTo>
                <a:lnTo>
                  <a:pt x="462414" y="681898"/>
                </a:lnTo>
                <a:lnTo>
                  <a:pt x="486627" y="673160"/>
                </a:lnTo>
                <a:lnTo>
                  <a:pt x="510331" y="662536"/>
                </a:lnTo>
                <a:lnTo>
                  <a:pt x="533434" y="649980"/>
                </a:lnTo>
                <a:lnTo>
                  <a:pt x="555843" y="635446"/>
                </a:lnTo>
                <a:lnTo>
                  <a:pt x="586002" y="611394"/>
                </a:lnTo>
                <a:lnTo>
                  <a:pt x="606376" y="591645"/>
                </a:lnTo>
                <a:lnTo>
                  <a:pt x="624799" y="570623"/>
                </a:lnTo>
                <a:lnTo>
                  <a:pt x="641260" y="548453"/>
                </a:lnTo>
                <a:lnTo>
                  <a:pt x="655746" y="525258"/>
                </a:lnTo>
                <a:lnTo>
                  <a:pt x="668245" y="501163"/>
                </a:lnTo>
                <a:lnTo>
                  <a:pt x="678746" y="476291"/>
                </a:lnTo>
                <a:lnTo>
                  <a:pt x="687236" y="450766"/>
                </a:lnTo>
                <a:lnTo>
                  <a:pt x="693704" y="424714"/>
                </a:lnTo>
                <a:lnTo>
                  <a:pt x="698136" y="398256"/>
                </a:lnTo>
                <a:lnTo>
                  <a:pt x="700522" y="371519"/>
                </a:lnTo>
                <a:lnTo>
                  <a:pt x="700849" y="344626"/>
                </a:lnTo>
                <a:lnTo>
                  <a:pt x="699105" y="317700"/>
                </a:lnTo>
                <a:lnTo>
                  <a:pt x="695279" y="290867"/>
                </a:lnTo>
                <a:lnTo>
                  <a:pt x="689358" y="264249"/>
                </a:lnTo>
                <a:lnTo>
                  <a:pt x="681330" y="237972"/>
                </a:lnTo>
                <a:lnTo>
                  <a:pt x="671183" y="212159"/>
                </a:lnTo>
                <a:lnTo>
                  <a:pt x="658905" y="186934"/>
                </a:lnTo>
                <a:lnTo>
                  <a:pt x="644484" y="162422"/>
                </a:lnTo>
                <a:lnTo>
                  <a:pt x="627909" y="138746"/>
                </a:lnTo>
                <a:lnTo>
                  <a:pt x="607402" y="112814"/>
                </a:lnTo>
                <a:lnTo>
                  <a:pt x="584583" y="89477"/>
                </a:lnTo>
                <a:lnTo>
                  <a:pt x="559710" y="68766"/>
                </a:lnTo>
                <a:lnTo>
                  <a:pt x="533040" y="50713"/>
                </a:lnTo>
                <a:lnTo>
                  <a:pt x="504828" y="35350"/>
                </a:lnTo>
                <a:lnTo>
                  <a:pt x="475333" y="22709"/>
                </a:lnTo>
                <a:lnTo>
                  <a:pt x="444810" y="12821"/>
                </a:lnTo>
                <a:lnTo>
                  <a:pt x="413517" y="5719"/>
                </a:lnTo>
                <a:lnTo>
                  <a:pt x="381710" y="1435"/>
                </a:lnTo>
                <a:lnTo>
                  <a:pt x="349646" y="0"/>
                </a:lnTo>
                <a:lnTo>
                  <a:pt x="337058" y="202"/>
                </a:lnTo>
                <a:lnTo>
                  <a:pt x="311928" y="1859"/>
                </a:lnTo>
                <a:lnTo>
                  <a:pt x="286933" y="5258"/>
                </a:lnTo>
                <a:lnTo>
                  <a:pt x="262163" y="10490"/>
                </a:lnTo>
                <a:lnTo>
                  <a:pt x="237710" y="17646"/>
                </a:lnTo>
                <a:lnTo>
                  <a:pt x="213662" y="26814"/>
                </a:lnTo>
                <a:lnTo>
                  <a:pt x="190112" y="38086"/>
                </a:lnTo>
                <a:lnTo>
                  <a:pt x="167147" y="51552"/>
                </a:lnTo>
                <a:lnTo>
                  <a:pt x="144860" y="67301"/>
                </a:lnTo>
                <a:lnTo>
                  <a:pt x="114023" y="93063"/>
                </a:lnTo>
                <a:lnTo>
                  <a:pt x="94226" y="112810"/>
                </a:lnTo>
                <a:lnTo>
                  <a:pt x="76244" y="133830"/>
                </a:lnTo>
                <a:lnTo>
                  <a:pt x="60099" y="155999"/>
                </a:lnTo>
                <a:lnTo>
                  <a:pt x="45816" y="179193"/>
                </a:lnTo>
                <a:lnTo>
                  <a:pt x="33420" y="203288"/>
                </a:lnTo>
                <a:lnTo>
                  <a:pt x="22934" y="228159"/>
                </a:lnTo>
                <a:lnTo>
                  <a:pt x="14382" y="253683"/>
                </a:lnTo>
                <a:lnTo>
                  <a:pt x="7789" y="279735"/>
                </a:lnTo>
                <a:lnTo>
                  <a:pt x="3178" y="306191"/>
                </a:lnTo>
                <a:lnTo>
                  <a:pt x="573" y="332928"/>
                </a:lnTo>
                <a:close/>
              </a:path>
              <a:path w="700849" h="699122">
                <a:moveTo>
                  <a:pt x="56350" y="425695"/>
                </a:moveTo>
                <a:lnTo>
                  <a:pt x="51451" y="402797"/>
                </a:lnTo>
                <a:lnTo>
                  <a:pt x="48383" y="379698"/>
                </a:lnTo>
                <a:lnTo>
                  <a:pt x="47128" y="356499"/>
                </a:lnTo>
                <a:lnTo>
                  <a:pt x="40550" y="517513"/>
                </a:lnTo>
                <a:lnTo>
                  <a:pt x="54865" y="542026"/>
                </a:lnTo>
                <a:lnTo>
                  <a:pt x="71403" y="565702"/>
                </a:lnTo>
                <a:lnTo>
                  <a:pt x="63094" y="448293"/>
                </a:lnTo>
                <a:lnTo>
                  <a:pt x="56350" y="425695"/>
                </a:lnTo>
                <a:close/>
              </a:path>
            </a:pathLst>
          </a:custGeom>
          <a:solidFill>
            <a:srgbClr val="FFFFFF"/>
          </a:solidFill>
        </p:spPr>
        <p:txBody>
          <a:bodyPr wrap="square" lIns="0" tIns="0" rIns="0" bIns="0" rtlCol="0">
            <a:noAutofit/>
          </a:bodyPr>
          <a:lstStyle/>
          <a:p>
            <a:endParaRPr sz="1763"/>
          </a:p>
        </p:txBody>
      </p:sp>
      <p:sp>
        <p:nvSpPr>
          <p:cNvPr id="19" name="object 19"/>
          <p:cNvSpPr/>
          <p:nvPr/>
        </p:nvSpPr>
        <p:spPr>
          <a:xfrm>
            <a:off x="2437720" y="2594666"/>
            <a:ext cx="94353" cy="224790"/>
          </a:xfrm>
          <a:custGeom>
            <a:avLst/>
            <a:gdLst/>
            <a:ahLst/>
            <a:cxnLst/>
            <a:rect l="l" t="t" r="r" b="b"/>
            <a:pathLst>
              <a:path w="96319" h="229473">
                <a:moveTo>
                  <a:pt x="58874" y="220841"/>
                </a:moveTo>
                <a:lnTo>
                  <a:pt x="58974" y="211280"/>
                </a:lnTo>
                <a:lnTo>
                  <a:pt x="59247" y="200876"/>
                </a:lnTo>
                <a:lnTo>
                  <a:pt x="59778" y="189717"/>
                </a:lnTo>
                <a:lnTo>
                  <a:pt x="60654" y="177887"/>
                </a:lnTo>
                <a:lnTo>
                  <a:pt x="61961" y="165473"/>
                </a:lnTo>
                <a:lnTo>
                  <a:pt x="63784" y="152560"/>
                </a:lnTo>
                <a:lnTo>
                  <a:pt x="66211" y="139236"/>
                </a:lnTo>
                <a:lnTo>
                  <a:pt x="69327" y="125585"/>
                </a:lnTo>
                <a:lnTo>
                  <a:pt x="73218" y="111694"/>
                </a:lnTo>
                <a:lnTo>
                  <a:pt x="77970" y="97648"/>
                </a:lnTo>
                <a:lnTo>
                  <a:pt x="83670" y="83534"/>
                </a:lnTo>
                <a:lnTo>
                  <a:pt x="90404" y="69438"/>
                </a:lnTo>
                <a:lnTo>
                  <a:pt x="96319" y="58700"/>
                </a:lnTo>
                <a:lnTo>
                  <a:pt x="86439" y="48477"/>
                </a:lnTo>
                <a:lnTo>
                  <a:pt x="77249" y="38388"/>
                </a:lnTo>
                <a:lnTo>
                  <a:pt x="68619" y="28563"/>
                </a:lnTo>
                <a:lnTo>
                  <a:pt x="60416" y="19132"/>
                </a:lnTo>
                <a:lnTo>
                  <a:pt x="52508" y="10228"/>
                </a:lnTo>
                <a:lnTo>
                  <a:pt x="44764" y="1979"/>
                </a:lnTo>
                <a:lnTo>
                  <a:pt x="42803" y="0"/>
                </a:lnTo>
                <a:lnTo>
                  <a:pt x="37259" y="12701"/>
                </a:lnTo>
                <a:lnTo>
                  <a:pt x="32193" y="25391"/>
                </a:lnTo>
                <a:lnTo>
                  <a:pt x="27579" y="38056"/>
                </a:lnTo>
                <a:lnTo>
                  <a:pt x="23394" y="50686"/>
                </a:lnTo>
                <a:lnTo>
                  <a:pt x="19615" y="63267"/>
                </a:lnTo>
                <a:lnTo>
                  <a:pt x="16216" y="75788"/>
                </a:lnTo>
                <a:lnTo>
                  <a:pt x="13174" y="88238"/>
                </a:lnTo>
                <a:lnTo>
                  <a:pt x="10464" y="100603"/>
                </a:lnTo>
                <a:lnTo>
                  <a:pt x="8063" y="112872"/>
                </a:lnTo>
                <a:lnTo>
                  <a:pt x="5946" y="125033"/>
                </a:lnTo>
                <a:lnTo>
                  <a:pt x="4090" y="137075"/>
                </a:lnTo>
                <a:lnTo>
                  <a:pt x="2470" y="148984"/>
                </a:lnTo>
                <a:lnTo>
                  <a:pt x="1062" y="160748"/>
                </a:lnTo>
                <a:lnTo>
                  <a:pt x="0" y="170771"/>
                </a:lnTo>
                <a:lnTo>
                  <a:pt x="5343" y="170771"/>
                </a:lnTo>
                <a:lnTo>
                  <a:pt x="5343" y="176109"/>
                </a:lnTo>
                <a:lnTo>
                  <a:pt x="10694" y="181443"/>
                </a:lnTo>
                <a:lnTo>
                  <a:pt x="17705" y="190865"/>
                </a:lnTo>
                <a:lnTo>
                  <a:pt x="26327" y="200778"/>
                </a:lnTo>
                <a:lnTo>
                  <a:pt x="35933" y="210557"/>
                </a:lnTo>
                <a:lnTo>
                  <a:pt x="45897" y="219576"/>
                </a:lnTo>
                <a:lnTo>
                  <a:pt x="55592" y="227209"/>
                </a:lnTo>
                <a:lnTo>
                  <a:pt x="58859" y="229473"/>
                </a:lnTo>
                <a:lnTo>
                  <a:pt x="58874" y="220841"/>
                </a:lnTo>
                <a:close/>
              </a:path>
            </a:pathLst>
          </a:custGeom>
          <a:solidFill>
            <a:srgbClr val="FFFFFF"/>
          </a:solidFill>
        </p:spPr>
        <p:txBody>
          <a:bodyPr wrap="square" lIns="0" tIns="0" rIns="0" bIns="0" rtlCol="0">
            <a:noAutofit/>
          </a:bodyPr>
          <a:lstStyle/>
          <a:p>
            <a:endParaRPr sz="1763"/>
          </a:p>
        </p:txBody>
      </p:sp>
      <p:sp>
        <p:nvSpPr>
          <p:cNvPr id="20" name="object 20"/>
          <p:cNvSpPr/>
          <p:nvPr/>
        </p:nvSpPr>
        <p:spPr>
          <a:xfrm>
            <a:off x="2511100" y="2422140"/>
            <a:ext cx="178228" cy="182971"/>
          </a:xfrm>
          <a:custGeom>
            <a:avLst/>
            <a:gdLst/>
            <a:ahLst/>
            <a:cxnLst/>
            <a:rect l="l" t="t" r="r" b="b"/>
            <a:pathLst>
              <a:path w="181941" h="186783">
                <a:moveTo>
                  <a:pt x="424" y="122119"/>
                </a:moveTo>
                <a:lnTo>
                  <a:pt x="5492" y="132901"/>
                </a:lnTo>
                <a:lnTo>
                  <a:pt x="11791" y="143051"/>
                </a:lnTo>
                <a:lnTo>
                  <a:pt x="18896" y="153201"/>
                </a:lnTo>
                <a:lnTo>
                  <a:pt x="26809" y="163351"/>
                </a:lnTo>
                <a:lnTo>
                  <a:pt x="35528" y="173501"/>
                </a:lnTo>
                <a:lnTo>
                  <a:pt x="45053" y="183651"/>
                </a:lnTo>
                <a:lnTo>
                  <a:pt x="48155" y="186783"/>
                </a:lnTo>
                <a:lnTo>
                  <a:pt x="55222" y="177433"/>
                </a:lnTo>
                <a:lnTo>
                  <a:pt x="62488" y="168083"/>
                </a:lnTo>
                <a:lnTo>
                  <a:pt x="70154" y="158733"/>
                </a:lnTo>
                <a:lnTo>
                  <a:pt x="78419" y="149382"/>
                </a:lnTo>
                <a:lnTo>
                  <a:pt x="87483" y="140032"/>
                </a:lnTo>
                <a:lnTo>
                  <a:pt x="97545" y="130682"/>
                </a:lnTo>
                <a:lnTo>
                  <a:pt x="107012" y="122751"/>
                </a:lnTo>
                <a:lnTo>
                  <a:pt x="117345" y="112700"/>
                </a:lnTo>
                <a:lnTo>
                  <a:pt x="127610" y="103181"/>
                </a:lnTo>
                <a:lnTo>
                  <a:pt x="137736" y="94195"/>
                </a:lnTo>
                <a:lnTo>
                  <a:pt x="147657" y="85741"/>
                </a:lnTo>
                <a:lnTo>
                  <a:pt x="157302" y="77819"/>
                </a:lnTo>
                <a:lnTo>
                  <a:pt x="166602" y="70428"/>
                </a:lnTo>
                <a:lnTo>
                  <a:pt x="175490" y="63569"/>
                </a:lnTo>
                <a:lnTo>
                  <a:pt x="181941" y="58700"/>
                </a:lnTo>
                <a:lnTo>
                  <a:pt x="173874" y="48828"/>
                </a:lnTo>
                <a:lnTo>
                  <a:pt x="165249" y="39511"/>
                </a:lnTo>
                <a:lnTo>
                  <a:pt x="156328" y="30490"/>
                </a:lnTo>
                <a:lnTo>
                  <a:pt x="147374" y="21501"/>
                </a:lnTo>
                <a:lnTo>
                  <a:pt x="138649" y="12284"/>
                </a:lnTo>
                <a:lnTo>
                  <a:pt x="130415" y="2578"/>
                </a:lnTo>
                <a:lnTo>
                  <a:pt x="128431" y="0"/>
                </a:lnTo>
                <a:lnTo>
                  <a:pt x="117858" y="5760"/>
                </a:lnTo>
                <a:lnTo>
                  <a:pt x="107643" y="12276"/>
                </a:lnTo>
                <a:lnTo>
                  <a:pt x="97739" y="19502"/>
                </a:lnTo>
                <a:lnTo>
                  <a:pt x="88102" y="27393"/>
                </a:lnTo>
                <a:lnTo>
                  <a:pt x="78686" y="35905"/>
                </a:lnTo>
                <a:lnTo>
                  <a:pt x="69448" y="44994"/>
                </a:lnTo>
                <a:lnTo>
                  <a:pt x="60340" y="54615"/>
                </a:lnTo>
                <a:lnTo>
                  <a:pt x="51320" y="64724"/>
                </a:lnTo>
                <a:lnTo>
                  <a:pt x="42810" y="74713"/>
                </a:lnTo>
                <a:lnTo>
                  <a:pt x="33345" y="84194"/>
                </a:lnTo>
                <a:lnTo>
                  <a:pt x="24126" y="93676"/>
                </a:lnTo>
                <a:lnTo>
                  <a:pt x="15402" y="103157"/>
                </a:lnTo>
                <a:lnTo>
                  <a:pt x="7419" y="112638"/>
                </a:lnTo>
                <a:lnTo>
                  <a:pt x="424" y="122119"/>
                </a:lnTo>
                <a:close/>
              </a:path>
            </a:pathLst>
          </a:custGeom>
          <a:solidFill>
            <a:srgbClr val="FFFFFF"/>
          </a:solidFill>
        </p:spPr>
        <p:txBody>
          <a:bodyPr wrap="square" lIns="0" tIns="0" rIns="0" bIns="0" rtlCol="0">
            <a:noAutofit/>
          </a:bodyPr>
          <a:lstStyle/>
          <a:p>
            <a:endParaRPr sz="1763"/>
          </a:p>
        </p:txBody>
      </p:sp>
      <p:sp>
        <p:nvSpPr>
          <p:cNvPr id="21" name="object 21"/>
          <p:cNvSpPr/>
          <p:nvPr/>
        </p:nvSpPr>
        <p:spPr>
          <a:xfrm>
            <a:off x="2678838" y="2354784"/>
            <a:ext cx="241128" cy="98727"/>
          </a:xfrm>
          <a:custGeom>
            <a:avLst/>
            <a:gdLst/>
            <a:ahLst/>
            <a:cxnLst/>
            <a:rect l="l" t="t" r="r" b="b"/>
            <a:pathLst>
              <a:path w="246152" h="100784">
                <a:moveTo>
                  <a:pt x="38003" y="24365"/>
                </a:moveTo>
                <a:lnTo>
                  <a:pt x="23871" y="30369"/>
                </a:lnTo>
                <a:lnTo>
                  <a:pt x="9577" y="37134"/>
                </a:lnTo>
                <a:lnTo>
                  <a:pt x="0" y="42065"/>
                </a:lnTo>
                <a:lnTo>
                  <a:pt x="8065" y="51937"/>
                </a:lnTo>
                <a:lnTo>
                  <a:pt x="16689" y="61252"/>
                </a:lnTo>
                <a:lnTo>
                  <a:pt x="25608" y="70274"/>
                </a:lnTo>
                <a:lnTo>
                  <a:pt x="34560" y="79263"/>
                </a:lnTo>
                <a:lnTo>
                  <a:pt x="43284" y="88483"/>
                </a:lnTo>
                <a:lnTo>
                  <a:pt x="51518" y="98194"/>
                </a:lnTo>
                <a:lnTo>
                  <a:pt x="53510" y="100784"/>
                </a:lnTo>
                <a:lnTo>
                  <a:pt x="74209" y="90500"/>
                </a:lnTo>
                <a:lnTo>
                  <a:pt x="94084" y="81618"/>
                </a:lnTo>
                <a:lnTo>
                  <a:pt x="113064" y="74036"/>
                </a:lnTo>
                <a:lnTo>
                  <a:pt x="131079" y="67652"/>
                </a:lnTo>
                <a:lnTo>
                  <a:pt x="148056" y="62366"/>
                </a:lnTo>
                <a:lnTo>
                  <a:pt x="163926" y="58073"/>
                </a:lnTo>
                <a:lnTo>
                  <a:pt x="178618" y="54673"/>
                </a:lnTo>
                <a:lnTo>
                  <a:pt x="192061" y="52064"/>
                </a:lnTo>
                <a:lnTo>
                  <a:pt x="204185" y="50143"/>
                </a:lnTo>
                <a:lnTo>
                  <a:pt x="214918" y="48809"/>
                </a:lnTo>
                <a:lnTo>
                  <a:pt x="224189" y="47960"/>
                </a:lnTo>
                <a:lnTo>
                  <a:pt x="231929" y="47493"/>
                </a:lnTo>
                <a:lnTo>
                  <a:pt x="238066" y="47308"/>
                </a:lnTo>
                <a:lnTo>
                  <a:pt x="246152" y="47415"/>
                </a:lnTo>
                <a:lnTo>
                  <a:pt x="238748" y="37377"/>
                </a:lnTo>
                <a:lnTo>
                  <a:pt x="230225" y="27634"/>
                </a:lnTo>
                <a:lnTo>
                  <a:pt x="220883" y="18484"/>
                </a:lnTo>
                <a:lnTo>
                  <a:pt x="211017" y="10223"/>
                </a:lnTo>
                <a:lnTo>
                  <a:pt x="203333" y="4709"/>
                </a:lnTo>
                <a:lnTo>
                  <a:pt x="194381" y="2964"/>
                </a:lnTo>
                <a:lnTo>
                  <a:pt x="184878" y="1593"/>
                </a:lnTo>
                <a:lnTo>
                  <a:pt x="174852" y="623"/>
                </a:lnTo>
                <a:lnTo>
                  <a:pt x="164331" y="83"/>
                </a:lnTo>
                <a:lnTo>
                  <a:pt x="153342" y="0"/>
                </a:lnTo>
                <a:lnTo>
                  <a:pt x="141914" y="401"/>
                </a:lnTo>
                <a:lnTo>
                  <a:pt x="130074" y="1314"/>
                </a:lnTo>
                <a:lnTo>
                  <a:pt x="117850" y="2767"/>
                </a:lnTo>
                <a:lnTo>
                  <a:pt x="105271" y="4787"/>
                </a:lnTo>
                <a:lnTo>
                  <a:pt x="92362" y="7402"/>
                </a:lnTo>
                <a:lnTo>
                  <a:pt x="79154" y="10640"/>
                </a:lnTo>
                <a:lnTo>
                  <a:pt x="65672" y="14528"/>
                </a:lnTo>
                <a:lnTo>
                  <a:pt x="51946" y="19093"/>
                </a:lnTo>
                <a:lnTo>
                  <a:pt x="38003" y="24365"/>
                </a:lnTo>
                <a:close/>
              </a:path>
            </a:pathLst>
          </a:custGeom>
          <a:solidFill>
            <a:srgbClr val="FFFFFF"/>
          </a:solidFill>
        </p:spPr>
        <p:txBody>
          <a:bodyPr wrap="square" lIns="0" tIns="0" rIns="0" bIns="0" rtlCol="0">
            <a:noAutofit/>
          </a:bodyPr>
          <a:lstStyle/>
          <a:p>
            <a:endParaRPr sz="1763"/>
          </a:p>
        </p:txBody>
      </p:sp>
      <p:sp>
        <p:nvSpPr>
          <p:cNvPr id="22" name="object 22"/>
          <p:cNvSpPr/>
          <p:nvPr/>
        </p:nvSpPr>
        <p:spPr>
          <a:xfrm>
            <a:off x="2432270" y="2380305"/>
            <a:ext cx="78830" cy="214361"/>
          </a:xfrm>
          <a:custGeom>
            <a:avLst/>
            <a:gdLst/>
            <a:ahLst/>
            <a:cxnLst/>
            <a:rect l="l" t="t" r="r" b="b"/>
            <a:pathLst>
              <a:path w="80472" h="218827">
                <a:moveTo>
                  <a:pt x="46718" y="216342"/>
                </a:moveTo>
                <a:lnTo>
                  <a:pt x="48366" y="218827"/>
                </a:lnTo>
                <a:lnTo>
                  <a:pt x="54913" y="208455"/>
                </a:lnTo>
                <a:lnTo>
                  <a:pt x="61459" y="197294"/>
                </a:lnTo>
                <a:lnTo>
                  <a:pt x="68005" y="185888"/>
                </a:lnTo>
                <a:lnTo>
                  <a:pt x="74552" y="174784"/>
                </a:lnTo>
                <a:lnTo>
                  <a:pt x="80472" y="165457"/>
                </a:lnTo>
                <a:lnTo>
                  <a:pt x="70675" y="149265"/>
                </a:lnTo>
                <a:lnTo>
                  <a:pt x="62319" y="133478"/>
                </a:lnTo>
                <a:lnTo>
                  <a:pt x="55305" y="118158"/>
                </a:lnTo>
                <a:lnTo>
                  <a:pt x="49531" y="103366"/>
                </a:lnTo>
                <a:lnTo>
                  <a:pt x="44898" y="89167"/>
                </a:lnTo>
                <a:lnTo>
                  <a:pt x="41306" y="75621"/>
                </a:lnTo>
                <a:lnTo>
                  <a:pt x="38655" y="62791"/>
                </a:lnTo>
                <a:lnTo>
                  <a:pt x="36844" y="50739"/>
                </a:lnTo>
                <a:lnTo>
                  <a:pt x="35775" y="39528"/>
                </a:lnTo>
                <a:lnTo>
                  <a:pt x="35346" y="29219"/>
                </a:lnTo>
                <a:lnTo>
                  <a:pt x="35458" y="19876"/>
                </a:lnTo>
                <a:lnTo>
                  <a:pt x="36010" y="11559"/>
                </a:lnTo>
                <a:lnTo>
                  <a:pt x="36904" y="4333"/>
                </a:lnTo>
                <a:lnTo>
                  <a:pt x="37669" y="0"/>
                </a:lnTo>
                <a:lnTo>
                  <a:pt x="29389" y="9141"/>
                </a:lnTo>
                <a:lnTo>
                  <a:pt x="21109" y="19311"/>
                </a:lnTo>
                <a:lnTo>
                  <a:pt x="12832" y="29411"/>
                </a:lnTo>
                <a:lnTo>
                  <a:pt x="5563" y="37356"/>
                </a:lnTo>
                <a:lnTo>
                  <a:pt x="3596" y="46019"/>
                </a:lnTo>
                <a:lnTo>
                  <a:pt x="1982" y="55109"/>
                </a:lnTo>
                <a:lnTo>
                  <a:pt x="796" y="64636"/>
                </a:lnTo>
                <a:lnTo>
                  <a:pt x="110" y="74607"/>
                </a:lnTo>
                <a:lnTo>
                  <a:pt x="0" y="85034"/>
                </a:lnTo>
                <a:lnTo>
                  <a:pt x="537" y="95924"/>
                </a:lnTo>
                <a:lnTo>
                  <a:pt x="1796" y="107288"/>
                </a:lnTo>
                <a:lnTo>
                  <a:pt x="3852" y="119134"/>
                </a:lnTo>
                <a:lnTo>
                  <a:pt x="6777" y="131472"/>
                </a:lnTo>
                <a:lnTo>
                  <a:pt x="10645" y="144310"/>
                </a:lnTo>
                <a:lnTo>
                  <a:pt x="15530" y="157659"/>
                </a:lnTo>
                <a:lnTo>
                  <a:pt x="21507" y="171528"/>
                </a:lnTo>
                <a:lnTo>
                  <a:pt x="28647" y="185925"/>
                </a:lnTo>
                <a:lnTo>
                  <a:pt x="37027" y="200860"/>
                </a:lnTo>
                <a:lnTo>
                  <a:pt x="46718" y="216342"/>
                </a:lnTo>
                <a:close/>
              </a:path>
            </a:pathLst>
          </a:custGeom>
          <a:solidFill>
            <a:srgbClr val="FFFFFF"/>
          </a:solidFill>
        </p:spPr>
        <p:txBody>
          <a:bodyPr wrap="square" lIns="0" tIns="0" rIns="0" bIns="0" rtlCol="0">
            <a:noAutofit/>
          </a:bodyPr>
          <a:lstStyle/>
          <a:p>
            <a:endParaRPr sz="1763"/>
          </a:p>
        </p:txBody>
      </p:sp>
      <p:sp>
        <p:nvSpPr>
          <p:cNvPr id="23" name="object 23"/>
          <p:cNvSpPr/>
          <p:nvPr/>
        </p:nvSpPr>
        <p:spPr>
          <a:xfrm>
            <a:off x="2532073" y="2605111"/>
            <a:ext cx="403621" cy="198661"/>
          </a:xfrm>
          <a:custGeom>
            <a:avLst/>
            <a:gdLst/>
            <a:ahLst/>
            <a:cxnLst/>
            <a:rect l="l" t="t" r="r" b="b"/>
            <a:pathLst>
              <a:path w="412030" h="202800">
                <a:moveTo>
                  <a:pt x="6285" y="33288"/>
                </a:moveTo>
                <a:lnTo>
                  <a:pt x="1310" y="44384"/>
                </a:lnTo>
                <a:lnTo>
                  <a:pt x="0" y="48037"/>
                </a:lnTo>
                <a:lnTo>
                  <a:pt x="8970" y="56467"/>
                </a:lnTo>
                <a:lnTo>
                  <a:pt x="18143" y="64202"/>
                </a:lnTo>
                <a:lnTo>
                  <a:pt x="27725" y="71653"/>
                </a:lnTo>
                <a:lnTo>
                  <a:pt x="37923" y="79228"/>
                </a:lnTo>
                <a:lnTo>
                  <a:pt x="48942" y="87339"/>
                </a:lnTo>
                <a:lnTo>
                  <a:pt x="53492" y="90726"/>
                </a:lnTo>
                <a:lnTo>
                  <a:pt x="71947" y="105266"/>
                </a:lnTo>
                <a:lnTo>
                  <a:pt x="90362" y="118505"/>
                </a:lnTo>
                <a:lnTo>
                  <a:pt x="108696" y="130503"/>
                </a:lnTo>
                <a:lnTo>
                  <a:pt x="126910" y="141320"/>
                </a:lnTo>
                <a:lnTo>
                  <a:pt x="144963" y="151017"/>
                </a:lnTo>
                <a:lnTo>
                  <a:pt x="162816" y="159653"/>
                </a:lnTo>
                <a:lnTo>
                  <a:pt x="180428" y="167288"/>
                </a:lnTo>
                <a:lnTo>
                  <a:pt x="197759" y="173982"/>
                </a:lnTo>
                <a:lnTo>
                  <a:pt x="214769" y="179796"/>
                </a:lnTo>
                <a:lnTo>
                  <a:pt x="231418" y="184789"/>
                </a:lnTo>
                <a:lnTo>
                  <a:pt x="247665" y="189022"/>
                </a:lnTo>
                <a:lnTo>
                  <a:pt x="263471" y="192554"/>
                </a:lnTo>
                <a:lnTo>
                  <a:pt x="278796" y="195446"/>
                </a:lnTo>
                <a:lnTo>
                  <a:pt x="293598" y="197757"/>
                </a:lnTo>
                <a:lnTo>
                  <a:pt x="307839" y="199548"/>
                </a:lnTo>
                <a:lnTo>
                  <a:pt x="321478" y="200879"/>
                </a:lnTo>
                <a:lnTo>
                  <a:pt x="334475" y="201809"/>
                </a:lnTo>
                <a:lnTo>
                  <a:pt x="346789" y="202400"/>
                </a:lnTo>
                <a:lnTo>
                  <a:pt x="358381" y="202710"/>
                </a:lnTo>
                <a:lnTo>
                  <a:pt x="369211" y="202800"/>
                </a:lnTo>
                <a:lnTo>
                  <a:pt x="374090" y="199427"/>
                </a:lnTo>
                <a:lnTo>
                  <a:pt x="381737" y="190785"/>
                </a:lnTo>
                <a:lnTo>
                  <a:pt x="391164" y="179091"/>
                </a:lnTo>
                <a:lnTo>
                  <a:pt x="401380" y="166561"/>
                </a:lnTo>
                <a:lnTo>
                  <a:pt x="411398" y="155412"/>
                </a:lnTo>
                <a:lnTo>
                  <a:pt x="412030" y="154776"/>
                </a:lnTo>
                <a:lnTo>
                  <a:pt x="406460" y="155637"/>
                </a:lnTo>
                <a:lnTo>
                  <a:pt x="399422" y="156541"/>
                </a:lnTo>
                <a:lnTo>
                  <a:pt x="390970" y="157374"/>
                </a:lnTo>
                <a:lnTo>
                  <a:pt x="381162" y="158019"/>
                </a:lnTo>
                <a:lnTo>
                  <a:pt x="370054" y="158359"/>
                </a:lnTo>
                <a:lnTo>
                  <a:pt x="357702" y="158279"/>
                </a:lnTo>
                <a:lnTo>
                  <a:pt x="344161" y="157663"/>
                </a:lnTo>
                <a:lnTo>
                  <a:pt x="329489" y="156395"/>
                </a:lnTo>
                <a:lnTo>
                  <a:pt x="313741" y="154358"/>
                </a:lnTo>
                <a:lnTo>
                  <a:pt x="296974" y="151437"/>
                </a:lnTo>
                <a:lnTo>
                  <a:pt x="279244" y="147515"/>
                </a:lnTo>
                <a:lnTo>
                  <a:pt x="260607" y="142476"/>
                </a:lnTo>
                <a:lnTo>
                  <a:pt x="241119" y="136205"/>
                </a:lnTo>
                <a:lnTo>
                  <a:pt x="220836" y="128584"/>
                </a:lnTo>
                <a:lnTo>
                  <a:pt x="199815" y="119499"/>
                </a:lnTo>
                <a:lnTo>
                  <a:pt x="178112" y="108833"/>
                </a:lnTo>
                <a:lnTo>
                  <a:pt x="155783" y="96470"/>
                </a:lnTo>
                <a:lnTo>
                  <a:pt x="132884" y="82294"/>
                </a:lnTo>
                <a:lnTo>
                  <a:pt x="109472" y="66188"/>
                </a:lnTo>
                <a:lnTo>
                  <a:pt x="85602" y="48037"/>
                </a:lnTo>
                <a:lnTo>
                  <a:pt x="74895" y="40007"/>
                </a:lnTo>
                <a:lnTo>
                  <a:pt x="64337" y="31977"/>
                </a:lnTo>
                <a:lnTo>
                  <a:pt x="54079" y="23946"/>
                </a:lnTo>
                <a:lnTo>
                  <a:pt x="44270" y="15916"/>
                </a:lnTo>
                <a:lnTo>
                  <a:pt x="35061" y="7886"/>
                </a:lnTo>
                <a:lnTo>
                  <a:pt x="26746" y="0"/>
                </a:lnTo>
                <a:lnTo>
                  <a:pt x="19401" y="11096"/>
                </a:lnTo>
                <a:lnTo>
                  <a:pt x="12448" y="22192"/>
                </a:lnTo>
                <a:lnTo>
                  <a:pt x="6285" y="33288"/>
                </a:lnTo>
                <a:close/>
              </a:path>
            </a:pathLst>
          </a:custGeom>
          <a:solidFill>
            <a:srgbClr val="FFFFFF"/>
          </a:solidFill>
        </p:spPr>
        <p:txBody>
          <a:bodyPr wrap="square" lIns="0" tIns="0" rIns="0" bIns="0" rtlCol="0">
            <a:noAutofit/>
          </a:bodyPr>
          <a:lstStyle/>
          <a:p>
            <a:endParaRPr sz="1763"/>
          </a:p>
        </p:txBody>
      </p:sp>
      <p:sp>
        <p:nvSpPr>
          <p:cNvPr id="24" name="object 24"/>
          <p:cNvSpPr/>
          <p:nvPr/>
        </p:nvSpPr>
        <p:spPr>
          <a:xfrm>
            <a:off x="2479649" y="2542386"/>
            <a:ext cx="78624" cy="109783"/>
          </a:xfrm>
          <a:custGeom>
            <a:avLst/>
            <a:gdLst/>
            <a:ahLst/>
            <a:cxnLst/>
            <a:rect l="l" t="t" r="r" b="b"/>
            <a:pathLst>
              <a:path w="80262" h="112070">
                <a:moveTo>
                  <a:pt x="7722" y="61429"/>
                </a:moveTo>
                <a:lnTo>
                  <a:pt x="15576" y="70179"/>
                </a:lnTo>
                <a:lnTo>
                  <a:pt x="23691" y="79488"/>
                </a:lnTo>
                <a:lnTo>
                  <a:pt x="32201" y="89225"/>
                </a:lnTo>
                <a:lnTo>
                  <a:pt x="41235" y="99260"/>
                </a:lnTo>
                <a:lnTo>
                  <a:pt x="50927" y="109461"/>
                </a:lnTo>
                <a:lnTo>
                  <a:pt x="53516" y="112070"/>
                </a:lnTo>
                <a:lnTo>
                  <a:pt x="58012" y="100974"/>
                </a:lnTo>
                <a:lnTo>
                  <a:pt x="63828" y="89878"/>
                </a:lnTo>
                <a:lnTo>
                  <a:pt x="70564" y="78782"/>
                </a:lnTo>
                <a:lnTo>
                  <a:pt x="77824" y="67686"/>
                </a:lnTo>
                <a:lnTo>
                  <a:pt x="80262" y="64032"/>
                </a:lnTo>
                <a:lnTo>
                  <a:pt x="70488" y="53882"/>
                </a:lnTo>
                <a:lnTo>
                  <a:pt x="61520" y="43732"/>
                </a:lnTo>
                <a:lnTo>
                  <a:pt x="53359" y="33582"/>
                </a:lnTo>
                <a:lnTo>
                  <a:pt x="46004" y="23432"/>
                </a:lnTo>
                <a:lnTo>
                  <a:pt x="39456" y="13282"/>
                </a:lnTo>
                <a:lnTo>
                  <a:pt x="33715" y="3132"/>
                </a:lnTo>
                <a:lnTo>
                  <a:pt x="32106" y="0"/>
                </a:lnTo>
                <a:lnTo>
                  <a:pt x="25558" y="10363"/>
                </a:lnTo>
                <a:lnTo>
                  <a:pt x="19011" y="21519"/>
                </a:lnTo>
                <a:lnTo>
                  <a:pt x="12465" y="32925"/>
                </a:lnTo>
                <a:lnTo>
                  <a:pt x="5919" y="44034"/>
                </a:lnTo>
                <a:lnTo>
                  <a:pt x="0" y="53369"/>
                </a:lnTo>
                <a:lnTo>
                  <a:pt x="7722" y="61429"/>
                </a:lnTo>
                <a:close/>
              </a:path>
            </a:pathLst>
          </a:custGeom>
          <a:solidFill>
            <a:srgbClr val="FFFFFF"/>
          </a:solidFill>
        </p:spPr>
        <p:txBody>
          <a:bodyPr wrap="square" lIns="0" tIns="0" rIns="0" bIns="0" rtlCol="0">
            <a:noAutofit/>
          </a:bodyPr>
          <a:lstStyle/>
          <a:p>
            <a:endParaRPr sz="1763"/>
          </a:p>
        </p:txBody>
      </p:sp>
      <p:sp>
        <p:nvSpPr>
          <p:cNvPr id="25" name="object 25"/>
          <p:cNvSpPr/>
          <p:nvPr/>
        </p:nvSpPr>
        <p:spPr>
          <a:xfrm>
            <a:off x="2689329" y="2453512"/>
            <a:ext cx="288293" cy="240474"/>
          </a:xfrm>
          <a:custGeom>
            <a:avLst/>
            <a:gdLst/>
            <a:ahLst/>
            <a:cxnLst/>
            <a:rect l="l" t="t" r="r" b="b"/>
            <a:pathLst>
              <a:path w="294299" h="245484">
                <a:moveTo>
                  <a:pt x="17762" y="41799"/>
                </a:moveTo>
                <a:lnTo>
                  <a:pt x="35678" y="56724"/>
                </a:lnTo>
                <a:lnTo>
                  <a:pt x="53658" y="71407"/>
                </a:lnTo>
                <a:lnTo>
                  <a:pt x="71614" y="85811"/>
                </a:lnTo>
                <a:lnTo>
                  <a:pt x="89458" y="99894"/>
                </a:lnTo>
                <a:lnTo>
                  <a:pt x="107101" y="113617"/>
                </a:lnTo>
                <a:lnTo>
                  <a:pt x="124455" y="126939"/>
                </a:lnTo>
                <a:lnTo>
                  <a:pt x="141433" y="139821"/>
                </a:lnTo>
                <a:lnTo>
                  <a:pt x="157944" y="152223"/>
                </a:lnTo>
                <a:lnTo>
                  <a:pt x="173902" y="164104"/>
                </a:lnTo>
                <a:lnTo>
                  <a:pt x="189218" y="175425"/>
                </a:lnTo>
                <a:lnTo>
                  <a:pt x="203804" y="186145"/>
                </a:lnTo>
                <a:lnTo>
                  <a:pt x="217570" y="196225"/>
                </a:lnTo>
                <a:lnTo>
                  <a:pt x="230429" y="205624"/>
                </a:lnTo>
                <a:lnTo>
                  <a:pt x="242293" y="214302"/>
                </a:lnTo>
                <a:lnTo>
                  <a:pt x="253074" y="222220"/>
                </a:lnTo>
                <a:lnTo>
                  <a:pt x="262682" y="229337"/>
                </a:lnTo>
                <a:lnTo>
                  <a:pt x="271029" y="235613"/>
                </a:lnTo>
                <a:lnTo>
                  <a:pt x="278028" y="241009"/>
                </a:lnTo>
                <a:lnTo>
                  <a:pt x="283590" y="245484"/>
                </a:lnTo>
                <a:lnTo>
                  <a:pt x="290229" y="231803"/>
                </a:lnTo>
                <a:lnTo>
                  <a:pt x="294090" y="220879"/>
                </a:lnTo>
                <a:lnTo>
                  <a:pt x="294299" y="218809"/>
                </a:lnTo>
                <a:lnTo>
                  <a:pt x="288244" y="214407"/>
                </a:lnTo>
                <a:lnTo>
                  <a:pt x="281334" y="209221"/>
                </a:lnTo>
                <a:lnTo>
                  <a:pt x="273597" y="203267"/>
                </a:lnTo>
                <a:lnTo>
                  <a:pt x="265061" y="196561"/>
                </a:lnTo>
                <a:lnTo>
                  <a:pt x="255754" y="189118"/>
                </a:lnTo>
                <a:lnTo>
                  <a:pt x="245705" y="180955"/>
                </a:lnTo>
                <a:lnTo>
                  <a:pt x="234942" y="172088"/>
                </a:lnTo>
                <a:lnTo>
                  <a:pt x="223492" y="162532"/>
                </a:lnTo>
                <a:lnTo>
                  <a:pt x="211384" y="152305"/>
                </a:lnTo>
                <a:lnTo>
                  <a:pt x="198646" y="141420"/>
                </a:lnTo>
                <a:lnTo>
                  <a:pt x="185307" y="129896"/>
                </a:lnTo>
                <a:lnTo>
                  <a:pt x="171393" y="117747"/>
                </a:lnTo>
                <a:lnTo>
                  <a:pt x="156934" y="104990"/>
                </a:lnTo>
                <a:lnTo>
                  <a:pt x="141957" y="91640"/>
                </a:lnTo>
                <a:lnTo>
                  <a:pt x="126490" y="77714"/>
                </a:lnTo>
                <a:lnTo>
                  <a:pt x="110563" y="63228"/>
                </a:lnTo>
                <a:lnTo>
                  <a:pt x="94202" y="48197"/>
                </a:lnTo>
                <a:lnTo>
                  <a:pt x="77436" y="32639"/>
                </a:lnTo>
                <a:lnTo>
                  <a:pt x="60293" y="16567"/>
                </a:lnTo>
                <a:lnTo>
                  <a:pt x="42801" y="0"/>
                </a:lnTo>
                <a:lnTo>
                  <a:pt x="33787" y="4957"/>
                </a:lnTo>
                <a:lnTo>
                  <a:pt x="23244" y="11433"/>
                </a:lnTo>
                <a:lnTo>
                  <a:pt x="11692" y="18920"/>
                </a:lnTo>
                <a:lnTo>
                  <a:pt x="0" y="26675"/>
                </a:lnTo>
                <a:lnTo>
                  <a:pt x="17762" y="41799"/>
                </a:lnTo>
                <a:close/>
              </a:path>
            </a:pathLst>
          </a:custGeom>
          <a:solidFill>
            <a:srgbClr val="FFFFFF"/>
          </a:solidFill>
        </p:spPr>
        <p:txBody>
          <a:bodyPr wrap="square" lIns="0" tIns="0" rIns="0" bIns="0" rtlCol="0">
            <a:noAutofit/>
          </a:bodyPr>
          <a:lstStyle/>
          <a:p>
            <a:endParaRPr sz="1763"/>
          </a:p>
        </p:txBody>
      </p:sp>
      <p:sp>
        <p:nvSpPr>
          <p:cNvPr id="26" name="object 26"/>
          <p:cNvSpPr/>
          <p:nvPr/>
        </p:nvSpPr>
        <p:spPr>
          <a:xfrm>
            <a:off x="2553037" y="2301894"/>
            <a:ext cx="125801" cy="120246"/>
          </a:xfrm>
          <a:custGeom>
            <a:avLst/>
            <a:gdLst/>
            <a:ahLst/>
            <a:cxnLst/>
            <a:rect l="l" t="t" r="r" b="b"/>
            <a:pathLst>
              <a:path w="128422" h="122751">
                <a:moveTo>
                  <a:pt x="19238" y="46207"/>
                </a:moveTo>
                <a:lnTo>
                  <a:pt x="26325" y="55959"/>
                </a:lnTo>
                <a:lnTo>
                  <a:pt x="33791" y="65641"/>
                </a:lnTo>
                <a:lnTo>
                  <a:pt x="41662" y="75302"/>
                </a:lnTo>
                <a:lnTo>
                  <a:pt x="49963" y="84995"/>
                </a:lnTo>
                <a:lnTo>
                  <a:pt x="58721" y="94771"/>
                </a:lnTo>
                <a:lnTo>
                  <a:pt x="67960" y="104680"/>
                </a:lnTo>
                <a:lnTo>
                  <a:pt x="77707" y="114774"/>
                </a:lnTo>
                <a:lnTo>
                  <a:pt x="85620" y="122751"/>
                </a:lnTo>
                <a:lnTo>
                  <a:pt x="94630" y="114771"/>
                </a:lnTo>
                <a:lnTo>
                  <a:pt x="105166" y="107306"/>
                </a:lnTo>
                <a:lnTo>
                  <a:pt x="116714" y="100861"/>
                </a:lnTo>
                <a:lnTo>
                  <a:pt x="128422" y="96057"/>
                </a:lnTo>
                <a:lnTo>
                  <a:pt x="119066" y="86716"/>
                </a:lnTo>
                <a:lnTo>
                  <a:pt x="109992" y="77595"/>
                </a:lnTo>
                <a:lnTo>
                  <a:pt x="101170" y="68601"/>
                </a:lnTo>
                <a:lnTo>
                  <a:pt x="92569" y="59643"/>
                </a:lnTo>
                <a:lnTo>
                  <a:pt x="84156" y="50627"/>
                </a:lnTo>
                <a:lnTo>
                  <a:pt x="75902" y="41462"/>
                </a:lnTo>
                <a:lnTo>
                  <a:pt x="67775" y="32055"/>
                </a:lnTo>
                <a:lnTo>
                  <a:pt x="59745" y="22313"/>
                </a:lnTo>
                <a:lnTo>
                  <a:pt x="51779" y="12144"/>
                </a:lnTo>
                <a:lnTo>
                  <a:pt x="43848" y="1455"/>
                </a:lnTo>
                <a:lnTo>
                  <a:pt x="42801" y="0"/>
                </a:lnTo>
                <a:lnTo>
                  <a:pt x="30436" y="4448"/>
                </a:lnTo>
                <a:lnTo>
                  <a:pt x="19165" y="8900"/>
                </a:lnTo>
                <a:lnTo>
                  <a:pt x="7614" y="13351"/>
                </a:lnTo>
                <a:lnTo>
                  <a:pt x="0" y="16012"/>
                </a:lnTo>
                <a:lnTo>
                  <a:pt x="6101" y="26284"/>
                </a:lnTo>
                <a:lnTo>
                  <a:pt x="12505" y="36332"/>
                </a:lnTo>
                <a:lnTo>
                  <a:pt x="19238" y="46207"/>
                </a:lnTo>
                <a:close/>
              </a:path>
            </a:pathLst>
          </a:custGeom>
          <a:solidFill>
            <a:srgbClr val="FFFFFF"/>
          </a:solidFill>
        </p:spPr>
        <p:txBody>
          <a:bodyPr wrap="square" lIns="0" tIns="0" rIns="0" bIns="0" rtlCol="0">
            <a:noAutofit/>
          </a:bodyPr>
          <a:lstStyle/>
          <a:p>
            <a:endParaRPr sz="1763"/>
          </a:p>
        </p:txBody>
      </p:sp>
      <p:sp>
        <p:nvSpPr>
          <p:cNvPr id="27" name="object 27"/>
          <p:cNvSpPr/>
          <p:nvPr/>
        </p:nvSpPr>
        <p:spPr>
          <a:xfrm>
            <a:off x="2636910" y="2395991"/>
            <a:ext cx="94345" cy="83651"/>
          </a:xfrm>
          <a:custGeom>
            <a:avLst/>
            <a:gdLst/>
            <a:ahLst/>
            <a:cxnLst/>
            <a:rect l="l" t="t" r="r" b="b"/>
            <a:pathLst>
              <a:path w="96311" h="85394">
                <a:moveTo>
                  <a:pt x="0" y="26693"/>
                </a:moveTo>
                <a:lnTo>
                  <a:pt x="8067" y="36566"/>
                </a:lnTo>
                <a:lnTo>
                  <a:pt x="16692" y="45882"/>
                </a:lnTo>
                <a:lnTo>
                  <a:pt x="25612" y="54904"/>
                </a:lnTo>
                <a:lnTo>
                  <a:pt x="34566" y="63893"/>
                </a:lnTo>
                <a:lnTo>
                  <a:pt x="43291" y="73109"/>
                </a:lnTo>
                <a:lnTo>
                  <a:pt x="51526" y="82816"/>
                </a:lnTo>
                <a:lnTo>
                  <a:pt x="53510" y="85394"/>
                </a:lnTo>
                <a:lnTo>
                  <a:pt x="65546" y="77413"/>
                </a:lnTo>
                <a:lnTo>
                  <a:pt x="77076" y="69949"/>
                </a:lnTo>
                <a:lnTo>
                  <a:pt x="87581" y="63509"/>
                </a:lnTo>
                <a:lnTo>
                  <a:pt x="96311" y="58718"/>
                </a:lnTo>
                <a:lnTo>
                  <a:pt x="88246" y="48840"/>
                </a:lnTo>
                <a:lnTo>
                  <a:pt x="79622" y="39520"/>
                </a:lnTo>
                <a:lnTo>
                  <a:pt x="70703" y="30497"/>
                </a:lnTo>
                <a:lnTo>
                  <a:pt x="61751" y="21508"/>
                </a:lnTo>
                <a:lnTo>
                  <a:pt x="53027" y="12292"/>
                </a:lnTo>
                <a:lnTo>
                  <a:pt x="44793" y="2588"/>
                </a:lnTo>
                <a:lnTo>
                  <a:pt x="42801" y="0"/>
                </a:lnTo>
                <a:lnTo>
                  <a:pt x="30760" y="4966"/>
                </a:lnTo>
                <a:lnTo>
                  <a:pt x="19233" y="11446"/>
                </a:lnTo>
                <a:lnTo>
                  <a:pt x="8733" y="18933"/>
                </a:lnTo>
                <a:lnTo>
                  <a:pt x="0" y="26693"/>
                </a:lnTo>
                <a:close/>
              </a:path>
            </a:pathLst>
          </a:custGeom>
          <a:solidFill>
            <a:srgbClr val="FFFFFF"/>
          </a:solidFill>
        </p:spPr>
        <p:txBody>
          <a:bodyPr wrap="square" lIns="0" tIns="0" rIns="0" bIns="0" rtlCol="0">
            <a:noAutofit/>
          </a:bodyPr>
          <a:lstStyle/>
          <a:p>
            <a:endParaRPr sz="1763"/>
          </a:p>
        </p:txBody>
      </p:sp>
      <p:sp>
        <p:nvSpPr>
          <p:cNvPr id="28" name="object 28"/>
          <p:cNvSpPr/>
          <p:nvPr/>
        </p:nvSpPr>
        <p:spPr>
          <a:xfrm>
            <a:off x="2798346" y="2536101"/>
            <a:ext cx="129282" cy="128943"/>
          </a:xfrm>
          <a:custGeom>
            <a:avLst/>
            <a:gdLst/>
            <a:ahLst/>
            <a:cxnLst/>
            <a:rect l="l" t="t" r="r" b="b"/>
            <a:pathLst>
              <a:path w="131975" h="131629">
                <a:moveTo>
                  <a:pt x="27824" y="17079"/>
                </a:moveTo>
                <a:lnTo>
                  <a:pt x="17879" y="24990"/>
                </a:lnTo>
                <a:lnTo>
                  <a:pt x="10076" y="33965"/>
                </a:lnTo>
                <a:lnTo>
                  <a:pt x="4462" y="43811"/>
                </a:lnTo>
                <a:lnTo>
                  <a:pt x="1087" y="54339"/>
                </a:lnTo>
                <a:lnTo>
                  <a:pt x="0" y="65357"/>
                </a:lnTo>
                <a:lnTo>
                  <a:pt x="1247" y="76674"/>
                </a:lnTo>
                <a:lnTo>
                  <a:pt x="4877" y="88099"/>
                </a:lnTo>
                <a:lnTo>
                  <a:pt x="10939" y="99441"/>
                </a:lnTo>
                <a:lnTo>
                  <a:pt x="17133" y="107805"/>
                </a:lnTo>
                <a:lnTo>
                  <a:pt x="25525" y="116510"/>
                </a:lnTo>
                <a:lnTo>
                  <a:pt x="35090" y="123300"/>
                </a:lnTo>
                <a:lnTo>
                  <a:pt x="45603" y="128120"/>
                </a:lnTo>
                <a:lnTo>
                  <a:pt x="56840" y="130915"/>
                </a:lnTo>
                <a:lnTo>
                  <a:pt x="68577" y="131629"/>
                </a:lnTo>
                <a:lnTo>
                  <a:pt x="80590" y="130206"/>
                </a:lnTo>
                <a:lnTo>
                  <a:pt x="92655" y="126590"/>
                </a:lnTo>
                <a:lnTo>
                  <a:pt x="104547" y="120726"/>
                </a:lnTo>
                <a:lnTo>
                  <a:pt x="116831" y="109895"/>
                </a:lnTo>
                <a:lnTo>
                  <a:pt x="123641" y="99837"/>
                </a:lnTo>
                <a:lnTo>
                  <a:pt x="128473" y="88704"/>
                </a:lnTo>
                <a:lnTo>
                  <a:pt x="131270" y="76889"/>
                </a:lnTo>
                <a:lnTo>
                  <a:pt x="131975" y="64785"/>
                </a:lnTo>
                <a:lnTo>
                  <a:pt x="130531" y="52783"/>
                </a:lnTo>
                <a:lnTo>
                  <a:pt x="126882" y="41278"/>
                </a:lnTo>
                <a:lnTo>
                  <a:pt x="120971" y="30660"/>
                </a:lnTo>
                <a:lnTo>
                  <a:pt x="110680" y="17843"/>
                </a:lnTo>
                <a:lnTo>
                  <a:pt x="101230" y="10061"/>
                </a:lnTo>
                <a:lnTo>
                  <a:pt x="90775" y="4462"/>
                </a:lnTo>
                <a:lnTo>
                  <a:pt x="79649" y="1092"/>
                </a:lnTo>
                <a:lnTo>
                  <a:pt x="68186" y="0"/>
                </a:lnTo>
                <a:lnTo>
                  <a:pt x="56721" y="1232"/>
                </a:lnTo>
                <a:lnTo>
                  <a:pt x="45588" y="4836"/>
                </a:lnTo>
                <a:lnTo>
                  <a:pt x="35121" y="10860"/>
                </a:lnTo>
                <a:lnTo>
                  <a:pt x="27824" y="17079"/>
                </a:lnTo>
                <a:close/>
              </a:path>
            </a:pathLst>
          </a:custGeom>
          <a:solidFill>
            <a:srgbClr val="FFFFFF"/>
          </a:solidFill>
        </p:spPr>
        <p:txBody>
          <a:bodyPr wrap="square" lIns="0" tIns="0" rIns="0" bIns="0" rtlCol="0">
            <a:noAutofit/>
          </a:bodyPr>
          <a:lstStyle/>
          <a:p>
            <a:endParaRPr sz="1763"/>
          </a:p>
        </p:txBody>
      </p:sp>
      <p:sp>
        <p:nvSpPr>
          <p:cNvPr id="29" name="object 29"/>
          <p:cNvSpPr/>
          <p:nvPr/>
        </p:nvSpPr>
        <p:spPr>
          <a:xfrm>
            <a:off x="2670026" y="2696990"/>
            <a:ext cx="115939" cy="119530"/>
          </a:xfrm>
          <a:custGeom>
            <a:avLst/>
            <a:gdLst/>
            <a:ahLst/>
            <a:cxnLst/>
            <a:rect l="l" t="t" r="r" b="b"/>
            <a:pathLst>
              <a:path w="118354" h="122020">
                <a:moveTo>
                  <a:pt x="25049" y="12945"/>
                </a:moveTo>
                <a:lnTo>
                  <a:pt x="15732" y="21989"/>
                </a:lnTo>
                <a:lnTo>
                  <a:pt x="8567" y="32297"/>
                </a:lnTo>
                <a:lnTo>
                  <a:pt x="3557" y="43521"/>
                </a:lnTo>
                <a:lnTo>
                  <a:pt x="701" y="55314"/>
                </a:lnTo>
                <a:lnTo>
                  <a:pt x="0" y="67326"/>
                </a:lnTo>
                <a:lnTo>
                  <a:pt x="1453" y="79210"/>
                </a:lnTo>
                <a:lnTo>
                  <a:pt x="5063" y="90618"/>
                </a:lnTo>
                <a:lnTo>
                  <a:pt x="8994" y="98336"/>
                </a:lnTo>
                <a:lnTo>
                  <a:pt x="17786" y="107387"/>
                </a:lnTo>
                <a:lnTo>
                  <a:pt x="27783" y="114344"/>
                </a:lnTo>
                <a:lnTo>
                  <a:pt x="38667" y="119145"/>
                </a:lnTo>
                <a:lnTo>
                  <a:pt x="50116" y="121725"/>
                </a:lnTo>
                <a:lnTo>
                  <a:pt x="61812" y="122020"/>
                </a:lnTo>
                <a:lnTo>
                  <a:pt x="73434" y="119966"/>
                </a:lnTo>
                <a:lnTo>
                  <a:pt x="84662" y="115499"/>
                </a:lnTo>
                <a:lnTo>
                  <a:pt x="94615" y="109007"/>
                </a:lnTo>
                <a:lnTo>
                  <a:pt x="103698" y="100228"/>
                </a:lnTo>
                <a:lnTo>
                  <a:pt x="110678" y="90243"/>
                </a:lnTo>
                <a:lnTo>
                  <a:pt x="115490" y="79373"/>
                </a:lnTo>
                <a:lnTo>
                  <a:pt x="118071" y="67938"/>
                </a:lnTo>
                <a:lnTo>
                  <a:pt x="118354" y="56260"/>
                </a:lnTo>
                <a:lnTo>
                  <a:pt x="116276" y="44659"/>
                </a:lnTo>
                <a:lnTo>
                  <a:pt x="111770" y="33456"/>
                </a:lnTo>
                <a:lnTo>
                  <a:pt x="105306" y="23626"/>
                </a:lnTo>
                <a:lnTo>
                  <a:pt x="97919" y="14199"/>
                </a:lnTo>
                <a:lnTo>
                  <a:pt x="88745" y="7070"/>
                </a:lnTo>
                <a:lnTo>
                  <a:pt x="78223" y="2313"/>
                </a:lnTo>
                <a:lnTo>
                  <a:pt x="66793" y="0"/>
                </a:lnTo>
                <a:lnTo>
                  <a:pt x="54896" y="203"/>
                </a:lnTo>
                <a:lnTo>
                  <a:pt x="42972" y="2997"/>
                </a:lnTo>
                <a:lnTo>
                  <a:pt x="31460" y="8454"/>
                </a:lnTo>
                <a:lnTo>
                  <a:pt x="25049" y="12945"/>
                </a:lnTo>
                <a:close/>
              </a:path>
            </a:pathLst>
          </a:custGeom>
          <a:solidFill>
            <a:srgbClr val="FFFFFF"/>
          </a:solidFill>
        </p:spPr>
        <p:txBody>
          <a:bodyPr wrap="square" lIns="0" tIns="0" rIns="0" bIns="0" rtlCol="0">
            <a:noAutofit/>
          </a:bodyPr>
          <a:lstStyle/>
          <a:p>
            <a:endParaRPr sz="1763"/>
          </a:p>
        </p:txBody>
      </p:sp>
      <p:sp>
        <p:nvSpPr>
          <p:cNvPr id="30" name="object 30"/>
          <p:cNvSpPr/>
          <p:nvPr/>
        </p:nvSpPr>
        <p:spPr>
          <a:xfrm>
            <a:off x="2433253" y="2502891"/>
            <a:ext cx="180332" cy="179865"/>
          </a:xfrm>
          <a:custGeom>
            <a:avLst/>
            <a:gdLst/>
            <a:ahLst/>
            <a:cxnLst/>
            <a:rect l="l" t="t" r="r" b="b"/>
            <a:pathLst>
              <a:path w="184089" h="183612">
                <a:moveTo>
                  <a:pt x="36666" y="18956"/>
                </a:moveTo>
                <a:lnTo>
                  <a:pt x="26668" y="27564"/>
                </a:lnTo>
                <a:lnTo>
                  <a:pt x="18257" y="37132"/>
                </a:lnTo>
                <a:lnTo>
                  <a:pt x="11432" y="47487"/>
                </a:lnTo>
                <a:lnTo>
                  <a:pt x="6194" y="58460"/>
                </a:lnTo>
                <a:lnTo>
                  <a:pt x="2543" y="69879"/>
                </a:lnTo>
                <a:lnTo>
                  <a:pt x="478" y="81573"/>
                </a:lnTo>
                <a:lnTo>
                  <a:pt x="0" y="93372"/>
                </a:lnTo>
                <a:lnTo>
                  <a:pt x="1108" y="105105"/>
                </a:lnTo>
                <a:lnTo>
                  <a:pt x="3802" y="116601"/>
                </a:lnTo>
                <a:lnTo>
                  <a:pt x="8084" y="127688"/>
                </a:lnTo>
                <a:lnTo>
                  <a:pt x="13952" y="138196"/>
                </a:lnTo>
                <a:lnTo>
                  <a:pt x="20607" y="147038"/>
                </a:lnTo>
                <a:lnTo>
                  <a:pt x="27992" y="157000"/>
                </a:lnTo>
                <a:lnTo>
                  <a:pt x="36563" y="165382"/>
                </a:lnTo>
                <a:lnTo>
                  <a:pt x="46149" y="172186"/>
                </a:lnTo>
                <a:lnTo>
                  <a:pt x="56579" y="177410"/>
                </a:lnTo>
                <a:lnTo>
                  <a:pt x="67683" y="181056"/>
                </a:lnTo>
                <a:lnTo>
                  <a:pt x="79290" y="183123"/>
                </a:lnTo>
                <a:lnTo>
                  <a:pt x="91229" y="183612"/>
                </a:lnTo>
                <a:lnTo>
                  <a:pt x="103330" y="182522"/>
                </a:lnTo>
                <a:lnTo>
                  <a:pt x="115422" y="179853"/>
                </a:lnTo>
                <a:lnTo>
                  <a:pt x="127333" y="175607"/>
                </a:lnTo>
                <a:lnTo>
                  <a:pt x="138895" y="169781"/>
                </a:lnTo>
                <a:lnTo>
                  <a:pt x="149044" y="163051"/>
                </a:lnTo>
                <a:lnTo>
                  <a:pt x="157905" y="155677"/>
                </a:lnTo>
                <a:lnTo>
                  <a:pt x="165576" y="147118"/>
                </a:lnTo>
                <a:lnTo>
                  <a:pt x="172001" y="137544"/>
                </a:lnTo>
                <a:lnTo>
                  <a:pt x="177122" y="127126"/>
                </a:lnTo>
                <a:lnTo>
                  <a:pt x="180882" y="116035"/>
                </a:lnTo>
                <a:lnTo>
                  <a:pt x="183224" y="104442"/>
                </a:lnTo>
                <a:lnTo>
                  <a:pt x="184089" y="92518"/>
                </a:lnTo>
                <a:lnTo>
                  <a:pt x="183421" y="80433"/>
                </a:lnTo>
                <a:lnTo>
                  <a:pt x="181164" y="68360"/>
                </a:lnTo>
                <a:lnTo>
                  <a:pt x="177258" y="56468"/>
                </a:lnTo>
                <a:lnTo>
                  <a:pt x="171648" y="44928"/>
                </a:lnTo>
                <a:lnTo>
                  <a:pt x="165080" y="34968"/>
                </a:lnTo>
                <a:lnTo>
                  <a:pt x="156460" y="26136"/>
                </a:lnTo>
                <a:lnTo>
                  <a:pt x="146879" y="18488"/>
                </a:lnTo>
                <a:lnTo>
                  <a:pt x="136510" y="12081"/>
                </a:lnTo>
                <a:lnTo>
                  <a:pt x="125523" y="6972"/>
                </a:lnTo>
                <a:lnTo>
                  <a:pt x="114089" y="3217"/>
                </a:lnTo>
                <a:lnTo>
                  <a:pt x="102379" y="874"/>
                </a:lnTo>
                <a:lnTo>
                  <a:pt x="90562" y="0"/>
                </a:lnTo>
                <a:lnTo>
                  <a:pt x="78811" y="650"/>
                </a:lnTo>
                <a:lnTo>
                  <a:pt x="67296" y="2883"/>
                </a:lnTo>
                <a:lnTo>
                  <a:pt x="56188" y="6754"/>
                </a:lnTo>
                <a:lnTo>
                  <a:pt x="45657" y="12322"/>
                </a:lnTo>
                <a:lnTo>
                  <a:pt x="36666" y="18956"/>
                </a:lnTo>
                <a:close/>
              </a:path>
            </a:pathLst>
          </a:custGeom>
          <a:solidFill>
            <a:srgbClr val="FFFFFF"/>
          </a:solidFill>
        </p:spPr>
        <p:txBody>
          <a:bodyPr wrap="square" lIns="0" tIns="0" rIns="0" bIns="0" rtlCol="0">
            <a:noAutofit/>
          </a:bodyPr>
          <a:lstStyle/>
          <a:p>
            <a:endParaRPr sz="1763"/>
          </a:p>
        </p:txBody>
      </p:sp>
      <p:sp>
        <p:nvSpPr>
          <p:cNvPr id="17" name="object 17"/>
          <p:cNvSpPr txBox="1"/>
          <p:nvPr/>
        </p:nvSpPr>
        <p:spPr>
          <a:xfrm>
            <a:off x="5170527" y="986463"/>
            <a:ext cx="585524" cy="1082651"/>
          </a:xfrm>
          <a:prstGeom prst="rect">
            <a:avLst/>
          </a:prstGeom>
        </p:spPr>
        <p:txBody>
          <a:bodyPr wrap="square" lIns="0" tIns="0" rIns="0" bIns="0" rtlCol="0">
            <a:noAutofit/>
          </a:bodyPr>
          <a:lstStyle/>
          <a:p>
            <a:pPr marR="17655" algn="r">
              <a:lnSpc>
                <a:spcPts val="3394"/>
              </a:lnSpc>
              <a:spcBef>
                <a:spcPts val="169"/>
              </a:spcBef>
            </a:pPr>
            <a:r>
              <a:rPr sz="4629" spc="-33" baseline="1591" dirty="0">
                <a:solidFill>
                  <a:srgbClr val="FFFFFF"/>
                </a:solidFill>
                <a:latin typeface="Segoe UI Light"/>
                <a:cs typeface="Segoe UI Light"/>
              </a:rPr>
              <a:t>F</a:t>
            </a:r>
            <a:r>
              <a:rPr sz="4629" spc="28" baseline="1591" dirty="0">
                <a:solidFill>
                  <a:srgbClr val="FFFFFF"/>
                </a:solidFill>
                <a:latin typeface="Segoe UI Light"/>
                <a:cs typeface="Segoe UI Light"/>
              </a:rPr>
              <a:t>u</a:t>
            </a:r>
            <a:r>
              <a:rPr sz="4629" baseline="1591" dirty="0">
                <a:solidFill>
                  <a:srgbClr val="FFFFFF"/>
                </a:solidFill>
                <a:latin typeface="Segoe UI Light"/>
                <a:cs typeface="Segoe UI Light"/>
              </a:rPr>
              <a:t>ll</a:t>
            </a:r>
            <a:endParaRPr sz="3086">
              <a:latin typeface="Segoe UI Light"/>
              <a:cs typeface="Segoe UI Light"/>
            </a:endParaRPr>
          </a:p>
          <a:p>
            <a:pPr marR="12441" algn="r">
              <a:lnSpc>
                <a:spcPct val="95825"/>
              </a:lnSpc>
              <a:spcBef>
                <a:spcPts val="2263"/>
              </a:spcBef>
            </a:pPr>
            <a:r>
              <a:rPr sz="2302" dirty="0">
                <a:solidFill>
                  <a:srgbClr val="FFFFFF"/>
                </a:solidFill>
                <a:latin typeface="Arial"/>
                <a:cs typeface="Arial"/>
              </a:rPr>
              <a:t>•</a:t>
            </a:r>
            <a:endParaRPr sz="2302">
              <a:latin typeface="Arial"/>
              <a:cs typeface="Arial"/>
            </a:endParaRPr>
          </a:p>
        </p:txBody>
      </p:sp>
      <p:sp>
        <p:nvSpPr>
          <p:cNvPr id="16" name="object 16"/>
          <p:cNvSpPr txBox="1"/>
          <p:nvPr/>
        </p:nvSpPr>
        <p:spPr>
          <a:xfrm>
            <a:off x="5841463" y="986463"/>
            <a:ext cx="5485127" cy="1082357"/>
          </a:xfrm>
          <a:prstGeom prst="rect">
            <a:avLst/>
          </a:prstGeom>
        </p:spPr>
        <p:txBody>
          <a:bodyPr wrap="square" lIns="0" tIns="0" rIns="0" bIns="0" rtlCol="0">
            <a:noAutofit/>
          </a:bodyPr>
          <a:lstStyle/>
          <a:p>
            <a:pPr marL="12441">
              <a:lnSpc>
                <a:spcPts val="3394"/>
              </a:lnSpc>
              <a:spcBef>
                <a:spcPts val="169"/>
              </a:spcBef>
            </a:pPr>
            <a:r>
              <a:rPr sz="4629" spc="28" baseline="1591" dirty="0">
                <a:solidFill>
                  <a:srgbClr val="FFFFFF"/>
                </a:solidFill>
                <a:latin typeface="Segoe UI Light"/>
                <a:cs typeface="Segoe UI Light"/>
              </a:rPr>
              <a:t>c</a:t>
            </a:r>
            <a:r>
              <a:rPr sz="4629" spc="14" baseline="1591" dirty="0">
                <a:solidFill>
                  <a:srgbClr val="FFFFFF"/>
                </a:solidFill>
                <a:latin typeface="Segoe UI Light"/>
                <a:cs typeface="Segoe UI Light"/>
              </a:rPr>
              <a:t>a</a:t>
            </a:r>
            <a:r>
              <a:rPr sz="4629" spc="19" baseline="1591" dirty="0">
                <a:solidFill>
                  <a:srgbClr val="FFFFFF"/>
                </a:solidFill>
                <a:latin typeface="Segoe UI Light"/>
                <a:cs typeface="Segoe UI Light"/>
              </a:rPr>
              <a:t>p</a:t>
            </a:r>
            <a:r>
              <a:rPr sz="4629" spc="14" baseline="1591" dirty="0">
                <a:solidFill>
                  <a:srgbClr val="FFFFFF"/>
                </a:solidFill>
                <a:latin typeface="Segoe UI Light"/>
                <a:cs typeface="Segoe UI Light"/>
              </a:rPr>
              <a:t>a</a:t>
            </a:r>
            <a:r>
              <a:rPr sz="4629" spc="19" baseline="1591" dirty="0">
                <a:solidFill>
                  <a:srgbClr val="FFFFFF"/>
                </a:solidFill>
                <a:latin typeface="Segoe UI Light"/>
                <a:cs typeface="Segoe UI Light"/>
              </a:rPr>
              <a:t>b</a:t>
            </a:r>
            <a:r>
              <a:rPr sz="4629" baseline="1591" dirty="0">
                <a:solidFill>
                  <a:srgbClr val="FFFFFF"/>
                </a:solidFill>
                <a:latin typeface="Segoe UI Light"/>
                <a:cs typeface="Segoe UI Light"/>
              </a:rPr>
              <a:t>ili</a:t>
            </a:r>
            <a:r>
              <a:rPr sz="4629" spc="-14" baseline="1591" dirty="0">
                <a:solidFill>
                  <a:srgbClr val="FFFFFF"/>
                </a:solidFill>
                <a:latin typeface="Segoe UI Light"/>
                <a:cs typeface="Segoe UI Light"/>
              </a:rPr>
              <a:t>t</a:t>
            </a:r>
            <a:r>
              <a:rPr sz="4629" baseline="1591" dirty="0">
                <a:solidFill>
                  <a:srgbClr val="FFFFFF"/>
                </a:solidFill>
                <a:latin typeface="Segoe UI Light"/>
                <a:cs typeface="Segoe UI Light"/>
              </a:rPr>
              <a:t>y</a:t>
            </a:r>
            <a:r>
              <a:rPr sz="4629" spc="73" baseline="1591" dirty="0">
                <a:solidFill>
                  <a:srgbClr val="FFFFFF"/>
                </a:solidFill>
                <a:latin typeface="Segoe UI Light"/>
                <a:cs typeface="Segoe UI Light"/>
              </a:rPr>
              <a:t> </a:t>
            </a:r>
            <a:r>
              <a:rPr sz="4629" baseline="1591" dirty="0">
                <a:solidFill>
                  <a:srgbClr val="FFFFFF"/>
                </a:solidFill>
                <a:latin typeface="Segoe UI Light"/>
                <a:cs typeface="Segoe UI Light"/>
              </a:rPr>
              <a:t>s</a:t>
            </a:r>
            <a:r>
              <a:rPr sz="4629" spc="-19" baseline="1591" dirty="0">
                <a:solidFill>
                  <a:srgbClr val="FFFFFF"/>
                </a:solidFill>
                <a:latin typeface="Segoe UI Light"/>
                <a:cs typeface="Segoe UI Light"/>
              </a:rPr>
              <a:t>e</a:t>
            </a:r>
            <a:r>
              <a:rPr sz="4629" baseline="1591" dirty="0">
                <a:solidFill>
                  <a:srgbClr val="FFFFFF"/>
                </a:solidFill>
                <a:latin typeface="Segoe UI Light"/>
                <a:cs typeface="Segoe UI Light"/>
              </a:rPr>
              <a:t>t</a:t>
            </a:r>
            <a:r>
              <a:rPr sz="4629" spc="63" baseline="1591" dirty="0">
                <a:solidFill>
                  <a:srgbClr val="FFFFFF"/>
                </a:solidFill>
                <a:latin typeface="Segoe UI Light"/>
                <a:cs typeface="Segoe UI Light"/>
              </a:rPr>
              <a:t> </a:t>
            </a:r>
            <a:r>
              <a:rPr sz="4629" spc="14" baseline="1591" dirty="0">
                <a:solidFill>
                  <a:srgbClr val="FFFFFF"/>
                </a:solidFill>
                <a:latin typeface="Segoe UI Light"/>
                <a:cs typeface="Segoe UI Light"/>
              </a:rPr>
              <a:t>a</a:t>
            </a:r>
            <a:r>
              <a:rPr sz="4629" baseline="1591" dirty="0">
                <a:solidFill>
                  <a:srgbClr val="FFFFFF"/>
                </a:solidFill>
                <a:latin typeface="Segoe UI Light"/>
                <a:cs typeface="Segoe UI Light"/>
              </a:rPr>
              <a:t>v</a:t>
            </a:r>
            <a:r>
              <a:rPr sz="4629" spc="19" baseline="1591" dirty="0">
                <a:solidFill>
                  <a:srgbClr val="FFFFFF"/>
                </a:solidFill>
                <a:latin typeface="Segoe UI Light"/>
                <a:cs typeface="Segoe UI Light"/>
              </a:rPr>
              <a:t>a</a:t>
            </a:r>
            <a:r>
              <a:rPr sz="4629" baseline="1591" dirty="0">
                <a:solidFill>
                  <a:srgbClr val="FFFFFF"/>
                </a:solidFill>
                <a:latin typeface="Segoe UI Light"/>
                <a:cs typeface="Segoe UI Light"/>
              </a:rPr>
              <a:t>il</a:t>
            </a:r>
            <a:r>
              <a:rPr sz="4629" spc="9" baseline="1591" dirty="0">
                <a:solidFill>
                  <a:srgbClr val="FFFFFF"/>
                </a:solidFill>
                <a:latin typeface="Segoe UI Light"/>
                <a:cs typeface="Segoe UI Light"/>
              </a:rPr>
              <a:t>a</a:t>
            </a:r>
            <a:r>
              <a:rPr sz="4629" spc="19" baseline="1591" dirty="0">
                <a:solidFill>
                  <a:srgbClr val="FFFFFF"/>
                </a:solidFill>
                <a:latin typeface="Segoe UI Light"/>
                <a:cs typeface="Segoe UI Light"/>
              </a:rPr>
              <a:t>b</a:t>
            </a:r>
            <a:r>
              <a:rPr sz="4629" baseline="1591" dirty="0">
                <a:solidFill>
                  <a:srgbClr val="FFFFFF"/>
                </a:solidFill>
                <a:latin typeface="Segoe UI Light"/>
                <a:cs typeface="Segoe UI Light"/>
              </a:rPr>
              <a:t>le</a:t>
            </a:r>
            <a:r>
              <a:rPr sz="4629" spc="53" baseline="1591" dirty="0">
                <a:solidFill>
                  <a:srgbClr val="FFFFFF"/>
                </a:solidFill>
                <a:latin typeface="Segoe UI Light"/>
                <a:cs typeface="Segoe UI Light"/>
              </a:rPr>
              <a:t> </a:t>
            </a:r>
            <a:r>
              <a:rPr sz="4629" baseline="1591" dirty="0">
                <a:solidFill>
                  <a:srgbClr val="FFFFFF"/>
                </a:solidFill>
                <a:latin typeface="Segoe UI Light"/>
                <a:cs typeface="Segoe UI Light"/>
              </a:rPr>
              <a:t>i</a:t>
            </a:r>
            <a:r>
              <a:rPr sz="4629" spc="24" baseline="1591" dirty="0">
                <a:solidFill>
                  <a:srgbClr val="FFFFFF"/>
                </a:solidFill>
                <a:latin typeface="Segoe UI Light"/>
                <a:cs typeface="Segoe UI Light"/>
              </a:rPr>
              <a:t>n</a:t>
            </a:r>
            <a:r>
              <a:rPr sz="4629" spc="28" baseline="1591" dirty="0">
                <a:solidFill>
                  <a:srgbClr val="FFFFFF"/>
                </a:solidFill>
                <a:latin typeface="Segoe UI Light"/>
                <a:cs typeface="Segoe UI Light"/>
              </a:rPr>
              <a:t>c</a:t>
            </a:r>
            <a:r>
              <a:rPr sz="4629" baseline="1591" dirty="0">
                <a:solidFill>
                  <a:srgbClr val="FFFFFF"/>
                </a:solidFill>
                <a:latin typeface="Segoe UI Light"/>
                <a:cs typeface="Segoe UI Light"/>
              </a:rPr>
              <a:t>l</a:t>
            </a:r>
            <a:r>
              <a:rPr sz="4629" spc="24" baseline="1591" dirty="0">
                <a:solidFill>
                  <a:srgbClr val="FFFFFF"/>
                </a:solidFill>
                <a:latin typeface="Segoe UI Light"/>
                <a:cs typeface="Segoe UI Light"/>
              </a:rPr>
              <a:t>u</a:t>
            </a:r>
            <a:r>
              <a:rPr sz="4629" spc="19" baseline="1591" dirty="0">
                <a:solidFill>
                  <a:srgbClr val="FFFFFF"/>
                </a:solidFill>
                <a:latin typeface="Segoe UI Light"/>
                <a:cs typeface="Segoe UI Light"/>
              </a:rPr>
              <a:t>d</a:t>
            </a:r>
            <a:r>
              <a:rPr sz="4629" baseline="1591" dirty="0">
                <a:solidFill>
                  <a:srgbClr val="FFFFFF"/>
                </a:solidFill>
                <a:latin typeface="Segoe UI Light"/>
                <a:cs typeface="Segoe UI Light"/>
              </a:rPr>
              <a:t>i</a:t>
            </a:r>
            <a:r>
              <a:rPr sz="4629" spc="24" baseline="1591" dirty="0">
                <a:solidFill>
                  <a:srgbClr val="FFFFFF"/>
                </a:solidFill>
                <a:latin typeface="Segoe UI Light"/>
                <a:cs typeface="Segoe UI Light"/>
              </a:rPr>
              <a:t>n</a:t>
            </a:r>
            <a:r>
              <a:rPr sz="4629" spc="19" baseline="1591" dirty="0">
                <a:solidFill>
                  <a:srgbClr val="FFFFFF"/>
                </a:solidFill>
                <a:latin typeface="Segoe UI Light"/>
                <a:cs typeface="Segoe UI Light"/>
              </a:rPr>
              <a:t>g</a:t>
            </a:r>
            <a:r>
              <a:rPr sz="4629" baseline="1591" dirty="0">
                <a:solidFill>
                  <a:srgbClr val="FFFFFF"/>
                </a:solidFill>
                <a:latin typeface="Segoe UI Light"/>
                <a:cs typeface="Segoe UI Light"/>
              </a:rPr>
              <a:t>:</a:t>
            </a:r>
            <a:endParaRPr sz="3086">
              <a:latin typeface="Segoe UI Light"/>
              <a:cs typeface="Segoe UI Light"/>
            </a:endParaRPr>
          </a:p>
          <a:p>
            <a:pPr marL="130005" marR="59166">
              <a:lnSpc>
                <a:spcPts val="3022"/>
              </a:lnSpc>
              <a:spcBef>
                <a:spcPts val="2089"/>
              </a:spcBef>
            </a:pPr>
            <a:r>
              <a:rPr sz="3453" spc="-19" baseline="-1066" dirty="0">
                <a:solidFill>
                  <a:srgbClr val="FFFFFF"/>
                </a:solidFill>
                <a:latin typeface="Segoe UI Light"/>
                <a:cs typeface="Segoe UI Light"/>
              </a:rPr>
              <a:t>.</a:t>
            </a:r>
            <a:r>
              <a:rPr sz="3453" spc="-28" baseline="-1066" dirty="0">
                <a:solidFill>
                  <a:srgbClr val="FFFFFF"/>
                </a:solidFill>
                <a:latin typeface="Segoe UI Light"/>
                <a:cs typeface="Segoe UI Light"/>
              </a:rPr>
              <a:t>N</a:t>
            </a:r>
            <a:r>
              <a:rPr sz="3453" spc="33" baseline="-1066" dirty="0">
                <a:solidFill>
                  <a:srgbClr val="FFFFFF"/>
                </a:solidFill>
                <a:latin typeface="Segoe UI Light"/>
                <a:cs typeface="Segoe UI Light"/>
              </a:rPr>
              <a:t>E</a:t>
            </a:r>
            <a:r>
              <a:rPr sz="3453" spc="-200" baseline="-1066" dirty="0">
                <a:solidFill>
                  <a:srgbClr val="FFFFFF"/>
                </a:solidFill>
                <a:latin typeface="Segoe UI Light"/>
                <a:cs typeface="Segoe UI Light"/>
              </a:rPr>
              <a:t>T</a:t>
            </a:r>
            <a:r>
              <a:rPr sz="3453" baseline="-1066" dirty="0">
                <a:solidFill>
                  <a:srgbClr val="FFFFFF"/>
                </a:solidFill>
                <a:latin typeface="Segoe UI Light"/>
                <a:cs typeface="Segoe UI Light"/>
              </a:rPr>
              <a:t>,</a:t>
            </a:r>
            <a:r>
              <a:rPr sz="3453" spc="103" baseline="-1066" dirty="0">
                <a:solidFill>
                  <a:srgbClr val="FFFFFF"/>
                </a:solidFill>
                <a:latin typeface="Segoe UI Light"/>
                <a:cs typeface="Segoe UI Light"/>
              </a:rPr>
              <a:t> </a:t>
            </a:r>
            <a:r>
              <a:rPr sz="3453" spc="-28" baseline="-1066" dirty="0">
                <a:solidFill>
                  <a:srgbClr val="FFFFFF"/>
                </a:solidFill>
                <a:latin typeface="Segoe UI Light"/>
                <a:cs typeface="Segoe UI Light"/>
              </a:rPr>
              <a:t>N</a:t>
            </a:r>
            <a:r>
              <a:rPr sz="3453" spc="33" baseline="-1066" dirty="0">
                <a:solidFill>
                  <a:srgbClr val="FFFFFF"/>
                </a:solidFill>
                <a:latin typeface="Segoe UI Light"/>
                <a:cs typeface="Segoe UI Light"/>
              </a:rPr>
              <a:t>o</a:t>
            </a:r>
            <a:r>
              <a:rPr sz="3453" spc="-33" baseline="-1066" dirty="0">
                <a:solidFill>
                  <a:srgbClr val="FFFFFF"/>
                </a:solidFill>
                <a:latin typeface="Segoe UI Light"/>
                <a:cs typeface="Segoe UI Light"/>
              </a:rPr>
              <a:t>d</a:t>
            </a:r>
            <a:r>
              <a:rPr sz="3453" spc="24" baseline="-1066" dirty="0">
                <a:solidFill>
                  <a:srgbClr val="FFFFFF"/>
                </a:solidFill>
                <a:latin typeface="Segoe UI Light"/>
                <a:cs typeface="Segoe UI Light"/>
              </a:rPr>
              <a:t>e</a:t>
            </a:r>
            <a:r>
              <a:rPr sz="3453" spc="-19" baseline="-1066" dirty="0">
                <a:solidFill>
                  <a:srgbClr val="FFFFFF"/>
                </a:solidFill>
                <a:latin typeface="Segoe UI Light"/>
                <a:cs typeface="Segoe UI Light"/>
              </a:rPr>
              <a:t>.</a:t>
            </a:r>
            <a:r>
              <a:rPr sz="3453" spc="14" baseline="-1066" dirty="0">
                <a:solidFill>
                  <a:srgbClr val="FFFFFF"/>
                </a:solidFill>
                <a:latin typeface="Segoe UI Light"/>
                <a:cs typeface="Segoe UI Light"/>
              </a:rPr>
              <a:t>js</a:t>
            </a:r>
            <a:r>
              <a:rPr sz="3453" baseline="-1066" dirty="0">
                <a:solidFill>
                  <a:srgbClr val="FFFFFF"/>
                </a:solidFill>
                <a:latin typeface="Segoe UI Light"/>
                <a:cs typeface="Segoe UI Light"/>
              </a:rPr>
              <a:t>,</a:t>
            </a:r>
            <a:r>
              <a:rPr sz="3453" spc="205" baseline="-1066" dirty="0">
                <a:solidFill>
                  <a:srgbClr val="FFFFFF"/>
                </a:solidFill>
                <a:latin typeface="Segoe UI Light"/>
                <a:cs typeface="Segoe UI Light"/>
              </a:rPr>
              <a:t> </a:t>
            </a:r>
            <a:r>
              <a:rPr sz="3453" spc="-49" baseline="-1066" dirty="0">
                <a:solidFill>
                  <a:srgbClr val="FFFFFF"/>
                </a:solidFill>
                <a:latin typeface="Segoe UI Light"/>
                <a:cs typeface="Segoe UI Light"/>
              </a:rPr>
              <a:t>J</a:t>
            </a:r>
            <a:r>
              <a:rPr sz="3453" spc="-19" baseline="-1066" dirty="0">
                <a:solidFill>
                  <a:srgbClr val="FFFFFF"/>
                </a:solidFill>
                <a:latin typeface="Segoe UI Light"/>
                <a:cs typeface="Segoe UI Light"/>
              </a:rPr>
              <a:t>a</a:t>
            </a:r>
            <a:r>
              <a:rPr sz="3453" baseline="-1066" dirty="0">
                <a:solidFill>
                  <a:srgbClr val="FFFFFF"/>
                </a:solidFill>
                <a:latin typeface="Segoe UI Light"/>
                <a:cs typeface="Segoe UI Light"/>
              </a:rPr>
              <a:t>v</a:t>
            </a:r>
            <a:r>
              <a:rPr sz="3453" spc="-14" baseline="-1066" dirty="0">
                <a:solidFill>
                  <a:srgbClr val="FFFFFF"/>
                </a:solidFill>
                <a:latin typeface="Segoe UI Light"/>
                <a:cs typeface="Segoe UI Light"/>
              </a:rPr>
              <a:t>a</a:t>
            </a:r>
            <a:r>
              <a:rPr sz="3453" baseline="-1066" dirty="0">
                <a:solidFill>
                  <a:srgbClr val="FFFFFF"/>
                </a:solidFill>
                <a:latin typeface="Segoe UI Light"/>
                <a:cs typeface="Segoe UI Light"/>
              </a:rPr>
              <a:t>,</a:t>
            </a:r>
            <a:r>
              <a:rPr sz="3453" spc="172" baseline="-1066" dirty="0">
                <a:solidFill>
                  <a:srgbClr val="FFFFFF"/>
                </a:solidFill>
                <a:latin typeface="Segoe UI Light"/>
                <a:cs typeface="Segoe UI Light"/>
              </a:rPr>
              <a:t> </a:t>
            </a:r>
            <a:r>
              <a:rPr sz="3453" baseline="-1066" dirty="0">
                <a:solidFill>
                  <a:srgbClr val="FFFFFF"/>
                </a:solidFill>
                <a:latin typeface="Segoe UI Light"/>
                <a:cs typeface="Segoe UI Light"/>
              </a:rPr>
              <a:t>P</a:t>
            </a:r>
            <a:r>
              <a:rPr sz="3453" spc="-19" baseline="-1066" dirty="0">
                <a:solidFill>
                  <a:srgbClr val="FFFFFF"/>
                </a:solidFill>
                <a:latin typeface="Segoe UI Light"/>
                <a:cs typeface="Segoe UI Light"/>
              </a:rPr>
              <a:t>H</a:t>
            </a:r>
            <a:r>
              <a:rPr sz="3453" spc="-557" baseline="-1066" dirty="0">
                <a:solidFill>
                  <a:srgbClr val="FFFFFF"/>
                </a:solidFill>
                <a:latin typeface="Segoe UI Light"/>
                <a:cs typeface="Segoe UI Light"/>
              </a:rPr>
              <a:t>P</a:t>
            </a:r>
            <a:r>
              <a:rPr sz="3453" baseline="-1066" dirty="0">
                <a:solidFill>
                  <a:srgbClr val="FFFFFF"/>
                </a:solidFill>
                <a:latin typeface="Segoe UI Light"/>
                <a:cs typeface="Segoe UI Light"/>
              </a:rPr>
              <a:t>,</a:t>
            </a:r>
            <a:r>
              <a:rPr sz="3453" spc="99" baseline="-1066" dirty="0">
                <a:solidFill>
                  <a:srgbClr val="FFFFFF"/>
                </a:solidFill>
                <a:latin typeface="Segoe UI Light"/>
                <a:cs typeface="Segoe UI Light"/>
              </a:rPr>
              <a:t> </a:t>
            </a:r>
            <a:r>
              <a:rPr sz="3453" spc="-19" baseline="-1066" dirty="0">
                <a:solidFill>
                  <a:srgbClr val="FFFFFF"/>
                </a:solidFill>
                <a:latin typeface="Segoe UI Light"/>
                <a:cs typeface="Segoe UI Light"/>
              </a:rPr>
              <a:t>a</a:t>
            </a:r>
            <a:r>
              <a:rPr sz="3453" spc="24" baseline="-1066" dirty="0">
                <a:solidFill>
                  <a:srgbClr val="FFFFFF"/>
                </a:solidFill>
                <a:latin typeface="Segoe UI Light"/>
                <a:cs typeface="Segoe UI Light"/>
              </a:rPr>
              <a:t>n</a:t>
            </a:r>
            <a:r>
              <a:rPr sz="3453" baseline="-1066" dirty="0">
                <a:solidFill>
                  <a:srgbClr val="FFFFFF"/>
                </a:solidFill>
                <a:latin typeface="Segoe UI Light"/>
                <a:cs typeface="Segoe UI Light"/>
              </a:rPr>
              <a:t>d</a:t>
            </a:r>
            <a:r>
              <a:rPr sz="3453" spc="149" baseline="-1066" dirty="0">
                <a:solidFill>
                  <a:srgbClr val="FFFFFF"/>
                </a:solidFill>
                <a:latin typeface="Segoe UI Light"/>
                <a:cs typeface="Segoe UI Light"/>
              </a:rPr>
              <a:t> </a:t>
            </a:r>
            <a:r>
              <a:rPr sz="3453" baseline="-1066" dirty="0">
                <a:solidFill>
                  <a:srgbClr val="FFFFFF"/>
                </a:solidFill>
                <a:latin typeface="Segoe UI Light"/>
                <a:cs typeface="Segoe UI Light"/>
              </a:rPr>
              <a:t>P</a:t>
            </a:r>
            <a:r>
              <a:rPr sz="3453" spc="4" baseline="-1066" dirty="0">
                <a:solidFill>
                  <a:srgbClr val="FFFFFF"/>
                </a:solidFill>
                <a:latin typeface="Segoe UI Light"/>
                <a:cs typeface="Segoe UI Light"/>
              </a:rPr>
              <a:t>y</a:t>
            </a:r>
            <a:r>
              <a:rPr sz="3453" spc="14" baseline="-1066" dirty="0">
                <a:solidFill>
                  <a:srgbClr val="FFFFFF"/>
                </a:solidFill>
                <a:latin typeface="Segoe UI Light"/>
                <a:cs typeface="Segoe UI Light"/>
              </a:rPr>
              <a:t>t</a:t>
            </a:r>
            <a:r>
              <a:rPr sz="3453" spc="24" baseline="-1066" dirty="0">
                <a:solidFill>
                  <a:srgbClr val="FFFFFF"/>
                </a:solidFill>
                <a:latin typeface="Segoe UI Light"/>
                <a:cs typeface="Segoe UI Light"/>
              </a:rPr>
              <a:t>h</a:t>
            </a:r>
            <a:r>
              <a:rPr sz="3453" spc="33" baseline="-1066" dirty="0">
                <a:solidFill>
                  <a:srgbClr val="FFFFFF"/>
                </a:solidFill>
                <a:latin typeface="Segoe UI Light"/>
                <a:cs typeface="Segoe UI Light"/>
              </a:rPr>
              <a:t>o</a:t>
            </a:r>
            <a:r>
              <a:rPr sz="3453" baseline="-1066" dirty="0">
                <a:solidFill>
                  <a:srgbClr val="FFFFFF"/>
                </a:solidFill>
                <a:latin typeface="Segoe UI Light"/>
                <a:cs typeface="Segoe UI Light"/>
              </a:rPr>
              <a:t>n</a:t>
            </a:r>
            <a:endParaRPr sz="2302">
              <a:latin typeface="Segoe UI Light"/>
              <a:cs typeface="Segoe UI Light"/>
            </a:endParaRPr>
          </a:p>
        </p:txBody>
      </p:sp>
      <p:sp>
        <p:nvSpPr>
          <p:cNvPr id="15" name="object 15"/>
          <p:cNvSpPr txBox="1"/>
          <p:nvPr/>
        </p:nvSpPr>
        <p:spPr>
          <a:xfrm>
            <a:off x="5627603" y="2403213"/>
            <a:ext cx="172833" cy="320786"/>
          </a:xfrm>
          <a:prstGeom prst="rect">
            <a:avLst/>
          </a:prstGeom>
        </p:spPr>
        <p:txBody>
          <a:bodyPr wrap="square" lIns="0" tIns="0" rIns="0" bIns="0" rtlCol="0">
            <a:noAutofit/>
          </a:bodyPr>
          <a:lstStyle/>
          <a:p>
            <a:pPr marL="12441">
              <a:lnSpc>
                <a:spcPts val="2473"/>
              </a:lnSpc>
              <a:spcBef>
                <a:spcPts val="123"/>
              </a:spcBef>
            </a:pPr>
            <a:r>
              <a:rPr sz="2302" dirty="0">
                <a:solidFill>
                  <a:srgbClr val="FFFFFF"/>
                </a:solidFill>
                <a:latin typeface="Arial"/>
                <a:cs typeface="Arial"/>
              </a:rPr>
              <a:t>•</a:t>
            </a:r>
            <a:endParaRPr sz="2302">
              <a:latin typeface="Arial"/>
              <a:cs typeface="Arial"/>
            </a:endParaRPr>
          </a:p>
        </p:txBody>
      </p:sp>
      <p:sp>
        <p:nvSpPr>
          <p:cNvPr id="14" name="object 14"/>
          <p:cNvSpPr txBox="1"/>
          <p:nvPr/>
        </p:nvSpPr>
        <p:spPr>
          <a:xfrm>
            <a:off x="5959027" y="2402919"/>
            <a:ext cx="3991827" cy="320786"/>
          </a:xfrm>
          <a:prstGeom prst="rect">
            <a:avLst/>
          </a:prstGeom>
        </p:spPr>
        <p:txBody>
          <a:bodyPr wrap="square" lIns="0" tIns="0" rIns="0" bIns="0" rtlCol="0">
            <a:noAutofit/>
          </a:bodyPr>
          <a:lstStyle/>
          <a:p>
            <a:pPr marL="12441">
              <a:lnSpc>
                <a:spcPts val="2527"/>
              </a:lnSpc>
              <a:spcBef>
                <a:spcPts val="126"/>
              </a:spcBef>
            </a:pPr>
            <a:r>
              <a:rPr sz="3453" spc="-38" baseline="1066" dirty="0">
                <a:solidFill>
                  <a:srgbClr val="FFFFFF"/>
                </a:solidFill>
                <a:latin typeface="Segoe UI Light"/>
                <a:cs typeface="Segoe UI Light"/>
              </a:rPr>
              <a:t>W</a:t>
            </a:r>
            <a:r>
              <a:rPr sz="3453" spc="24" baseline="1066" dirty="0">
                <a:solidFill>
                  <a:srgbClr val="FFFFFF"/>
                </a:solidFill>
                <a:latin typeface="Segoe UI Light"/>
                <a:cs typeface="Segoe UI Light"/>
              </a:rPr>
              <a:t>e</a:t>
            </a:r>
            <a:r>
              <a:rPr sz="3453" spc="-33" baseline="1066" dirty="0">
                <a:solidFill>
                  <a:srgbClr val="FFFFFF"/>
                </a:solidFill>
                <a:latin typeface="Segoe UI Light"/>
                <a:cs typeface="Segoe UI Light"/>
              </a:rPr>
              <a:t>b</a:t>
            </a:r>
            <a:r>
              <a:rPr sz="3453" spc="19" baseline="1066" dirty="0">
                <a:solidFill>
                  <a:srgbClr val="FFFFFF"/>
                </a:solidFill>
                <a:latin typeface="Segoe UI Light"/>
                <a:cs typeface="Segoe UI Light"/>
              </a:rPr>
              <a:t>J</a:t>
            </a:r>
            <a:r>
              <a:rPr sz="3453" spc="33" baseline="1066" dirty="0">
                <a:solidFill>
                  <a:srgbClr val="FFFFFF"/>
                </a:solidFill>
                <a:latin typeface="Segoe UI Light"/>
                <a:cs typeface="Segoe UI Light"/>
              </a:rPr>
              <a:t>o</a:t>
            </a:r>
            <a:r>
              <a:rPr sz="3453" spc="-33" baseline="1066" dirty="0">
                <a:solidFill>
                  <a:srgbClr val="FFFFFF"/>
                </a:solidFill>
                <a:latin typeface="Segoe UI Light"/>
                <a:cs typeface="Segoe UI Light"/>
              </a:rPr>
              <a:t>b</a:t>
            </a:r>
            <a:r>
              <a:rPr sz="3453" baseline="1066" dirty="0">
                <a:solidFill>
                  <a:srgbClr val="FFFFFF"/>
                </a:solidFill>
                <a:latin typeface="Segoe UI Light"/>
                <a:cs typeface="Segoe UI Light"/>
              </a:rPr>
              <a:t>s</a:t>
            </a:r>
            <a:r>
              <a:rPr sz="3453" spc="175" baseline="1066" dirty="0">
                <a:solidFill>
                  <a:srgbClr val="FFFFFF"/>
                </a:solidFill>
                <a:latin typeface="Segoe UI Light"/>
                <a:cs typeface="Segoe UI Light"/>
              </a:rPr>
              <a:t> </a:t>
            </a:r>
            <a:r>
              <a:rPr sz="3453" spc="-9" baseline="1066" dirty="0">
                <a:solidFill>
                  <a:srgbClr val="FFFFFF"/>
                </a:solidFill>
                <a:latin typeface="Segoe UI Light"/>
                <a:cs typeface="Segoe UI Light"/>
              </a:rPr>
              <a:t>f</a:t>
            </a:r>
            <a:r>
              <a:rPr sz="3453" spc="33" baseline="1066" dirty="0">
                <a:solidFill>
                  <a:srgbClr val="FFFFFF"/>
                </a:solidFill>
                <a:latin typeface="Segoe UI Light"/>
                <a:cs typeface="Segoe UI Light"/>
              </a:rPr>
              <a:t>o</a:t>
            </a:r>
            <a:r>
              <a:rPr sz="3453" baseline="1066" dirty="0">
                <a:solidFill>
                  <a:srgbClr val="FFFFFF"/>
                </a:solidFill>
                <a:latin typeface="Segoe UI Light"/>
                <a:cs typeface="Segoe UI Light"/>
              </a:rPr>
              <a:t>r</a:t>
            </a:r>
            <a:r>
              <a:rPr sz="3453" spc="36" baseline="1066" dirty="0">
                <a:solidFill>
                  <a:srgbClr val="FFFFFF"/>
                </a:solidFill>
                <a:latin typeface="Segoe UI Light"/>
                <a:cs typeface="Segoe UI Light"/>
              </a:rPr>
              <a:t> </a:t>
            </a:r>
            <a:r>
              <a:rPr sz="3453" spc="14" baseline="1066" dirty="0">
                <a:solidFill>
                  <a:srgbClr val="FFFFFF"/>
                </a:solidFill>
                <a:latin typeface="Segoe UI Light"/>
                <a:cs typeface="Segoe UI Light"/>
              </a:rPr>
              <a:t>l</a:t>
            </a:r>
            <a:r>
              <a:rPr sz="3453" spc="33" baseline="1066" dirty="0">
                <a:solidFill>
                  <a:srgbClr val="FFFFFF"/>
                </a:solidFill>
                <a:latin typeface="Segoe UI Light"/>
                <a:cs typeface="Segoe UI Light"/>
              </a:rPr>
              <a:t>o</a:t>
            </a:r>
            <a:r>
              <a:rPr sz="3453" spc="24" baseline="1066" dirty="0">
                <a:solidFill>
                  <a:srgbClr val="FFFFFF"/>
                </a:solidFill>
                <a:latin typeface="Segoe UI Light"/>
                <a:cs typeface="Segoe UI Light"/>
              </a:rPr>
              <a:t>n</a:t>
            </a:r>
            <a:r>
              <a:rPr sz="3453" baseline="1066" dirty="0">
                <a:solidFill>
                  <a:srgbClr val="FFFFFF"/>
                </a:solidFill>
                <a:latin typeface="Segoe UI Light"/>
                <a:cs typeface="Segoe UI Light"/>
              </a:rPr>
              <a:t>g</a:t>
            </a:r>
            <a:r>
              <a:rPr sz="3453" spc="18" baseline="1066" dirty="0">
                <a:solidFill>
                  <a:srgbClr val="FFFFFF"/>
                </a:solidFill>
                <a:latin typeface="Segoe UI Light"/>
                <a:cs typeface="Segoe UI Light"/>
              </a:rPr>
              <a:t> </a:t>
            </a:r>
            <a:r>
              <a:rPr sz="3453" baseline="1066" dirty="0">
                <a:solidFill>
                  <a:srgbClr val="FFFFFF"/>
                </a:solidFill>
                <a:latin typeface="Segoe UI Light"/>
                <a:cs typeface="Segoe UI Light"/>
              </a:rPr>
              <a:t>r</a:t>
            </a:r>
            <a:r>
              <a:rPr sz="3453" spc="24" baseline="1066" dirty="0">
                <a:solidFill>
                  <a:srgbClr val="FFFFFF"/>
                </a:solidFill>
                <a:latin typeface="Segoe UI Light"/>
                <a:cs typeface="Segoe UI Light"/>
              </a:rPr>
              <a:t>unn</a:t>
            </a:r>
            <a:r>
              <a:rPr sz="3453" spc="14" baseline="1066" dirty="0">
                <a:solidFill>
                  <a:srgbClr val="FFFFFF"/>
                </a:solidFill>
                <a:latin typeface="Segoe UI Light"/>
                <a:cs typeface="Segoe UI Light"/>
              </a:rPr>
              <a:t>i</a:t>
            </a:r>
            <a:r>
              <a:rPr sz="3453" spc="24" baseline="1066" dirty="0">
                <a:solidFill>
                  <a:srgbClr val="FFFFFF"/>
                </a:solidFill>
                <a:latin typeface="Segoe UI Light"/>
                <a:cs typeface="Segoe UI Light"/>
              </a:rPr>
              <a:t>n</a:t>
            </a:r>
            <a:r>
              <a:rPr sz="3453" baseline="1066" dirty="0">
                <a:solidFill>
                  <a:srgbClr val="FFFFFF"/>
                </a:solidFill>
                <a:latin typeface="Segoe UI Light"/>
                <a:cs typeface="Segoe UI Light"/>
              </a:rPr>
              <a:t>g</a:t>
            </a:r>
            <a:r>
              <a:rPr sz="3453" spc="49" baseline="1066" dirty="0">
                <a:solidFill>
                  <a:srgbClr val="FFFFFF"/>
                </a:solidFill>
                <a:latin typeface="Segoe UI Light"/>
                <a:cs typeface="Segoe UI Light"/>
              </a:rPr>
              <a:t> </a:t>
            </a:r>
            <a:r>
              <a:rPr sz="3453" spc="4" baseline="1066" dirty="0">
                <a:solidFill>
                  <a:srgbClr val="FFFFFF"/>
                </a:solidFill>
                <a:latin typeface="Segoe UI Light"/>
                <a:cs typeface="Segoe UI Light"/>
              </a:rPr>
              <a:t>t</a:t>
            </a:r>
            <a:r>
              <a:rPr sz="3453" spc="-20" baseline="1066" dirty="0">
                <a:solidFill>
                  <a:srgbClr val="FFFFFF"/>
                </a:solidFill>
                <a:latin typeface="Segoe UI Light"/>
                <a:cs typeface="Segoe UI Light"/>
              </a:rPr>
              <a:t>a</a:t>
            </a:r>
            <a:r>
              <a:rPr sz="3453" spc="15" baseline="1066" dirty="0">
                <a:solidFill>
                  <a:srgbClr val="FFFFFF"/>
                </a:solidFill>
                <a:latin typeface="Segoe UI Light"/>
                <a:cs typeface="Segoe UI Light"/>
              </a:rPr>
              <a:t>s</a:t>
            </a:r>
            <a:r>
              <a:rPr sz="3453" spc="24" baseline="1066" dirty="0">
                <a:solidFill>
                  <a:srgbClr val="FFFFFF"/>
                </a:solidFill>
                <a:latin typeface="Segoe UI Light"/>
                <a:cs typeface="Segoe UI Light"/>
              </a:rPr>
              <a:t>k</a:t>
            </a:r>
            <a:r>
              <a:rPr sz="3453" baseline="1066" dirty="0">
                <a:solidFill>
                  <a:srgbClr val="FFFFFF"/>
                </a:solidFill>
                <a:latin typeface="Segoe UI Light"/>
                <a:cs typeface="Segoe UI Light"/>
              </a:rPr>
              <a:t>s</a:t>
            </a:r>
            <a:endParaRPr sz="2302">
              <a:latin typeface="Segoe UI Light"/>
              <a:cs typeface="Segoe UI Light"/>
            </a:endParaRPr>
          </a:p>
        </p:txBody>
      </p:sp>
      <p:sp>
        <p:nvSpPr>
          <p:cNvPr id="13" name="object 13"/>
          <p:cNvSpPr txBox="1"/>
          <p:nvPr/>
        </p:nvSpPr>
        <p:spPr>
          <a:xfrm>
            <a:off x="5627603" y="3066931"/>
            <a:ext cx="172833" cy="320786"/>
          </a:xfrm>
          <a:prstGeom prst="rect">
            <a:avLst/>
          </a:prstGeom>
        </p:spPr>
        <p:txBody>
          <a:bodyPr wrap="square" lIns="0" tIns="0" rIns="0" bIns="0" rtlCol="0">
            <a:noAutofit/>
          </a:bodyPr>
          <a:lstStyle/>
          <a:p>
            <a:pPr marL="12441">
              <a:lnSpc>
                <a:spcPts val="2473"/>
              </a:lnSpc>
              <a:spcBef>
                <a:spcPts val="123"/>
              </a:spcBef>
            </a:pPr>
            <a:r>
              <a:rPr sz="2302" dirty="0">
                <a:solidFill>
                  <a:srgbClr val="FFFFFF"/>
                </a:solidFill>
                <a:latin typeface="Arial"/>
                <a:cs typeface="Arial"/>
              </a:rPr>
              <a:t>•</a:t>
            </a:r>
            <a:endParaRPr sz="2302">
              <a:latin typeface="Arial"/>
              <a:cs typeface="Arial"/>
            </a:endParaRPr>
          </a:p>
        </p:txBody>
      </p:sp>
      <p:sp>
        <p:nvSpPr>
          <p:cNvPr id="12" name="object 12"/>
          <p:cNvSpPr txBox="1"/>
          <p:nvPr/>
        </p:nvSpPr>
        <p:spPr>
          <a:xfrm>
            <a:off x="5959027" y="3066637"/>
            <a:ext cx="4866772" cy="320786"/>
          </a:xfrm>
          <a:prstGeom prst="rect">
            <a:avLst/>
          </a:prstGeom>
        </p:spPr>
        <p:txBody>
          <a:bodyPr wrap="square" lIns="0" tIns="0" rIns="0" bIns="0" rtlCol="0">
            <a:noAutofit/>
          </a:bodyPr>
          <a:lstStyle/>
          <a:p>
            <a:pPr marL="12441">
              <a:lnSpc>
                <a:spcPts val="2527"/>
              </a:lnSpc>
              <a:spcBef>
                <a:spcPts val="126"/>
              </a:spcBef>
            </a:pPr>
            <a:r>
              <a:rPr sz="3453" spc="33" baseline="1066" dirty="0">
                <a:solidFill>
                  <a:srgbClr val="FFFFFF"/>
                </a:solidFill>
                <a:latin typeface="Segoe UI Light"/>
                <a:cs typeface="Segoe UI Light"/>
              </a:rPr>
              <a:t>I</a:t>
            </a:r>
            <a:r>
              <a:rPr sz="3453" spc="24" baseline="1066" dirty="0">
                <a:solidFill>
                  <a:srgbClr val="FFFFFF"/>
                </a:solidFill>
                <a:latin typeface="Segoe UI Light"/>
                <a:cs typeface="Segoe UI Light"/>
              </a:rPr>
              <a:t>n</a:t>
            </a:r>
            <a:r>
              <a:rPr sz="3453" spc="14" baseline="1066" dirty="0">
                <a:solidFill>
                  <a:srgbClr val="FFFFFF"/>
                </a:solidFill>
                <a:latin typeface="Segoe UI Light"/>
                <a:cs typeface="Segoe UI Light"/>
              </a:rPr>
              <a:t>t</a:t>
            </a:r>
            <a:r>
              <a:rPr sz="3453" spc="24" baseline="1066" dirty="0">
                <a:solidFill>
                  <a:srgbClr val="FFFFFF"/>
                </a:solidFill>
                <a:latin typeface="Segoe UI Light"/>
                <a:cs typeface="Segoe UI Light"/>
              </a:rPr>
              <a:t>e</a:t>
            </a:r>
            <a:r>
              <a:rPr sz="3453" spc="-33" baseline="1066" dirty="0">
                <a:solidFill>
                  <a:srgbClr val="FFFFFF"/>
                </a:solidFill>
                <a:latin typeface="Segoe UI Light"/>
                <a:cs typeface="Segoe UI Light"/>
              </a:rPr>
              <a:t>g</a:t>
            </a:r>
            <a:r>
              <a:rPr sz="3453" spc="4" baseline="1066" dirty="0">
                <a:solidFill>
                  <a:srgbClr val="FFFFFF"/>
                </a:solidFill>
                <a:latin typeface="Segoe UI Light"/>
                <a:cs typeface="Segoe UI Light"/>
              </a:rPr>
              <a:t>r</a:t>
            </a:r>
            <a:r>
              <a:rPr sz="3453" spc="-19" baseline="1066" dirty="0">
                <a:solidFill>
                  <a:srgbClr val="FFFFFF"/>
                </a:solidFill>
                <a:latin typeface="Segoe UI Light"/>
                <a:cs typeface="Segoe UI Light"/>
              </a:rPr>
              <a:t>a</a:t>
            </a:r>
            <a:r>
              <a:rPr sz="3453" spc="14" baseline="1066" dirty="0">
                <a:solidFill>
                  <a:srgbClr val="FFFFFF"/>
                </a:solidFill>
                <a:latin typeface="Segoe UI Light"/>
                <a:cs typeface="Segoe UI Light"/>
              </a:rPr>
              <a:t>t</a:t>
            </a:r>
            <a:r>
              <a:rPr sz="3453" spc="24" baseline="1066" dirty="0">
                <a:solidFill>
                  <a:srgbClr val="FFFFFF"/>
                </a:solidFill>
                <a:latin typeface="Segoe UI Light"/>
                <a:cs typeface="Segoe UI Light"/>
              </a:rPr>
              <a:t>e</a:t>
            </a:r>
            <a:r>
              <a:rPr sz="3453" baseline="1066" dirty="0">
                <a:solidFill>
                  <a:srgbClr val="FFFFFF"/>
                </a:solidFill>
                <a:latin typeface="Segoe UI Light"/>
                <a:cs typeface="Segoe UI Light"/>
              </a:rPr>
              <a:t>d</a:t>
            </a:r>
            <a:r>
              <a:rPr sz="3453" spc="143" baseline="1066" dirty="0">
                <a:solidFill>
                  <a:srgbClr val="FFFFFF"/>
                </a:solidFill>
                <a:latin typeface="Segoe UI Light"/>
                <a:cs typeface="Segoe UI Light"/>
              </a:rPr>
              <a:t> </a:t>
            </a:r>
            <a:r>
              <a:rPr sz="3453" spc="-63" baseline="1066" dirty="0">
                <a:solidFill>
                  <a:srgbClr val="FFFFFF"/>
                </a:solidFill>
                <a:latin typeface="Segoe UI Light"/>
                <a:cs typeface="Segoe UI Light"/>
              </a:rPr>
              <a:t>V</a:t>
            </a:r>
            <a:r>
              <a:rPr sz="3453" baseline="1066" dirty="0">
                <a:solidFill>
                  <a:srgbClr val="FFFFFF"/>
                </a:solidFill>
                <a:latin typeface="Segoe UI Light"/>
                <a:cs typeface="Segoe UI Light"/>
              </a:rPr>
              <a:t>S</a:t>
            </a:r>
            <a:r>
              <a:rPr sz="3453" spc="73" baseline="1066" dirty="0">
                <a:solidFill>
                  <a:srgbClr val="FFFFFF"/>
                </a:solidFill>
                <a:latin typeface="Segoe UI Light"/>
                <a:cs typeface="Segoe UI Light"/>
              </a:rPr>
              <a:t> </a:t>
            </a:r>
            <a:r>
              <a:rPr sz="3453" spc="-33" baseline="1066" dirty="0">
                <a:solidFill>
                  <a:srgbClr val="FFFFFF"/>
                </a:solidFill>
                <a:latin typeface="Segoe UI Light"/>
                <a:cs typeface="Segoe UI Light"/>
              </a:rPr>
              <a:t>p</a:t>
            </a:r>
            <a:r>
              <a:rPr sz="3453" spc="24" baseline="1066" dirty="0">
                <a:solidFill>
                  <a:srgbClr val="FFFFFF"/>
                </a:solidFill>
                <a:latin typeface="Segoe UI Light"/>
                <a:cs typeface="Segoe UI Light"/>
              </a:rPr>
              <a:t>u</a:t>
            </a:r>
            <a:r>
              <a:rPr sz="3453" spc="-33" baseline="1066" dirty="0">
                <a:solidFill>
                  <a:srgbClr val="FFFFFF"/>
                </a:solidFill>
                <a:latin typeface="Segoe UI Light"/>
                <a:cs typeface="Segoe UI Light"/>
              </a:rPr>
              <a:t>b</a:t>
            </a:r>
            <a:r>
              <a:rPr sz="3453" spc="14" baseline="1066" dirty="0">
                <a:solidFill>
                  <a:srgbClr val="FFFFFF"/>
                </a:solidFill>
                <a:latin typeface="Segoe UI Light"/>
                <a:cs typeface="Segoe UI Light"/>
              </a:rPr>
              <a:t>lis</a:t>
            </a:r>
            <a:r>
              <a:rPr sz="3453" spc="24" baseline="1066" dirty="0">
                <a:solidFill>
                  <a:srgbClr val="FFFFFF"/>
                </a:solidFill>
                <a:latin typeface="Segoe UI Light"/>
                <a:cs typeface="Segoe UI Light"/>
              </a:rPr>
              <a:t>h</a:t>
            </a:r>
            <a:r>
              <a:rPr sz="3453" baseline="1066" dirty="0">
                <a:solidFill>
                  <a:srgbClr val="FFFFFF"/>
                </a:solidFill>
                <a:latin typeface="Segoe UI Light"/>
                <a:cs typeface="Segoe UI Light"/>
              </a:rPr>
              <a:t>,</a:t>
            </a:r>
            <a:r>
              <a:rPr sz="3453" spc="201" baseline="1066" dirty="0">
                <a:solidFill>
                  <a:srgbClr val="FFFFFF"/>
                </a:solidFill>
                <a:latin typeface="Segoe UI Light"/>
                <a:cs typeface="Segoe UI Light"/>
              </a:rPr>
              <a:t> </a:t>
            </a:r>
            <a:r>
              <a:rPr sz="3453" spc="-58" baseline="1066" dirty="0">
                <a:solidFill>
                  <a:srgbClr val="FFFFFF"/>
                </a:solidFill>
                <a:latin typeface="Segoe UI Light"/>
                <a:cs typeface="Segoe UI Light"/>
              </a:rPr>
              <a:t>r</a:t>
            </a:r>
            <a:r>
              <a:rPr sz="3453" spc="24" baseline="1066" dirty="0">
                <a:solidFill>
                  <a:srgbClr val="FFFFFF"/>
                </a:solidFill>
                <a:latin typeface="Segoe UI Light"/>
                <a:cs typeface="Segoe UI Light"/>
              </a:rPr>
              <a:t>e</a:t>
            </a:r>
            <a:r>
              <a:rPr sz="3453" spc="-9" baseline="1066" dirty="0">
                <a:solidFill>
                  <a:srgbClr val="FFFFFF"/>
                </a:solidFill>
                <a:latin typeface="Segoe UI Light"/>
                <a:cs typeface="Segoe UI Light"/>
              </a:rPr>
              <a:t>m</a:t>
            </a:r>
            <a:r>
              <a:rPr sz="3453" spc="33" baseline="1066" dirty="0">
                <a:solidFill>
                  <a:srgbClr val="FFFFFF"/>
                </a:solidFill>
                <a:latin typeface="Segoe UI Light"/>
                <a:cs typeface="Segoe UI Light"/>
              </a:rPr>
              <a:t>o</a:t>
            </a:r>
            <a:r>
              <a:rPr sz="3453" spc="14" baseline="1066" dirty="0">
                <a:solidFill>
                  <a:srgbClr val="FFFFFF"/>
                </a:solidFill>
                <a:latin typeface="Segoe UI Light"/>
                <a:cs typeface="Segoe UI Light"/>
              </a:rPr>
              <a:t>t</a:t>
            </a:r>
            <a:r>
              <a:rPr sz="3453" baseline="1066" dirty="0">
                <a:solidFill>
                  <a:srgbClr val="FFFFFF"/>
                </a:solidFill>
                <a:latin typeface="Segoe UI Light"/>
                <a:cs typeface="Segoe UI Light"/>
              </a:rPr>
              <a:t>e</a:t>
            </a:r>
            <a:r>
              <a:rPr sz="3453" spc="103" baseline="1066" dirty="0">
                <a:solidFill>
                  <a:srgbClr val="FFFFFF"/>
                </a:solidFill>
                <a:latin typeface="Segoe UI Light"/>
                <a:cs typeface="Segoe UI Light"/>
              </a:rPr>
              <a:t> </a:t>
            </a:r>
            <a:r>
              <a:rPr sz="3453" spc="-34" baseline="1066" dirty="0">
                <a:solidFill>
                  <a:srgbClr val="FFFFFF"/>
                </a:solidFill>
                <a:latin typeface="Segoe UI Light"/>
                <a:cs typeface="Segoe UI Light"/>
              </a:rPr>
              <a:t>d</a:t>
            </a:r>
            <a:r>
              <a:rPr sz="3453" spc="24" baseline="1066" dirty="0">
                <a:solidFill>
                  <a:srgbClr val="FFFFFF"/>
                </a:solidFill>
                <a:latin typeface="Segoe UI Light"/>
                <a:cs typeface="Segoe UI Light"/>
              </a:rPr>
              <a:t>e</a:t>
            </a:r>
            <a:r>
              <a:rPr sz="3453" spc="-34" baseline="1066" dirty="0">
                <a:solidFill>
                  <a:srgbClr val="FFFFFF"/>
                </a:solidFill>
                <a:latin typeface="Segoe UI Light"/>
                <a:cs typeface="Segoe UI Light"/>
              </a:rPr>
              <a:t>b</a:t>
            </a:r>
            <a:r>
              <a:rPr sz="3453" spc="24" baseline="1066" dirty="0">
                <a:solidFill>
                  <a:srgbClr val="FFFFFF"/>
                </a:solidFill>
                <a:latin typeface="Segoe UI Light"/>
                <a:cs typeface="Segoe UI Light"/>
              </a:rPr>
              <a:t>u</a:t>
            </a:r>
            <a:r>
              <a:rPr sz="3453" spc="-34" baseline="1066" dirty="0">
                <a:solidFill>
                  <a:srgbClr val="FFFFFF"/>
                </a:solidFill>
                <a:latin typeface="Segoe UI Light"/>
                <a:cs typeface="Segoe UI Light"/>
              </a:rPr>
              <a:t>g</a:t>
            </a:r>
            <a:r>
              <a:rPr sz="3453" baseline="1066" dirty="0">
                <a:solidFill>
                  <a:srgbClr val="FFFFFF"/>
                </a:solidFill>
                <a:latin typeface="Segoe UI Light"/>
                <a:cs typeface="Segoe UI Light"/>
              </a:rPr>
              <a:t>…</a:t>
            </a:r>
            <a:endParaRPr sz="2302">
              <a:latin typeface="Segoe UI Light"/>
              <a:cs typeface="Segoe UI Light"/>
            </a:endParaRPr>
          </a:p>
        </p:txBody>
      </p:sp>
      <p:sp>
        <p:nvSpPr>
          <p:cNvPr id="11" name="object 11"/>
          <p:cNvSpPr txBox="1"/>
          <p:nvPr/>
        </p:nvSpPr>
        <p:spPr>
          <a:xfrm>
            <a:off x="2070027" y="3146989"/>
            <a:ext cx="1211614" cy="258396"/>
          </a:xfrm>
          <a:prstGeom prst="rect">
            <a:avLst/>
          </a:prstGeom>
        </p:spPr>
        <p:txBody>
          <a:bodyPr wrap="square" lIns="0" tIns="0" rIns="0" bIns="0" rtlCol="0">
            <a:noAutofit/>
          </a:bodyPr>
          <a:lstStyle/>
          <a:p>
            <a:pPr marL="12441">
              <a:lnSpc>
                <a:spcPts val="2033"/>
              </a:lnSpc>
              <a:spcBef>
                <a:spcPts val="101"/>
              </a:spcBef>
            </a:pPr>
            <a:r>
              <a:rPr sz="2718" b="1" spc="-14" baseline="1354" dirty="0">
                <a:solidFill>
                  <a:srgbClr val="FFFFFF"/>
                </a:solidFill>
                <a:latin typeface="Segoe UI"/>
                <a:cs typeface="Segoe UI"/>
              </a:rPr>
              <a:t>W</a:t>
            </a:r>
            <a:r>
              <a:rPr sz="2718" b="1" spc="4" baseline="1354" dirty="0">
                <a:solidFill>
                  <a:srgbClr val="FFFFFF"/>
                </a:solidFill>
                <a:latin typeface="Segoe UI"/>
                <a:cs typeface="Segoe UI"/>
              </a:rPr>
              <a:t>E</a:t>
            </a:r>
            <a:r>
              <a:rPr sz="2718" b="1" baseline="1354" dirty="0">
                <a:solidFill>
                  <a:srgbClr val="FFFFFF"/>
                </a:solidFill>
                <a:latin typeface="Segoe UI"/>
                <a:cs typeface="Segoe UI"/>
              </a:rPr>
              <a:t>B</a:t>
            </a:r>
            <a:r>
              <a:rPr sz="2718" b="1" spc="54" baseline="1354" dirty="0">
                <a:solidFill>
                  <a:srgbClr val="FFFFFF"/>
                </a:solidFill>
                <a:latin typeface="Segoe UI"/>
                <a:cs typeface="Segoe UI"/>
              </a:rPr>
              <a:t> </a:t>
            </a:r>
            <a:r>
              <a:rPr sz="2718" b="1" spc="-24" baseline="1354" dirty="0">
                <a:solidFill>
                  <a:srgbClr val="FFFFFF"/>
                </a:solidFill>
                <a:latin typeface="Segoe UI"/>
                <a:cs typeface="Segoe UI"/>
              </a:rPr>
              <a:t>A</a:t>
            </a:r>
            <a:r>
              <a:rPr sz="2718" b="1" baseline="1354" dirty="0">
                <a:solidFill>
                  <a:srgbClr val="FFFFFF"/>
                </a:solidFill>
                <a:latin typeface="Segoe UI"/>
                <a:cs typeface="Segoe UI"/>
              </a:rPr>
              <a:t>PPS</a:t>
            </a:r>
            <a:endParaRPr sz="1812" dirty="0">
              <a:latin typeface="Segoe UI"/>
              <a:cs typeface="Segoe UI"/>
            </a:endParaRPr>
          </a:p>
        </p:txBody>
      </p:sp>
      <p:sp>
        <p:nvSpPr>
          <p:cNvPr id="10" name="object 10"/>
          <p:cNvSpPr txBox="1"/>
          <p:nvPr/>
        </p:nvSpPr>
        <p:spPr>
          <a:xfrm>
            <a:off x="5627604" y="3721564"/>
            <a:ext cx="172989" cy="321097"/>
          </a:xfrm>
          <a:prstGeom prst="rect">
            <a:avLst/>
          </a:prstGeom>
        </p:spPr>
        <p:txBody>
          <a:bodyPr wrap="square" lIns="0" tIns="0" rIns="0" bIns="0" rtlCol="0">
            <a:noAutofit/>
          </a:bodyPr>
          <a:lstStyle/>
          <a:p>
            <a:pPr marL="12441">
              <a:lnSpc>
                <a:spcPts val="2473"/>
              </a:lnSpc>
              <a:spcBef>
                <a:spcPts val="123"/>
              </a:spcBef>
            </a:pPr>
            <a:r>
              <a:rPr sz="2302" dirty="0">
                <a:solidFill>
                  <a:srgbClr val="FFFFFF"/>
                </a:solidFill>
                <a:latin typeface="Arial"/>
                <a:cs typeface="Arial"/>
              </a:rPr>
              <a:t>•</a:t>
            </a:r>
            <a:endParaRPr sz="2302" dirty="0">
              <a:latin typeface="Arial"/>
              <a:cs typeface="Arial"/>
            </a:endParaRPr>
          </a:p>
        </p:txBody>
      </p:sp>
      <p:sp>
        <p:nvSpPr>
          <p:cNvPr id="9" name="object 9"/>
          <p:cNvSpPr txBox="1"/>
          <p:nvPr/>
        </p:nvSpPr>
        <p:spPr>
          <a:xfrm>
            <a:off x="5959027" y="3721270"/>
            <a:ext cx="3853678" cy="321097"/>
          </a:xfrm>
          <a:prstGeom prst="rect">
            <a:avLst/>
          </a:prstGeom>
        </p:spPr>
        <p:txBody>
          <a:bodyPr wrap="square" lIns="0" tIns="0" rIns="0" bIns="0" rtlCol="0">
            <a:noAutofit/>
          </a:bodyPr>
          <a:lstStyle/>
          <a:p>
            <a:pPr marL="12441">
              <a:lnSpc>
                <a:spcPts val="2527"/>
              </a:lnSpc>
              <a:spcBef>
                <a:spcPts val="126"/>
              </a:spcBef>
            </a:pPr>
            <a:r>
              <a:rPr sz="3453" spc="-33" baseline="1066" dirty="0">
                <a:solidFill>
                  <a:srgbClr val="FFFFFF"/>
                </a:solidFill>
                <a:latin typeface="Segoe UI Light"/>
                <a:cs typeface="Segoe UI Light"/>
              </a:rPr>
              <a:t>C</a:t>
            </a:r>
            <a:r>
              <a:rPr sz="3453" baseline="1066" dirty="0">
                <a:solidFill>
                  <a:srgbClr val="FFFFFF"/>
                </a:solidFill>
                <a:latin typeface="Segoe UI Light"/>
                <a:cs typeface="Segoe UI Light"/>
              </a:rPr>
              <a:t>I</a:t>
            </a:r>
            <a:r>
              <a:rPr sz="3453" spc="126" baseline="1066" dirty="0">
                <a:solidFill>
                  <a:srgbClr val="FFFFFF"/>
                </a:solidFill>
                <a:latin typeface="Segoe UI Light"/>
                <a:cs typeface="Segoe UI Light"/>
              </a:rPr>
              <a:t> </a:t>
            </a:r>
            <a:r>
              <a:rPr sz="3453" spc="-24" baseline="1066" dirty="0">
                <a:solidFill>
                  <a:srgbClr val="FFFFFF"/>
                </a:solidFill>
                <a:latin typeface="Segoe UI Light"/>
                <a:cs typeface="Segoe UI Light"/>
              </a:rPr>
              <a:t>w</a:t>
            </a:r>
            <a:r>
              <a:rPr sz="3453" spc="14" baseline="1066" dirty="0">
                <a:solidFill>
                  <a:srgbClr val="FFFFFF"/>
                </a:solidFill>
                <a:latin typeface="Segoe UI Light"/>
                <a:cs typeface="Segoe UI Light"/>
              </a:rPr>
              <a:t>i</a:t>
            </a:r>
            <a:r>
              <a:rPr sz="3453" spc="9" baseline="1066" dirty="0">
                <a:solidFill>
                  <a:srgbClr val="FFFFFF"/>
                </a:solidFill>
                <a:latin typeface="Segoe UI Light"/>
                <a:cs typeface="Segoe UI Light"/>
              </a:rPr>
              <a:t>t</a:t>
            </a:r>
            <a:r>
              <a:rPr sz="3453" baseline="1066" dirty="0">
                <a:solidFill>
                  <a:srgbClr val="FFFFFF"/>
                </a:solidFill>
                <a:latin typeface="Segoe UI Light"/>
                <a:cs typeface="Segoe UI Light"/>
              </a:rPr>
              <a:t>h</a:t>
            </a:r>
            <a:r>
              <a:rPr sz="3453" spc="69" baseline="1066" dirty="0">
                <a:solidFill>
                  <a:srgbClr val="FFFFFF"/>
                </a:solidFill>
                <a:latin typeface="Segoe UI Light"/>
                <a:cs typeface="Segoe UI Light"/>
              </a:rPr>
              <a:t> </a:t>
            </a:r>
            <a:r>
              <a:rPr sz="3453" baseline="1066" dirty="0">
                <a:solidFill>
                  <a:srgbClr val="FFFFFF"/>
                </a:solidFill>
                <a:latin typeface="Segoe UI Light"/>
                <a:cs typeface="Segoe UI Light"/>
              </a:rPr>
              <a:t>G</a:t>
            </a:r>
            <a:r>
              <a:rPr sz="3453" spc="9" baseline="1066" dirty="0">
                <a:solidFill>
                  <a:srgbClr val="FFFFFF"/>
                </a:solidFill>
                <a:latin typeface="Segoe UI Light"/>
                <a:cs typeface="Segoe UI Light"/>
              </a:rPr>
              <a:t>it</a:t>
            </a:r>
            <a:r>
              <a:rPr sz="3453" spc="-24" baseline="1066" dirty="0">
                <a:solidFill>
                  <a:srgbClr val="FFFFFF"/>
                </a:solidFill>
                <a:latin typeface="Segoe UI Light"/>
                <a:cs typeface="Segoe UI Light"/>
              </a:rPr>
              <a:t>H</a:t>
            </a:r>
            <a:r>
              <a:rPr sz="3453" spc="19" baseline="1066" dirty="0">
                <a:solidFill>
                  <a:srgbClr val="FFFFFF"/>
                </a:solidFill>
                <a:latin typeface="Segoe UI Light"/>
                <a:cs typeface="Segoe UI Light"/>
              </a:rPr>
              <a:t>u</a:t>
            </a:r>
            <a:r>
              <a:rPr sz="3453" spc="-33" baseline="1066" dirty="0">
                <a:solidFill>
                  <a:srgbClr val="FFFFFF"/>
                </a:solidFill>
                <a:latin typeface="Segoe UI Light"/>
                <a:cs typeface="Segoe UI Light"/>
              </a:rPr>
              <a:t>b</a:t>
            </a:r>
            <a:r>
              <a:rPr sz="3453" baseline="1066" dirty="0">
                <a:solidFill>
                  <a:srgbClr val="FFFFFF"/>
                </a:solidFill>
                <a:latin typeface="Segoe UI Light"/>
                <a:cs typeface="Segoe UI Light"/>
              </a:rPr>
              <a:t>,</a:t>
            </a:r>
            <a:r>
              <a:rPr sz="3453" spc="200" baseline="1066" dirty="0">
                <a:solidFill>
                  <a:srgbClr val="FFFFFF"/>
                </a:solidFill>
                <a:latin typeface="Segoe UI Light"/>
                <a:cs typeface="Segoe UI Light"/>
              </a:rPr>
              <a:t> </a:t>
            </a:r>
            <a:r>
              <a:rPr sz="3453" baseline="1066" dirty="0">
                <a:solidFill>
                  <a:srgbClr val="FFFFFF"/>
                </a:solidFill>
                <a:latin typeface="Segoe UI Light"/>
                <a:cs typeface="Segoe UI Light"/>
              </a:rPr>
              <a:t>B</a:t>
            </a:r>
            <a:r>
              <a:rPr sz="3453" spc="14" baseline="1066" dirty="0">
                <a:solidFill>
                  <a:srgbClr val="FFFFFF"/>
                </a:solidFill>
                <a:latin typeface="Segoe UI Light"/>
                <a:cs typeface="Segoe UI Light"/>
              </a:rPr>
              <a:t>i</a:t>
            </a:r>
            <a:r>
              <a:rPr sz="3453" spc="9" baseline="1066" dirty="0">
                <a:solidFill>
                  <a:srgbClr val="FFFFFF"/>
                </a:solidFill>
                <a:latin typeface="Segoe UI Light"/>
                <a:cs typeface="Segoe UI Light"/>
              </a:rPr>
              <a:t>t</a:t>
            </a:r>
            <a:r>
              <a:rPr sz="3453" baseline="1066" dirty="0">
                <a:solidFill>
                  <a:srgbClr val="FFFFFF"/>
                </a:solidFill>
                <a:latin typeface="Segoe UI Light"/>
                <a:cs typeface="Segoe UI Light"/>
              </a:rPr>
              <a:t>B</a:t>
            </a:r>
            <a:r>
              <a:rPr sz="3453" spc="19" baseline="1066" dirty="0">
                <a:solidFill>
                  <a:srgbClr val="FFFFFF"/>
                </a:solidFill>
                <a:latin typeface="Segoe UI Light"/>
                <a:cs typeface="Segoe UI Light"/>
              </a:rPr>
              <a:t>ucke</a:t>
            </a:r>
            <a:r>
              <a:rPr sz="3453" spc="33" baseline="1066" dirty="0">
                <a:solidFill>
                  <a:srgbClr val="FFFFFF"/>
                </a:solidFill>
                <a:latin typeface="Segoe UI Light"/>
                <a:cs typeface="Segoe UI Light"/>
              </a:rPr>
              <a:t>t</a:t>
            </a:r>
            <a:r>
              <a:rPr sz="3453" baseline="1066" dirty="0">
                <a:solidFill>
                  <a:srgbClr val="FFFFFF"/>
                </a:solidFill>
                <a:latin typeface="Segoe UI Light"/>
                <a:cs typeface="Segoe UI Light"/>
              </a:rPr>
              <a:t>,</a:t>
            </a:r>
            <a:r>
              <a:rPr sz="3453" spc="4" baseline="1066" dirty="0">
                <a:solidFill>
                  <a:srgbClr val="FFFFFF"/>
                </a:solidFill>
                <a:latin typeface="Segoe UI Light"/>
                <a:cs typeface="Segoe UI Light"/>
              </a:rPr>
              <a:t> </a:t>
            </a:r>
            <a:r>
              <a:rPr sz="3453" spc="-68" baseline="1066" dirty="0">
                <a:solidFill>
                  <a:srgbClr val="FFFFFF"/>
                </a:solidFill>
                <a:latin typeface="Segoe UI Light"/>
                <a:cs typeface="Segoe UI Light"/>
              </a:rPr>
              <a:t>V</a:t>
            </a:r>
            <a:r>
              <a:rPr sz="3453" spc="-28" baseline="1066" dirty="0">
                <a:solidFill>
                  <a:srgbClr val="FFFFFF"/>
                </a:solidFill>
                <a:latin typeface="Segoe UI Light"/>
                <a:cs typeface="Segoe UI Light"/>
              </a:rPr>
              <a:t>S</a:t>
            </a:r>
            <a:r>
              <a:rPr sz="3453" baseline="1066" dirty="0">
                <a:solidFill>
                  <a:srgbClr val="FFFFFF"/>
                </a:solidFill>
                <a:latin typeface="Segoe UI Light"/>
                <a:cs typeface="Segoe UI Light"/>
              </a:rPr>
              <a:t>O</a:t>
            </a:r>
            <a:endParaRPr sz="2302" dirty="0">
              <a:latin typeface="Segoe UI Light"/>
              <a:cs typeface="Segoe UI Light"/>
            </a:endParaRPr>
          </a:p>
        </p:txBody>
      </p:sp>
      <p:sp>
        <p:nvSpPr>
          <p:cNvPr id="8" name="object 8"/>
          <p:cNvSpPr txBox="1"/>
          <p:nvPr/>
        </p:nvSpPr>
        <p:spPr>
          <a:xfrm>
            <a:off x="1539053" y="3788574"/>
            <a:ext cx="2609382" cy="760632"/>
          </a:xfrm>
          <a:prstGeom prst="rect">
            <a:avLst/>
          </a:prstGeom>
        </p:spPr>
        <p:txBody>
          <a:bodyPr wrap="square" lIns="0" tIns="0" rIns="0" bIns="0" rtlCol="0">
            <a:noAutofit/>
          </a:bodyPr>
          <a:lstStyle/>
          <a:p>
            <a:pPr marL="58400" marR="79054" algn="ctr">
              <a:lnSpc>
                <a:spcPts val="2567"/>
              </a:lnSpc>
              <a:spcBef>
                <a:spcPts val="128"/>
              </a:spcBef>
            </a:pPr>
            <a:r>
              <a:rPr sz="3453" spc="-38" baseline="1066" dirty="0">
                <a:solidFill>
                  <a:srgbClr val="FFFFFF"/>
                </a:solidFill>
                <a:latin typeface="Segoe UI Light"/>
                <a:cs typeface="Segoe UI Light"/>
              </a:rPr>
              <a:t>W</a:t>
            </a:r>
            <a:r>
              <a:rPr sz="3453" spc="19" baseline="1066" dirty="0">
                <a:solidFill>
                  <a:srgbClr val="FFFFFF"/>
                </a:solidFill>
                <a:latin typeface="Segoe UI Light"/>
                <a:cs typeface="Segoe UI Light"/>
              </a:rPr>
              <a:t>e</a:t>
            </a:r>
            <a:r>
              <a:rPr sz="3453" baseline="1066" dirty="0">
                <a:solidFill>
                  <a:srgbClr val="FFFFFF"/>
                </a:solidFill>
                <a:latin typeface="Segoe UI Light"/>
                <a:cs typeface="Segoe UI Light"/>
              </a:rPr>
              <a:t>b</a:t>
            </a:r>
            <a:r>
              <a:rPr sz="3453" spc="20" baseline="1066" dirty="0">
                <a:solidFill>
                  <a:srgbClr val="FFFFFF"/>
                </a:solidFill>
                <a:latin typeface="Segoe UI Light"/>
                <a:cs typeface="Segoe UI Light"/>
              </a:rPr>
              <a:t> </a:t>
            </a:r>
            <a:r>
              <a:rPr sz="3453" spc="-28" baseline="1066" dirty="0">
                <a:solidFill>
                  <a:srgbClr val="FFFFFF"/>
                </a:solidFill>
                <a:latin typeface="Segoe UI Light"/>
                <a:cs typeface="Segoe UI Light"/>
              </a:rPr>
              <a:t>a</a:t>
            </a:r>
            <a:r>
              <a:rPr sz="3453" spc="-38" baseline="1066" dirty="0">
                <a:solidFill>
                  <a:srgbClr val="FFFFFF"/>
                </a:solidFill>
                <a:latin typeface="Segoe UI Light"/>
                <a:cs typeface="Segoe UI Light"/>
              </a:rPr>
              <a:t>pp</a:t>
            </a:r>
            <a:r>
              <a:rPr sz="3453" baseline="1066" dirty="0">
                <a:solidFill>
                  <a:srgbClr val="FFFFFF"/>
                </a:solidFill>
                <a:latin typeface="Segoe UI Light"/>
                <a:cs typeface="Segoe UI Light"/>
              </a:rPr>
              <a:t>s</a:t>
            </a:r>
            <a:r>
              <a:rPr sz="3453" spc="270" baseline="1066" dirty="0">
                <a:solidFill>
                  <a:srgbClr val="FFFFFF"/>
                </a:solidFill>
                <a:latin typeface="Segoe UI Light"/>
                <a:cs typeface="Segoe UI Light"/>
              </a:rPr>
              <a:t> </a:t>
            </a:r>
            <a:r>
              <a:rPr sz="3453" baseline="1066" dirty="0">
                <a:solidFill>
                  <a:srgbClr val="FFFFFF"/>
                </a:solidFill>
                <a:latin typeface="Segoe UI Light"/>
                <a:cs typeface="Segoe UI Light"/>
              </a:rPr>
              <a:t>r</a:t>
            </a:r>
            <a:r>
              <a:rPr sz="3453" spc="24" baseline="1066" dirty="0">
                <a:solidFill>
                  <a:srgbClr val="FFFFFF"/>
                </a:solidFill>
                <a:latin typeface="Segoe UI Light"/>
                <a:cs typeface="Segoe UI Light"/>
              </a:rPr>
              <a:t>u</a:t>
            </a:r>
            <a:r>
              <a:rPr sz="3453" baseline="1066" dirty="0">
                <a:solidFill>
                  <a:srgbClr val="FFFFFF"/>
                </a:solidFill>
                <a:latin typeface="Segoe UI Light"/>
                <a:cs typeface="Segoe UI Light"/>
              </a:rPr>
              <a:t>n</a:t>
            </a:r>
            <a:r>
              <a:rPr sz="3453" spc="61" baseline="1066" dirty="0">
                <a:solidFill>
                  <a:srgbClr val="FFFFFF"/>
                </a:solidFill>
                <a:latin typeface="Segoe UI Light"/>
                <a:cs typeface="Segoe UI Light"/>
              </a:rPr>
              <a:t> </a:t>
            </a:r>
            <a:r>
              <a:rPr sz="3453" spc="-29" baseline="1066" dirty="0">
                <a:solidFill>
                  <a:srgbClr val="FFFFFF"/>
                </a:solidFill>
                <a:latin typeface="Segoe UI Light"/>
                <a:cs typeface="Segoe UI Light"/>
              </a:rPr>
              <a:t>a</a:t>
            </a:r>
            <a:r>
              <a:rPr sz="3453" spc="34" baseline="1066" dirty="0">
                <a:solidFill>
                  <a:srgbClr val="FFFFFF"/>
                </a:solidFill>
                <a:latin typeface="Segoe UI Light"/>
                <a:cs typeface="Segoe UI Light"/>
              </a:rPr>
              <a:t>s</a:t>
            </a:r>
            <a:r>
              <a:rPr sz="3453" spc="-10" baseline="1066" dirty="0">
                <a:solidFill>
                  <a:srgbClr val="FFFFFF"/>
                </a:solidFill>
                <a:latin typeface="Segoe UI Light"/>
                <a:cs typeface="Segoe UI Light"/>
              </a:rPr>
              <a:t>-</a:t>
            </a:r>
            <a:r>
              <a:rPr sz="3453" spc="15" baseline="1066" dirty="0">
                <a:solidFill>
                  <a:srgbClr val="FFFFFF"/>
                </a:solidFill>
                <a:latin typeface="Segoe UI Light"/>
                <a:cs typeface="Segoe UI Light"/>
              </a:rPr>
              <a:t>is</a:t>
            </a:r>
            <a:endParaRPr sz="2302" dirty="0">
              <a:latin typeface="Segoe UI Light"/>
              <a:cs typeface="Segoe UI Light"/>
            </a:endParaRPr>
          </a:p>
          <a:p>
            <a:pPr algn="ctr">
              <a:lnSpc>
                <a:spcPts val="3022"/>
              </a:lnSpc>
              <a:spcBef>
                <a:spcPts val="419"/>
              </a:spcBef>
            </a:pPr>
            <a:r>
              <a:rPr sz="3453" spc="19" baseline="-1066" dirty="0">
                <a:solidFill>
                  <a:srgbClr val="FFFFFF"/>
                </a:solidFill>
                <a:latin typeface="Segoe UI Light"/>
                <a:cs typeface="Segoe UI Light"/>
              </a:rPr>
              <a:t>n</a:t>
            </a:r>
            <a:r>
              <a:rPr sz="3453" baseline="-1066" dirty="0">
                <a:solidFill>
                  <a:srgbClr val="FFFFFF"/>
                </a:solidFill>
                <a:latin typeface="Segoe UI Light"/>
                <a:cs typeface="Segoe UI Light"/>
              </a:rPr>
              <a:t>o</a:t>
            </a:r>
            <a:r>
              <a:rPr sz="3453" spc="64" baseline="-1066" dirty="0">
                <a:solidFill>
                  <a:srgbClr val="FFFFFF"/>
                </a:solidFill>
                <a:latin typeface="Segoe UI Light"/>
                <a:cs typeface="Segoe UI Light"/>
              </a:rPr>
              <a:t> </a:t>
            </a:r>
            <a:r>
              <a:rPr sz="3453" spc="14" baseline="-1066" dirty="0">
                <a:solidFill>
                  <a:srgbClr val="FFFFFF"/>
                </a:solidFill>
                <a:latin typeface="Segoe UI Light"/>
                <a:cs typeface="Segoe UI Light"/>
              </a:rPr>
              <a:t>c</a:t>
            </a:r>
            <a:r>
              <a:rPr sz="3453" spc="19" baseline="-1066" dirty="0">
                <a:solidFill>
                  <a:srgbClr val="FFFFFF"/>
                </a:solidFill>
                <a:latin typeface="Segoe UI Light"/>
                <a:cs typeface="Segoe UI Light"/>
              </a:rPr>
              <a:t>h</a:t>
            </a:r>
            <a:r>
              <a:rPr sz="3453" spc="-24" baseline="-1066" dirty="0">
                <a:solidFill>
                  <a:srgbClr val="FFFFFF"/>
                </a:solidFill>
                <a:latin typeface="Segoe UI Light"/>
                <a:cs typeface="Segoe UI Light"/>
              </a:rPr>
              <a:t>a</a:t>
            </a:r>
            <a:r>
              <a:rPr sz="3453" spc="19" baseline="-1066" dirty="0">
                <a:solidFill>
                  <a:srgbClr val="FFFFFF"/>
                </a:solidFill>
                <a:latin typeface="Segoe UI Light"/>
                <a:cs typeface="Segoe UI Light"/>
              </a:rPr>
              <a:t>n</a:t>
            </a:r>
            <a:r>
              <a:rPr sz="3453" spc="-38" baseline="-1066" dirty="0">
                <a:solidFill>
                  <a:srgbClr val="FFFFFF"/>
                </a:solidFill>
                <a:latin typeface="Segoe UI Light"/>
                <a:cs typeface="Segoe UI Light"/>
              </a:rPr>
              <a:t>g</a:t>
            </a:r>
            <a:r>
              <a:rPr sz="3453" spc="19" baseline="-1066" dirty="0">
                <a:solidFill>
                  <a:srgbClr val="FFFFFF"/>
                </a:solidFill>
                <a:latin typeface="Segoe UI Light"/>
                <a:cs typeface="Segoe UI Light"/>
              </a:rPr>
              <a:t>e</a:t>
            </a:r>
            <a:r>
              <a:rPr sz="3453" baseline="-1066" dirty="0">
                <a:solidFill>
                  <a:srgbClr val="FFFFFF"/>
                </a:solidFill>
                <a:latin typeface="Segoe UI Light"/>
                <a:cs typeface="Segoe UI Light"/>
              </a:rPr>
              <a:t>s</a:t>
            </a:r>
            <a:r>
              <a:rPr sz="3453" spc="163" baseline="-1066" dirty="0">
                <a:solidFill>
                  <a:srgbClr val="FFFFFF"/>
                </a:solidFill>
                <a:latin typeface="Segoe UI Light"/>
                <a:cs typeface="Segoe UI Light"/>
              </a:rPr>
              <a:t> </a:t>
            </a:r>
            <a:r>
              <a:rPr sz="3453" spc="-63" baseline="-1066" dirty="0">
                <a:solidFill>
                  <a:srgbClr val="FFFFFF"/>
                </a:solidFill>
                <a:latin typeface="Segoe UI Light"/>
                <a:cs typeface="Segoe UI Light"/>
              </a:rPr>
              <a:t>r</a:t>
            </a:r>
            <a:r>
              <a:rPr sz="3453" spc="19" baseline="-1066" dirty="0">
                <a:solidFill>
                  <a:srgbClr val="FFFFFF"/>
                </a:solidFill>
                <a:latin typeface="Segoe UI Light"/>
                <a:cs typeface="Segoe UI Light"/>
              </a:rPr>
              <a:t>e</a:t>
            </a:r>
            <a:r>
              <a:rPr sz="3453" spc="-38" baseline="-1066" dirty="0">
                <a:solidFill>
                  <a:srgbClr val="FFFFFF"/>
                </a:solidFill>
                <a:latin typeface="Segoe UI Light"/>
                <a:cs typeface="Segoe UI Light"/>
              </a:rPr>
              <a:t>q</a:t>
            </a:r>
            <a:r>
              <a:rPr sz="3453" spc="19" baseline="-1066" dirty="0">
                <a:solidFill>
                  <a:srgbClr val="FFFFFF"/>
                </a:solidFill>
                <a:latin typeface="Segoe UI Light"/>
                <a:cs typeface="Segoe UI Light"/>
              </a:rPr>
              <a:t>u</a:t>
            </a:r>
            <a:r>
              <a:rPr sz="3453" spc="14" baseline="-1066" dirty="0">
                <a:solidFill>
                  <a:srgbClr val="FFFFFF"/>
                </a:solidFill>
                <a:latin typeface="Segoe UI Light"/>
                <a:cs typeface="Segoe UI Light"/>
              </a:rPr>
              <a:t>i</a:t>
            </a:r>
            <a:r>
              <a:rPr sz="3453" spc="-63" baseline="-1066" dirty="0">
                <a:solidFill>
                  <a:srgbClr val="FFFFFF"/>
                </a:solidFill>
                <a:latin typeface="Segoe UI Light"/>
                <a:cs typeface="Segoe UI Light"/>
              </a:rPr>
              <a:t>r</a:t>
            </a:r>
            <a:r>
              <a:rPr sz="3453" spc="19" baseline="-1066" dirty="0">
                <a:solidFill>
                  <a:srgbClr val="FFFFFF"/>
                </a:solidFill>
                <a:latin typeface="Segoe UI Light"/>
                <a:cs typeface="Segoe UI Light"/>
              </a:rPr>
              <a:t>e</a:t>
            </a:r>
            <a:r>
              <a:rPr sz="3453" baseline="-1066" dirty="0">
                <a:solidFill>
                  <a:srgbClr val="FFFFFF"/>
                </a:solidFill>
                <a:latin typeface="Segoe UI Light"/>
                <a:cs typeface="Segoe UI Light"/>
              </a:rPr>
              <a:t>d</a:t>
            </a:r>
            <a:endParaRPr sz="2302" dirty="0">
              <a:latin typeface="Segoe UI Light"/>
              <a:cs typeface="Segoe UI Light"/>
            </a:endParaRPr>
          </a:p>
        </p:txBody>
      </p:sp>
      <p:sp>
        <p:nvSpPr>
          <p:cNvPr id="7" name="object 7"/>
          <p:cNvSpPr txBox="1"/>
          <p:nvPr/>
        </p:nvSpPr>
        <p:spPr>
          <a:xfrm>
            <a:off x="5627604" y="4376324"/>
            <a:ext cx="172989" cy="321097"/>
          </a:xfrm>
          <a:prstGeom prst="rect">
            <a:avLst/>
          </a:prstGeom>
        </p:spPr>
        <p:txBody>
          <a:bodyPr wrap="square" lIns="0" tIns="0" rIns="0" bIns="0" rtlCol="0">
            <a:noAutofit/>
          </a:bodyPr>
          <a:lstStyle/>
          <a:p>
            <a:pPr marL="12441">
              <a:lnSpc>
                <a:spcPts val="2473"/>
              </a:lnSpc>
              <a:spcBef>
                <a:spcPts val="123"/>
              </a:spcBef>
            </a:pPr>
            <a:r>
              <a:rPr sz="2302" dirty="0">
                <a:solidFill>
                  <a:srgbClr val="FFFFFF"/>
                </a:solidFill>
                <a:latin typeface="Arial"/>
                <a:cs typeface="Arial"/>
              </a:rPr>
              <a:t>•</a:t>
            </a:r>
            <a:endParaRPr sz="2302">
              <a:latin typeface="Arial"/>
              <a:cs typeface="Arial"/>
            </a:endParaRPr>
          </a:p>
        </p:txBody>
      </p:sp>
      <p:sp>
        <p:nvSpPr>
          <p:cNvPr id="6" name="object 6"/>
          <p:cNvSpPr txBox="1"/>
          <p:nvPr/>
        </p:nvSpPr>
        <p:spPr>
          <a:xfrm>
            <a:off x="5959027" y="4376030"/>
            <a:ext cx="4858895" cy="321097"/>
          </a:xfrm>
          <a:prstGeom prst="rect">
            <a:avLst/>
          </a:prstGeom>
        </p:spPr>
        <p:txBody>
          <a:bodyPr wrap="square" lIns="0" tIns="0" rIns="0" bIns="0" rtlCol="0">
            <a:noAutofit/>
          </a:bodyPr>
          <a:lstStyle/>
          <a:p>
            <a:pPr marL="12441">
              <a:lnSpc>
                <a:spcPts val="2527"/>
              </a:lnSpc>
              <a:spcBef>
                <a:spcPts val="126"/>
              </a:spcBef>
            </a:pPr>
            <a:r>
              <a:rPr sz="3453" spc="14" baseline="1066" dirty="0">
                <a:solidFill>
                  <a:srgbClr val="FFFFFF"/>
                </a:solidFill>
                <a:latin typeface="Segoe UI Light"/>
                <a:cs typeface="Segoe UI Light"/>
              </a:rPr>
              <a:t>A</a:t>
            </a:r>
            <a:r>
              <a:rPr sz="3453" spc="19" baseline="1066" dirty="0">
                <a:solidFill>
                  <a:srgbClr val="FFFFFF"/>
                </a:solidFill>
                <a:latin typeface="Segoe UI Light"/>
                <a:cs typeface="Segoe UI Light"/>
              </a:rPr>
              <a:t>u</a:t>
            </a:r>
            <a:r>
              <a:rPr sz="3453" spc="9" baseline="1066" dirty="0">
                <a:solidFill>
                  <a:srgbClr val="FFFFFF"/>
                </a:solidFill>
                <a:latin typeface="Segoe UI Light"/>
                <a:cs typeface="Segoe UI Light"/>
              </a:rPr>
              <a:t>t</a:t>
            </a:r>
            <a:r>
              <a:rPr sz="3453" spc="38" baseline="1066" dirty="0">
                <a:solidFill>
                  <a:srgbClr val="FFFFFF"/>
                </a:solidFill>
                <a:latin typeface="Segoe UI Light"/>
                <a:cs typeface="Segoe UI Light"/>
              </a:rPr>
              <a:t>o</a:t>
            </a:r>
            <a:r>
              <a:rPr sz="3453" spc="-9" baseline="1066" dirty="0">
                <a:solidFill>
                  <a:srgbClr val="FFFFFF"/>
                </a:solidFill>
                <a:latin typeface="Segoe UI Light"/>
                <a:cs typeface="Segoe UI Light"/>
              </a:rPr>
              <a:t>-</a:t>
            </a:r>
            <a:r>
              <a:rPr sz="3453" spc="14" baseline="1066" dirty="0">
                <a:solidFill>
                  <a:srgbClr val="FFFFFF"/>
                </a:solidFill>
                <a:latin typeface="Segoe UI Light"/>
                <a:cs typeface="Segoe UI Light"/>
              </a:rPr>
              <a:t>l</a:t>
            </a:r>
            <a:r>
              <a:rPr sz="3453" spc="33" baseline="1066" dirty="0">
                <a:solidFill>
                  <a:srgbClr val="FFFFFF"/>
                </a:solidFill>
                <a:latin typeface="Segoe UI Light"/>
                <a:cs typeface="Segoe UI Light"/>
              </a:rPr>
              <a:t>o</a:t>
            </a:r>
            <a:r>
              <a:rPr sz="3453" spc="-24" baseline="1066" dirty="0">
                <a:solidFill>
                  <a:srgbClr val="FFFFFF"/>
                </a:solidFill>
                <a:latin typeface="Segoe UI Light"/>
                <a:cs typeface="Segoe UI Light"/>
              </a:rPr>
              <a:t>a</a:t>
            </a:r>
            <a:r>
              <a:rPr sz="3453" baseline="1066" dirty="0">
                <a:solidFill>
                  <a:srgbClr val="FFFFFF"/>
                </a:solidFill>
                <a:latin typeface="Segoe UI Light"/>
                <a:cs typeface="Segoe UI Light"/>
              </a:rPr>
              <a:t>d</a:t>
            </a:r>
            <a:r>
              <a:rPr sz="3453" spc="136" baseline="1066" dirty="0">
                <a:solidFill>
                  <a:srgbClr val="FFFFFF"/>
                </a:solidFill>
                <a:latin typeface="Segoe UI Light"/>
                <a:cs typeface="Segoe UI Light"/>
              </a:rPr>
              <a:t> </a:t>
            </a:r>
            <a:r>
              <a:rPr sz="3453" spc="-33" baseline="1066" dirty="0">
                <a:solidFill>
                  <a:srgbClr val="FFFFFF"/>
                </a:solidFill>
                <a:latin typeface="Segoe UI Light"/>
                <a:cs typeface="Segoe UI Light"/>
              </a:rPr>
              <a:t>b</a:t>
            </a:r>
            <a:r>
              <a:rPr sz="3453" spc="-24" baseline="1066" dirty="0">
                <a:solidFill>
                  <a:srgbClr val="FFFFFF"/>
                </a:solidFill>
                <a:latin typeface="Segoe UI Light"/>
                <a:cs typeface="Segoe UI Light"/>
              </a:rPr>
              <a:t>a</a:t>
            </a:r>
            <a:r>
              <a:rPr sz="3453" spc="14" baseline="1066" dirty="0">
                <a:solidFill>
                  <a:srgbClr val="FFFFFF"/>
                </a:solidFill>
                <a:latin typeface="Segoe UI Light"/>
                <a:cs typeface="Segoe UI Light"/>
              </a:rPr>
              <a:t>l</a:t>
            </a:r>
            <a:r>
              <a:rPr sz="3453" spc="-24" baseline="1066" dirty="0">
                <a:solidFill>
                  <a:srgbClr val="FFFFFF"/>
                </a:solidFill>
                <a:latin typeface="Segoe UI Light"/>
                <a:cs typeface="Segoe UI Light"/>
              </a:rPr>
              <a:t>a</a:t>
            </a:r>
            <a:r>
              <a:rPr sz="3453" spc="19" baseline="1066" dirty="0">
                <a:solidFill>
                  <a:srgbClr val="FFFFFF"/>
                </a:solidFill>
                <a:latin typeface="Segoe UI Light"/>
                <a:cs typeface="Segoe UI Light"/>
              </a:rPr>
              <a:t>nce</a:t>
            </a:r>
            <a:r>
              <a:rPr sz="3453" baseline="1066" dirty="0">
                <a:solidFill>
                  <a:srgbClr val="FFFFFF"/>
                </a:solidFill>
                <a:latin typeface="Segoe UI Light"/>
                <a:cs typeface="Segoe UI Light"/>
              </a:rPr>
              <a:t>,</a:t>
            </a:r>
            <a:r>
              <a:rPr sz="3453" spc="148" baseline="1066" dirty="0">
                <a:solidFill>
                  <a:srgbClr val="FFFFFF"/>
                </a:solidFill>
                <a:latin typeface="Segoe UI Light"/>
                <a:cs typeface="Segoe UI Light"/>
              </a:rPr>
              <a:t> </a:t>
            </a:r>
            <a:r>
              <a:rPr sz="3453" spc="14" baseline="1066" dirty="0">
                <a:solidFill>
                  <a:srgbClr val="FFFFFF"/>
                </a:solidFill>
                <a:latin typeface="Segoe UI Light"/>
                <a:cs typeface="Segoe UI Light"/>
              </a:rPr>
              <a:t>A</a:t>
            </a:r>
            <a:r>
              <a:rPr sz="3453" spc="19" baseline="1066" dirty="0">
                <a:solidFill>
                  <a:srgbClr val="FFFFFF"/>
                </a:solidFill>
                <a:latin typeface="Segoe UI Light"/>
                <a:cs typeface="Segoe UI Light"/>
              </a:rPr>
              <a:t>u</a:t>
            </a:r>
            <a:r>
              <a:rPr sz="3453" spc="9" baseline="1066" dirty="0">
                <a:solidFill>
                  <a:srgbClr val="FFFFFF"/>
                </a:solidFill>
                <a:latin typeface="Segoe UI Light"/>
                <a:cs typeface="Segoe UI Light"/>
              </a:rPr>
              <a:t>t</a:t>
            </a:r>
            <a:r>
              <a:rPr sz="3453" spc="33" baseline="1066" dirty="0">
                <a:solidFill>
                  <a:srgbClr val="FFFFFF"/>
                </a:solidFill>
                <a:latin typeface="Segoe UI Light"/>
                <a:cs typeface="Segoe UI Light"/>
              </a:rPr>
              <a:t>o</a:t>
            </a:r>
            <a:r>
              <a:rPr sz="3453" spc="9" baseline="1066" dirty="0">
                <a:solidFill>
                  <a:srgbClr val="FFFFFF"/>
                </a:solidFill>
                <a:latin typeface="Segoe UI Light"/>
                <a:cs typeface="Segoe UI Light"/>
              </a:rPr>
              <a:t>s</a:t>
            </a:r>
            <a:r>
              <a:rPr sz="3453" spc="24" baseline="1066" dirty="0">
                <a:solidFill>
                  <a:srgbClr val="FFFFFF"/>
                </a:solidFill>
                <a:latin typeface="Segoe UI Light"/>
                <a:cs typeface="Segoe UI Light"/>
              </a:rPr>
              <a:t>c</a:t>
            </a:r>
            <a:r>
              <a:rPr sz="3453" spc="-19" baseline="1066" dirty="0">
                <a:solidFill>
                  <a:srgbClr val="FFFFFF"/>
                </a:solidFill>
                <a:latin typeface="Segoe UI Light"/>
                <a:cs typeface="Segoe UI Light"/>
              </a:rPr>
              <a:t>a</a:t>
            </a:r>
            <a:r>
              <a:rPr sz="3453" spc="14" baseline="1066" dirty="0">
                <a:solidFill>
                  <a:srgbClr val="FFFFFF"/>
                </a:solidFill>
                <a:latin typeface="Segoe UI Light"/>
                <a:cs typeface="Segoe UI Light"/>
              </a:rPr>
              <a:t>l</a:t>
            </a:r>
            <a:r>
              <a:rPr sz="3453" spc="28" baseline="1066" dirty="0">
                <a:solidFill>
                  <a:srgbClr val="FFFFFF"/>
                </a:solidFill>
                <a:latin typeface="Segoe UI Light"/>
                <a:cs typeface="Segoe UI Light"/>
              </a:rPr>
              <a:t>e</a:t>
            </a:r>
            <a:r>
              <a:rPr sz="3453" baseline="1066" dirty="0">
                <a:solidFill>
                  <a:srgbClr val="FFFFFF"/>
                </a:solidFill>
                <a:latin typeface="Segoe UI Light"/>
                <a:cs typeface="Segoe UI Light"/>
              </a:rPr>
              <a:t>,</a:t>
            </a:r>
            <a:r>
              <a:rPr sz="3453" spc="83" baseline="1066" dirty="0">
                <a:solidFill>
                  <a:srgbClr val="FFFFFF"/>
                </a:solidFill>
                <a:latin typeface="Segoe UI Light"/>
                <a:cs typeface="Segoe UI Light"/>
              </a:rPr>
              <a:t> </a:t>
            </a:r>
            <a:r>
              <a:rPr sz="3453" spc="-9" baseline="1066" dirty="0">
                <a:solidFill>
                  <a:srgbClr val="FFFFFF"/>
                </a:solidFill>
                <a:latin typeface="Segoe UI Light"/>
                <a:cs typeface="Segoe UI Light"/>
              </a:rPr>
              <a:t>G</a:t>
            </a:r>
            <a:r>
              <a:rPr sz="3453" spc="19" baseline="1066" dirty="0">
                <a:solidFill>
                  <a:srgbClr val="FFFFFF"/>
                </a:solidFill>
                <a:latin typeface="Segoe UI Light"/>
                <a:cs typeface="Segoe UI Light"/>
              </a:rPr>
              <a:t>e</a:t>
            </a:r>
            <a:r>
              <a:rPr sz="3453" baseline="1066" dirty="0">
                <a:solidFill>
                  <a:srgbClr val="FFFFFF"/>
                </a:solidFill>
                <a:latin typeface="Segoe UI Light"/>
                <a:cs typeface="Segoe UI Light"/>
              </a:rPr>
              <a:t>o</a:t>
            </a:r>
            <a:r>
              <a:rPr sz="3453" spc="83" baseline="1066" dirty="0">
                <a:solidFill>
                  <a:srgbClr val="FFFFFF"/>
                </a:solidFill>
                <a:latin typeface="Segoe UI Light"/>
                <a:cs typeface="Segoe UI Light"/>
              </a:rPr>
              <a:t> </a:t>
            </a:r>
            <a:r>
              <a:rPr sz="3453" spc="-24" baseline="1066" dirty="0">
                <a:solidFill>
                  <a:srgbClr val="FFFFFF"/>
                </a:solidFill>
                <a:latin typeface="Segoe UI Light"/>
                <a:cs typeface="Segoe UI Light"/>
              </a:rPr>
              <a:t>D</a:t>
            </a:r>
            <a:r>
              <a:rPr sz="3453" baseline="1066" dirty="0">
                <a:solidFill>
                  <a:srgbClr val="FFFFFF"/>
                </a:solidFill>
                <a:latin typeface="Segoe UI Light"/>
                <a:cs typeface="Segoe UI Light"/>
              </a:rPr>
              <a:t>R</a:t>
            </a:r>
            <a:endParaRPr sz="2302">
              <a:latin typeface="Segoe UI Light"/>
              <a:cs typeface="Segoe UI Light"/>
            </a:endParaRPr>
          </a:p>
        </p:txBody>
      </p:sp>
      <p:sp>
        <p:nvSpPr>
          <p:cNvPr id="5" name="object 5"/>
          <p:cNvSpPr txBox="1"/>
          <p:nvPr/>
        </p:nvSpPr>
        <p:spPr>
          <a:xfrm>
            <a:off x="5627604" y="5040166"/>
            <a:ext cx="172989" cy="321097"/>
          </a:xfrm>
          <a:prstGeom prst="rect">
            <a:avLst/>
          </a:prstGeom>
        </p:spPr>
        <p:txBody>
          <a:bodyPr wrap="square" lIns="0" tIns="0" rIns="0" bIns="0" rtlCol="0">
            <a:noAutofit/>
          </a:bodyPr>
          <a:lstStyle/>
          <a:p>
            <a:pPr marL="12441">
              <a:lnSpc>
                <a:spcPts val="2473"/>
              </a:lnSpc>
              <a:spcBef>
                <a:spcPts val="123"/>
              </a:spcBef>
            </a:pPr>
            <a:r>
              <a:rPr sz="2302" dirty="0">
                <a:solidFill>
                  <a:srgbClr val="FFFFFF"/>
                </a:solidFill>
                <a:latin typeface="Arial"/>
                <a:cs typeface="Arial"/>
              </a:rPr>
              <a:t>•</a:t>
            </a:r>
            <a:endParaRPr sz="2302">
              <a:latin typeface="Arial"/>
              <a:cs typeface="Arial"/>
            </a:endParaRPr>
          </a:p>
        </p:txBody>
      </p:sp>
      <p:sp>
        <p:nvSpPr>
          <p:cNvPr id="4" name="object 4"/>
          <p:cNvSpPr txBox="1"/>
          <p:nvPr/>
        </p:nvSpPr>
        <p:spPr>
          <a:xfrm>
            <a:off x="5959027" y="5039872"/>
            <a:ext cx="5382592" cy="321097"/>
          </a:xfrm>
          <a:prstGeom prst="rect">
            <a:avLst/>
          </a:prstGeom>
        </p:spPr>
        <p:txBody>
          <a:bodyPr wrap="square" lIns="0" tIns="0" rIns="0" bIns="0" rtlCol="0">
            <a:noAutofit/>
          </a:bodyPr>
          <a:lstStyle/>
          <a:p>
            <a:pPr marL="12441">
              <a:lnSpc>
                <a:spcPts val="2527"/>
              </a:lnSpc>
              <a:spcBef>
                <a:spcPts val="126"/>
              </a:spcBef>
            </a:pPr>
            <a:r>
              <a:rPr sz="3453" baseline="1066" dirty="0">
                <a:solidFill>
                  <a:srgbClr val="FFFFFF"/>
                </a:solidFill>
                <a:latin typeface="Segoe UI Light"/>
                <a:cs typeface="Segoe UI Light"/>
              </a:rPr>
              <a:t>V</a:t>
            </a:r>
            <a:r>
              <a:rPr sz="3453" spc="19" baseline="1066" dirty="0">
                <a:solidFill>
                  <a:srgbClr val="FFFFFF"/>
                </a:solidFill>
                <a:latin typeface="Segoe UI Light"/>
                <a:cs typeface="Segoe UI Light"/>
              </a:rPr>
              <a:t>i</a:t>
            </a:r>
            <a:r>
              <a:rPr sz="3453" spc="77" baseline="1066" dirty="0">
                <a:solidFill>
                  <a:srgbClr val="FFFFFF"/>
                </a:solidFill>
                <a:latin typeface="Segoe UI Light"/>
                <a:cs typeface="Segoe UI Light"/>
              </a:rPr>
              <a:t>r</a:t>
            </a:r>
            <a:r>
              <a:rPr sz="3453" spc="9" baseline="1066" dirty="0">
                <a:solidFill>
                  <a:srgbClr val="FFFFFF"/>
                </a:solidFill>
                <a:latin typeface="Segoe UI Light"/>
                <a:cs typeface="Segoe UI Light"/>
              </a:rPr>
              <a:t>t</a:t>
            </a:r>
            <a:r>
              <a:rPr sz="3453" spc="19" baseline="1066" dirty="0">
                <a:solidFill>
                  <a:srgbClr val="FFFFFF"/>
                </a:solidFill>
                <a:latin typeface="Segoe UI Light"/>
                <a:cs typeface="Segoe UI Light"/>
              </a:rPr>
              <a:t>u</a:t>
            </a:r>
            <a:r>
              <a:rPr sz="3453" spc="-19" baseline="1066" dirty="0">
                <a:solidFill>
                  <a:srgbClr val="FFFFFF"/>
                </a:solidFill>
                <a:latin typeface="Segoe UI Light"/>
                <a:cs typeface="Segoe UI Light"/>
              </a:rPr>
              <a:t>a</a:t>
            </a:r>
            <a:r>
              <a:rPr sz="3453" baseline="1066" dirty="0">
                <a:solidFill>
                  <a:srgbClr val="FFFFFF"/>
                </a:solidFill>
                <a:latin typeface="Segoe UI Light"/>
                <a:cs typeface="Segoe UI Light"/>
              </a:rPr>
              <a:t>l</a:t>
            </a:r>
            <a:r>
              <a:rPr sz="3453" spc="154" baseline="1066" dirty="0">
                <a:solidFill>
                  <a:srgbClr val="FFFFFF"/>
                </a:solidFill>
                <a:latin typeface="Segoe UI Light"/>
                <a:cs typeface="Segoe UI Light"/>
              </a:rPr>
              <a:t> </a:t>
            </a:r>
            <a:r>
              <a:rPr sz="3453" spc="19" baseline="1066" dirty="0">
                <a:solidFill>
                  <a:srgbClr val="FFFFFF"/>
                </a:solidFill>
                <a:latin typeface="Segoe UI Light"/>
                <a:cs typeface="Segoe UI Light"/>
              </a:rPr>
              <a:t>ne</a:t>
            </a:r>
            <a:r>
              <a:rPr sz="3453" spc="9" baseline="1066" dirty="0">
                <a:solidFill>
                  <a:srgbClr val="FFFFFF"/>
                </a:solidFill>
                <a:latin typeface="Segoe UI Light"/>
                <a:cs typeface="Segoe UI Light"/>
              </a:rPr>
              <a:t>t</a:t>
            </a:r>
            <a:r>
              <a:rPr sz="3453" spc="-24" baseline="1066" dirty="0">
                <a:solidFill>
                  <a:srgbClr val="FFFFFF"/>
                </a:solidFill>
                <a:latin typeface="Segoe UI Light"/>
                <a:cs typeface="Segoe UI Light"/>
              </a:rPr>
              <a:t>w</a:t>
            </a:r>
            <a:r>
              <a:rPr sz="3453" spc="33" baseline="1066" dirty="0">
                <a:solidFill>
                  <a:srgbClr val="FFFFFF"/>
                </a:solidFill>
                <a:latin typeface="Segoe UI Light"/>
                <a:cs typeface="Segoe UI Light"/>
              </a:rPr>
              <a:t>o</a:t>
            </a:r>
            <a:r>
              <a:rPr sz="3453" spc="4" baseline="1066" dirty="0">
                <a:solidFill>
                  <a:srgbClr val="FFFFFF"/>
                </a:solidFill>
                <a:latin typeface="Segoe UI Light"/>
                <a:cs typeface="Segoe UI Light"/>
              </a:rPr>
              <a:t>r</a:t>
            </a:r>
            <a:r>
              <a:rPr sz="3453" spc="24" baseline="1066" dirty="0">
                <a:solidFill>
                  <a:srgbClr val="FFFFFF"/>
                </a:solidFill>
                <a:latin typeface="Segoe UI Light"/>
                <a:cs typeface="Segoe UI Light"/>
              </a:rPr>
              <a:t>k</a:t>
            </a:r>
            <a:r>
              <a:rPr sz="3453" spc="14" baseline="1066" dirty="0">
                <a:solidFill>
                  <a:srgbClr val="FFFFFF"/>
                </a:solidFill>
                <a:latin typeface="Segoe UI Light"/>
                <a:cs typeface="Segoe UI Light"/>
              </a:rPr>
              <a:t>i</a:t>
            </a:r>
            <a:r>
              <a:rPr sz="3453" spc="19" baseline="1066" dirty="0">
                <a:solidFill>
                  <a:srgbClr val="FFFFFF"/>
                </a:solidFill>
                <a:latin typeface="Segoe UI Light"/>
                <a:cs typeface="Segoe UI Light"/>
              </a:rPr>
              <a:t>n</a:t>
            </a:r>
            <a:r>
              <a:rPr sz="3453" baseline="1066" dirty="0">
                <a:solidFill>
                  <a:srgbClr val="FFFFFF"/>
                </a:solidFill>
                <a:latin typeface="Segoe UI Light"/>
                <a:cs typeface="Segoe UI Light"/>
              </a:rPr>
              <a:t>g</a:t>
            </a:r>
            <a:r>
              <a:rPr sz="3453" spc="82" baseline="1066" dirty="0">
                <a:solidFill>
                  <a:srgbClr val="FFFFFF"/>
                </a:solidFill>
                <a:latin typeface="Segoe UI Light"/>
                <a:cs typeface="Segoe UI Light"/>
              </a:rPr>
              <a:t> </a:t>
            </a:r>
            <a:r>
              <a:rPr sz="3453" spc="-24" baseline="1066" dirty="0">
                <a:solidFill>
                  <a:srgbClr val="FFFFFF"/>
                </a:solidFill>
                <a:latin typeface="Segoe UI Light"/>
                <a:cs typeface="Segoe UI Light"/>
              </a:rPr>
              <a:t>a</a:t>
            </a:r>
            <a:r>
              <a:rPr sz="3453" spc="19" baseline="1066" dirty="0">
                <a:solidFill>
                  <a:srgbClr val="FFFFFF"/>
                </a:solidFill>
                <a:latin typeface="Segoe UI Light"/>
                <a:cs typeface="Segoe UI Light"/>
              </a:rPr>
              <a:t>n</a:t>
            </a:r>
            <a:r>
              <a:rPr sz="3453" baseline="1066" dirty="0">
                <a:solidFill>
                  <a:srgbClr val="FFFFFF"/>
                </a:solidFill>
                <a:latin typeface="Segoe UI Light"/>
                <a:cs typeface="Segoe UI Light"/>
              </a:rPr>
              <a:t>d</a:t>
            </a:r>
            <a:r>
              <a:rPr sz="3453" spc="75" baseline="1066" dirty="0">
                <a:solidFill>
                  <a:srgbClr val="FFFFFF"/>
                </a:solidFill>
                <a:latin typeface="Segoe UI Light"/>
                <a:cs typeface="Segoe UI Light"/>
              </a:rPr>
              <a:t> </a:t>
            </a:r>
            <a:r>
              <a:rPr sz="3453" spc="19" baseline="1066" dirty="0">
                <a:solidFill>
                  <a:srgbClr val="FFFFFF"/>
                </a:solidFill>
                <a:latin typeface="Segoe UI Light"/>
                <a:cs typeface="Segoe UI Light"/>
              </a:rPr>
              <a:t>h</a:t>
            </a:r>
            <a:r>
              <a:rPr sz="3453" baseline="1066" dirty="0">
                <a:solidFill>
                  <a:srgbClr val="FFFFFF"/>
                </a:solidFill>
                <a:latin typeface="Segoe UI Light"/>
                <a:cs typeface="Segoe UI Light"/>
              </a:rPr>
              <a:t>y</a:t>
            </a:r>
            <a:r>
              <a:rPr sz="3453" spc="-28" baseline="1066" dirty="0">
                <a:solidFill>
                  <a:srgbClr val="FFFFFF"/>
                </a:solidFill>
                <a:latin typeface="Segoe UI Light"/>
                <a:cs typeface="Segoe UI Light"/>
              </a:rPr>
              <a:t>b</a:t>
            </a:r>
            <a:r>
              <a:rPr sz="3453" spc="4" baseline="1066" dirty="0">
                <a:solidFill>
                  <a:srgbClr val="FFFFFF"/>
                </a:solidFill>
                <a:latin typeface="Segoe UI Light"/>
                <a:cs typeface="Segoe UI Light"/>
              </a:rPr>
              <a:t>r</a:t>
            </a:r>
            <a:r>
              <a:rPr sz="3453" spc="14" baseline="1066" dirty="0">
                <a:solidFill>
                  <a:srgbClr val="FFFFFF"/>
                </a:solidFill>
                <a:latin typeface="Segoe UI Light"/>
                <a:cs typeface="Segoe UI Light"/>
              </a:rPr>
              <a:t>i</a:t>
            </a:r>
            <a:r>
              <a:rPr sz="3453" baseline="1066" dirty="0">
                <a:solidFill>
                  <a:srgbClr val="FFFFFF"/>
                </a:solidFill>
                <a:latin typeface="Segoe UI Light"/>
                <a:cs typeface="Segoe UI Light"/>
              </a:rPr>
              <a:t>d</a:t>
            </a:r>
            <a:r>
              <a:rPr sz="3453" spc="173" baseline="1066" dirty="0">
                <a:solidFill>
                  <a:srgbClr val="FFFFFF"/>
                </a:solidFill>
                <a:latin typeface="Segoe UI Light"/>
                <a:cs typeface="Segoe UI Light"/>
              </a:rPr>
              <a:t> </a:t>
            </a:r>
            <a:r>
              <a:rPr sz="3453" spc="24" baseline="1066" dirty="0">
                <a:solidFill>
                  <a:srgbClr val="FFFFFF"/>
                </a:solidFill>
                <a:latin typeface="Segoe UI Light"/>
                <a:cs typeface="Segoe UI Light"/>
              </a:rPr>
              <a:t>c</a:t>
            </a:r>
            <a:r>
              <a:rPr sz="3453" spc="33" baseline="1066" dirty="0">
                <a:solidFill>
                  <a:srgbClr val="FFFFFF"/>
                </a:solidFill>
                <a:latin typeface="Segoe UI Light"/>
                <a:cs typeface="Segoe UI Light"/>
              </a:rPr>
              <a:t>o</a:t>
            </a:r>
            <a:r>
              <a:rPr sz="3453" spc="19" baseline="1066" dirty="0">
                <a:solidFill>
                  <a:srgbClr val="FFFFFF"/>
                </a:solidFill>
                <a:latin typeface="Segoe UI Light"/>
                <a:cs typeface="Segoe UI Light"/>
              </a:rPr>
              <a:t>nne</a:t>
            </a:r>
            <a:r>
              <a:rPr sz="3453" spc="24" baseline="1066" dirty="0">
                <a:solidFill>
                  <a:srgbClr val="FFFFFF"/>
                </a:solidFill>
                <a:latin typeface="Segoe UI Light"/>
                <a:cs typeface="Segoe UI Light"/>
              </a:rPr>
              <a:t>c</a:t>
            </a:r>
            <a:r>
              <a:rPr sz="3453" spc="9" baseline="1066" dirty="0">
                <a:solidFill>
                  <a:srgbClr val="FFFFFF"/>
                </a:solidFill>
                <a:latin typeface="Segoe UI Light"/>
                <a:cs typeface="Segoe UI Light"/>
              </a:rPr>
              <a:t>t</a:t>
            </a:r>
            <a:r>
              <a:rPr sz="3453" spc="14" baseline="1066" dirty="0">
                <a:solidFill>
                  <a:srgbClr val="FFFFFF"/>
                </a:solidFill>
                <a:latin typeface="Segoe UI Light"/>
                <a:cs typeface="Segoe UI Light"/>
              </a:rPr>
              <a:t>i</a:t>
            </a:r>
            <a:r>
              <a:rPr sz="3453" spc="33" baseline="1066" dirty="0">
                <a:solidFill>
                  <a:srgbClr val="FFFFFF"/>
                </a:solidFill>
                <a:latin typeface="Segoe UI Light"/>
                <a:cs typeface="Segoe UI Light"/>
              </a:rPr>
              <a:t>o</a:t>
            </a:r>
            <a:r>
              <a:rPr sz="3453" spc="19" baseline="1066" dirty="0">
                <a:solidFill>
                  <a:srgbClr val="FFFFFF"/>
                </a:solidFill>
                <a:latin typeface="Segoe UI Light"/>
                <a:cs typeface="Segoe UI Light"/>
              </a:rPr>
              <a:t>n</a:t>
            </a:r>
            <a:r>
              <a:rPr sz="3453" baseline="1066" dirty="0">
                <a:solidFill>
                  <a:srgbClr val="FFFFFF"/>
                </a:solidFill>
                <a:latin typeface="Segoe UI Light"/>
                <a:cs typeface="Segoe UI Light"/>
              </a:rPr>
              <a:t>s</a:t>
            </a:r>
            <a:endParaRPr sz="2302" dirty="0">
              <a:latin typeface="Segoe UI Light"/>
              <a:cs typeface="Segoe UI Light"/>
            </a:endParaRPr>
          </a:p>
        </p:txBody>
      </p:sp>
      <p:sp>
        <p:nvSpPr>
          <p:cNvPr id="3" name="object 3"/>
          <p:cNvSpPr txBox="1"/>
          <p:nvPr/>
        </p:nvSpPr>
        <p:spPr>
          <a:xfrm>
            <a:off x="5627604" y="5694939"/>
            <a:ext cx="172989" cy="321097"/>
          </a:xfrm>
          <a:prstGeom prst="rect">
            <a:avLst/>
          </a:prstGeom>
        </p:spPr>
        <p:txBody>
          <a:bodyPr wrap="square" lIns="0" tIns="0" rIns="0" bIns="0" rtlCol="0">
            <a:noAutofit/>
          </a:bodyPr>
          <a:lstStyle/>
          <a:p>
            <a:pPr marL="12441">
              <a:lnSpc>
                <a:spcPts val="2473"/>
              </a:lnSpc>
              <a:spcBef>
                <a:spcPts val="123"/>
              </a:spcBef>
            </a:pPr>
            <a:r>
              <a:rPr sz="2302" dirty="0">
                <a:solidFill>
                  <a:srgbClr val="FFFFFF"/>
                </a:solidFill>
                <a:latin typeface="Arial"/>
                <a:cs typeface="Arial"/>
              </a:rPr>
              <a:t>•</a:t>
            </a:r>
            <a:endParaRPr sz="2302">
              <a:latin typeface="Arial"/>
              <a:cs typeface="Arial"/>
            </a:endParaRPr>
          </a:p>
        </p:txBody>
      </p:sp>
      <p:sp>
        <p:nvSpPr>
          <p:cNvPr id="2" name="object 2"/>
          <p:cNvSpPr txBox="1"/>
          <p:nvPr/>
        </p:nvSpPr>
        <p:spPr>
          <a:xfrm>
            <a:off x="5959027" y="5694645"/>
            <a:ext cx="4191508" cy="321097"/>
          </a:xfrm>
          <a:prstGeom prst="rect">
            <a:avLst/>
          </a:prstGeom>
        </p:spPr>
        <p:txBody>
          <a:bodyPr wrap="square" lIns="0" tIns="0" rIns="0" bIns="0" rtlCol="0">
            <a:noAutofit/>
          </a:bodyPr>
          <a:lstStyle/>
          <a:p>
            <a:pPr marL="12441">
              <a:lnSpc>
                <a:spcPts val="2527"/>
              </a:lnSpc>
              <a:spcBef>
                <a:spcPts val="126"/>
              </a:spcBef>
            </a:pPr>
            <a:r>
              <a:rPr sz="3453" spc="-28" baseline="1066" dirty="0">
                <a:solidFill>
                  <a:srgbClr val="FFFFFF"/>
                </a:solidFill>
                <a:latin typeface="Segoe UI Light"/>
                <a:cs typeface="Segoe UI Light"/>
              </a:rPr>
              <a:t>S</a:t>
            </a:r>
            <a:r>
              <a:rPr sz="3453" spc="14" baseline="1066" dirty="0">
                <a:solidFill>
                  <a:srgbClr val="FFFFFF"/>
                </a:solidFill>
                <a:latin typeface="Segoe UI Light"/>
                <a:cs typeface="Segoe UI Light"/>
              </a:rPr>
              <a:t>i</a:t>
            </a:r>
            <a:r>
              <a:rPr sz="3453" spc="9" baseline="1066" dirty="0">
                <a:solidFill>
                  <a:srgbClr val="FFFFFF"/>
                </a:solidFill>
                <a:latin typeface="Segoe UI Light"/>
                <a:cs typeface="Segoe UI Light"/>
              </a:rPr>
              <a:t>t</a:t>
            </a:r>
            <a:r>
              <a:rPr sz="3453" baseline="1066" dirty="0">
                <a:solidFill>
                  <a:srgbClr val="FFFFFF"/>
                </a:solidFill>
                <a:latin typeface="Segoe UI Light"/>
                <a:cs typeface="Segoe UI Light"/>
              </a:rPr>
              <a:t>e</a:t>
            </a:r>
            <a:r>
              <a:rPr sz="3453" spc="69" baseline="1066" dirty="0">
                <a:solidFill>
                  <a:srgbClr val="FFFFFF"/>
                </a:solidFill>
                <a:latin typeface="Segoe UI Light"/>
                <a:cs typeface="Segoe UI Light"/>
              </a:rPr>
              <a:t> </a:t>
            </a:r>
            <a:r>
              <a:rPr sz="3453" spc="9" baseline="1066" dirty="0">
                <a:solidFill>
                  <a:srgbClr val="FFFFFF"/>
                </a:solidFill>
                <a:latin typeface="Segoe UI Light"/>
                <a:cs typeface="Segoe UI Light"/>
              </a:rPr>
              <a:t>s</a:t>
            </a:r>
            <a:r>
              <a:rPr sz="3453" spc="14" baseline="1066" dirty="0">
                <a:solidFill>
                  <a:srgbClr val="FFFFFF"/>
                </a:solidFill>
                <a:latin typeface="Segoe UI Light"/>
                <a:cs typeface="Segoe UI Light"/>
              </a:rPr>
              <a:t>l</a:t>
            </a:r>
            <a:r>
              <a:rPr sz="3453" spc="33" baseline="1066" dirty="0">
                <a:solidFill>
                  <a:srgbClr val="FFFFFF"/>
                </a:solidFill>
                <a:latin typeface="Segoe UI Light"/>
                <a:cs typeface="Segoe UI Light"/>
              </a:rPr>
              <a:t>o</a:t>
            </a:r>
            <a:r>
              <a:rPr sz="3453" spc="9" baseline="1066" dirty="0">
                <a:solidFill>
                  <a:srgbClr val="FFFFFF"/>
                </a:solidFill>
                <a:latin typeface="Segoe UI Light"/>
                <a:cs typeface="Segoe UI Light"/>
              </a:rPr>
              <a:t>t</a:t>
            </a:r>
            <a:r>
              <a:rPr sz="3453" baseline="1066" dirty="0">
                <a:solidFill>
                  <a:srgbClr val="FFFFFF"/>
                </a:solidFill>
                <a:latin typeface="Segoe UI Light"/>
                <a:cs typeface="Segoe UI Light"/>
              </a:rPr>
              <a:t>s</a:t>
            </a:r>
            <a:r>
              <a:rPr sz="3453" spc="62" baseline="1066" dirty="0">
                <a:solidFill>
                  <a:srgbClr val="FFFFFF"/>
                </a:solidFill>
                <a:latin typeface="Segoe UI Light"/>
                <a:cs typeface="Segoe UI Light"/>
              </a:rPr>
              <a:t> </a:t>
            </a:r>
            <a:r>
              <a:rPr sz="3453" spc="-9" baseline="1066" dirty="0">
                <a:solidFill>
                  <a:srgbClr val="FFFFFF"/>
                </a:solidFill>
                <a:latin typeface="Segoe UI Light"/>
                <a:cs typeface="Segoe UI Light"/>
              </a:rPr>
              <a:t>f</a:t>
            </a:r>
            <a:r>
              <a:rPr sz="3453" spc="33" baseline="1066" dirty="0">
                <a:solidFill>
                  <a:srgbClr val="FFFFFF"/>
                </a:solidFill>
                <a:latin typeface="Segoe UI Light"/>
                <a:cs typeface="Segoe UI Light"/>
              </a:rPr>
              <a:t>o</a:t>
            </a:r>
            <a:r>
              <a:rPr sz="3453" baseline="1066" dirty="0">
                <a:solidFill>
                  <a:srgbClr val="FFFFFF"/>
                </a:solidFill>
                <a:latin typeface="Segoe UI Light"/>
                <a:cs typeface="Segoe UI Light"/>
              </a:rPr>
              <a:t>r</a:t>
            </a:r>
            <a:r>
              <a:rPr sz="3453" spc="46" baseline="1066" dirty="0">
                <a:solidFill>
                  <a:srgbClr val="FFFFFF"/>
                </a:solidFill>
                <a:latin typeface="Segoe UI Light"/>
                <a:cs typeface="Segoe UI Light"/>
              </a:rPr>
              <a:t> </a:t>
            </a:r>
            <a:r>
              <a:rPr sz="3453" spc="9" baseline="1066" dirty="0">
                <a:solidFill>
                  <a:srgbClr val="FFFFFF"/>
                </a:solidFill>
                <a:latin typeface="Segoe UI Light"/>
                <a:cs typeface="Segoe UI Light"/>
              </a:rPr>
              <a:t>st</a:t>
            </a:r>
            <a:r>
              <a:rPr sz="3453" spc="-19" baseline="1066" dirty="0">
                <a:solidFill>
                  <a:srgbClr val="FFFFFF"/>
                </a:solidFill>
                <a:latin typeface="Segoe UI Light"/>
                <a:cs typeface="Segoe UI Light"/>
              </a:rPr>
              <a:t>a</a:t>
            </a:r>
            <a:r>
              <a:rPr sz="3453" spc="-33" baseline="1066" dirty="0">
                <a:solidFill>
                  <a:srgbClr val="FFFFFF"/>
                </a:solidFill>
                <a:latin typeface="Segoe UI Light"/>
                <a:cs typeface="Segoe UI Light"/>
              </a:rPr>
              <a:t>g</a:t>
            </a:r>
            <a:r>
              <a:rPr sz="3453" spc="19" baseline="1066" dirty="0">
                <a:solidFill>
                  <a:srgbClr val="FFFFFF"/>
                </a:solidFill>
                <a:latin typeface="Segoe UI Light"/>
                <a:cs typeface="Segoe UI Light"/>
              </a:rPr>
              <a:t>e</a:t>
            </a:r>
            <a:r>
              <a:rPr sz="3453" baseline="1066" dirty="0">
                <a:solidFill>
                  <a:srgbClr val="FFFFFF"/>
                </a:solidFill>
                <a:latin typeface="Segoe UI Light"/>
                <a:cs typeface="Segoe UI Light"/>
              </a:rPr>
              <a:t>d</a:t>
            </a:r>
            <a:r>
              <a:rPr sz="3453" spc="176" baseline="1066" dirty="0">
                <a:solidFill>
                  <a:srgbClr val="FFFFFF"/>
                </a:solidFill>
                <a:latin typeface="Segoe UI Light"/>
                <a:cs typeface="Segoe UI Light"/>
              </a:rPr>
              <a:t> </a:t>
            </a:r>
            <a:r>
              <a:rPr sz="3453" spc="-34" baseline="1066" dirty="0">
                <a:solidFill>
                  <a:srgbClr val="FFFFFF"/>
                </a:solidFill>
                <a:latin typeface="Segoe UI Light"/>
                <a:cs typeface="Segoe UI Light"/>
              </a:rPr>
              <a:t>d</a:t>
            </a:r>
            <a:r>
              <a:rPr sz="3453" spc="20" baseline="1066" dirty="0">
                <a:solidFill>
                  <a:srgbClr val="FFFFFF"/>
                </a:solidFill>
                <a:latin typeface="Segoe UI Light"/>
                <a:cs typeface="Segoe UI Light"/>
              </a:rPr>
              <a:t>e</a:t>
            </a:r>
            <a:r>
              <a:rPr sz="3453" spc="-34" baseline="1066" dirty="0">
                <a:solidFill>
                  <a:srgbClr val="FFFFFF"/>
                </a:solidFill>
                <a:latin typeface="Segoe UI Light"/>
                <a:cs typeface="Segoe UI Light"/>
              </a:rPr>
              <a:t>p</a:t>
            </a:r>
            <a:r>
              <a:rPr sz="3453" spc="15" baseline="1066" dirty="0">
                <a:solidFill>
                  <a:srgbClr val="FFFFFF"/>
                </a:solidFill>
                <a:latin typeface="Segoe UI Light"/>
                <a:cs typeface="Segoe UI Light"/>
              </a:rPr>
              <a:t>l</a:t>
            </a:r>
            <a:r>
              <a:rPr sz="3453" spc="34" baseline="1066" dirty="0">
                <a:solidFill>
                  <a:srgbClr val="FFFFFF"/>
                </a:solidFill>
                <a:latin typeface="Segoe UI Light"/>
                <a:cs typeface="Segoe UI Light"/>
              </a:rPr>
              <a:t>o</a:t>
            </a:r>
            <a:r>
              <a:rPr sz="3453" baseline="1066" dirty="0">
                <a:solidFill>
                  <a:srgbClr val="FFFFFF"/>
                </a:solidFill>
                <a:latin typeface="Segoe UI Light"/>
                <a:cs typeface="Segoe UI Light"/>
              </a:rPr>
              <a:t>ym</a:t>
            </a:r>
            <a:r>
              <a:rPr sz="3453" spc="15" baseline="1066" dirty="0">
                <a:solidFill>
                  <a:srgbClr val="FFFFFF"/>
                </a:solidFill>
                <a:latin typeface="Segoe UI Light"/>
                <a:cs typeface="Segoe UI Light"/>
              </a:rPr>
              <a:t>e</a:t>
            </a:r>
            <a:r>
              <a:rPr sz="3453" spc="20" baseline="1066" dirty="0">
                <a:solidFill>
                  <a:srgbClr val="FFFFFF"/>
                </a:solidFill>
                <a:latin typeface="Segoe UI Light"/>
                <a:cs typeface="Segoe UI Light"/>
              </a:rPr>
              <a:t>n</a:t>
            </a:r>
            <a:r>
              <a:rPr sz="3453" spc="10" baseline="1066" dirty="0">
                <a:solidFill>
                  <a:srgbClr val="FFFFFF"/>
                </a:solidFill>
                <a:latin typeface="Segoe UI Light"/>
                <a:cs typeface="Segoe UI Light"/>
              </a:rPr>
              <a:t>t</a:t>
            </a:r>
            <a:r>
              <a:rPr sz="3453" baseline="1066" dirty="0">
                <a:solidFill>
                  <a:srgbClr val="FFFFFF"/>
                </a:solidFill>
                <a:latin typeface="Segoe UI Light"/>
                <a:cs typeface="Segoe UI Light"/>
              </a:rPr>
              <a:t>s</a:t>
            </a:r>
            <a:endParaRPr sz="2302">
              <a:latin typeface="Segoe UI Light"/>
              <a:cs typeface="Segoe UI Light"/>
            </a:endParaRPr>
          </a:p>
        </p:txBody>
      </p:sp>
    </p:spTree>
    <p:extLst>
      <p:ext uri="{BB962C8B-B14F-4D97-AF65-F5344CB8AC3E}">
        <p14:creationId xmlns:p14="http://schemas.microsoft.com/office/powerpoint/2010/main" val="4173573451"/>
      </p:ext>
    </p:extLst>
  </p:cSld>
  <p:clrMapOvr>
    <a:masterClrMapping/>
  </p:clrMapOvr>
  <p:timing>
    <p:tnLst>
      <p:par>
        <p:cTn id="1" dur="indefinite" restart="never" nodeType="tmRoot"/>
      </p:par>
    </p:tnLst>
  </p:timing>
</p:sld>
</file>

<file path=ppt/slides/slide179.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sp>
        <p:nvSpPr>
          <p:cNvPr id="2" name="Rectangle 1"/>
          <p:cNvSpPr/>
          <p:nvPr/>
        </p:nvSpPr>
        <p:spPr>
          <a:xfrm>
            <a:off x="857250" y="800100"/>
            <a:ext cx="10782300" cy="3508653"/>
          </a:xfrm>
          <a:prstGeom prst="rect">
            <a:avLst/>
          </a:prstGeom>
        </p:spPr>
        <p:txBody>
          <a:bodyPr wrap="square">
            <a:spAutoFit/>
          </a:bodyPr>
          <a:lstStyle/>
          <a:p>
            <a:r>
              <a:rPr lang="en-IN" sz="3600" b="1" u="sng" dirty="0">
                <a:solidFill>
                  <a:schemeClr val="bg1">
                    <a:lumMod val="95000"/>
                  </a:schemeClr>
                </a:solidFill>
                <a:effectLst>
                  <a:outerShdw blurRad="38100" dist="38100" dir="2700000" algn="tl">
                    <a:srgbClr val="000000">
                      <a:alpha val="43137"/>
                    </a:srgbClr>
                  </a:outerShdw>
                </a:effectLst>
              </a:rPr>
              <a:t>Lab 1: Publish </a:t>
            </a:r>
            <a:r>
              <a:rPr lang="en-IN" sz="3600" b="1" u="sng" dirty="0" err="1">
                <a:solidFill>
                  <a:schemeClr val="bg1">
                    <a:lumMod val="95000"/>
                  </a:schemeClr>
                </a:solidFill>
                <a:effectLst>
                  <a:outerShdw blurRad="38100" dist="38100" dir="2700000" algn="tl">
                    <a:srgbClr val="000000">
                      <a:alpha val="43137"/>
                    </a:srgbClr>
                  </a:outerShdw>
                </a:effectLst>
              </a:rPr>
              <a:t>.Net</a:t>
            </a:r>
            <a:r>
              <a:rPr lang="en-IN" sz="3600" b="1" u="sng" dirty="0">
                <a:solidFill>
                  <a:schemeClr val="bg1">
                    <a:lumMod val="95000"/>
                  </a:schemeClr>
                </a:solidFill>
                <a:effectLst>
                  <a:outerShdw blurRad="38100" dist="38100" dir="2700000" algn="tl">
                    <a:srgbClr val="000000">
                      <a:alpha val="43137"/>
                    </a:srgbClr>
                  </a:outerShdw>
                </a:effectLst>
              </a:rPr>
              <a:t> </a:t>
            </a:r>
            <a:r>
              <a:rPr lang="en-IN" sz="3600" b="1" u="sng" dirty="0" smtClean="0">
                <a:solidFill>
                  <a:schemeClr val="bg1">
                    <a:lumMod val="95000"/>
                  </a:schemeClr>
                </a:solidFill>
                <a:effectLst>
                  <a:outerShdw blurRad="38100" dist="38100" dir="2700000" algn="tl">
                    <a:srgbClr val="000000">
                      <a:alpha val="43137"/>
                    </a:srgbClr>
                  </a:outerShdw>
                </a:effectLst>
              </a:rPr>
              <a:t>Application to Azure</a:t>
            </a:r>
            <a:endParaRPr lang="en-IN" sz="3600" b="1" u="sng" dirty="0">
              <a:solidFill>
                <a:schemeClr val="bg1">
                  <a:lumMod val="95000"/>
                </a:schemeClr>
              </a:solidFill>
              <a:effectLst>
                <a:outerShdw blurRad="38100" dist="38100" dir="2700000" algn="tl">
                  <a:srgbClr val="000000">
                    <a:alpha val="43137"/>
                  </a:srgbClr>
                </a:outerShdw>
              </a:effectLst>
            </a:endParaRPr>
          </a:p>
          <a:p>
            <a:endParaRPr lang="en-IN" dirty="0">
              <a:solidFill>
                <a:schemeClr val="bg1">
                  <a:lumMod val="95000"/>
                </a:schemeClr>
              </a:solidFill>
            </a:endParaRPr>
          </a:p>
          <a:p>
            <a:r>
              <a:rPr lang="en-IN" sz="2400" dirty="0">
                <a:solidFill>
                  <a:schemeClr val="bg1">
                    <a:lumMod val="95000"/>
                  </a:schemeClr>
                </a:solidFill>
              </a:rPr>
              <a:t>1.first create a app </a:t>
            </a:r>
            <a:r>
              <a:rPr lang="en-IN" sz="2400" dirty="0" smtClean="0">
                <a:solidFill>
                  <a:schemeClr val="bg1">
                    <a:lumMod val="95000"/>
                  </a:schemeClr>
                </a:solidFill>
              </a:rPr>
              <a:t>service.</a:t>
            </a:r>
            <a:endParaRPr lang="en-IN" sz="2400" dirty="0">
              <a:solidFill>
                <a:schemeClr val="bg1">
                  <a:lumMod val="95000"/>
                </a:schemeClr>
              </a:solidFill>
            </a:endParaRPr>
          </a:p>
          <a:p>
            <a:r>
              <a:rPr lang="en-IN" sz="2400" dirty="0">
                <a:solidFill>
                  <a:schemeClr val="bg1">
                    <a:lumMod val="95000"/>
                  </a:schemeClr>
                </a:solidFill>
              </a:rPr>
              <a:t>2.Go to azure </a:t>
            </a:r>
            <a:r>
              <a:rPr lang="en-IN" sz="2400" dirty="0" smtClean="0">
                <a:solidFill>
                  <a:schemeClr val="bg1">
                    <a:lumMod val="95000"/>
                  </a:schemeClr>
                </a:solidFill>
              </a:rPr>
              <a:t>SQL </a:t>
            </a:r>
            <a:r>
              <a:rPr lang="en-IN" sz="2400" dirty="0">
                <a:solidFill>
                  <a:schemeClr val="bg1">
                    <a:lumMod val="95000"/>
                  </a:schemeClr>
                </a:solidFill>
              </a:rPr>
              <a:t>and create a </a:t>
            </a:r>
            <a:r>
              <a:rPr lang="en-IN" sz="2400" dirty="0" smtClean="0">
                <a:solidFill>
                  <a:schemeClr val="bg1">
                    <a:lumMod val="95000"/>
                  </a:schemeClr>
                </a:solidFill>
              </a:rPr>
              <a:t>database.</a:t>
            </a:r>
            <a:endParaRPr lang="en-IN" sz="2400" dirty="0">
              <a:solidFill>
                <a:schemeClr val="bg1">
                  <a:lumMod val="95000"/>
                </a:schemeClr>
              </a:solidFill>
            </a:endParaRPr>
          </a:p>
          <a:p>
            <a:r>
              <a:rPr lang="en-IN" sz="2400" dirty="0">
                <a:solidFill>
                  <a:schemeClr val="bg1">
                    <a:lumMod val="95000"/>
                  </a:schemeClr>
                </a:solidFill>
              </a:rPr>
              <a:t>3.Go to visual studio -&gt;create a new project-&gt;web-&gt;asp.net web application framework-&gt;MVC-&gt;click on </a:t>
            </a:r>
            <a:r>
              <a:rPr lang="en-IN" sz="2400" dirty="0" smtClean="0">
                <a:solidFill>
                  <a:schemeClr val="bg1">
                    <a:lumMod val="95000"/>
                  </a:schemeClr>
                </a:solidFill>
              </a:rPr>
              <a:t>web application </a:t>
            </a:r>
            <a:r>
              <a:rPr lang="en-IN" sz="2400" dirty="0">
                <a:solidFill>
                  <a:schemeClr val="bg1">
                    <a:lumMod val="95000"/>
                  </a:schemeClr>
                </a:solidFill>
              </a:rPr>
              <a:t>and run it, build will automatically trigger.</a:t>
            </a:r>
          </a:p>
          <a:p>
            <a:r>
              <a:rPr lang="en-IN" sz="2400" dirty="0" smtClean="0">
                <a:solidFill>
                  <a:schemeClr val="bg1">
                    <a:lumMod val="95000"/>
                  </a:schemeClr>
                </a:solidFill>
              </a:rPr>
              <a:t>4.Now </a:t>
            </a:r>
            <a:r>
              <a:rPr lang="en-IN" sz="2400" dirty="0">
                <a:solidFill>
                  <a:schemeClr val="bg1">
                    <a:lumMod val="95000"/>
                  </a:schemeClr>
                </a:solidFill>
              </a:rPr>
              <a:t>publish this app to </a:t>
            </a:r>
            <a:r>
              <a:rPr lang="en-IN" sz="2400" dirty="0" smtClean="0">
                <a:solidFill>
                  <a:schemeClr val="bg1">
                    <a:lumMod val="95000"/>
                  </a:schemeClr>
                </a:solidFill>
              </a:rPr>
              <a:t>azure.</a:t>
            </a:r>
            <a:endParaRPr lang="en-IN" sz="2400" dirty="0">
              <a:solidFill>
                <a:schemeClr val="bg1">
                  <a:lumMod val="95000"/>
                </a:schemeClr>
              </a:solidFill>
            </a:endParaRPr>
          </a:p>
          <a:p>
            <a:r>
              <a:rPr lang="en-IN" sz="2400" dirty="0" smtClean="0">
                <a:solidFill>
                  <a:schemeClr val="bg1">
                    <a:lumMod val="95000"/>
                  </a:schemeClr>
                </a:solidFill>
              </a:rPr>
              <a:t>5.Make </a:t>
            </a:r>
            <a:r>
              <a:rPr lang="en-IN" sz="2400" dirty="0">
                <a:solidFill>
                  <a:schemeClr val="bg1">
                    <a:lumMod val="95000"/>
                  </a:schemeClr>
                </a:solidFill>
              </a:rPr>
              <a:t>some changes in your code then </a:t>
            </a:r>
            <a:r>
              <a:rPr lang="en-IN" sz="2400" dirty="0" smtClean="0">
                <a:solidFill>
                  <a:schemeClr val="bg1">
                    <a:lumMod val="95000"/>
                  </a:schemeClr>
                </a:solidFill>
              </a:rPr>
              <a:t>test.</a:t>
            </a:r>
            <a:endParaRPr lang="en-IN" sz="2400" dirty="0">
              <a:solidFill>
                <a:schemeClr val="bg1">
                  <a:lumMod val="95000"/>
                </a:schemeClr>
              </a:solidFill>
            </a:endParaRPr>
          </a:p>
        </p:txBody>
      </p:sp>
    </p:spTree>
    <p:extLst>
      <p:ext uri="{BB962C8B-B14F-4D97-AF65-F5344CB8AC3E}">
        <p14:creationId xmlns:p14="http://schemas.microsoft.com/office/powerpoint/2010/main" val="28439325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526473"/>
            <a:ext cx="10515600" cy="2217161"/>
          </a:xfrm>
        </p:spPr>
        <p:txBody>
          <a:bodyPr/>
          <a:lstStyle/>
          <a:p>
            <a:r>
              <a:rPr lang="en-US" b="1" u="sng" dirty="0">
                <a:effectLst>
                  <a:outerShdw blurRad="38100" dist="38100" dir="2700000" algn="tl">
                    <a:srgbClr val="000000">
                      <a:alpha val="43137"/>
                    </a:srgbClr>
                  </a:outerShdw>
                </a:effectLst>
              </a:rPr>
              <a:t>Overview of Azure services</a:t>
            </a:r>
          </a:p>
        </p:txBody>
      </p:sp>
      <p:sp>
        <p:nvSpPr>
          <p:cNvPr id="4" name="Rounded Rectangle 3"/>
          <p:cNvSpPr/>
          <p:nvPr/>
        </p:nvSpPr>
        <p:spPr bwMode="auto">
          <a:xfrm>
            <a:off x="8423067" y="883920"/>
            <a:ext cx="2175667" cy="3161132"/>
          </a:xfrm>
          <a:prstGeom prst="roundRect">
            <a:avLst>
              <a:gd name="adj" fmla="val 0"/>
            </a:avLst>
          </a:prstGeom>
          <a:noFill/>
          <a:ln w="28575">
            <a:solidFill>
              <a:srgbClr val="C00000"/>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182880" tIns="45720" rIns="182880" bIns="45720" numCol="1" rtlCol="0" anchor="t" anchorCtr="0" compatLnSpc="1">
            <a:prstTxWarp prst="textNoShape">
              <a:avLst/>
            </a:prstTxWarp>
          </a:bodyPr>
          <a:lstStyle/>
          <a:p>
            <a:pPr lvl="0" eaLnBrk="0" fontAlgn="base" hangingPunct="0">
              <a:spcBef>
                <a:spcPct val="0"/>
              </a:spcBef>
              <a:spcAft>
                <a:spcPct val="0"/>
              </a:spcAft>
            </a:pPr>
            <a:r>
              <a:rPr lang="en-GB" b="1" dirty="0">
                <a:solidFill>
                  <a:srgbClr val="000000"/>
                </a:solidFill>
                <a:latin typeface="Segoe UI" panose="020B0502040204020203" pitchFamily="34" charset="0"/>
                <a:cs typeface="Segoe UI" panose="020B0502040204020203" pitchFamily="34" charset="0"/>
              </a:rPr>
              <a:t>Web &amp; Mobile</a:t>
            </a:r>
          </a:p>
        </p:txBody>
      </p:sp>
      <p:sp>
        <p:nvSpPr>
          <p:cNvPr id="5" name="Rounded Rectangle 4"/>
          <p:cNvSpPr/>
          <p:nvPr/>
        </p:nvSpPr>
        <p:spPr bwMode="auto">
          <a:xfrm>
            <a:off x="1588030" y="888569"/>
            <a:ext cx="2174479" cy="3144508"/>
          </a:xfrm>
          <a:prstGeom prst="roundRect">
            <a:avLst>
              <a:gd name="adj" fmla="val 0"/>
            </a:avLst>
          </a:prstGeom>
          <a:noFill/>
          <a:ln w="28575">
            <a:solidFill>
              <a:srgbClr val="0070C0"/>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182880" tIns="45720" rIns="182880" bIns="45720" numCol="1" rtlCol="0" anchor="t" anchorCtr="0" compatLnSpc="1">
            <a:prstTxWarp prst="textNoShape">
              <a:avLst/>
            </a:prstTxWarp>
          </a:bodyPr>
          <a:lstStyle/>
          <a:p>
            <a:pPr lvl="0" eaLnBrk="0" fontAlgn="base" hangingPunct="0">
              <a:spcBef>
                <a:spcPct val="0"/>
              </a:spcBef>
              <a:spcAft>
                <a:spcPct val="0"/>
              </a:spcAft>
            </a:pPr>
            <a:r>
              <a:rPr lang="en-GB" b="1" dirty="0">
                <a:solidFill>
                  <a:srgbClr val="000000"/>
                </a:solidFill>
                <a:latin typeface="Segoe UI" panose="020B0502040204020203" pitchFamily="34" charset="0"/>
                <a:cs typeface="Segoe UI" panose="020B0502040204020203" pitchFamily="34" charset="0"/>
              </a:rPr>
              <a:t>Compute</a:t>
            </a:r>
          </a:p>
        </p:txBody>
      </p:sp>
      <p:sp>
        <p:nvSpPr>
          <p:cNvPr id="6" name="Rounded Rectangle 5"/>
          <p:cNvSpPr/>
          <p:nvPr/>
        </p:nvSpPr>
        <p:spPr bwMode="auto">
          <a:xfrm>
            <a:off x="1695913" y="2602993"/>
            <a:ext cx="1991623" cy="617205"/>
          </a:xfrm>
          <a:prstGeom prst="roundRect">
            <a:avLst/>
          </a:prstGeom>
          <a:solidFill>
            <a:schemeClr val="bg1"/>
          </a:solidFill>
          <a:ln w="28575">
            <a:solidFill>
              <a:srgbClr val="0070C0"/>
            </a:soli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r>
              <a:rPr lang="en-GB" spc="20" dirty="0">
                <a:solidFill>
                  <a:srgbClr val="000000"/>
                </a:solidFill>
                <a:latin typeface="Segoe UI" panose="020B0502040204020203" pitchFamily="34" charset="0"/>
                <a:cs typeface="Segoe UI" panose="020B0502040204020203" pitchFamily="34" charset="0"/>
              </a:rPr>
              <a:t>Azure Virtual Machines</a:t>
            </a:r>
          </a:p>
        </p:txBody>
      </p:sp>
      <p:sp>
        <p:nvSpPr>
          <p:cNvPr id="7" name="Rounded Rectangle 6"/>
          <p:cNvSpPr/>
          <p:nvPr/>
        </p:nvSpPr>
        <p:spPr bwMode="auto">
          <a:xfrm>
            <a:off x="1706693" y="3327722"/>
            <a:ext cx="1990750" cy="607839"/>
          </a:xfrm>
          <a:prstGeom prst="roundRect">
            <a:avLst/>
          </a:prstGeom>
          <a:solidFill>
            <a:schemeClr val="bg1"/>
          </a:solidFill>
          <a:ln w="28575">
            <a:solidFill>
              <a:srgbClr val="0070C0"/>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r>
              <a:rPr lang="en-GB" spc="20" dirty="0">
                <a:solidFill>
                  <a:srgbClr val="000000"/>
                </a:solidFill>
                <a:latin typeface="Segoe UI" panose="020B0502040204020203" pitchFamily="34" charset="0"/>
                <a:cs typeface="Segoe UI" panose="020B0502040204020203" pitchFamily="34" charset="0"/>
              </a:rPr>
              <a:t>Azure Cloud Services</a:t>
            </a:r>
          </a:p>
        </p:txBody>
      </p:sp>
      <p:sp>
        <p:nvSpPr>
          <p:cNvPr id="8" name="Rounded Rectangle 7"/>
          <p:cNvSpPr/>
          <p:nvPr/>
        </p:nvSpPr>
        <p:spPr bwMode="auto">
          <a:xfrm>
            <a:off x="8517334" y="2149642"/>
            <a:ext cx="1990750" cy="382421"/>
          </a:xfrm>
          <a:prstGeom prst="roundRect">
            <a:avLst/>
          </a:prstGeom>
          <a:solidFill>
            <a:schemeClr val="bg1"/>
          </a:solidFill>
          <a:ln w="28575">
            <a:solidFill>
              <a:srgbClr val="C00000"/>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r>
              <a:rPr lang="en-GB" spc="20" dirty="0">
                <a:solidFill>
                  <a:srgbClr val="000000"/>
                </a:solidFill>
                <a:latin typeface="Segoe UI" panose="020B0502040204020203" pitchFamily="34" charset="0"/>
                <a:cs typeface="Segoe UI" panose="020B0502040204020203" pitchFamily="34" charset="0"/>
              </a:rPr>
              <a:t>Web Apps</a:t>
            </a:r>
          </a:p>
        </p:txBody>
      </p:sp>
      <p:sp>
        <p:nvSpPr>
          <p:cNvPr id="9" name="Rounded Rectangle 8"/>
          <p:cNvSpPr/>
          <p:nvPr/>
        </p:nvSpPr>
        <p:spPr bwMode="auto">
          <a:xfrm>
            <a:off x="8515524" y="2617241"/>
            <a:ext cx="1990750" cy="608400"/>
          </a:xfrm>
          <a:prstGeom prst="roundRect">
            <a:avLst/>
          </a:prstGeom>
          <a:solidFill>
            <a:schemeClr val="bg1"/>
          </a:solidFill>
          <a:ln w="28575">
            <a:solidFill>
              <a:srgbClr val="C00000"/>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r>
              <a:rPr lang="en-GB" spc="20" dirty="0">
                <a:solidFill>
                  <a:srgbClr val="000000"/>
                </a:solidFill>
                <a:latin typeface="Segoe UI" panose="020B0502040204020203" pitchFamily="34" charset="0"/>
                <a:cs typeface="Segoe UI" panose="020B0502040204020203" pitchFamily="34" charset="0"/>
              </a:rPr>
              <a:t>Mobile Apps</a:t>
            </a:r>
          </a:p>
        </p:txBody>
      </p:sp>
      <p:sp>
        <p:nvSpPr>
          <p:cNvPr id="10" name="Rounded Rectangle 9"/>
          <p:cNvSpPr/>
          <p:nvPr/>
        </p:nvSpPr>
        <p:spPr bwMode="auto">
          <a:xfrm>
            <a:off x="8517334" y="3312916"/>
            <a:ext cx="1990750" cy="608400"/>
          </a:xfrm>
          <a:prstGeom prst="roundRect">
            <a:avLst/>
          </a:prstGeom>
          <a:solidFill>
            <a:schemeClr val="bg1"/>
          </a:solidFill>
          <a:ln w="28575">
            <a:solidFill>
              <a:srgbClr val="C00000"/>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r>
              <a:rPr lang="en-GB" spc="20" dirty="0">
                <a:solidFill>
                  <a:srgbClr val="000000"/>
                </a:solidFill>
                <a:latin typeface="Segoe UI" panose="020B0502040204020203" pitchFamily="34" charset="0"/>
                <a:cs typeface="Segoe UI" panose="020B0502040204020203" pitchFamily="34" charset="0"/>
              </a:rPr>
              <a:t>Notification Hub</a:t>
            </a:r>
          </a:p>
        </p:txBody>
      </p:sp>
      <p:sp>
        <p:nvSpPr>
          <p:cNvPr id="11" name="Rounded Rectangle 10"/>
          <p:cNvSpPr/>
          <p:nvPr/>
        </p:nvSpPr>
        <p:spPr bwMode="auto">
          <a:xfrm>
            <a:off x="3866485" y="887061"/>
            <a:ext cx="2175667" cy="3161132"/>
          </a:xfrm>
          <a:prstGeom prst="roundRect">
            <a:avLst>
              <a:gd name="adj" fmla="val 0"/>
            </a:avLst>
          </a:prstGeom>
          <a:noFill/>
          <a:ln w="28575">
            <a:solidFill>
              <a:srgbClr val="00B050"/>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182880" tIns="45720" rIns="182880" bIns="45720" numCol="1" rtlCol="0" anchor="t" anchorCtr="0" compatLnSpc="1">
            <a:prstTxWarp prst="textNoShape">
              <a:avLst/>
            </a:prstTxWarp>
          </a:bodyPr>
          <a:lstStyle/>
          <a:p>
            <a:pPr lvl="0" eaLnBrk="0" fontAlgn="base" hangingPunct="0">
              <a:spcBef>
                <a:spcPct val="0"/>
              </a:spcBef>
              <a:spcAft>
                <a:spcPct val="0"/>
              </a:spcAft>
            </a:pPr>
            <a:r>
              <a:rPr lang="en-GB" b="1" dirty="0">
                <a:solidFill>
                  <a:srgbClr val="000000"/>
                </a:solidFill>
                <a:latin typeface="Segoe UI" panose="020B0502040204020203" pitchFamily="34" charset="0"/>
                <a:cs typeface="Segoe UI" panose="020B0502040204020203" pitchFamily="34" charset="0"/>
              </a:rPr>
              <a:t>Networking</a:t>
            </a:r>
          </a:p>
        </p:txBody>
      </p:sp>
      <p:sp>
        <p:nvSpPr>
          <p:cNvPr id="12" name="Rounded Rectangle 11"/>
          <p:cNvSpPr/>
          <p:nvPr/>
        </p:nvSpPr>
        <p:spPr bwMode="auto">
          <a:xfrm>
            <a:off x="3952030" y="2620108"/>
            <a:ext cx="1990750" cy="391567"/>
          </a:xfrm>
          <a:prstGeom prst="roundRect">
            <a:avLst/>
          </a:prstGeom>
          <a:noFill/>
          <a:ln w="28575">
            <a:solidFill>
              <a:srgbClr val="00B050"/>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r>
              <a:rPr lang="en-GB" sz="1600" spc="20" dirty="0">
                <a:solidFill>
                  <a:srgbClr val="000000"/>
                </a:solidFill>
                <a:latin typeface="Segoe UI" panose="020B0502040204020203" pitchFamily="34" charset="0"/>
                <a:cs typeface="Segoe UI" panose="020B0502040204020203" pitchFamily="34" charset="0"/>
              </a:rPr>
              <a:t>Traffic Manager</a:t>
            </a:r>
          </a:p>
        </p:txBody>
      </p:sp>
      <p:sp>
        <p:nvSpPr>
          <p:cNvPr id="13" name="Rounded Rectangle 12"/>
          <p:cNvSpPr/>
          <p:nvPr/>
        </p:nvSpPr>
        <p:spPr bwMode="auto">
          <a:xfrm>
            <a:off x="3952030" y="3090209"/>
            <a:ext cx="1990750" cy="376960"/>
          </a:xfrm>
          <a:prstGeom prst="roundRect">
            <a:avLst/>
          </a:prstGeom>
          <a:noFill/>
          <a:ln w="28575">
            <a:solidFill>
              <a:srgbClr val="00B050"/>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r>
              <a:rPr lang="en-GB" spc="20" dirty="0">
                <a:solidFill>
                  <a:srgbClr val="000000"/>
                </a:solidFill>
                <a:latin typeface="Segoe UI" panose="020B0502040204020203" pitchFamily="34" charset="0"/>
                <a:cs typeface="Segoe UI" panose="020B0502040204020203" pitchFamily="34" charset="0"/>
              </a:rPr>
              <a:t>ExpressRoute</a:t>
            </a:r>
          </a:p>
        </p:txBody>
      </p:sp>
      <p:sp>
        <p:nvSpPr>
          <p:cNvPr id="14" name="Rounded Rectangle 13"/>
          <p:cNvSpPr/>
          <p:nvPr/>
        </p:nvSpPr>
        <p:spPr bwMode="auto">
          <a:xfrm>
            <a:off x="3952030" y="1266640"/>
            <a:ext cx="1974223" cy="368943"/>
          </a:xfrm>
          <a:prstGeom prst="roundRect">
            <a:avLst/>
          </a:prstGeom>
          <a:noFill/>
          <a:ln w="28575">
            <a:solidFill>
              <a:srgbClr val="00B050"/>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r>
              <a:rPr lang="en-GB" sz="1600" spc="20" dirty="0">
                <a:solidFill>
                  <a:srgbClr val="000000"/>
                </a:solidFill>
                <a:latin typeface="Segoe UI" panose="020B0502040204020203" pitchFamily="34" charset="0"/>
                <a:cs typeface="Segoe UI" panose="020B0502040204020203" pitchFamily="34" charset="0"/>
              </a:rPr>
              <a:t>Virtual Network</a:t>
            </a:r>
          </a:p>
        </p:txBody>
      </p:sp>
      <p:sp>
        <p:nvSpPr>
          <p:cNvPr id="15" name="Rounded Rectangle 14"/>
          <p:cNvSpPr/>
          <p:nvPr/>
        </p:nvSpPr>
        <p:spPr bwMode="auto">
          <a:xfrm>
            <a:off x="6146128" y="887061"/>
            <a:ext cx="2175667" cy="3161132"/>
          </a:xfrm>
          <a:prstGeom prst="roundRect">
            <a:avLst>
              <a:gd name="adj" fmla="val 0"/>
            </a:avLst>
          </a:prstGeom>
          <a:noFill/>
          <a:ln w="28575">
            <a:solidFill>
              <a:srgbClr val="7030A0"/>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182880" tIns="45720" rIns="182880" bIns="45720" numCol="1" rtlCol="0" anchor="t" anchorCtr="0" compatLnSpc="1">
            <a:prstTxWarp prst="textNoShape">
              <a:avLst/>
            </a:prstTxWarp>
          </a:bodyPr>
          <a:lstStyle/>
          <a:p>
            <a:pPr lvl="0" eaLnBrk="0" fontAlgn="base" hangingPunct="0">
              <a:spcBef>
                <a:spcPct val="0"/>
              </a:spcBef>
              <a:spcAft>
                <a:spcPct val="0"/>
              </a:spcAft>
            </a:pPr>
            <a:r>
              <a:rPr lang="en-GB" b="1" dirty="0">
                <a:solidFill>
                  <a:srgbClr val="000000"/>
                </a:solidFill>
                <a:latin typeface="Segoe UI" panose="020B0502040204020203" pitchFamily="34" charset="0"/>
                <a:cs typeface="Segoe UI" panose="020B0502040204020203" pitchFamily="34" charset="0"/>
              </a:rPr>
              <a:t>Data &amp; Storage</a:t>
            </a:r>
          </a:p>
        </p:txBody>
      </p:sp>
      <p:sp>
        <p:nvSpPr>
          <p:cNvPr id="16" name="Rounded Rectangle 15"/>
          <p:cNvSpPr/>
          <p:nvPr/>
        </p:nvSpPr>
        <p:spPr bwMode="auto">
          <a:xfrm>
            <a:off x="6254011" y="1984949"/>
            <a:ext cx="1992711" cy="382705"/>
          </a:xfrm>
          <a:prstGeom prst="roundRect">
            <a:avLst/>
          </a:prstGeom>
          <a:noFill/>
          <a:ln w="28575">
            <a:solidFill>
              <a:srgbClr val="7030A0"/>
            </a:soli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r>
              <a:rPr lang="en-GB" spc="20" dirty="0">
                <a:solidFill>
                  <a:srgbClr val="000000"/>
                </a:solidFill>
                <a:latin typeface="Segoe UI" panose="020B0502040204020203" pitchFamily="34" charset="0"/>
                <a:cs typeface="Segoe UI" panose="020B0502040204020203" pitchFamily="34" charset="0"/>
              </a:rPr>
              <a:t>Storage</a:t>
            </a:r>
          </a:p>
        </p:txBody>
      </p:sp>
      <p:sp>
        <p:nvSpPr>
          <p:cNvPr id="17" name="Rounded Rectangle 16"/>
          <p:cNvSpPr/>
          <p:nvPr/>
        </p:nvSpPr>
        <p:spPr bwMode="auto">
          <a:xfrm>
            <a:off x="6252364" y="2892979"/>
            <a:ext cx="1991837" cy="588911"/>
          </a:xfrm>
          <a:prstGeom prst="roundRect">
            <a:avLst/>
          </a:prstGeom>
          <a:noFill/>
          <a:ln w="28575">
            <a:solidFill>
              <a:srgbClr val="7030A0"/>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r>
              <a:rPr lang="en-GB" spc="20" dirty="0">
                <a:solidFill>
                  <a:srgbClr val="000000"/>
                </a:solidFill>
                <a:latin typeface="Segoe UI" panose="020B0502040204020203" pitchFamily="34" charset="0"/>
                <a:cs typeface="Segoe UI" panose="020B0502040204020203" pitchFamily="34" charset="0"/>
              </a:rPr>
              <a:t>Azure SQL Database</a:t>
            </a:r>
          </a:p>
        </p:txBody>
      </p:sp>
      <p:sp>
        <p:nvSpPr>
          <p:cNvPr id="18" name="Rounded Rectangle 17"/>
          <p:cNvSpPr/>
          <p:nvPr/>
        </p:nvSpPr>
        <p:spPr bwMode="auto">
          <a:xfrm>
            <a:off x="6254011" y="2440751"/>
            <a:ext cx="1991837" cy="382421"/>
          </a:xfrm>
          <a:prstGeom prst="roundRect">
            <a:avLst/>
          </a:prstGeom>
          <a:noFill/>
          <a:ln w="28575">
            <a:solidFill>
              <a:srgbClr val="7030A0"/>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r>
              <a:rPr lang="en-GB" spc="20" dirty="0">
                <a:solidFill>
                  <a:srgbClr val="000000"/>
                </a:solidFill>
                <a:latin typeface="Segoe UI" panose="020B0502040204020203" pitchFamily="34" charset="0"/>
                <a:cs typeface="Segoe UI" panose="020B0502040204020203" pitchFamily="34" charset="0"/>
              </a:rPr>
              <a:t>DocumentDB</a:t>
            </a:r>
          </a:p>
        </p:txBody>
      </p:sp>
      <p:sp>
        <p:nvSpPr>
          <p:cNvPr id="19" name="Rounded Rectangle 18"/>
          <p:cNvSpPr/>
          <p:nvPr/>
        </p:nvSpPr>
        <p:spPr bwMode="auto">
          <a:xfrm>
            <a:off x="6250821" y="3554987"/>
            <a:ext cx="1991837" cy="382421"/>
          </a:xfrm>
          <a:prstGeom prst="roundRect">
            <a:avLst/>
          </a:prstGeom>
          <a:noFill/>
          <a:ln w="28575">
            <a:solidFill>
              <a:srgbClr val="7030A0"/>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r>
              <a:rPr lang="en-GB" spc="20" dirty="0">
                <a:solidFill>
                  <a:srgbClr val="000000"/>
                </a:solidFill>
                <a:latin typeface="Segoe UI" panose="020B0502040204020203" pitchFamily="34" charset="0"/>
                <a:cs typeface="Segoe UI" panose="020B0502040204020203" pitchFamily="34" charset="0"/>
              </a:rPr>
              <a:t>StorSimple</a:t>
            </a:r>
          </a:p>
        </p:txBody>
      </p:sp>
      <p:sp>
        <p:nvSpPr>
          <p:cNvPr id="20" name="Rounded Rectangle 19"/>
          <p:cNvSpPr/>
          <p:nvPr/>
        </p:nvSpPr>
        <p:spPr bwMode="auto">
          <a:xfrm>
            <a:off x="3952030" y="3545702"/>
            <a:ext cx="1990750" cy="376960"/>
          </a:xfrm>
          <a:prstGeom prst="roundRect">
            <a:avLst/>
          </a:prstGeom>
          <a:noFill/>
          <a:ln w="28575">
            <a:solidFill>
              <a:srgbClr val="00B050"/>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r>
              <a:rPr lang="en-GB" spc="20" dirty="0">
                <a:solidFill>
                  <a:srgbClr val="000000"/>
                </a:solidFill>
                <a:latin typeface="Segoe UI" panose="020B0502040204020203" pitchFamily="34" charset="0"/>
                <a:cs typeface="Segoe UI" panose="020B0502040204020203" pitchFamily="34" charset="0"/>
              </a:rPr>
              <a:t>Load Balancer</a:t>
            </a:r>
          </a:p>
        </p:txBody>
      </p:sp>
      <p:sp>
        <p:nvSpPr>
          <p:cNvPr id="21" name="Rounded Rectangle 20"/>
          <p:cNvSpPr/>
          <p:nvPr/>
        </p:nvSpPr>
        <p:spPr bwMode="auto">
          <a:xfrm>
            <a:off x="1694697" y="1931442"/>
            <a:ext cx="1991623" cy="617205"/>
          </a:xfrm>
          <a:prstGeom prst="roundRect">
            <a:avLst/>
          </a:prstGeom>
          <a:solidFill>
            <a:schemeClr val="bg1"/>
          </a:solidFill>
          <a:ln w="28575">
            <a:solidFill>
              <a:srgbClr val="0070C0"/>
            </a:soli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r>
              <a:rPr lang="en-GB" spc="20" dirty="0">
                <a:solidFill>
                  <a:srgbClr val="000000"/>
                </a:solidFill>
                <a:latin typeface="Segoe UI" panose="020B0502040204020203" pitchFamily="34" charset="0"/>
                <a:cs typeface="Segoe UI" panose="020B0502040204020203" pitchFamily="34" charset="0"/>
              </a:rPr>
              <a:t>Container Service</a:t>
            </a:r>
          </a:p>
        </p:txBody>
      </p:sp>
      <p:sp>
        <p:nvSpPr>
          <p:cNvPr id="22" name="Rounded Rectangle 21"/>
          <p:cNvSpPr/>
          <p:nvPr/>
        </p:nvSpPr>
        <p:spPr bwMode="auto">
          <a:xfrm>
            <a:off x="1695913" y="1482031"/>
            <a:ext cx="1991623" cy="392485"/>
          </a:xfrm>
          <a:prstGeom prst="roundRect">
            <a:avLst/>
          </a:prstGeom>
          <a:solidFill>
            <a:schemeClr val="bg1"/>
          </a:solidFill>
          <a:ln w="28575">
            <a:solidFill>
              <a:srgbClr val="0070C0"/>
            </a:soli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r>
              <a:rPr lang="en-GB" spc="20" dirty="0">
                <a:solidFill>
                  <a:srgbClr val="000000"/>
                </a:solidFill>
                <a:latin typeface="Segoe UI" panose="020B0502040204020203" pitchFamily="34" charset="0"/>
                <a:cs typeface="Segoe UI" panose="020B0502040204020203" pitchFamily="34" charset="0"/>
              </a:rPr>
              <a:t>Service Fabric</a:t>
            </a:r>
          </a:p>
        </p:txBody>
      </p:sp>
      <p:sp>
        <p:nvSpPr>
          <p:cNvPr id="23" name="Rounded Rectangle 22"/>
          <p:cNvSpPr/>
          <p:nvPr/>
        </p:nvSpPr>
        <p:spPr bwMode="auto">
          <a:xfrm>
            <a:off x="3952031" y="1716584"/>
            <a:ext cx="1974223" cy="394437"/>
          </a:xfrm>
          <a:prstGeom prst="roundRect">
            <a:avLst/>
          </a:prstGeom>
          <a:noFill/>
          <a:ln w="28575">
            <a:solidFill>
              <a:srgbClr val="00B050"/>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r>
              <a:rPr lang="en-GB" sz="1600" spc="20" dirty="0">
                <a:solidFill>
                  <a:srgbClr val="000000"/>
                </a:solidFill>
                <a:latin typeface="Segoe UI" panose="020B0502040204020203" pitchFamily="34" charset="0"/>
                <a:cs typeface="Segoe UI" panose="020B0502040204020203" pitchFamily="34" charset="0"/>
              </a:rPr>
              <a:t>Azure DNS</a:t>
            </a:r>
          </a:p>
        </p:txBody>
      </p:sp>
      <p:sp>
        <p:nvSpPr>
          <p:cNvPr id="24" name="Rounded Rectangle 23"/>
          <p:cNvSpPr/>
          <p:nvPr/>
        </p:nvSpPr>
        <p:spPr bwMode="auto">
          <a:xfrm>
            <a:off x="3952031" y="2180491"/>
            <a:ext cx="1974223" cy="365884"/>
          </a:xfrm>
          <a:prstGeom prst="roundRect">
            <a:avLst/>
          </a:prstGeom>
          <a:noFill/>
          <a:ln w="28575">
            <a:solidFill>
              <a:srgbClr val="00B050"/>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0" tIns="45720" rIns="0" bIns="45720" numCol="1" rtlCol="0" anchor="ctr" anchorCtr="0" compatLnSpc="1">
            <a:prstTxWarp prst="textNoShape">
              <a:avLst/>
            </a:prstTxWarp>
          </a:bodyPr>
          <a:lstStyle/>
          <a:p>
            <a:pPr lvl="0" algn="ctr" eaLnBrk="0" fontAlgn="base" hangingPunct="0">
              <a:spcBef>
                <a:spcPct val="0"/>
              </a:spcBef>
              <a:spcAft>
                <a:spcPct val="0"/>
              </a:spcAft>
            </a:pPr>
            <a:r>
              <a:rPr lang="en-GB" sz="1600" spc="20" dirty="0">
                <a:solidFill>
                  <a:srgbClr val="000000"/>
                </a:solidFill>
                <a:latin typeface="Segoe UI" panose="020B0502040204020203" pitchFamily="34" charset="0"/>
                <a:cs typeface="Segoe UI" panose="020B0502040204020203" pitchFamily="34" charset="0"/>
              </a:rPr>
              <a:t>Application Gateway</a:t>
            </a:r>
          </a:p>
        </p:txBody>
      </p:sp>
      <p:sp>
        <p:nvSpPr>
          <p:cNvPr id="25" name="Rounded Rectangle 24"/>
          <p:cNvSpPr/>
          <p:nvPr/>
        </p:nvSpPr>
        <p:spPr bwMode="auto">
          <a:xfrm>
            <a:off x="1588030" y="4130230"/>
            <a:ext cx="9010704" cy="2210950"/>
          </a:xfrm>
          <a:prstGeom prst="roundRect">
            <a:avLst>
              <a:gd name="adj" fmla="val 429"/>
            </a:avLst>
          </a:prstGeom>
          <a:noFill/>
          <a:ln w="28575" cap="flat" cmpd="sng" algn="ctr">
            <a:solidFill>
              <a:srgbClr val="002060"/>
            </a:solidFill>
            <a:prstDash val="solid"/>
            <a:headEnd type="none" w="med" len="med"/>
            <a:tailEnd type="none" w="med" len="med"/>
          </a:ln>
          <a:effectLst/>
        </p:spPr>
        <p:txBody>
          <a:bodyPr vert="horz" wrap="square" lIns="182880" tIns="45720" rIns="182880" bIns="45720" numCol="1" rtlCol="0" anchor="t" anchorCtr="0" compatLnSpc="1">
            <a:prstTxWarp prst="textNoShape">
              <a:avLst/>
            </a:prstTxWarp>
          </a:bodyPr>
          <a:lstStyle/>
          <a:p>
            <a:pPr lvl="0" eaLnBrk="0" fontAlgn="base" hangingPunct="0">
              <a:spcBef>
                <a:spcPct val="0"/>
              </a:spcBef>
              <a:spcAft>
                <a:spcPct val="0"/>
              </a:spcAft>
              <a:defRPr/>
            </a:pPr>
            <a:r>
              <a:rPr lang="en-GB" b="1" kern="0" dirty="0">
                <a:solidFill>
                  <a:srgbClr val="000000"/>
                </a:solidFill>
                <a:latin typeface="Segoe UI" panose="020B0502040204020203" pitchFamily="34" charset="0"/>
                <a:cs typeface="Segoe UI" panose="020B0502040204020203" pitchFamily="34" charset="0"/>
              </a:rPr>
              <a:t>Other services</a:t>
            </a:r>
          </a:p>
        </p:txBody>
      </p:sp>
      <p:sp>
        <p:nvSpPr>
          <p:cNvPr id="26" name="Rounded Rectangle 25"/>
          <p:cNvSpPr/>
          <p:nvPr/>
        </p:nvSpPr>
        <p:spPr bwMode="auto">
          <a:xfrm>
            <a:off x="3942085" y="5420912"/>
            <a:ext cx="1975511" cy="405581"/>
          </a:xfrm>
          <a:prstGeom prst="roundRect">
            <a:avLst/>
          </a:prstGeom>
          <a:noFill/>
          <a:ln w="28575">
            <a:solidFill>
              <a:srgbClr val="002060"/>
            </a:solid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defRPr/>
            </a:pPr>
            <a:r>
              <a:rPr lang="en-GB" kern="0" spc="20" dirty="0">
                <a:solidFill>
                  <a:srgbClr val="000000"/>
                </a:solidFill>
                <a:latin typeface="Segoe UI" panose="020B0502040204020203" pitchFamily="34" charset="0"/>
                <a:cs typeface="Segoe UI" panose="020B0502040204020203" pitchFamily="34" charset="0"/>
              </a:rPr>
              <a:t>Azure Backup</a:t>
            </a:r>
          </a:p>
        </p:txBody>
      </p:sp>
      <p:sp>
        <p:nvSpPr>
          <p:cNvPr id="27" name="Rounded Rectangle 26"/>
          <p:cNvSpPr/>
          <p:nvPr/>
        </p:nvSpPr>
        <p:spPr bwMode="auto">
          <a:xfrm>
            <a:off x="1690817" y="4939242"/>
            <a:ext cx="1990750" cy="405583"/>
          </a:xfrm>
          <a:prstGeom prst="roundRect">
            <a:avLst/>
          </a:prstGeom>
          <a:noFill/>
          <a:ln w="28575">
            <a:solidFill>
              <a:srgbClr val="002060"/>
            </a:solid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defRPr/>
            </a:pPr>
            <a:r>
              <a:rPr lang="en-GB" kern="0" spc="20" dirty="0">
                <a:solidFill>
                  <a:srgbClr val="000000"/>
                </a:solidFill>
                <a:latin typeface="Segoe UI" panose="020B0502040204020203" pitchFamily="34" charset="0"/>
                <a:cs typeface="Segoe UI" panose="020B0502040204020203" pitchFamily="34" charset="0"/>
              </a:rPr>
              <a:t>Azure AD</a:t>
            </a:r>
          </a:p>
        </p:txBody>
      </p:sp>
      <p:sp>
        <p:nvSpPr>
          <p:cNvPr id="28" name="Rounded Rectangle 27"/>
          <p:cNvSpPr/>
          <p:nvPr/>
        </p:nvSpPr>
        <p:spPr bwMode="auto">
          <a:xfrm>
            <a:off x="3942085" y="5894208"/>
            <a:ext cx="1972953" cy="382421"/>
          </a:xfrm>
          <a:prstGeom prst="roundRect">
            <a:avLst/>
          </a:prstGeom>
          <a:noFill/>
          <a:ln w="28575">
            <a:solidFill>
              <a:srgbClr val="002060"/>
            </a:solid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defRPr/>
            </a:pPr>
            <a:r>
              <a:rPr lang="en-GB" kern="0" spc="20" dirty="0">
                <a:solidFill>
                  <a:srgbClr val="000000"/>
                </a:solidFill>
                <a:latin typeface="Segoe UI" panose="020B0502040204020203" pitchFamily="34" charset="0"/>
                <a:cs typeface="Segoe UI" panose="020B0502040204020203" pitchFamily="34" charset="0"/>
              </a:rPr>
              <a:t>Site Recovery</a:t>
            </a:r>
          </a:p>
        </p:txBody>
      </p:sp>
      <p:sp>
        <p:nvSpPr>
          <p:cNvPr id="29" name="Rounded Rectangle 28"/>
          <p:cNvSpPr/>
          <p:nvPr/>
        </p:nvSpPr>
        <p:spPr bwMode="auto">
          <a:xfrm>
            <a:off x="1690817" y="5412538"/>
            <a:ext cx="1990750" cy="382421"/>
          </a:xfrm>
          <a:prstGeom prst="roundRect">
            <a:avLst/>
          </a:prstGeom>
          <a:noFill/>
          <a:ln w="28575">
            <a:solidFill>
              <a:srgbClr val="002060"/>
            </a:solid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defRPr/>
            </a:pPr>
            <a:r>
              <a:rPr lang="en-GB" kern="0" spc="20" dirty="0">
                <a:solidFill>
                  <a:srgbClr val="000000"/>
                </a:solidFill>
                <a:latin typeface="Segoe UI" panose="020B0502040204020203" pitchFamily="34" charset="0"/>
                <a:cs typeface="Segoe UI" panose="020B0502040204020203" pitchFamily="34" charset="0"/>
              </a:rPr>
              <a:t>Azure AD DS</a:t>
            </a:r>
          </a:p>
        </p:txBody>
      </p:sp>
      <p:sp>
        <p:nvSpPr>
          <p:cNvPr id="30" name="Rounded Rectangle 29"/>
          <p:cNvSpPr/>
          <p:nvPr/>
        </p:nvSpPr>
        <p:spPr bwMode="auto">
          <a:xfrm>
            <a:off x="1690817" y="5879109"/>
            <a:ext cx="1990750" cy="386609"/>
          </a:xfrm>
          <a:prstGeom prst="roundRect">
            <a:avLst/>
          </a:prstGeom>
          <a:noFill/>
          <a:ln w="28575">
            <a:solidFill>
              <a:srgbClr val="002060"/>
            </a:solid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defRPr/>
            </a:pPr>
            <a:r>
              <a:rPr lang="en-GB" kern="0" spc="20" dirty="0">
                <a:solidFill>
                  <a:srgbClr val="000000"/>
                </a:solidFill>
                <a:latin typeface="Segoe UI" panose="020B0502040204020203" pitchFamily="34" charset="0"/>
                <a:cs typeface="Segoe UI" panose="020B0502040204020203" pitchFamily="34" charset="0"/>
              </a:rPr>
              <a:t>MFA</a:t>
            </a:r>
          </a:p>
        </p:txBody>
      </p:sp>
      <p:sp>
        <p:nvSpPr>
          <p:cNvPr id="31" name="Rounded Rectangle 30"/>
          <p:cNvSpPr/>
          <p:nvPr/>
        </p:nvSpPr>
        <p:spPr bwMode="auto">
          <a:xfrm>
            <a:off x="3942085" y="4945748"/>
            <a:ext cx="1972953" cy="399076"/>
          </a:xfrm>
          <a:prstGeom prst="roundRect">
            <a:avLst/>
          </a:prstGeom>
          <a:noFill/>
          <a:ln w="28575">
            <a:solidFill>
              <a:srgbClr val="002060"/>
            </a:solid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defRPr/>
            </a:pPr>
            <a:r>
              <a:rPr lang="en-GB" kern="0" spc="20" dirty="0">
                <a:solidFill>
                  <a:srgbClr val="000000"/>
                </a:solidFill>
                <a:latin typeface="Segoe UI" panose="020B0502040204020203" pitchFamily="34" charset="0"/>
                <a:cs typeface="Segoe UI" panose="020B0502040204020203" pitchFamily="34" charset="0"/>
              </a:rPr>
              <a:t>Scheduler</a:t>
            </a:r>
          </a:p>
        </p:txBody>
      </p:sp>
      <p:sp>
        <p:nvSpPr>
          <p:cNvPr id="32" name="Rounded Rectangle 31"/>
          <p:cNvSpPr/>
          <p:nvPr/>
        </p:nvSpPr>
        <p:spPr bwMode="auto">
          <a:xfrm>
            <a:off x="6187637" y="5760145"/>
            <a:ext cx="1990750" cy="522874"/>
          </a:xfrm>
          <a:prstGeom prst="roundRect">
            <a:avLst/>
          </a:prstGeom>
          <a:noFill/>
          <a:ln w="28575">
            <a:solidFill>
              <a:srgbClr val="002060"/>
            </a:solid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defRPr/>
            </a:pPr>
            <a:r>
              <a:rPr lang="en-GB" kern="0" spc="20" dirty="0">
                <a:solidFill>
                  <a:srgbClr val="000000"/>
                </a:solidFill>
                <a:latin typeface="Segoe UI" panose="020B0502040204020203" pitchFamily="34" charset="0"/>
                <a:cs typeface="Segoe UI" panose="020B0502040204020203" pitchFamily="34" charset="0"/>
              </a:rPr>
              <a:t>Azure Security Center</a:t>
            </a:r>
          </a:p>
        </p:txBody>
      </p:sp>
      <p:sp>
        <p:nvSpPr>
          <p:cNvPr id="33" name="Rounded Rectangle 32"/>
          <p:cNvSpPr/>
          <p:nvPr/>
        </p:nvSpPr>
        <p:spPr bwMode="auto">
          <a:xfrm>
            <a:off x="6187638" y="5287325"/>
            <a:ext cx="1989481" cy="382421"/>
          </a:xfrm>
          <a:prstGeom prst="roundRect">
            <a:avLst/>
          </a:prstGeom>
          <a:noFill/>
          <a:ln w="28575">
            <a:solidFill>
              <a:srgbClr val="002060"/>
            </a:solid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defRPr/>
            </a:pPr>
            <a:r>
              <a:rPr lang="en-GB" kern="0" spc="20" dirty="0">
                <a:solidFill>
                  <a:srgbClr val="000000"/>
                </a:solidFill>
                <a:latin typeface="Segoe UI" panose="020B0502040204020203" pitchFamily="34" charset="0"/>
                <a:cs typeface="Segoe UI" panose="020B0502040204020203" pitchFamily="34" charset="0"/>
              </a:rPr>
              <a:t>Key Vault</a:t>
            </a:r>
          </a:p>
        </p:txBody>
      </p:sp>
      <p:sp>
        <p:nvSpPr>
          <p:cNvPr id="34" name="Rounded Rectangle 33"/>
          <p:cNvSpPr/>
          <p:nvPr/>
        </p:nvSpPr>
        <p:spPr bwMode="auto">
          <a:xfrm>
            <a:off x="1706693" y="4469089"/>
            <a:ext cx="1958999" cy="386002"/>
          </a:xfrm>
          <a:prstGeom prst="roundRect">
            <a:avLst/>
          </a:prstGeom>
          <a:noFill/>
          <a:ln w="28575">
            <a:solidFill>
              <a:srgbClr val="002060"/>
            </a:solid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defRPr/>
            </a:pPr>
            <a:r>
              <a:rPr lang="en-GB" kern="0" spc="20" dirty="0">
                <a:solidFill>
                  <a:srgbClr val="000000"/>
                </a:solidFill>
                <a:latin typeface="Segoe UI" panose="020B0502040204020203" pitchFamily="34" charset="0"/>
                <a:cs typeface="Segoe UI" panose="020B0502040204020203" pitchFamily="34" charset="0"/>
              </a:rPr>
              <a:t>Service Bus</a:t>
            </a:r>
          </a:p>
        </p:txBody>
      </p:sp>
      <p:sp>
        <p:nvSpPr>
          <p:cNvPr id="35" name="Rounded Rectangle 34"/>
          <p:cNvSpPr/>
          <p:nvPr/>
        </p:nvSpPr>
        <p:spPr bwMode="auto">
          <a:xfrm>
            <a:off x="3946373" y="4467005"/>
            <a:ext cx="1958999" cy="386002"/>
          </a:xfrm>
          <a:prstGeom prst="roundRect">
            <a:avLst/>
          </a:prstGeom>
          <a:noFill/>
          <a:ln w="28575">
            <a:solidFill>
              <a:srgbClr val="002060"/>
            </a:solid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defRPr/>
            </a:pPr>
            <a:r>
              <a:rPr lang="en-GB" kern="0" spc="20" dirty="0">
                <a:solidFill>
                  <a:srgbClr val="000000"/>
                </a:solidFill>
                <a:latin typeface="Segoe UI" panose="020B0502040204020203" pitchFamily="34" charset="0"/>
                <a:cs typeface="Segoe UI" panose="020B0502040204020203" pitchFamily="34" charset="0"/>
              </a:rPr>
              <a:t>Automation</a:t>
            </a:r>
          </a:p>
        </p:txBody>
      </p:sp>
    </p:spTree>
    <p:custDataLst>
      <p:tags r:id="rId1"/>
    </p:custDataLst>
    <p:extLst>
      <p:ext uri="{BB962C8B-B14F-4D97-AF65-F5344CB8AC3E}">
        <p14:creationId xmlns:p14="http://schemas.microsoft.com/office/powerpoint/2010/main" val="678564842"/>
      </p:ext>
    </p:extLst>
  </p:cSld>
  <p:clrMapOvr>
    <a:masterClrMapping/>
  </p:clrMapOvr>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0" y="1817224"/>
            <a:ext cx="12192000" cy="5040776"/>
          </a:xfrm>
          <a:prstGeom prst="rect">
            <a:avLst/>
          </a:prstGeom>
        </p:spPr>
      </p:pic>
      <p:sp>
        <p:nvSpPr>
          <p:cNvPr id="6" name="Rectangle 5"/>
          <p:cNvSpPr/>
          <p:nvPr/>
        </p:nvSpPr>
        <p:spPr>
          <a:xfrm>
            <a:off x="342900" y="155231"/>
            <a:ext cx="7181850" cy="1661993"/>
          </a:xfrm>
          <a:prstGeom prst="rect">
            <a:avLst/>
          </a:prstGeom>
        </p:spPr>
        <p:txBody>
          <a:bodyPr wrap="square">
            <a:spAutoFit/>
          </a:bodyPr>
          <a:lstStyle/>
          <a:p>
            <a:r>
              <a:rPr lang="en-US" sz="2400" b="1" dirty="0" smtClean="0">
                <a:solidFill>
                  <a:srgbClr val="222222"/>
                </a:solidFill>
                <a:latin typeface="segoe-ui_bold"/>
              </a:rPr>
              <a:t>Lab Practice: </a:t>
            </a:r>
          </a:p>
          <a:p>
            <a:endParaRPr lang="en-US" sz="2400" b="1" dirty="0" smtClean="0">
              <a:solidFill>
                <a:srgbClr val="222222"/>
              </a:solidFill>
              <a:latin typeface="segoe-ui_bold"/>
            </a:endParaRPr>
          </a:p>
          <a:p>
            <a:pPr>
              <a:buFont typeface="Arial" panose="020B0604020202020204" pitchFamily="34" charset="0"/>
              <a:buChar char="•"/>
            </a:pPr>
            <a:r>
              <a:rPr lang="en-US" b="1" dirty="0" smtClean="0">
                <a:solidFill>
                  <a:srgbClr val="222222"/>
                </a:solidFill>
                <a:latin typeface="segoe-ui_bold"/>
              </a:rPr>
              <a:t>Install Visual Studio 2017</a:t>
            </a:r>
          </a:p>
          <a:p>
            <a:pPr>
              <a:buFont typeface="Arial" panose="020B0604020202020204" pitchFamily="34" charset="0"/>
              <a:buChar char="•"/>
            </a:pPr>
            <a:r>
              <a:rPr lang="en-US" b="1" dirty="0" smtClean="0">
                <a:solidFill>
                  <a:srgbClr val="222222"/>
                </a:solidFill>
                <a:latin typeface="segoe-ui_bold"/>
              </a:rPr>
              <a:t>ASP.NET </a:t>
            </a:r>
            <a:r>
              <a:rPr lang="en-US" b="1" dirty="0">
                <a:solidFill>
                  <a:srgbClr val="222222"/>
                </a:solidFill>
                <a:latin typeface="segoe-ui_bold"/>
              </a:rPr>
              <a:t>and web development </a:t>
            </a:r>
            <a:endParaRPr lang="en-US" dirty="0">
              <a:solidFill>
                <a:srgbClr val="222222"/>
              </a:solidFill>
              <a:latin typeface="segoe-ui_normal"/>
            </a:endParaRPr>
          </a:p>
          <a:p>
            <a:pPr>
              <a:buFont typeface="Arial" panose="020B0604020202020204" pitchFamily="34" charset="0"/>
              <a:buChar char="•"/>
            </a:pPr>
            <a:r>
              <a:rPr lang="en-US" b="1" dirty="0">
                <a:solidFill>
                  <a:srgbClr val="222222"/>
                </a:solidFill>
                <a:latin typeface="segoe-ui_bold"/>
              </a:rPr>
              <a:t>Azure development</a:t>
            </a:r>
            <a:endParaRPr lang="en-US" b="0" i="0" dirty="0">
              <a:solidFill>
                <a:srgbClr val="222222"/>
              </a:solidFill>
              <a:effectLst/>
              <a:latin typeface="segoe-ui_normal"/>
            </a:endParaRPr>
          </a:p>
        </p:txBody>
      </p:sp>
    </p:spTree>
    <p:extLst>
      <p:ext uri="{BB962C8B-B14F-4D97-AF65-F5344CB8AC3E}">
        <p14:creationId xmlns:p14="http://schemas.microsoft.com/office/powerpoint/2010/main" val="23366710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81.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821" y="252328"/>
            <a:ext cx="10240453" cy="748025"/>
          </a:xfrm>
        </p:spPr>
        <p:txBody>
          <a:bodyPr>
            <a:normAutofit fontScale="90000"/>
          </a:bodyPr>
          <a:lstStyle/>
          <a:p>
            <a:r>
              <a:rPr lang="en-IN" sz="5400" spc="-24" baseline="1066" dirty="0" smtClean="0">
                <a:solidFill>
                  <a:srgbClr val="FFFFFF"/>
                </a:solidFill>
                <a:latin typeface="Segoe UI Light"/>
                <a:cs typeface="Segoe UI Light"/>
              </a:rPr>
              <a:t>Developing with </a:t>
            </a:r>
            <a:r>
              <a:rPr lang="en-IN" sz="5400" spc="-24" baseline="1066" dirty="0" err="1" smtClean="0">
                <a:solidFill>
                  <a:srgbClr val="FFFFFF"/>
                </a:solidFill>
                <a:latin typeface="Segoe UI Light"/>
                <a:cs typeface="Segoe UI Light"/>
              </a:rPr>
              <a:t>.Net</a:t>
            </a:r>
            <a:r>
              <a:rPr lang="en-IN" sz="5400" spc="-24" baseline="1066" dirty="0" smtClean="0">
                <a:solidFill>
                  <a:srgbClr val="FFFFFF"/>
                </a:solidFill>
                <a:latin typeface="Segoe UI Light"/>
                <a:cs typeface="Segoe UI Light"/>
              </a:rPr>
              <a:t> on Microsoft Azure</a:t>
            </a:r>
            <a:endParaRPr lang="en-IN" dirty="0"/>
          </a:p>
        </p:txBody>
      </p:sp>
      <p:pic>
        <p:nvPicPr>
          <p:cNvPr id="4" name="Picture 3"/>
          <p:cNvPicPr>
            <a:picLocks noChangeAspect="1"/>
          </p:cNvPicPr>
          <p:nvPr/>
        </p:nvPicPr>
        <p:blipFill>
          <a:blip r:embed="rId3"/>
          <a:stretch>
            <a:fillRect/>
          </a:stretch>
        </p:blipFill>
        <p:spPr>
          <a:xfrm>
            <a:off x="597353" y="1000353"/>
            <a:ext cx="6227990" cy="5641521"/>
          </a:xfrm>
          <a:prstGeom prst="rect">
            <a:avLst/>
          </a:prstGeom>
        </p:spPr>
      </p:pic>
    </p:spTree>
    <p:extLst>
      <p:ext uri="{BB962C8B-B14F-4D97-AF65-F5344CB8AC3E}">
        <p14:creationId xmlns:p14="http://schemas.microsoft.com/office/powerpoint/2010/main" val="1336401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315201" y="432709"/>
            <a:ext cx="4876800" cy="5886447"/>
          </a:xfrm>
        </p:spPr>
        <p:txBody>
          <a:bodyPr>
            <a:normAutofit/>
          </a:bodyPr>
          <a:lstStyle/>
          <a:p>
            <a:r>
              <a:rPr lang="en-IN" sz="4000" b="1" dirty="0" smtClean="0">
                <a:effectLst>
                  <a:outerShdw blurRad="38100" dist="38100" dir="2700000" algn="tl">
                    <a:srgbClr val="000000">
                      <a:alpha val="43137"/>
                    </a:srgbClr>
                  </a:outerShdw>
                </a:effectLst>
              </a:rPr>
              <a:t>Features</a:t>
            </a:r>
            <a:r>
              <a:rPr lang="en-IN" sz="4000" dirty="0" smtClean="0"/>
              <a:t>: </a:t>
            </a:r>
            <a:br>
              <a:rPr lang="en-IN" sz="4000" dirty="0" smtClean="0"/>
            </a:br>
            <a:r>
              <a:rPr lang="en-IN" sz="4000" dirty="0" smtClean="0"/>
              <a:t/>
            </a:r>
            <a:br>
              <a:rPr lang="en-IN" sz="4000" dirty="0" smtClean="0"/>
            </a:br>
            <a:r>
              <a:rPr lang="en-IN" sz="4000" dirty="0" smtClean="0"/>
              <a:t>We can create multiple Web App using same App service Plan.</a:t>
            </a:r>
            <a:br>
              <a:rPr lang="en-IN" sz="4000" dirty="0" smtClean="0"/>
            </a:br>
            <a:r>
              <a:rPr lang="en-IN" sz="4000" dirty="0" smtClean="0"/>
              <a:t/>
            </a:r>
            <a:br>
              <a:rPr lang="en-IN" sz="4000" dirty="0" smtClean="0"/>
            </a:br>
            <a:r>
              <a:rPr lang="en-IN" sz="4000" dirty="0" smtClean="0"/>
              <a:t>We can scale up/down.</a:t>
            </a:r>
            <a:br>
              <a:rPr lang="en-IN" sz="4000" dirty="0" smtClean="0"/>
            </a:br>
            <a:r>
              <a:rPr lang="en-IN" sz="4000" dirty="0" smtClean="0"/>
              <a:t/>
            </a:r>
            <a:br>
              <a:rPr lang="en-IN" sz="4000" dirty="0" smtClean="0"/>
            </a:br>
            <a:r>
              <a:rPr lang="en-IN" sz="4000" dirty="0" smtClean="0"/>
              <a:t>Single Plan can run on multiple instances</a:t>
            </a:r>
            <a:endParaRPr lang="en-IN" sz="4000" dirty="0"/>
          </a:p>
        </p:txBody>
      </p:sp>
      <p:pic>
        <p:nvPicPr>
          <p:cNvPr id="5" name="Picture 4"/>
          <p:cNvPicPr>
            <a:picLocks noChangeAspect="1"/>
          </p:cNvPicPr>
          <p:nvPr/>
        </p:nvPicPr>
        <p:blipFill>
          <a:blip r:embed="rId2"/>
          <a:stretch>
            <a:fillRect/>
          </a:stretch>
        </p:blipFill>
        <p:spPr>
          <a:xfrm>
            <a:off x="361949" y="432709"/>
            <a:ext cx="6708322" cy="5886448"/>
          </a:xfrm>
          <a:prstGeom prst="rect">
            <a:avLst/>
          </a:prstGeom>
        </p:spPr>
      </p:pic>
    </p:spTree>
    <p:extLst>
      <p:ext uri="{BB962C8B-B14F-4D97-AF65-F5344CB8AC3E}">
        <p14:creationId xmlns:p14="http://schemas.microsoft.com/office/powerpoint/2010/main" val="14970288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83.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endParaRPr lang="en-IN"/>
          </a:p>
        </p:txBody>
      </p:sp>
      <p:sp>
        <p:nvSpPr>
          <p:cNvPr id="3" name="Text Placeholder 2"/>
          <p:cNvSpPr>
            <a:spLocks noGrp="1"/>
          </p:cNvSpPr>
          <p:nvPr>
            <p:ph type="body" sz="quarter" idx="12"/>
          </p:nvPr>
        </p:nvSpPr>
        <p:spPr/>
        <p:txBody>
          <a:bodyPr/>
          <a:lstStyle/>
          <a:p>
            <a:endParaRPr lang="en-IN"/>
          </a:p>
        </p:txBody>
      </p:sp>
      <p:pic>
        <p:nvPicPr>
          <p:cNvPr id="4" name="Picture 3"/>
          <p:cNvPicPr>
            <a:picLocks noChangeAspect="1"/>
          </p:cNvPicPr>
          <p:nvPr/>
        </p:nvPicPr>
        <p:blipFill>
          <a:blip r:embed="rId3"/>
          <a:stretch>
            <a:fillRect/>
          </a:stretch>
        </p:blipFill>
        <p:spPr>
          <a:xfrm>
            <a:off x="327932" y="204107"/>
            <a:ext cx="11372850" cy="5143500"/>
          </a:xfrm>
          <a:prstGeom prst="rect">
            <a:avLst/>
          </a:prstGeom>
        </p:spPr>
      </p:pic>
    </p:spTree>
    <p:extLst>
      <p:ext uri="{BB962C8B-B14F-4D97-AF65-F5344CB8AC3E}">
        <p14:creationId xmlns:p14="http://schemas.microsoft.com/office/powerpoint/2010/main" val="37355840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endParaRPr lang="en-IN"/>
          </a:p>
        </p:txBody>
      </p:sp>
      <p:sp>
        <p:nvSpPr>
          <p:cNvPr id="3" name="Text Placeholder 2"/>
          <p:cNvSpPr>
            <a:spLocks noGrp="1"/>
          </p:cNvSpPr>
          <p:nvPr>
            <p:ph type="body" sz="quarter" idx="12"/>
          </p:nvPr>
        </p:nvSpPr>
        <p:spPr/>
        <p:txBody>
          <a:bodyPr/>
          <a:lstStyle/>
          <a:p>
            <a:endParaRPr lang="en-IN"/>
          </a:p>
        </p:txBody>
      </p:sp>
      <p:pic>
        <p:nvPicPr>
          <p:cNvPr id="4" name="Picture 3"/>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834510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endParaRPr lang="en-IN"/>
          </a:p>
        </p:txBody>
      </p:sp>
      <p:sp>
        <p:nvSpPr>
          <p:cNvPr id="3" name="Text Placeholder 2"/>
          <p:cNvSpPr>
            <a:spLocks noGrp="1"/>
          </p:cNvSpPr>
          <p:nvPr>
            <p:ph type="body" sz="quarter" idx="12"/>
          </p:nvPr>
        </p:nvSpPr>
        <p:spPr/>
        <p:txBody>
          <a:bodyPr/>
          <a:lstStyle/>
          <a:p>
            <a:endParaRPr lang="en-IN"/>
          </a:p>
        </p:txBody>
      </p:sp>
      <p:pic>
        <p:nvPicPr>
          <p:cNvPr id="4" name="Picture 3"/>
          <p:cNvPicPr>
            <a:picLocks noChangeAspect="1"/>
          </p:cNvPicPr>
          <p:nvPr/>
        </p:nvPicPr>
        <p:blipFill>
          <a:blip r:embed="rId3"/>
          <a:stretch>
            <a:fillRect/>
          </a:stretch>
        </p:blipFill>
        <p:spPr>
          <a:xfrm>
            <a:off x="-9525" y="0"/>
            <a:ext cx="12201525" cy="6858000"/>
          </a:xfrm>
          <a:prstGeom prst="rect">
            <a:avLst/>
          </a:prstGeom>
        </p:spPr>
      </p:pic>
    </p:spTree>
    <p:extLst>
      <p:ext uri="{BB962C8B-B14F-4D97-AF65-F5344CB8AC3E}">
        <p14:creationId xmlns:p14="http://schemas.microsoft.com/office/powerpoint/2010/main" val="17996266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endParaRPr lang="en-IN"/>
          </a:p>
        </p:txBody>
      </p:sp>
      <p:sp>
        <p:nvSpPr>
          <p:cNvPr id="3" name="Text Placeholder 2"/>
          <p:cNvSpPr>
            <a:spLocks noGrp="1"/>
          </p:cNvSpPr>
          <p:nvPr>
            <p:ph type="body" sz="quarter" idx="12"/>
          </p:nvPr>
        </p:nvSpPr>
        <p:spPr/>
        <p:txBody>
          <a:bodyPr/>
          <a:lstStyle/>
          <a:p>
            <a:endParaRPr lang="en-IN"/>
          </a:p>
        </p:txBody>
      </p:sp>
      <p:pic>
        <p:nvPicPr>
          <p:cNvPr id="4" name="Picture 3"/>
          <p:cNvPicPr>
            <a:picLocks noChangeAspect="1"/>
          </p:cNvPicPr>
          <p:nvPr/>
        </p:nvPicPr>
        <p:blipFill>
          <a:blip r:embed="rId2"/>
          <a:stretch>
            <a:fillRect/>
          </a:stretch>
        </p:blipFill>
        <p:spPr>
          <a:xfrm>
            <a:off x="0" y="-440406"/>
            <a:ext cx="12192000" cy="7298406"/>
          </a:xfrm>
          <a:prstGeom prst="rect">
            <a:avLst/>
          </a:prstGeom>
        </p:spPr>
      </p:pic>
    </p:spTree>
    <p:extLst>
      <p:ext uri="{BB962C8B-B14F-4D97-AF65-F5344CB8AC3E}">
        <p14:creationId xmlns:p14="http://schemas.microsoft.com/office/powerpoint/2010/main" val="9966080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87.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131350" y="2149164"/>
            <a:ext cx="10240453" cy="748025"/>
          </a:xfrm>
        </p:spPr>
        <p:txBody>
          <a:bodyPr>
            <a:normAutofit fontScale="90000"/>
          </a:bodyPr>
          <a:lstStyle/>
          <a:p>
            <a:r>
              <a:rPr lang="en-US" dirty="0">
                <a:solidFill>
                  <a:schemeClr val="bg1">
                    <a:lumMod val="95000"/>
                  </a:schemeClr>
                </a:solidFill>
              </a:rPr>
              <a:t>Lab 2: </a:t>
            </a:r>
            <a:r>
              <a:rPr lang="en-US" dirty="0" smtClean="0">
                <a:solidFill>
                  <a:schemeClr val="bg1">
                    <a:lumMod val="95000"/>
                  </a:schemeClr>
                </a:solidFill>
              </a:rPr>
              <a:t> Update  Application setting</a:t>
            </a:r>
            <a:br>
              <a:rPr lang="en-US" dirty="0" smtClean="0">
                <a:solidFill>
                  <a:schemeClr val="bg1">
                    <a:lumMod val="95000"/>
                  </a:schemeClr>
                </a:solidFill>
              </a:rPr>
            </a:br>
            <a:r>
              <a:rPr lang="en-US" dirty="0" smtClean="0">
                <a:solidFill>
                  <a:schemeClr val="bg1">
                    <a:lumMod val="95000"/>
                  </a:schemeClr>
                </a:solidFill>
              </a:rPr>
              <a:t/>
            </a:r>
            <a:br>
              <a:rPr lang="en-US" dirty="0" smtClean="0">
                <a:solidFill>
                  <a:schemeClr val="bg1">
                    <a:lumMod val="95000"/>
                  </a:schemeClr>
                </a:solidFill>
              </a:rPr>
            </a:br>
            <a:r>
              <a:rPr lang="en-US" sz="3600" dirty="0" smtClean="0">
                <a:solidFill>
                  <a:schemeClr val="bg1">
                    <a:lumMod val="95000"/>
                  </a:schemeClr>
                </a:solidFill>
              </a:rPr>
              <a:t>1. When </a:t>
            </a:r>
            <a:r>
              <a:rPr lang="en-US" sz="3600" dirty="0">
                <a:solidFill>
                  <a:schemeClr val="bg1">
                    <a:lumMod val="95000"/>
                  </a:schemeClr>
                </a:solidFill>
              </a:rPr>
              <a:t>we want to publish the app using visual studio, visual studio will create publish </a:t>
            </a:r>
            <a:r>
              <a:rPr lang="en-US" sz="3600" dirty="0" smtClean="0">
                <a:solidFill>
                  <a:schemeClr val="bg1">
                    <a:lumMod val="95000"/>
                  </a:schemeClr>
                </a:solidFill>
              </a:rPr>
              <a:t>profile.</a:t>
            </a:r>
            <a:endParaRPr lang="en-IN" sz="3600" dirty="0">
              <a:solidFill>
                <a:schemeClr val="bg1">
                  <a:lumMod val="95000"/>
                </a:schemeClr>
              </a:solidFill>
            </a:endParaRPr>
          </a:p>
        </p:txBody>
      </p:sp>
    </p:spTree>
    <p:extLst>
      <p:ext uri="{BB962C8B-B14F-4D97-AF65-F5344CB8AC3E}">
        <p14:creationId xmlns:p14="http://schemas.microsoft.com/office/powerpoint/2010/main" val="29558390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bject 13"/>
          <p:cNvSpPr/>
          <p:nvPr/>
        </p:nvSpPr>
        <p:spPr>
          <a:xfrm>
            <a:off x="0" y="1555"/>
            <a:ext cx="12182047" cy="6852401"/>
          </a:xfrm>
          <a:custGeom>
            <a:avLst/>
            <a:gdLst/>
            <a:ahLst/>
            <a:cxnLst/>
            <a:rect l="l" t="t" r="r" b="b"/>
            <a:pathLst>
              <a:path w="12435840" h="6995159">
                <a:moveTo>
                  <a:pt x="12435840" y="0"/>
                </a:moveTo>
                <a:lnTo>
                  <a:pt x="0" y="0"/>
                </a:lnTo>
                <a:lnTo>
                  <a:pt x="0" y="6995158"/>
                </a:lnTo>
                <a:lnTo>
                  <a:pt x="12435840" y="6995158"/>
                </a:lnTo>
                <a:lnTo>
                  <a:pt x="12435840" y="0"/>
                </a:lnTo>
                <a:close/>
              </a:path>
            </a:pathLst>
          </a:custGeom>
          <a:solidFill>
            <a:schemeClr val="bg2">
              <a:lumMod val="50000"/>
            </a:schemeClr>
          </a:solidFill>
          <a:ln>
            <a:solidFill>
              <a:schemeClr val="tx1"/>
            </a:solidFill>
          </a:ln>
        </p:spPr>
        <p:style>
          <a:lnRef idx="2">
            <a:schemeClr val="accent1"/>
          </a:lnRef>
          <a:fillRef idx="1">
            <a:schemeClr val="lt1"/>
          </a:fillRef>
          <a:effectRef idx="0">
            <a:schemeClr val="accent1"/>
          </a:effectRef>
          <a:fontRef idx="minor">
            <a:schemeClr val="dk1"/>
          </a:fontRef>
        </p:style>
        <p:txBody>
          <a:bodyPr wrap="square" lIns="0" tIns="0" rIns="0" bIns="0" rtlCol="0">
            <a:noAutofit/>
          </a:bodyPr>
          <a:lstStyle/>
          <a:p>
            <a:r>
              <a:rPr lang="en-IN" dirty="0" smtClean="0">
                <a:solidFill>
                  <a:schemeClr val="tx1">
                    <a:lumMod val="95000"/>
                    <a:lumOff val="5000"/>
                  </a:schemeClr>
                </a:solidFill>
              </a:rPr>
              <a:t>																																																																																																																																																																																																																												</a:t>
            </a:r>
            <a:endParaRPr lang="en-IN" dirty="0">
              <a:solidFill>
                <a:schemeClr val="tx1">
                  <a:lumMod val="95000"/>
                  <a:lumOff val="5000"/>
                </a:schemeClr>
              </a:solidFill>
            </a:endParaRPr>
          </a:p>
        </p:txBody>
      </p:sp>
      <p:sp>
        <p:nvSpPr>
          <p:cNvPr id="9" name="object 9"/>
          <p:cNvSpPr/>
          <p:nvPr/>
        </p:nvSpPr>
        <p:spPr>
          <a:xfrm>
            <a:off x="2679660" y="2526869"/>
            <a:ext cx="108120" cy="192033"/>
          </a:xfrm>
          <a:custGeom>
            <a:avLst/>
            <a:gdLst/>
            <a:ahLst/>
            <a:cxnLst/>
            <a:rect l="l" t="t" r="r" b="b"/>
            <a:pathLst>
              <a:path w="110373" h="196034">
                <a:moveTo>
                  <a:pt x="0" y="196034"/>
                </a:moveTo>
                <a:lnTo>
                  <a:pt x="110373" y="132616"/>
                </a:lnTo>
                <a:lnTo>
                  <a:pt x="110373" y="0"/>
                </a:lnTo>
                <a:lnTo>
                  <a:pt x="0" y="69197"/>
                </a:lnTo>
                <a:lnTo>
                  <a:pt x="0" y="196034"/>
                </a:lnTo>
                <a:close/>
              </a:path>
            </a:pathLst>
          </a:custGeom>
          <a:solidFill>
            <a:srgbClr val="FFFFFF"/>
          </a:solidFill>
        </p:spPr>
        <p:txBody>
          <a:bodyPr wrap="square" lIns="0" tIns="0" rIns="0" bIns="0" rtlCol="0">
            <a:noAutofit/>
          </a:bodyPr>
          <a:lstStyle/>
          <a:p>
            <a:endParaRPr sz="1763"/>
          </a:p>
        </p:txBody>
      </p:sp>
      <p:sp>
        <p:nvSpPr>
          <p:cNvPr id="10" name="object 10"/>
          <p:cNvSpPr/>
          <p:nvPr/>
        </p:nvSpPr>
        <p:spPr>
          <a:xfrm>
            <a:off x="2543095" y="2526869"/>
            <a:ext cx="108122" cy="192034"/>
          </a:xfrm>
          <a:custGeom>
            <a:avLst/>
            <a:gdLst/>
            <a:ahLst/>
            <a:cxnLst/>
            <a:rect l="l" t="t" r="r" b="b"/>
            <a:pathLst>
              <a:path w="110375" h="196035">
                <a:moveTo>
                  <a:pt x="0" y="132616"/>
                </a:moveTo>
                <a:lnTo>
                  <a:pt x="110375" y="196035"/>
                </a:lnTo>
                <a:lnTo>
                  <a:pt x="110375" y="69198"/>
                </a:lnTo>
                <a:lnTo>
                  <a:pt x="0" y="0"/>
                </a:lnTo>
                <a:lnTo>
                  <a:pt x="0" y="132616"/>
                </a:lnTo>
                <a:close/>
              </a:path>
            </a:pathLst>
          </a:custGeom>
          <a:solidFill>
            <a:srgbClr val="FFFFFF"/>
          </a:solidFill>
        </p:spPr>
        <p:txBody>
          <a:bodyPr wrap="square" lIns="0" tIns="0" rIns="0" bIns="0" rtlCol="0">
            <a:noAutofit/>
          </a:bodyPr>
          <a:lstStyle/>
          <a:p>
            <a:endParaRPr sz="1763"/>
          </a:p>
        </p:txBody>
      </p:sp>
      <p:sp>
        <p:nvSpPr>
          <p:cNvPr id="11" name="object 11"/>
          <p:cNvSpPr/>
          <p:nvPr/>
        </p:nvSpPr>
        <p:spPr>
          <a:xfrm>
            <a:off x="2554479" y="2430851"/>
            <a:ext cx="227597" cy="135552"/>
          </a:xfrm>
          <a:custGeom>
            <a:avLst/>
            <a:gdLst/>
            <a:ahLst/>
            <a:cxnLst/>
            <a:rect l="l" t="t" r="r" b="b"/>
            <a:pathLst>
              <a:path w="232339" h="138376">
                <a:moveTo>
                  <a:pt x="110359" y="0"/>
                </a:moveTo>
                <a:lnTo>
                  <a:pt x="0" y="63418"/>
                </a:lnTo>
                <a:lnTo>
                  <a:pt x="110359" y="138376"/>
                </a:lnTo>
                <a:lnTo>
                  <a:pt x="232339" y="63418"/>
                </a:lnTo>
                <a:lnTo>
                  <a:pt x="110359" y="0"/>
                </a:lnTo>
                <a:close/>
              </a:path>
            </a:pathLst>
          </a:custGeom>
          <a:solidFill>
            <a:srgbClr val="FFFFFF"/>
          </a:solidFill>
        </p:spPr>
        <p:txBody>
          <a:bodyPr wrap="square" lIns="0" tIns="0" rIns="0" bIns="0" rtlCol="0">
            <a:noAutofit/>
          </a:bodyPr>
          <a:lstStyle/>
          <a:p>
            <a:endParaRPr sz="1763"/>
          </a:p>
        </p:txBody>
      </p:sp>
      <p:sp>
        <p:nvSpPr>
          <p:cNvPr id="12" name="object 12"/>
          <p:cNvSpPr/>
          <p:nvPr/>
        </p:nvSpPr>
        <p:spPr>
          <a:xfrm>
            <a:off x="2406534" y="2261406"/>
            <a:ext cx="301585" cy="768141"/>
          </a:xfrm>
          <a:custGeom>
            <a:avLst/>
            <a:gdLst/>
            <a:ahLst/>
            <a:cxnLst/>
            <a:rect l="l" t="t" r="r" b="b"/>
            <a:pathLst>
              <a:path w="307868" h="784144">
                <a:moveTo>
                  <a:pt x="258912" y="0"/>
                </a:moveTo>
                <a:lnTo>
                  <a:pt x="187592" y="0"/>
                </a:lnTo>
                <a:lnTo>
                  <a:pt x="218139" y="28838"/>
                </a:lnTo>
                <a:lnTo>
                  <a:pt x="262037" y="28839"/>
                </a:lnTo>
                <a:lnTo>
                  <a:pt x="258912" y="0"/>
                </a:lnTo>
                <a:close/>
              </a:path>
              <a:path w="307868" h="784144">
                <a:moveTo>
                  <a:pt x="118946" y="-57658"/>
                </a:moveTo>
                <a:lnTo>
                  <a:pt x="53272" y="-57658"/>
                </a:lnTo>
                <a:lnTo>
                  <a:pt x="52276" y="28838"/>
                </a:lnTo>
                <a:lnTo>
                  <a:pt x="218139" y="28838"/>
                </a:lnTo>
                <a:lnTo>
                  <a:pt x="187592" y="0"/>
                </a:lnTo>
                <a:lnTo>
                  <a:pt x="185879" y="0"/>
                </a:lnTo>
                <a:lnTo>
                  <a:pt x="170178" y="-1352"/>
                </a:lnTo>
                <a:lnTo>
                  <a:pt x="162653" y="-10823"/>
                </a:lnTo>
                <a:lnTo>
                  <a:pt x="162638" y="-11539"/>
                </a:lnTo>
                <a:lnTo>
                  <a:pt x="168361" y="-25760"/>
                </a:lnTo>
                <a:lnTo>
                  <a:pt x="181613" y="-28787"/>
                </a:lnTo>
                <a:lnTo>
                  <a:pt x="348528" y="-28819"/>
                </a:lnTo>
                <a:lnTo>
                  <a:pt x="362828" y="-27358"/>
                </a:lnTo>
                <a:lnTo>
                  <a:pt x="371241" y="-17133"/>
                </a:lnTo>
                <a:lnTo>
                  <a:pt x="371740" y="-11539"/>
                </a:lnTo>
                <a:lnTo>
                  <a:pt x="364747" y="-1531"/>
                </a:lnTo>
                <a:lnTo>
                  <a:pt x="349229" y="0"/>
                </a:lnTo>
                <a:lnTo>
                  <a:pt x="258912" y="0"/>
                </a:lnTo>
                <a:lnTo>
                  <a:pt x="262037" y="28839"/>
                </a:lnTo>
                <a:lnTo>
                  <a:pt x="482114" y="28839"/>
                </a:lnTo>
                <a:lnTo>
                  <a:pt x="482114" y="578618"/>
                </a:lnTo>
                <a:lnTo>
                  <a:pt x="496532" y="724518"/>
                </a:lnTo>
                <a:lnTo>
                  <a:pt x="520113" y="710371"/>
                </a:lnTo>
                <a:lnTo>
                  <a:pt x="533118" y="686154"/>
                </a:lnTo>
                <a:lnTo>
                  <a:pt x="534399" y="674594"/>
                </a:lnTo>
                <a:lnTo>
                  <a:pt x="534399" y="0"/>
                </a:lnTo>
                <a:lnTo>
                  <a:pt x="527582" y="-27217"/>
                </a:lnTo>
                <a:lnTo>
                  <a:pt x="509551" y="-48429"/>
                </a:lnTo>
                <a:lnTo>
                  <a:pt x="483936" y="-57620"/>
                </a:lnTo>
                <a:lnTo>
                  <a:pt x="118946" y="-57658"/>
                </a:lnTo>
                <a:close/>
              </a:path>
              <a:path w="307868" h="784144">
                <a:moveTo>
                  <a:pt x="275407" y="680362"/>
                </a:moveTo>
                <a:lnTo>
                  <a:pt x="226529" y="680362"/>
                </a:lnTo>
                <a:lnTo>
                  <a:pt x="214571" y="726485"/>
                </a:lnTo>
                <a:lnTo>
                  <a:pt x="298324" y="726485"/>
                </a:lnTo>
                <a:lnTo>
                  <a:pt x="307868" y="680362"/>
                </a:lnTo>
                <a:lnTo>
                  <a:pt x="275407" y="680362"/>
                </a:lnTo>
                <a:close/>
              </a:path>
              <a:path w="307868" h="784144">
                <a:moveTo>
                  <a:pt x="0" y="590270"/>
                </a:moveTo>
                <a:lnTo>
                  <a:pt x="0" y="674594"/>
                </a:lnTo>
                <a:lnTo>
                  <a:pt x="2175" y="689684"/>
                </a:lnTo>
                <a:lnTo>
                  <a:pt x="8138" y="702994"/>
                </a:lnTo>
                <a:lnTo>
                  <a:pt x="17047" y="713895"/>
                </a:lnTo>
                <a:lnTo>
                  <a:pt x="28055" y="721759"/>
                </a:lnTo>
                <a:lnTo>
                  <a:pt x="40321" y="725957"/>
                </a:lnTo>
                <a:lnTo>
                  <a:pt x="214571" y="726485"/>
                </a:lnTo>
                <a:lnTo>
                  <a:pt x="226529" y="680362"/>
                </a:lnTo>
                <a:lnTo>
                  <a:pt x="209587" y="677291"/>
                </a:lnTo>
                <a:lnTo>
                  <a:pt x="200633" y="674680"/>
                </a:lnTo>
                <a:lnTo>
                  <a:pt x="197581" y="666322"/>
                </a:lnTo>
                <a:lnTo>
                  <a:pt x="197495" y="663064"/>
                </a:lnTo>
                <a:lnTo>
                  <a:pt x="201351" y="653014"/>
                </a:lnTo>
                <a:lnTo>
                  <a:pt x="211981" y="645630"/>
                </a:lnTo>
                <a:lnTo>
                  <a:pt x="226529" y="639999"/>
                </a:lnTo>
                <a:lnTo>
                  <a:pt x="313671" y="639999"/>
                </a:lnTo>
                <a:lnTo>
                  <a:pt x="325615" y="648089"/>
                </a:lnTo>
                <a:lnTo>
                  <a:pt x="330842" y="659109"/>
                </a:lnTo>
                <a:lnTo>
                  <a:pt x="331100" y="663064"/>
                </a:lnTo>
                <a:lnTo>
                  <a:pt x="331100" y="674594"/>
                </a:lnTo>
                <a:lnTo>
                  <a:pt x="325277" y="680362"/>
                </a:lnTo>
                <a:lnTo>
                  <a:pt x="307868" y="680362"/>
                </a:lnTo>
                <a:lnTo>
                  <a:pt x="298324" y="726485"/>
                </a:lnTo>
                <a:lnTo>
                  <a:pt x="482114" y="726485"/>
                </a:lnTo>
                <a:lnTo>
                  <a:pt x="496532" y="724518"/>
                </a:lnTo>
                <a:lnTo>
                  <a:pt x="482114" y="578618"/>
                </a:lnTo>
                <a:lnTo>
                  <a:pt x="482114" y="593874"/>
                </a:lnTo>
                <a:lnTo>
                  <a:pt x="52276" y="593874"/>
                </a:lnTo>
                <a:lnTo>
                  <a:pt x="52276" y="28838"/>
                </a:lnTo>
                <a:lnTo>
                  <a:pt x="53272" y="-57658"/>
                </a:lnTo>
                <a:lnTo>
                  <a:pt x="46465" y="-57658"/>
                </a:lnTo>
                <a:lnTo>
                  <a:pt x="34625" y="-55259"/>
                </a:lnTo>
                <a:lnTo>
                  <a:pt x="23491" y="-48644"/>
                </a:lnTo>
                <a:lnTo>
                  <a:pt x="13765" y="-38686"/>
                </a:lnTo>
                <a:lnTo>
                  <a:pt x="6150" y="-26259"/>
                </a:lnTo>
                <a:lnTo>
                  <a:pt x="1347" y="-12236"/>
                </a:lnTo>
                <a:lnTo>
                  <a:pt x="0" y="0"/>
                </a:lnTo>
                <a:lnTo>
                  <a:pt x="0" y="590270"/>
                </a:lnTo>
                <a:close/>
              </a:path>
            </a:pathLst>
          </a:custGeom>
          <a:solidFill>
            <a:srgbClr val="FFFFFF"/>
          </a:solidFill>
        </p:spPr>
        <p:txBody>
          <a:bodyPr wrap="square" lIns="0" tIns="0" rIns="0" bIns="0" rtlCol="0">
            <a:noAutofit/>
          </a:bodyPr>
          <a:lstStyle/>
          <a:p>
            <a:endParaRPr sz="1763"/>
          </a:p>
        </p:txBody>
      </p:sp>
      <p:sp>
        <p:nvSpPr>
          <p:cNvPr id="8" name="object 8"/>
          <p:cNvSpPr txBox="1"/>
          <p:nvPr/>
        </p:nvSpPr>
        <p:spPr>
          <a:xfrm>
            <a:off x="5278887" y="933710"/>
            <a:ext cx="5585823" cy="1082962"/>
          </a:xfrm>
          <a:prstGeom prst="rect">
            <a:avLst/>
          </a:prstGeom>
        </p:spPr>
        <p:txBody>
          <a:bodyPr wrap="square" lIns="0" tIns="0" rIns="0" bIns="0" rtlCol="0">
            <a:noAutofit/>
          </a:bodyPr>
          <a:lstStyle/>
          <a:p>
            <a:pPr marL="12441">
              <a:lnSpc>
                <a:spcPts val="3394"/>
              </a:lnSpc>
              <a:spcBef>
                <a:spcPts val="169"/>
              </a:spcBef>
            </a:pPr>
            <a:r>
              <a:rPr sz="4629" spc="-14" baseline="1591" dirty="0">
                <a:solidFill>
                  <a:srgbClr val="FFFFFF"/>
                </a:solidFill>
                <a:effectLst>
                  <a:outerShdw blurRad="38100" dist="38100" dir="2700000" algn="tl">
                    <a:srgbClr val="000000">
                      <a:alpha val="43137"/>
                    </a:srgbClr>
                  </a:outerShdw>
                </a:effectLst>
                <a:latin typeface="Segoe UI Light"/>
                <a:cs typeface="Segoe UI Light"/>
              </a:rPr>
              <a:t>Ne</a:t>
            </a:r>
            <a:r>
              <a:rPr sz="4629" baseline="1591" dirty="0">
                <a:solidFill>
                  <a:srgbClr val="FFFFFF"/>
                </a:solidFill>
                <a:effectLst>
                  <a:outerShdw blurRad="38100" dist="38100" dir="2700000" algn="tl">
                    <a:srgbClr val="000000">
                      <a:alpha val="43137"/>
                    </a:srgbClr>
                  </a:outerShdw>
                </a:effectLst>
                <a:latin typeface="Segoe UI Light"/>
                <a:cs typeface="Segoe UI Light"/>
              </a:rPr>
              <a:t>w</a:t>
            </a:r>
            <a:r>
              <a:rPr sz="4629" spc="87" baseline="1591" dirty="0">
                <a:solidFill>
                  <a:srgbClr val="FFFFFF"/>
                </a:solidFill>
                <a:effectLst>
                  <a:outerShdw blurRad="38100" dist="38100" dir="2700000" algn="tl">
                    <a:srgbClr val="000000">
                      <a:alpha val="43137"/>
                    </a:srgbClr>
                  </a:outerShdw>
                </a:effectLst>
                <a:latin typeface="Segoe UI Light"/>
                <a:cs typeface="Segoe UI Light"/>
              </a:rPr>
              <a:t> </a:t>
            </a:r>
            <a:r>
              <a:rPr sz="4629" spc="28" baseline="1591" dirty="0">
                <a:solidFill>
                  <a:srgbClr val="FFFFFF"/>
                </a:solidFill>
                <a:effectLst>
                  <a:outerShdw blurRad="38100" dist="38100" dir="2700000" algn="tl">
                    <a:srgbClr val="000000">
                      <a:alpha val="43137"/>
                    </a:srgbClr>
                  </a:outerShdw>
                </a:effectLst>
                <a:latin typeface="Segoe UI Light"/>
                <a:cs typeface="Segoe UI Light"/>
              </a:rPr>
              <a:t>c</a:t>
            </a:r>
            <a:r>
              <a:rPr sz="4629" spc="14" baseline="1591" dirty="0">
                <a:solidFill>
                  <a:srgbClr val="FFFFFF"/>
                </a:solidFill>
                <a:effectLst>
                  <a:outerShdw blurRad="38100" dist="38100" dir="2700000" algn="tl">
                    <a:srgbClr val="000000">
                      <a:alpha val="43137"/>
                    </a:srgbClr>
                  </a:outerShdw>
                </a:effectLst>
                <a:latin typeface="Segoe UI Light"/>
                <a:cs typeface="Segoe UI Light"/>
              </a:rPr>
              <a:t>a</a:t>
            </a:r>
            <a:r>
              <a:rPr sz="4629" spc="19" baseline="1591" dirty="0">
                <a:solidFill>
                  <a:srgbClr val="FFFFFF"/>
                </a:solidFill>
                <a:effectLst>
                  <a:outerShdw blurRad="38100" dist="38100" dir="2700000" algn="tl">
                    <a:srgbClr val="000000">
                      <a:alpha val="43137"/>
                    </a:srgbClr>
                  </a:outerShdw>
                </a:effectLst>
                <a:latin typeface="Segoe UI Light"/>
                <a:cs typeface="Segoe UI Light"/>
              </a:rPr>
              <a:t>p</a:t>
            </a:r>
            <a:r>
              <a:rPr sz="4629" spc="14" baseline="1591" dirty="0">
                <a:solidFill>
                  <a:srgbClr val="FFFFFF"/>
                </a:solidFill>
                <a:effectLst>
                  <a:outerShdw blurRad="38100" dist="38100" dir="2700000" algn="tl">
                    <a:srgbClr val="000000">
                      <a:alpha val="43137"/>
                    </a:srgbClr>
                  </a:outerShdw>
                </a:effectLst>
                <a:latin typeface="Segoe UI Light"/>
                <a:cs typeface="Segoe UI Light"/>
              </a:rPr>
              <a:t>a</a:t>
            </a:r>
            <a:r>
              <a:rPr sz="4629" spc="19" baseline="1591" dirty="0">
                <a:solidFill>
                  <a:srgbClr val="FFFFFF"/>
                </a:solidFill>
                <a:effectLst>
                  <a:outerShdw blurRad="38100" dist="38100" dir="2700000" algn="tl">
                    <a:srgbClr val="000000">
                      <a:alpha val="43137"/>
                    </a:srgbClr>
                  </a:outerShdw>
                </a:effectLst>
                <a:latin typeface="Segoe UI Light"/>
                <a:cs typeface="Segoe UI Light"/>
              </a:rPr>
              <a:t>b</a:t>
            </a:r>
            <a:r>
              <a:rPr sz="4629" baseline="1591" dirty="0">
                <a:solidFill>
                  <a:srgbClr val="FFFFFF"/>
                </a:solidFill>
                <a:effectLst>
                  <a:outerShdw blurRad="38100" dist="38100" dir="2700000" algn="tl">
                    <a:srgbClr val="000000">
                      <a:alpha val="43137"/>
                    </a:srgbClr>
                  </a:outerShdw>
                </a:effectLst>
                <a:latin typeface="Segoe UI Light"/>
                <a:cs typeface="Segoe UI Light"/>
              </a:rPr>
              <a:t>iliti</a:t>
            </a:r>
            <a:r>
              <a:rPr sz="4629" spc="-19" baseline="1591" dirty="0">
                <a:solidFill>
                  <a:srgbClr val="FFFFFF"/>
                </a:solidFill>
                <a:effectLst>
                  <a:outerShdw blurRad="38100" dist="38100" dir="2700000" algn="tl">
                    <a:srgbClr val="000000">
                      <a:alpha val="43137"/>
                    </a:srgbClr>
                  </a:outerShdw>
                </a:effectLst>
                <a:latin typeface="Segoe UI Light"/>
                <a:cs typeface="Segoe UI Light"/>
              </a:rPr>
              <a:t>e</a:t>
            </a:r>
            <a:r>
              <a:rPr sz="4629" baseline="1591" dirty="0">
                <a:solidFill>
                  <a:srgbClr val="FFFFFF"/>
                </a:solidFill>
                <a:effectLst>
                  <a:outerShdw blurRad="38100" dist="38100" dir="2700000" algn="tl">
                    <a:srgbClr val="000000">
                      <a:alpha val="43137"/>
                    </a:srgbClr>
                  </a:outerShdw>
                </a:effectLst>
                <a:latin typeface="Segoe UI Light"/>
                <a:cs typeface="Segoe UI Light"/>
              </a:rPr>
              <a:t>s</a:t>
            </a:r>
            <a:r>
              <a:rPr sz="4629" spc="68" baseline="1591" dirty="0">
                <a:solidFill>
                  <a:srgbClr val="FFFFFF"/>
                </a:solidFill>
                <a:effectLst>
                  <a:outerShdw blurRad="38100" dist="38100" dir="2700000" algn="tl">
                    <a:srgbClr val="000000">
                      <a:alpha val="43137"/>
                    </a:srgbClr>
                  </a:outerShdw>
                </a:effectLst>
                <a:latin typeface="Segoe UI Light"/>
                <a:cs typeface="Segoe UI Light"/>
              </a:rPr>
              <a:t> </a:t>
            </a:r>
            <a:r>
              <a:rPr sz="4629" baseline="1591" dirty="0">
                <a:solidFill>
                  <a:srgbClr val="FFFFFF"/>
                </a:solidFill>
                <a:effectLst>
                  <a:outerShdw blurRad="38100" dist="38100" dir="2700000" algn="tl">
                    <a:srgbClr val="000000">
                      <a:alpha val="43137"/>
                    </a:srgbClr>
                  </a:outerShdw>
                </a:effectLst>
                <a:latin typeface="Segoe UI Light"/>
                <a:cs typeface="Segoe UI Light"/>
              </a:rPr>
              <a:t>f</a:t>
            </a:r>
            <a:r>
              <a:rPr sz="4629" spc="9" baseline="1591" dirty="0">
                <a:solidFill>
                  <a:srgbClr val="FFFFFF"/>
                </a:solidFill>
                <a:effectLst>
                  <a:outerShdw blurRad="38100" dist="38100" dir="2700000" algn="tl">
                    <a:srgbClr val="000000">
                      <a:alpha val="43137"/>
                    </a:srgbClr>
                  </a:outerShdw>
                </a:effectLst>
                <a:latin typeface="Segoe UI Light"/>
                <a:cs typeface="Segoe UI Light"/>
              </a:rPr>
              <a:t>o</a:t>
            </a:r>
            <a:r>
              <a:rPr sz="4629" baseline="1591" dirty="0">
                <a:solidFill>
                  <a:srgbClr val="FFFFFF"/>
                </a:solidFill>
                <a:effectLst>
                  <a:outerShdw blurRad="38100" dist="38100" dir="2700000" algn="tl">
                    <a:srgbClr val="000000">
                      <a:alpha val="43137"/>
                    </a:srgbClr>
                  </a:outerShdw>
                </a:effectLst>
                <a:latin typeface="Segoe UI Light"/>
                <a:cs typeface="Segoe UI Light"/>
              </a:rPr>
              <a:t>r</a:t>
            </a:r>
            <a:r>
              <a:rPr sz="4629" spc="107" baseline="1591" dirty="0">
                <a:solidFill>
                  <a:srgbClr val="FFFFFF"/>
                </a:solidFill>
                <a:effectLst>
                  <a:outerShdw blurRad="38100" dist="38100" dir="2700000" algn="tl">
                    <a:srgbClr val="000000">
                      <a:alpha val="43137"/>
                    </a:srgbClr>
                  </a:outerShdw>
                </a:effectLst>
                <a:latin typeface="Segoe UI Light"/>
                <a:cs typeface="Segoe UI Light"/>
              </a:rPr>
              <a:t> </a:t>
            </a:r>
            <a:r>
              <a:rPr sz="4629" spc="19" baseline="1591" dirty="0">
                <a:solidFill>
                  <a:srgbClr val="FFFFFF"/>
                </a:solidFill>
                <a:effectLst>
                  <a:outerShdw blurRad="38100" dist="38100" dir="2700000" algn="tl">
                    <a:srgbClr val="000000">
                      <a:alpha val="43137"/>
                    </a:srgbClr>
                  </a:outerShdw>
                </a:effectLst>
                <a:latin typeface="Segoe UI Light"/>
                <a:cs typeface="Segoe UI Light"/>
              </a:rPr>
              <a:t>Mob</a:t>
            </a:r>
            <a:r>
              <a:rPr sz="4629" baseline="1591" dirty="0">
                <a:solidFill>
                  <a:srgbClr val="FFFFFF"/>
                </a:solidFill>
                <a:effectLst>
                  <a:outerShdw blurRad="38100" dist="38100" dir="2700000" algn="tl">
                    <a:srgbClr val="000000">
                      <a:alpha val="43137"/>
                    </a:srgbClr>
                  </a:outerShdw>
                </a:effectLst>
                <a:latin typeface="Segoe UI Light"/>
                <a:cs typeface="Segoe UI Light"/>
              </a:rPr>
              <a:t>ile </a:t>
            </a:r>
            <a:r>
              <a:rPr sz="4629" spc="9" baseline="1591" dirty="0">
                <a:solidFill>
                  <a:srgbClr val="FFFFFF"/>
                </a:solidFill>
                <a:effectLst>
                  <a:outerShdw blurRad="38100" dist="38100" dir="2700000" algn="tl">
                    <a:srgbClr val="000000">
                      <a:alpha val="43137"/>
                    </a:srgbClr>
                  </a:outerShdw>
                </a:effectLst>
                <a:latin typeface="Segoe UI Light"/>
                <a:cs typeface="Segoe UI Light"/>
              </a:rPr>
              <a:t>a</a:t>
            </a:r>
            <a:r>
              <a:rPr sz="4629" spc="19" baseline="1591" dirty="0">
                <a:solidFill>
                  <a:srgbClr val="FFFFFF"/>
                </a:solidFill>
                <a:effectLst>
                  <a:outerShdw blurRad="38100" dist="38100" dir="2700000" algn="tl">
                    <a:srgbClr val="000000">
                      <a:alpha val="43137"/>
                    </a:srgbClr>
                  </a:outerShdw>
                </a:effectLst>
                <a:latin typeface="Segoe UI Light"/>
                <a:cs typeface="Segoe UI Light"/>
              </a:rPr>
              <a:t>pp</a:t>
            </a:r>
            <a:r>
              <a:rPr sz="4629" baseline="1591" dirty="0">
                <a:solidFill>
                  <a:srgbClr val="FFFFFF"/>
                </a:solidFill>
                <a:effectLst>
                  <a:outerShdw blurRad="38100" dist="38100" dir="2700000" algn="tl">
                    <a:srgbClr val="000000">
                      <a:alpha val="43137"/>
                    </a:srgbClr>
                  </a:outerShdw>
                </a:effectLst>
                <a:latin typeface="Segoe UI Light"/>
                <a:cs typeface="Segoe UI Light"/>
              </a:rPr>
              <a:t>s</a:t>
            </a:r>
            <a:r>
              <a:rPr sz="4629" baseline="1591" dirty="0">
                <a:solidFill>
                  <a:srgbClr val="FFFFFF"/>
                </a:solidFill>
                <a:latin typeface="Segoe UI Light"/>
                <a:cs typeface="Segoe UI Light"/>
              </a:rPr>
              <a:t>:</a:t>
            </a:r>
            <a:endParaRPr sz="3086" dirty="0">
              <a:latin typeface="Segoe UI Light"/>
              <a:cs typeface="Segoe UI Light"/>
            </a:endParaRPr>
          </a:p>
          <a:p>
            <a:pPr marL="469645" marR="59212">
              <a:lnSpc>
                <a:spcPts val="3027"/>
              </a:lnSpc>
              <a:spcBef>
                <a:spcPts val="2089"/>
              </a:spcBef>
            </a:pPr>
            <a:r>
              <a:rPr sz="3453" baseline="-1233" dirty="0">
                <a:solidFill>
                  <a:srgbClr val="FFFFFF"/>
                </a:solidFill>
                <a:latin typeface="Arial"/>
                <a:cs typeface="Arial"/>
              </a:rPr>
              <a:t>• </a:t>
            </a:r>
            <a:r>
              <a:rPr sz="3453" spc="528" baseline="-1233" dirty="0">
                <a:solidFill>
                  <a:srgbClr val="FFFFFF"/>
                </a:solidFill>
                <a:latin typeface="Arial"/>
                <a:cs typeface="Arial"/>
              </a:rPr>
              <a:t> </a:t>
            </a:r>
            <a:r>
              <a:rPr sz="3453" spc="-38" baseline="-1066" dirty="0">
                <a:solidFill>
                  <a:srgbClr val="FFFFFF"/>
                </a:solidFill>
                <a:latin typeface="Segoe UI Light"/>
                <a:cs typeface="Segoe UI Light"/>
              </a:rPr>
              <a:t>W</a:t>
            </a:r>
            <a:r>
              <a:rPr sz="3453" spc="19" baseline="-1066" dirty="0">
                <a:solidFill>
                  <a:srgbClr val="FFFFFF"/>
                </a:solidFill>
                <a:latin typeface="Segoe UI Light"/>
                <a:cs typeface="Segoe UI Light"/>
              </a:rPr>
              <a:t>e</a:t>
            </a:r>
            <a:r>
              <a:rPr sz="3453" spc="-33" baseline="-1066" dirty="0">
                <a:solidFill>
                  <a:srgbClr val="FFFFFF"/>
                </a:solidFill>
                <a:latin typeface="Segoe UI Light"/>
                <a:cs typeface="Segoe UI Light"/>
              </a:rPr>
              <a:t>b</a:t>
            </a:r>
            <a:r>
              <a:rPr sz="3453" spc="14" baseline="-1066" dirty="0">
                <a:solidFill>
                  <a:srgbClr val="FFFFFF"/>
                </a:solidFill>
                <a:latin typeface="Segoe UI Light"/>
                <a:cs typeface="Segoe UI Light"/>
              </a:rPr>
              <a:t>j</a:t>
            </a:r>
            <a:r>
              <a:rPr sz="3453" spc="33" baseline="-1066" dirty="0">
                <a:solidFill>
                  <a:srgbClr val="FFFFFF"/>
                </a:solidFill>
                <a:latin typeface="Segoe UI Light"/>
                <a:cs typeface="Segoe UI Light"/>
              </a:rPr>
              <a:t>o</a:t>
            </a:r>
            <a:r>
              <a:rPr sz="3453" spc="-33" baseline="-1066" dirty="0">
                <a:solidFill>
                  <a:srgbClr val="FFFFFF"/>
                </a:solidFill>
                <a:latin typeface="Segoe UI Light"/>
                <a:cs typeface="Segoe UI Light"/>
              </a:rPr>
              <a:t>b</a:t>
            </a:r>
            <a:r>
              <a:rPr sz="3453" baseline="-1066" dirty="0">
                <a:solidFill>
                  <a:srgbClr val="FFFFFF"/>
                </a:solidFill>
                <a:latin typeface="Segoe UI Light"/>
                <a:cs typeface="Segoe UI Light"/>
              </a:rPr>
              <a:t>s</a:t>
            </a:r>
            <a:r>
              <a:rPr sz="3453" spc="177" baseline="-1066" dirty="0">
                <a:solidFill>
                  <a:srgbClr val="FFFFFF"/>
                </a:solidFill>
                <a:latin typeface="Segoe UI Light"/>
                <a:cs typeface="Segoe UI Light"/>
              </a:rPr>
              <a:t> </a:t>
            </a:r>
            <a:r>
              <a:rPr sz="3453" spc="-9" baseline="-1066" dirty="0">
                <a:solidFill>
                  <a:srgbClr val="FFFFFF"/>
                </a:solidFill>
                <a:latin typeface="Segoe UI Light"/>
                <a:cs typeface="Segoe UI Light"/>
              </a:rPr>
              <a:t>f</a:t>
            </a:r>
            <a:r>
              <a:rPr sz="3453" spc="28" baseline="-1066" dirty="0">
                <a:solidFill>
                  <a:srgbClr val="FFFFFF"/>
                </a:solidFill>
                <a:latin typeface="Segoe UI Light"/>
                <a:cs typeface="Segoe UI Light"/>
              </a:rPr>
              <a:t>o</a:t>
            </a:r>
            <a:r>
              <a:rPr sz="3453" baseline="-1066" dirty="0">
                <a:solidFill>
                  <a:srgbClr val="FFFFFF"/>
                </a:solidFill>
                <a:latin typeface="Segoe UI Light"/>
                <a:cs typeface="Segoe UI Light"/>
              </a:rPr>
              <a:t>r</a:t>
            </a:r>
            <a:r>
              <a:rPr sz="3453" spc="36" baseline="-1066" dirty="0">
                <a:solidFill>
                  <a:srgbClr val="FFFFFF"/>
                </a:solidFill>
                <a:latin typeface="Segoe UI Light"/>
                <a:cs typeface="Segoe UI Light"/>
              </a:rPr>
              <a:t> </a:t>
            </a:r>
            <a:r>
              <a:rPr sz="3453" spc="14" baseline="-1066" dirty="0">
                <a:solidFill>
                  <a:srgbClr val="FFFFFF"/>
                </a:solidFill>
                <a:latin typeface="Segoe UI Light"/>
                <a:cs typeface="Segoe UI Light"/>
              </a:rPr>
              <a:t>l</a:t>
            </a:r>
            <a:r>
              <a:rPr sz="3453" spc="28" baseline="-1066" dirty="0">
                <a:solidFill>
                  <a:srgbClr val="FFFFFF"/>
                </a:solidFill>
                <a:latin typeface="Segoe UI Light"/>
                <a:cs typeface="Segoe UI Light"/>
              </a:rPr>
              <a:t>o</a:t>
            </a:r>
            <a:r>
              <a:rPr sz="3453" spc="19" baseline="-1066" dirty="0">
                <a:solidFill>
                  <a:srgbClr val="FFFFFF"/>
                </a:solidFill>
                <a:latin typeface="Segoe UI Light"/>
                <a:cs typeface="Segoe UI Light"/>
              </a:rPr>
              <a:t>n</a:t>
            </a:r>
            <a:r>
              <a:rPr sz="3453" baseline="-1066" dirty="0">
                <a:solidFill>
                  <a:srgbClr val="FFFFFF"/>
                </a:solidFill>
                <a:latin typeface="Segoe UI Light"/>
                <a:cs typeface="Segoe UI Light"/>
              </a:rPr>
              <a:t>g</a:t>
            </a:r>
            <a:r>
              <a:rPr sz="3453" spc="18" baseline="-1066" dirty="0">
                <a:solidFill>
                  <a:srgbClr val="FFFFFF"/>
                </a:solidFill>
                <a:latin typeface="Segoe UI Light"/>
                <a:cs typeface="Segoe UI Light"/>
              </a:rPr>
              <a:t> </a:t>
            </a:r>
            <a:r>
              <a:rPr sz="3453" baseline="-1066" dirty="0">
                <a:solidFill>
                  <a:srgbClr val="FFFFFF"/>
                </a:solidFill>
                <a:latin typeface="Segoe UI Light"/>
                <a:cs typeface="Segoe UI Light"/>
              </a:rPr>
              <a:t>r</a:t>
            </a:r>
            <a:r>
              <a:rPr sz="3453" spc="19" baseline="-1066" dirty="0">
                <a:solidFill>
                  <a:srgbClr val="FFFFFF"/>
                </a:solidFill>
                <a:latin typeface="Segoe UI Light"/>
                <a:cs typeface="Segoe UI Light"/>
              </a:rPr>
              <a:t>unn</a:t>
            </a:r>
            <a:r>
              <a:rPr sz="3453" spc="14" baseline="-1066" dirty="0">
                <a:solidFill>
                  <a:srgbClr val="FFFFFF"/>
                </a:solidFill>
                <a:latin typeface="Segoe UI Light"/>
                <a:cs typeface="Segoe UI Light"/>
              </a:rPr>
              <a:t>i</a:t>
            </a:r>
            <a:r>
              <a:rPr sz="3453" spc="19" baseline="-1066" dirty="0">
                <a:solidFill>
                  <a:srgbClr val="FFFFFF"/>
                </a:solidFill>
                <a:latin typeface="Segoe UI Light"/>
                <a:cs typeface="Segoe UI Light"/>
              </a:rPr>
              <a:t>n</a:t>
            </a:r>
            <a:r>
              <a:rPr sz="3453" baseline="-1066" dirty="0">
                <a:solidFill>
                  <a:srgbClr val="FFFFFF"/>
                </a:solidFill>
                <a:latin typeface="Segoe UI Light"/>
                <a:cs typeface="Segoe UI Light"/>
              </a:rPr>
              <a:t>g</a:t>
            </a:r>
            <a:r>
              <a:rPr sz="3453" spc="49" baseline="-1066" dirty="0">
                <a:solidFill>
                  <a:srgbClr val="FFFFFF"/>
                </a:solidFill>
                <a:latin typeface="Segoe UI Light"/>
                <a:cs typeface="Segoe UI Light"/>
              </a:rPr>
              <a:t> </a:t>
            </a:r>
            <a:r>
              <a:rPr sz="3453" spc="4" baseline="-1066" dirty="0">
                <a:solidFill>
                  <a:srgbClr val="FFFFFF"/>
                </a:solidFill>
                <a:latin typeface="Segoe UI Light"/>
                <a:cs typeface="Segoe UI Light"/>
              </a:rPr>
              <a:t>t</a:t>
            </a:r>
            <a:r>
              <a:rPr sz="3453" spc="-24" baseline="-1066" dirty="0">
                <a:solidFill>
                  <a:srgbClr val="FFFFFF"/>
                </a:solidFill>
                <a:latin typeface="Segoe UI Light"/>
                <a:cs typeface="Segoe UI Light"/>
              </a:rPr>
              <a:t>a</a:t>
            </a:r>
            <a:r>
              <a:rPr sz="3453" spc="10" baseline="-1066" dirty="0">
                <a:solidFill>
                  <a:srgbClr val="FFFFFF"/>
                </a:solidFill>
                <a:latin typeface="Segoe UI Light"/>
                <a:cs typeface="Segoe UI Light"/>
              </a:rPr>
              <a:t>s</a:t>
            </a:r>
            <a:r>
              <a:rPr sz="3453" spc="20" baseline="-1066" dirty="0">
                <a:solidFill>
                  <a:srgbClr val="FFFFFF"/>
                </a:solidFill>
                <a:latin typeface="Segoe UI Light"/>
                <a:cs typeface="Segoe UI Light"/>
              </a:rPr>
              <a:t>k</a:t>
            </a:r>
            <a:r>
              <a:rPr sz="3453" baseline="-1066" dirty="0">
                <a:solidFill>
                  <a:srgbClr val="FFFFFF"/>
                </a:solidFill>
                <a:latin typeface="Segoe UI Light"/>
                <a:cs typeface="Segoe UI Light"/>
              </a:rPr>
              <a:t>s</a:t>
            </a:r>
            <a:endParaRPr sz="2302" dirty="0">
              <a:latin typeface="Segoe UI Light"/>
              <a:cs typeface="Segoe UI Light"/>
            </a:endParaRPr>
          </a:p>
        </p:txBody>
      </p:sp>
      <p:sp>
        <p:nvSpPr>
          <p:cNvPr id="7" name="object 7"/>
          <p:cNvSpPr txBox="1"/>
          <p:nvPr/>
        </p:nvSpPr>
        <p:spPr>
          <a:xfrm>
            <a:off x="5736087" y="2350167"/>
            <a:ext cx="4185394" cy="321391"/>
          </a:xfrm>
          <a:prstGeom prst="rect">
            <a:avLst/>
          </a:prstGeom>
        </p:spPr>
        <p:txBody>
          <a:bodyPr wrap="square" lIns="0" tIns="0" rIns="0" bIns="0" rtlCol="0">
            <a:noAutofit/>
          </a:bodyPr>
          <a:lstStyle/>
          <a:p>
            <a:pPr marL="12441">
              <a:lnSpc>
                <a:spcPts val="2532"/>
              </a:lnSpc>
              <a:spcBef>
                <a:spcPts val="126"/>
              </a:spcBef>
            </a:pPr>
            <a:r>
              <a:rPr sz="3453" baseline="1233" dirty="0">
                <a:solidFill>
                  <a:srgbClr val="FFFFFF"/>
                </a:solidFill>
                <a:latin typeface="Arial"/>
                <a:cs typeface="Arial"/>
              </a:rPr>
              <a:t>• </a:t>
            </a:r>
            <a:r>
              <a:rPr sz="3453" spc="528" baseline="1233" dirty="0">
                <a:solidFill>
                  <a:srgbClr val="FFFFFF"/>
                </a:solidFill>
                <a:latin typeface="Arial"/>
                <a:cs typeface="Arial"/>
              </a:rPr>
              <a:t> </a:t>
            </a:r>
            <a:r>
              <a:rPr sz="3453" spc="-33" baseline="1066" dirty="0">
                <a:solidFill>
                  <a:srgbClr val="FFFFFF"/>
                </a:solidFill>
                <a:latin typeface="Segoe UI Light"/>
                <a:cs typeface="Segoe UI Light"/>
              </a:rPr>
              <a:t>C</a:t>
            </a:r>
            <a:r>
              <a:rPr sz="3453" baseline="1066" dirty="0">
                <a:solidFill>
                  <a:srgbClr val="FFFFFF"/>
                </a:solidFill>
                <a:latin typeface="Segoe UI Light"/>
                <a:cs typeface="Segoe UI Light"/>
              </a:rPr>
              <a:t>I</a:t>
            </a:r>
            <a:r>
              <a:rPr sz="3453" spc="121" baseline="1066" dirty="0">
                <a:solidFill>
                  <a:srgbClr val="FFFFFF"/>
                </a:solidFill>
                <a:latin typeface="Segoe UI Light"/>
                <a:cs typeface="Segoe UI Light"/>
              </a:rPr>
              <a:t> </a:t>
            </a:r>
            <a:r>
              <a:rPr sz="3453" spc="-24" baseline="1066" dirty="0">
                <a:solidFill>
                  <a:srgbClr val="FFFFFF"/>
                </a:solidFill>
                <a:latin typeface="Segoe UI Light"/>
                <a:cs typeface="Segoe UI Light"/>
              </a:rPr>
              <a:t>w</a:t>
            </a:r>
            <a:r>
              <a:rPr sz="3453" spc="14" baseline="1066" dirty="0">
                <a:solidFill>
                  <a:srgbClr val="FFFFFF"/>
                </a:solidFill>
                <a:latin typeface="Segoe UI Light"/>
                <a:cs typeface="Segoe UI Light"/>
              </a:rPr>
              <a:t>i</a:t>
            </a:r>
            <a:r>
              <a:rPr sz="3453" spc="9" baseline="1066" dirty="0">
                <a:solidFill>
                  <a:srgbClr val="FFFFFF"/>
                </a:solidFill>
                <a:latin typeface="Segoe UI Light"/>
                <a:cs typeface="Segoe UI Light"/>
              </a:rPr>
              <a:t>t</a:t>
            </a:r>
            <a:r>
              <a:rPr sz="3453" baseline="1066" dirty="0">
                <a:solidFill>
                  <a:srgbClr val="FFFFFF"/>
                </a:solidFill>
                <a:latin typeface="Segoe UI Light"/>
                <a:cs typeface="Segoe UI Light"/>
              </a:rPr>
              <a:t>h</a:t>
            </a:r>
            <a:r>
              <a:rPr sz="3453" spc="78" baseline="1066" dirty="0">
                <a:solidFill>
                  <a:srgbClr val="FFFFFF"/>
                </a:solidFill>
                <a:latin typeface="Segoe UI Light"/>
                <a:cs typeface="Segoe UI Light"/>
              </a:rPr>
              <a:t> </a:t>
            </a:r>
            <a:r>
              <a:rPr sz="3453" baseline="1066" dirty="0">
                <a:solidFill>
                  <a:srgbClr val="FFFFFF"/>
                </a:solidFill>
                <a:latin typeface="Segoe UI Light"/>
                <a:cs typeface="Segoe UI Light"/>
              </a:rPr>
              <a:t>G</a:t>
            </a:r>
            <a:r>
              <a:rPr sz="3453" spc="9" baseline="1066" dirty="0">
                <a:solidFill>
                  <a:srgbClr val="FFFFFF"/>
                </a:solidFill>
                <a:latin typeface="Segoe UI Light"/>
                <a:cs typeface="Segoe UI Light"/>
              </a:rPr>
              <a:t>it</a:t>
            </a:r>
            <a:r>
              <a:rPr sz="3453" spc="-24" baseline="1066" dirty="0">
                <a:solidFill>
                  <a:srgbClr val="FFFFFF"/>
                </a:solidFill>
                <a:latin typeface="Segoe UI Light"/>
                <a:cs typeface="Segoe UI Light"/>
              </a:rPr>
              <a:t>H</a:t>
            </a:r>
            <a:r>
              <a:rPr sz="3453" spc="19" baseline="1066" dirty="0">
                <a:solidFill>
                  <a:srgbClr val="FFFFFF"/>
                </a:solidFill>
                <a:latin typeface="Segoe UI Light"/>
                <a:cs typeface="Segoe UI Light"/>
              </a:rPr>
              <a:t>u</a:t>
            </a:r>
            <a:r>
              <a:rPr sz="3453" spc="-33" baseline="1066" dirty="0">
                <a:solidFill>
                  <a:srgbClr val="FFFFFF"/>
                </a:solidFill>
                <a:latin typeface="Segoe UI Light"/>
                <a:cs typeface="Segoe UI Light"/>
              </a:rPr>
              <a:t>b</a:t>
            </a:r>
            <a:r>
              <a:rPr sz="3453" baseline="1066" dirty="0">
                <a:solidFill>
                  <a:srgbClr val="FFFFFF"/>
                </a:solidFill>
                <a:latin typeface="Segoe UI Light"/>
                <a:cs typeface="Segoe UI Light"/>
              </a:rPr>
              <a:t>,</a:t>
            </a:r>
            <a:r>
              <a:rPr sz="3453" spc="200" baseline="1066" dirty="0">
                <a:solidFill>
                  <a:srgbClr val="FFFFFF"/>
                </a:solidFill>
                <a:latin typeface="Segoe UI Light"/>
                <a:cs typeface="Segoe UI Light"/>
              </a:rPr>
              <a:t> </a:t>
            </a:r>
            <a:r>
              <a:rPr sz="3453" baseline="1066" dirty="0">
                <a:solidFill>
                  <a:srgbClr val="FFFFFF"/>
                </a:solidFill>
                <a:latin typeface="Segoe UI Light"/>
                <a:cs typeface="Segoe UI Light"/>
              </a:rPr>
              <a:t>B</a:t>
            </a:r>
            <a:r>
              <a:rPr sz="3453" spc="14" baseline="1066" dirty="0">
                <a:solidFill>
                  <a:srgbClr val="FFFFFF"/>
                </a:solidFill>
                <a:latin typeface="Segoe UI Light"/>
                <a:cs typeface="Segoe UI Light"/>
              </a:rPr>
              <a:t>i</a:t>
            </a:r>
            <a:r>
              <a:rPr sz="3453" spc="9" baseline="1066" dirty="0">
                <a:solidFill>
                  <a:srgbClr val="FFFFFF"/>
                </a:solidFill>
                <a:latin typeface="Segoe UI Light"/>
                <a:cs typeface="Segoe UI Light"/>
              </a:rPr>
              <a:t>t</a:t>
            </a:r>
            <a:r>
              <a:rPr sz="3453" baseline="1066" dirty="0">
                <a:solidFill>
                  <a:srgbClr val="FFFFFF"/>
                </a:solidFill>
                <a:latin typeface="Segoe UI Light"/>
                <a:cs typeface="Segoe UI Light"/>
              </a:rPr>
              <a:t>B</a:t>
            </a:r>
            <a:r>
              <a:rPr sz="3453" spc="19" baseline="1066" dirty="0">
                <a:solidFill>
                  <a:srgbClr val="FFFFFF"/>
                </a:solidFill>
                <a:latin typeface="Segoe UI Light"/>
                <a:cs typeface="Segoe UI Light"/>
              </a:rPr>
              <a:t>ucke</a:t>
            </a:r>
            <a:r>
              <a:rPr sz="3453" spc="33" baseline="1066" dirty="0">
                <a:solidFill>
                  <a:srgbClr val="FFFFFF"/>
                </a:solidFill>
                <a:latin typeface="Segoe UI Light"/>
                <a:cs typeface="Segoe UI Light"/>
              </a:rPr>
              <a:t>t</a:t>
            </a:r>
            <a:r>
              <a:rPr sz="3453" baseline="1066" dirty="0">
                <a:solidFill>
                  <a:srgbClr val="FFFFFF"/>
                </a:solidFill>
                <a:latin typeface="Segoe UI Light"/>
                <a:cs typeface="Segoe UI Light"/>
              </a:rPr>
              <a:t>,</a:t>
            </a:r>
            <a:r>
              <a:rPr sz="3453" spc="4" baseline="1066" dirty="0">
                <a:solidFill>
                  <a:srgbClr val="FFFFFF"/>
                </a:solidFill>
                <a:latin typeface="Segoe UI Light"/>
                <a:cs typeface="Segoe UI Light"/>
              </a:rPr>
              <a:t> </a:t>
            </a:r>
            <a:r>
              <a:rPr sz="3453" spc="-68" baseline="1066" dirty="0">
                <a:solidFill>
                  <a:srgbClr val="FFFFFF"/>
                </a:solidFill>
                <a:latin typeface="Segoe UI Light"/>
                <a:cs typeface="Segoe UI Light"/>
              </a:rPr>
              <a:t>V</a:t>
            </a:r>
            <a:r>
              <a:rPr sz="3453" spc="-28" baseline="1066" dirty="0">
                <a:solidFill>
                  <a:srgbClr val="FFFFFF"/>
                </a:solidFill>
                <a:latin typeface="Segoe UI Light"/>
                <a:cs typeface="Segoe UI Light"/>
              </a:rPr>
              <a:t>S</a:t>
            </a:r>
            <a:r>
              <a:rPr sz="3453" baseline="1066" dirty="0">
                <a:solidFill>
                  <a:srgbClr val="FFFFFF"/>
                </a:solidFill>
                <a:latin typeface="Segoe UI Light"/>
                <a:cs typeface="Segoe UI Light"/>
              </a:rPr>
              <a:t>O</a:t>
            </a:r>
            <a:endParaRPr sz="2302">
              <a:latin typeface="Segoe UI Light"/>
              <a:cs typeface="Segoe UI Light"/>
            </a:endParaRPr>
          </a:p>
        </p:txBody>
      </p:sp>
      <p:sp>
        <p:nvSpPr>
          <p:cNvPr id="6" name="object 6"/>
          <p:cNvSpPr txBox="1"/>
          <p:nvPr/>
        </p:nvSpPr>
        <p:spPr>
          <a:xfrm>
            <a:off x="5736087" y="3013885"/>
            <a:ext cx="5189597" cy="321391"/>
          </a:xfrm>
          <a:prstGeom prst="rect">
            <a:avLst/>
          </a:prstGeom>
        </p:spPr>
        <p:txBody>
          <a:bodyPr wrap="square" lIns="0" tIns="0" rIns="0" bIns="0" rtlCol="0">
            <a:noAutofit/>
          </a:bodyPr>
          <a:lstStyle/>
          <a:p>
            <a:pPr marL="12441">
              <a:lnSpc>
                <a:spcPts val="2532"/>
              </a:lnSpc>
              <a:spcBef>
                <a:spcPts val="126"/>
              </a:spcBef>
            </a:pPr>
            <a:r>
              <a:rPr sz="3453" baseline="1233" dirty="0">
                <a:solidFill>
                  <a:srgbClr val="FFFFFF"/>
                </a:solidFill>
                <a:latin typeface="Arial"/>
                <a:cs typeface="Arial"/>
              </a:rPr>
              <a:t>• </a:t>
            </a:r>
            <a:r>
              <a:rPr sz="3453" spc="528" baseline="1233" dirty="0">
                <a:solidFill>
                  <a:srgbClr val="FFFFFF"/>
                </a:solidFill>
                <a:latin typeface="Arial"/>
                <a:cs typeface="Arial"/>
              </a:rPr>
              <a:t> </a:t>
            </a:r>
            <a:r>
              <a:rPr sz="3453" spc="14" baseline="1066" dirty="0">
                <a:solidFill>
                  <a:srgbClr val="FFFFFF"/>
                </a:solidFill>
                <a:latin typeface="Segoe UI Light"/>
                <a:cs typeface="Segoe UI Light"/>
              </a:rPr>
              <a:t>A</a:t>
            </a:r>
            <a:r>
              <a:rPr sz="3453" spc="19" baseline="1066" dirty="0">
                <a:solidFill>
                  <a:srgbClr val="FFFFFF"/>
                </a:solidFill>
                <a:latin typeface="Segoe UI Light"/>
                <a:cs typeface="Segoe UI Light"/>
              </a:rPr>
              <a:t>u</a:t>
            </a:r>
            <a:r>
              <a:rPr sz="3453" spc="9" baseline="1066" dirty="0">
                <a:solidFill>
                  <a:srgbClr val="FFFFFF"/>
                </a:solidFill>
                <a:latin typeface="Segoe UI Light"/>
                <a:cs typeface="Segoe UI Light"/>
              </a:rPr>
              <a:t>t</a:t>
            </a:r>
            <a:r>
              <a:rPr sz="3453" spc="38" baseline="1066" dirty="0">
                <a:solidFill>
                  <a:srgbClr val="FFFFFF"/>
                </a:solidFill>
                <a:latin typeface="Segoe UI Light"/>
                <a:cs typeface="Segoe UI Light"/>
              </a:rPr>
              <a:t>o</a:t>
            </a:r>
            <a:r>
              <a:rPr sz="3453" spc="-9" baseline="1066" dirty="0">
                <a:solidFill>
                  <a:srgbClr val="FFFFFF"/>
                </a:solidFill>
                <a:latin typeface="Segoe UI Light"/>
                <a:cs typeface="Segoe UI Light"/>
              </a:rPr>
              <a:t>-</a:t>
            </a:r>
            <a:r>
              <a:rPr sz="3453" spc="14" baseline="1066" dirty="0">
                <a:solidFill>
                  <a:srgbClr val="FFFFFF"/>
                </a:solidFill>
                <a:latin typeface="Segoe UI Light"/>
                <a:cs typeface="Segoe UI Light"/>
              </a:rPr>
              <a:t>l</a:t>
            </a:r>
            <a:r>
              <a:rPr sz="3453" spc="28" baseline="1066" dirty="0">
                <a:solidFill>
                  <a:srgbClr val="FFFFFF"/>
                </a:solidFill>
                <a:latin typeface="Segoe UI Light"/>
                <a:cs typeface="Segoe UI Light"/>
              </a:rPr>
              <a:t>o</a:t>
            </a:r>
            <a:r>
              <a:rPr sz="3453" spc="-24" baseline="1066" dirty="0">
                <a:solidFill>
                  <a:srgbClr val="FFFFFF"/>
                </a:solidFill>
                <a:latin typeface="Segoe UI Light"/>
                <a:cs typeface="Segoe UI Light"/>
              </a:rPr>
              <a:t>a</a:t>
            </a:r>
            <a:r>
              <a:rPr sz="3453" baseline="1066" dirty="0">
                <a:solidFill>
                  <a:srgbClr val="FFFFFF"/>
                </a:solidFill>
                <a:latin typeface="Segoe UI Light"/>
                <a:cs typeface="Segoe UI Light"/>
              </a:rPr>
              <a:t>d</a:t>
            </a:r>
            <a:r>
              <a:rPr sz="3453" spc="131" baseline="1066" dirty="0">
                <a:solidFill>
                  <a:srgbClr val="FFFFFF"/>
                </a:solidFill>
                <a:latin typeface="Segoe UI Light"/>
                <a:cs typeface="Segoe UI Light"/>
              </a:rPr>
              <a:t> </a:t>
            </a:r>
            <a:r>
              <a:rPr sz="3453" spc="-38" baseline="1066" dirty="0">
                <a:solidFill>
                  <a:srgbClr val="FFFFFF"/>
                </a:solidFill>
                <a:latin typeface="Segoe UI Light"/>
                <a:cs typeface="Segoe UI Light"/>
              </a:rPr>
              <a:t>b</a:t>
            </a:r>
            <a:r>
              <a:rPr sz="3453" spc="-24" baseline="1066" dirty="0">
                <a:solidFill>
                  <a:srgbClr val="FFFFFF"/>
                </a:solidFill>
                <a:latin typeface="Segoe UI Light"/>
                <a:cs typeface="Segoe UI Light"/>
              </a:rPr>
              <a:t>a</a:t>
            </a:r>
            <a:r>
              <a:rPr sz="3453" spc="14" baseline="1066" dirty="0">
                <a:solidFill>
                  <a:srgbClr val="FFFFFF"/>
                </a:solidFill>
                <a:latin typeface="Segoe UI Light"/>
                <a:cs typeface="Segoe UI Light"/>
              </a:rPr>
              <a:t>l</a:t>
            </a:r>
            <a:r>
              <a:rPr sz="3453" spc="-24" baseline="1066" dirty="0">
                <a:solidFill>
                  <a:srgbClr val="FFFFFF"/>
                </a:solidFill>
                <a:latin typeface="Segoe UI Light"/>
                <a:cs typeface="Segoe UI Light"/>
              </a:rPr>
              <a:t>a</a:t>
            </a:r>
            <a:r>
              <a:rPr sz="3453" spc="19" baseline="1066" dirty="0">
                <a:solidFill>
                  <a:srgbClr val="FFFFFF"/>
                </a:solidFill>
                <a:latin typeface="Segoe UI Light"/>
                <a:cs typeface="Segoe UI Light"/>
              </a:rPr>
              <a:t>nce</a:t>
            </a:r>
            <a:r>
              <a:rPr sz="3453" baseline="1066" dirty="0">
                <a:solidFill>
                  <a:srgbClr val="FFFFFF"/>
                </a:solidFill>
                <a:latin typeface="Segoe UI Light"/>
                <a:cs typeface="Segoe UI Light"/>
              </a:rPr>
              <a:t>,</a:t>
            </a:r>
            <a:r>
              <a:rPr sz="3453" spc="158" baseline="1066" dirty="0">
                <a:solidFill>
                  <a:srgbClr val="FFFFFF"/>
                </a:solidFill>
                <a:latin typeface="Segoe UI Light"/>
                <a:cs typeface="Segoe UI Light"/>
              </a:rPr>
              <a:t> </a:t>
            </a:r>
            <a:r>
              <a:rPr sz="3453" spc="9" baseline="1066" dirty="0">
                <a:solidFill>
                  <a:srgbClr val="FFFFFF"/>
                </a:solidFill>
                <a:latin typeface="Segoe UI Light"/>
                <a:cs typeface="Segoe UI Light"/>
              </a:rPr>
              <a:t>A</a:t>
            </a:r>
            <a:r>
              <a:rPr sz="3453" spc="19" baseline="1066" dirty="0">
                <a:solidFill>
                  <a:srgbClr val="FFFFFF"/>
                </a:solidFill>
                <a:latin typeface="Segoe UI Light"/>
                <a:cs typeface="Segoe UI Light"/>
              </a:rPr>
              <a:t>u</a:t>
            </a:r>
            <a:r>
              <a:rPr sz="3453" spc="9" baseline="1066" dirty="0">
                <a:solidFill>
                  <a:srgbClr val="FFFFFF"/>
                </a:solidFill>
                <a:latin typeface="Segoe UI Light"/>
                <a:cs typeface="Segoe UI Light"/>
              </a:rPr>
              <a:t>t</a:t>
            </a:r>
            <a:r>
              <a:rPr sz="3453" spc="28" baseline="1066" dirty="0">
                <a:solidFill>
                  <a:srgbClr val="FFFFFF"/>
                </a:solidFill>
                <a:latin typeface="Segoe UI Light"/>
                <a:cs typeface="Segoe UI Light"/>
              </a:rPr>
              <a:t>o</a:t>
            </a:r>
            <a:r>
              <a:rPr sz="3453" spc="9" baseline="1066" dirty="0">
                <a:solidFill>
                  <a:srgbClr val="FFFFFF"/>
                </a:solidFill>
                <a:latin typeface="Segoe UI Light"/>
                <a:cs typeface="Segoe UI Light"/>
              </a:rPr>
              <a:t>s</a:t>
            </a:r>
            <a:r>
              <a:rPr sz="3453" spc="19" baseline="1066" dirty="0">
                <a:solidFill>
                  <a:srgbClr val="FFFFFF"/>
                </a:solidFill>
                <a:latin typeface="Segoe UI Light"/>
                <a:cs typeface="Segoe UI Light"/>
              </a:rPr>
              <a:t>c</a:t>
            </a:r>
            <a:r>
              <a:rPr sz="3453" spc="-24" baseline="1066" dirty="0">
                <a:solidFill>
                  <a:srgbClr val="FFFFFF"/>
                </a:solidFill>
                <a:latin typeface="Segoe UI Light"/>
                <a:cs typeface="Segoe UI Light"/>
              </a:rPr>
              <a:t>a</a:t>
            </a:r>
            <a:r>
              <a:rPr sz="3453" spc="14" baseline="1066" dirty="0">
                <a:solidFill>
                  <a:srgbClr val="FFFFFF"/>
                </a:solidFill>
                <a:latin typeface="Segoe UI Light"/>
                <a:cs typeface="Segoe UI Light"/>
              </a:rPr>
              <a:t>l</a:t>
            </a:r>
            <a:r>
              <a:rPr sz="3453" spc="43" baseline="1066" dirty="0">
                <a:solidFill>
                  <a:srgbClr val="FFFFFF"/>
                </a:solidFill>
                <a:latin typeface="Segoe UI Light"/>
                <a:cs typeface="Segoe UI Light"/>
              </a:rPr>
              <a:t>e</a:t>
            </a:r>
            <a:r>
              <a:rPr sz="3453" baseline="1066" dirty="0">
                <a:solidFill>
                  <a:srgbClr val="FFFFFF"/>
                </a:solidFill>
                <a:latin typeface="Segoe UI Light"/>
                <a:cs typeface="Segoe UI Light"/>
              </a:rPr>
              <a:t>,</a:t>
            </a:r>
            <a:r>
              <a:rPr sz="3453" spc="83" baseline="1066" dirty="0">
                <a:solidFill>
                  <a:srgbClr val="FFFFFF"/>
                </a:solidFill>
                <a:latin typeface="Segoe UI Light"/>
                <a:cs typeface="Segoe UI Light"/>
              </a:rPr>
              <a:t> </a:t>
            </a:r>
            <a:r>
              <a:rPr sz="3453" spc="-9" baseline="1066" dirty="0">
                <a:solidFill>
                  <a:srgbClr val="FFFFFF"/>
                </a:solidFill>
                <a:latin typeface="Segoe UI Light"/>
                <a:cs typeface="Segoe UI Light"/>
              </a:rPr>
              <a:t>G</a:t>
            </a:r>
            <a:r>
              <a:rPr sz="3453" spc="19" baseline="1066" dirty="0">
                <a:solidFill>
                  <a:srgbClr val="FFFFFF"/>
                </a:solidFill>
                <a:latin typeface="Segoe UI Light"/>
                <a:cs typeface="Segoe UI Light"/>
              </a:rPr>
              <a:t>e</a:t>
            </a:r>
            <a:r>
              <a:rPr sz="3453" baseline="1066" dirty="0">
                <a:solidFill>
                  <a:srgbClr val="FFFFFF"/>
                </a:solidFill>
                <a:latin typeface="Segoe UI Light"/>
                <a:cs typeface="Segoe UI Light"/>
              </a:rPr>
              <a:t>o</a:t>
            </a:r>
            <a:r>
              <a:rPr sz="3453" spc="78" baseline="1066" dirty="0">
                <a:solidFill>
                  <a:srgbClr val="FFFFFF"/>
                </a:solidFill>
                <a:latin typeface="Segoe UI Light"/>
                <a:cs typeface="Segoe UI Light"/>
              </a:rPr>
              <a:t> </a:t>
            </a:r>
            <a:r>
              <a:rPr sz="3453" spc="-24" baseline="1066" dirty="0">
                <a:solidFill>
                  <a:srgbClr val="FFFFFF"/>
                </a:solidFill>
                <a:latin typeface="Segoe UI Light"/>
                <a:cs typeface="Segoe UI Light"/>
              </a:rPr>
              <a:t>D</a:t>
            </a:r>
            <a:r>
              <a:rPr sz="3453" baseline="1066" dirty="0">
                <a:solidFill>
                  <a:srgbClr val="FFFFFF"/>
                </a:solidFill>
                <a:latin typeface="Segoe UI Light"/>
                <a:cs typeface="Segoe UI Light"/>
              </a:rPr>
              <a:t>R</a:t>
            </a:r>
            <a:endParaRPr sz="2302">
              <a:latin typeface="Segoe UI Light"/>
              <a:cs typeface="Segoe UI Light"/>
            </a:endParaRPr>
          </a:p>
        </p:txBody>
      </p:sp>
      <p:sp>
        <p:nvSpPr>
          <p:cNvPr id="5" name="object 5"/>
          <p:cNvSpPr txBox="1"/>
          <p:nvPr/>
        </p:nvSpPr>
        <p:spPr>
          <a:xfrm>
            <a:off x="1904191" y="3184564"/>
            <a:ext cx="1568701" cy="258084"/>
          </a:xfrm>
          <a:prstGeom prst="rect">
            <a:avLst/>
          </a:prstGeom>
        </p:spPr>
        <p:txBody>
          <a:bodyPr wrap="square" lIns="0" tIns="0" rIns="0" bIns="0" rtlCol="0">
            <a:noAutofit/>
          </a:bodyPr>
          <a:lstStyle/>
          <a:p>
            <a:pPr marL="12441">
              <a:lnSpc>
                <a:spcPts val="2033"/>
              </a:lnSpc>
              <a:spcBef>
                <a:spcPts val="101"/>
              </a:spcBef>
            </a:pPr>
            <a:r>
              <a:rPr sz="2718" b="1" spc="4" baseline="1354" dirty="0">
                <a:solidFill>
                  <a:srgbClr val="FFFFFF"/>
                </a:solidFill>
                <a:latin typeface="Segoe UI"/>
                <a:cs typeface="Segoe UI"/>
              </a:rPr>
              <a:t>M</a:t>
            </a:r>
            <a:r>
              <a:rPr sz="2718" b="1" spc="14" baseline="1354" dirty="0">
                <a:solidFill>
                  <a:srgbClr val="FFFFFF"/>
                </a:solidFill>
                <a:latin typeface="Segoe UI"/>
                <a:cs typeface="Segoe UI"/>
              </a:rPr>
              <a:t>O</a:t>
            </a:r>
            <a:r>
              <a:rPr sz="2718" b="1" spc="19" baseline="1354" dirty="0">
                <a:solidFill>
                  <a:srgbClr val="FFFFFF"/>
                </a:solidFill>
                <a:latin typeface="Segoe UI"/>
                <a:cs typeface="Segoe UI"/>
              </a:rPr>
              <a:t>B</a:t>
            </a:r>
            <a:r>
              <a:rPr sz="2718" b="1" spc="-19" baseline="1354" dirty="0">
                <a:solidFill>
                  <a:srgbClr val="FFFFFF"/>
                </a:solidFill>
                <a:latin typeface="Segoe UI"/>
                <a:cs typeface="Segoe UI"/>
              </a:rPr>
              <a:t>I</a:t>
            </a:r>
            <a:r>
              <a:rPr sz="2718" b="1" spc="-24" baseline="1354" dirty="0">
                <a:solidFill>
                  <a:srgbClr val="FFFFFF"/>
                </a:solidFill>
                <a:latin typeface="Segoe UI"/>
                <a:cs typeface="Segoe UI"/>
              </a:rPr>
              <a:t>L</a:t>
            </a:r>
            <a:r>
              <a:rPr sz="2718" b="1" baseline="1354" dirty="0">
                <a:solidFill>
                  <a:srgbClr val="FFFFFF"/>
                </a:solidFill>
                <a:latin typeface="Segoe UI"/>
                <a:cs typeface="Segoe UI"/>
              </a:rPr>
              <a:t>E</a:t>
            </a:r>
            <a:r>
              <a:rPr sz="2718" b="1" spc="67" baseline="1354" dirty="0">
                <a:solidFill>
                  <a:srgbClr val="FFFFFF"/>
                </a:solidFill>
                <a:latin typeface="Segoe UI"/>
                <a:cs typeface="Segoe UI"/>
              </a:rPr>
              <a:t> </a:t>
            </a:r>
            <a:r>
              <a:rPr sz="2718" b="1" spc="-24" baseline="1354" dirty="0">
                <a:solidFill>
                  <a:srgbClr val="FFFFFF"/>
                </a:solidFill>
                <a:latin typeface="Segoe UI"/>
                <a:cs typeface="Segoe UI"/>
              </a:rPr>
              <a:t>A</a:t>
            </a:r>
            <a:r>
              <a:rPr sz="2718" b="1" baseline="1354" dirty="0">
                <a:solidFill>
                  <a:srgbClr val="FFFFFF"/>
                </a:solidFill>
                <a:latin typeface="Segoe UI"/>
                <a:cs typeface="Segoe UI"/>
              </a:rPr>
              <a:t>PPS</a:t>
            </a:r>
            <a:endParaRPr sz="1812">
              <a:latin typeface="Segoe UI"/>
              <a:cs typeface="Segoe UI"/>
            </a:endParaRPr>
          </a:p>
        </p:txBody>
      </p:sp>
      <p:sp>
        <p:nvSpPr>
          <p:cNvPr id="4" name="object 4"/>
          <p:cNvSpPr txBox="1"/>
          <p:nvPr/>
        </p:nvSpPr>
        <p:spPr>
          <a:xfrm>
            <a:off x="5736087" y="3668769"/>
            <a:ext cx="5709864" cy="321391"/>
          </a:xfrm>
          <a:prstGeom prst="rect">
            <a:avLst/>
          </a:prstGeom>
        </p:spPr>
        <p:txBody>
          <a:bodyPr wrap="square" lIns="0" tIns="0" rIns="0" bIns="0" rtlCol="0">
            <a:noAutofit/>
          </a:bodyPr>
          <a:lstStyle/>
          <a:p>
            <a:pPr marL="12441">
              <a:lnSpc>
                <a:spcPts val="2532"/>
              </a:lnSpc>
              <a:spcBef>
                <a:spcPts val="126"/>
              </a:spcBef>
            </a:pPr>
            <a:r>
              <a:rPr sz="3453" baseline="1233" dirty="0">
                <a:solidFill>
                  <a:srgbClr val="FFFFFF"/>
                </a:solidFill>
                <a:latin typeface="Arial"/>
                <a:cs typeface="Arial"/>
              </a:rPr>
              <a:t>• </a:t>
            </a:r>
            <a:r>
              <a:rPr sz="3453" spc="528" baseline="1233" dirty="0">
                <a:solidFill>
                  <a:srgbClr val="FFFFFF"/>
                </a:solidFill>
                <a:latin typeface="Arial"/>
                <a:cs typeface="Arial"/>
              </a:rPr>
              <a:t> </a:t>
            </a:r>
            <a:r>
              <a:rPr sz="3453" baseline="1066" dirty="0">
                <a:solidFill>
                  <a:srgbClr val="FFFFFF"/>
                </a:solidFill>
                <a:latin typeface="Segoe UI Light"/>
                <a:cs typeface="Segoe UI Light"/>
              </a:rPr>
              <a:t>V</a:t>
            </a:r>
            <a:r>
              <a:rPr sz="3453" spc="19" baseline="1066" dirty="0">
                <a:solidFill>
                  <a:srgbClr val="FFFFFF"/>
                </a:solidFill>
                <a:latin typeface="Segoe UI Light"/>
                <a:cs typeface="Segoe UI Light"/>
              </a:rPr>
              <a:t>i</a:t>
            </a:r>
            <a:r>
              <a:rPr sz="3453" spc="73" baseline="1066" dirty="0">
                <a:solidFill>
                  <a:srgbClr val="FFFFFF"/>
                </a:solidFill>
                <a:latin typeface="Segoe UI Light"/>
                <a:cs typeface="Segoe UI Light"/>
              </a:rPr>
              <a:t>r</a:t>
            </a:r>
            <a:r>
              <a:rPr sz="3453" spc="9" baseline="1066" dirty="0">
                <a:solidFill>
                  <a:srgbClr val="FFFFFF"/>
                </a:solidFill>
                <a:latin typeface="Segoe UI Light"/>
                <a:cs typeface="Segoe UI Light"/>
              </a:rPr>
              <a:t>t</a:t>
            </a:r>
            <a:r>
              <a:rPr sz="3453" spc="19" baseline="1066" dirty="0">
                <a:solidFill>
                  <a:srgbClr val="FFFFFF"/>
                </a:solidFill>
                <a:latin typeface="Segoe UI Light"/>
                <a:cs typeface="Segoe UI Light"/>
              </a:rPr>
              <a:t>u</a:t>
            </a:r>
            <a:r>
              <a:rPr sz="3453" spc="-19" baseline="1066" dirty="0">
                <a:solidFill>
                  <a:srgbClr val="FFFFFF"/>
                </a:solidFill>
                <a:latin typeface="Segoe UI Light"/>
                <a:cs typeface="Segoe UI Light"/>
              </a:rPr>
              <a:t>a</a:t>
            </a:r>
            <a:r>
              <a:rPr sz="3453" baseline="1066" dirty="0">
                <a:solidFill>
                  <a:srgbClr val="FFFFFF"/>
                </a:solidFill>
                <a:latin typeface="Segoe UI Light"/>
                <a:cs typeface="Segoe UI Light"/>
              </a:rPr>
              <a:t>l</a:t>
            </a:r>
            <a:r>
              <a:rPr sz="3453" spc="149" baseline="1066" dirty="0">
                <a:solidFill>
                  <a:srgbClr val="FFFFFF"/>
                </a:solidFill>
                <a:latin typeface="Segoe UI Light"/>
                <a:cs typeface="Segoe UI Light"/>
              </a:rPr>
              <a:t> </a:t>
            </a:r>
            <a:r>
              <a:rPr sz="3453" spc="19" baseline="1066" dirty="0">
                <a:solidFill>
                  <a:srgbClr val="FFFFFF"/>
                </a:solidFill>
                <a:latin typeface="Segoe UI Light"/>
                <a:cs typeface="Segoe UI Light"/>
              </a:rPr>
              <a:t>ne</a:t>
            </a:r>
            <a:r>
              <a:rPr sz="3453" spc="9" baseline="1066" dirty="0">
                <a:solidFill>
                  <a:srgbClr val="FFFFFF"/>
                </a:solidFill>
                <a:latin typeface="Segoe UI Light"/>
                <a:cs typeface="Segoe UI Light"/>
              </a:rPr>
              <a:t>t</a:t>
            </a:r>
            <a:r>
              <a:rPr sz="3453" spc="-24" baseline="1066" dirty="0">
                <a:solidFill>
                  <a:srgbClr val="FFFFFF"/>
                </a:solidFill>
                <a:latin typeface="Segoe UI Light"/>
                <a:cs typeface="Segoe UI Light"/>
              </a:rPr>
              <a:t>w</a:t>
            </a:r>
            <a:r>
              <a:rPr sz="3453" spc="33" baseline="1066" dirty="0">
                <a:solidFill>
                  <a:srgbClr val="FFFFFF"/>
                </a:solidFill>
                <a:latin typeface="Segoe UI Light"/>
                <a:cs typeface="Segoe UI Light"/>
              </a:rPr>
              <a:t>o</a:t>
            </a:r>
            <a:r>
              <a:rPr sz="3453" baseline="1066" dirty="0">
                <a:solidFill>
                  <a:srgbClr val="FFFFFF"/>
                </a:solidFill>
                <a:latin typeface="Segoe UI Light"/>
                <a:cs typeface="Segoe UI Light"/>
              </a:rPr>
              <a:t>r</a:t>
            </a:r>
            <a:r>
              <a:rPr sz="3453" spc="28" baseline="1066" dirty="0">
                <a:solidFill>
                  <a:srgbClr val="FFFFFF"/>
                </a:solidFill>
                <a:latin typeface="Segoe UI Light"/>
                <a:cs typeface="Segoe UI Light"/>
              </a:rPr>
              <a:t>k</a:t>
            </a:r>
            <a:r>
              <a:rPr sz="3453" spc="14" baseline="1066" dirty="0">
                <a:solidFill>
                  <a:srgbClr val="FFFFFF"/>
                </a:solidFill>
                <a:latin typeface="Segoe UI Light"/>
                <a:cs typeface="Segoe UI Light"/>
              </a:rPr>
              <a:t>i</a:t>
            </a:r>
            <a:r>
              <a:rPr sz="3453" spc="19" baseline="1066" dirty="0">
                <a:solidFill>
                  <a:srgbClr val="FFFFFF"/>
                </a:solidFill>
                <a:latin typeface="Segoe UI Light"/>
                <a:cs typeface="Segoe UI Light"/>
              </a:rPr>
              <a:t>n</a:t>
            </a:r>
            <a:r>
              <a:rPr sz="3453" baseline="1066" dirty="0">
                <a:solidFill>
                  <a:srgbClr val="FFFFFF"/>
                </a:solidFill>
                <a:latin typeface="Segoe UI Light"/>
                <a:cs typeface="Segoe UI Light"/>
              </a:rPr>
              <a:t>g</a:t>
            </a:r>
            <a:r>
              <a:rPr sz="3453" spc="82" baseline="1066" dirty="0">
                <a:solidFill>
                  <a:srgbClr val="FFFFFF"/>
                </a:solidFill>
                <a:latin typeface="Segoe UI Light"/>
                <a:cs typeface="Segoe UI Light"/>
              </a:rPr>
              <a:t> </a:t>
            </a:r>
            <a:r>
              <a:rPr sz="3453" spc="-24" baseline="1066" dirty="0">
                <a:solidFill>
                  <a:srgbClr val="FFFFFF"/>
                </a:solidFill>
                <a:latin typeface="Segoe UI Light"/>
                <a:cs typeface="Segoe UI Light"/>
              </a:rPr>
              <a:t>a</a:t>
            </a:r>
            <a:r>
              <a:rPr sz="3453" spc="19" baseline="1066" dirty="0">
                <a:solidFill>
                  <a:srgbClr val="FFFFFF"/>
                </a:solidFill>
                <a:latin typeface="Segoe UI Light"/>
                <a:cs typeface="Segoe UI Light"/>
              </a:rPr>
              <a:t>n</a:t>
            </a:r>
            <a:r>
              <a:rPr sz="3453" baseline="1066" dirty="0">
                <a:solidFill>
                  <a:srgbClr val="FFFFFF"/>
                </a:solidFill>
                <a:latin typeface="Segoe UI Light"/>
                <a:cs typeface="Segoe UI Light"/>
              </a:rPr>
              <a:t>d</a:t>
            </a:r>
            <a:r>
              <a:rPr sz="3453" spc="75" baseline="1066" dirty="0">
                <a:solidFill>
                  <a:srgbClr val="FFFFFF"/>
                </a:solidFill>
                <a:latin typeface="Segoe UI Light"/>
                <a:cs typeface="Segoe UI Light"/>
              </a:rPr>
              <a:t> </a:t>
            </a:r>
            <a:r>
              <a:rPr sz="3453" spc="19" baseline="1066" dirty="0">
                <a:solidFill>
                  <a:srgbClr val="FFFFFF"/>
                </a:solidFill>
                <a:latin typeface="Segoe UI Light"/>
                <a:cs typeface="Segoe UI Light"/>
              </a:rPr>
              <a:t>h</a:t>
            </a:r>
            <a:r>
              <a:rPr sz="3453" baseline="1066" dirty="0">
                <a:solidFill>
                  <a:srgbClr val="FFFFFF"/>
                </a:solidFill>
                <a:latin typeface="Segoe UI Light"/>
                <a:cs typeface="Segoe UI Light"/>
              </a:rPr>
              <a:t>y</a:t>
            </a:r>
            <a:r>
              <a:rPr sz="3453" spc="-28" baseline="1066" dirty="0">
                <a:solidFill>
                  <a:srgbClr val="FFFFFF"/>
                </a:solidFill>
                <a:latin typeface="Segoe UI Light"/>
                <a:cs typeface="Segoe UI Light"/>
              </a:rPr>
              <a:t>b</a:t>
            </a:r>
            <a:r>
              <a:rPr sz="3453" baseline="1066" dirty="0">
                <a:solidFill>
                  <a:srgbClr val="FFFFFF"/>
                </a:solidFill>
                <a:latin typeface="Segoe UI Light"/>
                <a:cs typeface="Segoe UI Light"/>
              </a:rPr>
              <a:t>r</a:t>
            </a:r>
            <a:r>
              <a:rPr sz="3453" spc="19" baseline="1066" dirty="0">
                <a:solidFill>
                  <a:srgbClr val="FFFFFF"/>
                </a:solidFill>
                <a:latin typeface="Segoe UI Light"/>
                <a:cs typeface="Segoe UI Light"/>
              </a:rPr>
              <a:t>i</a:t>
            </a:r>
            <a:r>
              <a:rPr sz="3453" baseline="1066" dirty="0">
                <a:solidFill>
                  <a:srgbClr val="FFFFFF"/>
                </a:solidFill>
                <a:latin typeface="Segoe UI Light"/>
                <a:cs typeface="Segoe UI Light"/>
              </a:rPr>
              <a:t>d</a:t>
            </a:r>
            <a:r>
              <a:rPr sz="3453" spc="173" baseline="1066" dirty="0">
                <a:solidFill>
                  <a:srgbClr val="FFFFFF"/>
                </a:solidFill>
                <a:latin typeface="Segoe UI Light"/>
                <a:cs typeface="Segoe UI Light"/>
              </a:rPr>
              <a:t> </a:t>
            </a:r>
            <a:r>
              <a:rPr sz="3453" spc="24" baseline="1066" dirty="0">
                <a:solidFill>
                  <a:srgbClr val="FFFFFF"/>
                </a:solidFill>
                <a:latin typeface="Segoe UI Light"/>
                <a:cs typeface="Segoe UI Light"/>
              </a:rPr>
              <a:t>c</a:t>
            </a:r>
            <a:r>
              <a:rPr sz="3453" spc="33" baseline="1066" dirty="0">
                <a:solidFill>
                  <a:srgbClr val="FFFFFF"/>
                </a:solidFill>
                <a:latin typeface="Segoe UI Light"/>
                <a:cs typeface="Segoe UI Light"/>
              </a:rPr>
              <a:t>o</a:t>
            </a:r>
            <a:r>
              <a:rPr sz="3453" spc="19" baseline="1066" dirty="0">
                <a:solidFill>
                  <a:srgbClr val="FFFFFF"/>
                </a:solidFill>
                <a:latin typeface="Segoe UI Light"/>
                <a:cs typeface="Segoe UI Light"/>
              </a:rPr>
              <a:t>nne</a:t>
            </a:r>
            <a:r>
              <a:rPr sz="3453" spc="24" baseline="1066" dirty="0">
                <a:solidFill>
                  <a:srgbClr val="FFFFFF"/>
                </a:solidFill>
                <a:latin typeface="Segoe UI Light"/>
                <a:cs typeface="Segoe UI Light"/>
              </a:rPr>
              <a:t>c</a:t>
            </a:r>
            <a:r>
              <a:rPr sz="3453" spc="9" baseline="1066" dirty="0">
                <a:solidFill>
                  <a:srgbClr val="FFFFFF"/>
                </a:solidFill>
                <a:latin typeface="Segoe UI Light"/>
                <a:cs typeface="Segoe UI Light"/>
              </a:rPr>
              <a:t>t</a:t>
            </a:r>
            <a:r>
              <a:rPr sz="3453" spc="14" baseline="1066" dirty="0">
                <a:solidFill>
                  <a:srgbClr val="FFFFFF"/>
                </a:solidFill>
                <a:latin typeface="Segoe UI Light"/>
                <a:cs typeface="Segoe UI Light"/>
              </a:rPr>
              <a:t>i</a:t>
            </a:r>
            <a:r>
              <a:rPr sz="3453" spc="33" baseline="1066" dirty="0">
                <a:solidFill>
                  <a:srgbClr val="FFFFFF"/>
                </a:solidFill>
                <a:latin typeface="Segoe UI Light"/>
                <a:cs typeface="Segoe UI Light"/>
              </a:rPr>
              <a:t>o</a:t>
            </a:r>
            <a:r>
              <a:rPr sz="3453" spc="19" baseline="1066" dirty="0">
                <a:solidFill>
                  <a:srgbClr val="FFFFFF"/>
                </a:solidFill>
                <a:latin typeface="Segoe UI Light"/>
                <a:cs typeface="Segoe UI Light"/>
              </a:rPr>
              <a:t>n</a:t>
            </a:r>
            <a:r>
              <a:rPr sz="3453" baseline="1066" dirty="0">
                <a:solidFill>
                  <a:srgbClr val="FFFFFF"/>
                </a:solidFill>
                <a:latin typeface="Segoe UI Light"/>
                <a:cs typeface="Segoe UI Light"/>
              </a:rPr>
              <a:t>s</a:t>
            </a:r>
            <a:endParaRPr sz="2302">
              <a:latin typeface="Segoe UI Light"/>
              <a:cs typeface="Segoe UI Light"/>
            </a:endParaRPr>
          </a:p>
        </p:txBody>
      </p:sp>
      <p:sp>
        <p:nvSpPr>
          <p:cNvPr id="3" name="object 3"/>
          <p:cNvSpPr txBox="1"/>
          <p:nvPr/>
        </p:nvSpPr>
        <p:spPr>
          <a:xfrm>
            <a:off x="1479711" y="3786960"/>
            <a:ext cx="2541606" cy="679513"/>
          </a:xfrm>
          <a:prstGeom prst="rect">
            <a:avLst/>
          </a:prstGeom>
        </p:spPr>
        <p:txBody>
          <a:bodyPr wrap="square" lIns="0" tIns="0" rIns="0" bIns="0" rtlCol="0">
            <a:noAutofit/>
          </a:bodyPr>
          <a:lstStyle/>
          <a:p>
            <a:pPr algn="ctr">
              <a:lnSpc>
                <a:spcPts val="2567"/>
              </a:lnSpc>
              <a:spcBef>
                <a:spcPts val="128"/>
              </a:spcBef>
            </a:pPr>
            <a:r>
              <a:rPr sz="3453" spc="-33" baseline="1066" dirty="0">
                <a:solidFill>
                  <a:srgbClr val="FFFFFF"/>
                </a:solidFill>
                <a:latin typeface="Segoe UI Light"/>
                <a:cs typeface="Segoe UI Light"/>
              </a:rPr>
              <a:t>M</a:t>
            </a:r>
            <a:r>
              <a:rPr sz="3453" spc="28" baseline="1066" dirty="0">
                <a:solidFill>
                  <a:srgbClr val="FFFFFF"/>
                </a:solidFill>
                <a:latin typeface="Segoe UI Light"/>
                <a:cs typeface="Segoe UI Light"/>
              </a:rPr>
              <a:t>o</a:t>
            </a:r>
            <a:r>
              <a:rPr sz="3453" spc="-33" baseline="1066" dirty="0">
                <a:solidFill>
                  <a:srgbClr val="FFFFFF"/>
                </a:solidFill>
                <a:latin typeface="Segoe UI Light"/>
                <a:cs typeface="Segoe UI Light"/>
              </a:rPr>
              <a:t>b</a:t>
            </a:r>
            <a:r>
              <a:rPr sz="3453" spc="14" baseline="1066" dirty="0">
                <a:solidFill>
                  <a:srgbClr val="FFFFFF"/>
                </a:solidFill>
                <a:latin typeface="Segoe UI Light"/>
                <a:cs typeface="Segoe UI Light"/>
              </a:rPr>
              <a:t>il</a:t>
            </a:r>
            <a:r>
              <a:rPr sz="3453" baseline="1066" dirty="0">
                <a:solidFill>
                  <a:srgbClr val="FFFFFF"/>
                </a:solidFill>
                <a:latin typeface="Segoe UI Light"/>
                <a:cs typeface="Segoe UI Light"/>
              </a:rPr>
              <a:t>e</a:t>
            </a:r>
            <a:r>
              <a:rPr sz="3453" spc="164" baseline="1066" dirty="0">
                <a:solidFill>
                  <a:srgbClr val="FFFFFF"/>
                </a:solidFill>
                <a:latin typeface="Segoe UI Light"/>
                <a:cs typeface="Segoe UI Light"/>
              </a:rPr>
              <a:t> </a:t>
            </a:r>
            <a:r>
              <a:rPr sz="3453" spc="9" baseline="1066" dirty="0">
                <a:solidFill>
                  <a:srgbClr val="FFFFFF"/>
                </a:solidFill>
                <a:latin typeface="Segoe UI Light"/>
                <a:cs typeface="Segoe UI Light"/>
              </a:rPr>
              <a:t>s</a:t>
            </a:r>
            <a:r>
              <a:rPr sz="3453" spc="19" baseline="1066" dirty="0">
                <a:solidFill>
                  <a:srgbClr val="FFFFFF"/>
                </a:solidFill>
                <a:latin typeface="Segoe UI Light"/>
                <a:cs typeface="Segoe UI Light"/>
              </a:rPr>
              <a:t>e</a:t>
            </a:r>
            <a:r>
              <a:rPr sz="3453" spc="147" baseline="1066" dirty="0">
                <a:solidFill>
                  <a:srgbClr val="FFFFFF"/>
                </a:solidFill>
                <a:latin typeface="Segoe UI Light"/>
                <a:cs typeface="Segoe UI Light"/>
              </a:rPr>
              <a:t>r</a:t>
            </a:r>
            <a:r>
              <a:rPr sz="3453" baseline="1066" dirty="0">
                <a:solidFill>
                  <a:srgbClr val="FFFFFF"/>
                </a:solidFill>
                <a:latin typeface="Segoe UI Light"/>
                <a:cs typeface="Segoe UI Light"/>
              </a:rPr>
              <a:t>v</a:t>
            </a:r>
            <a:r>
              <a:rPr sz="3453" spc="14" baseline="1066" dirty="0">
                <a:solidFill>
                  <a:srgbClr val="FFFFFF"/>
                </a:solidFill>
                <a:latin typeface="Segoe UI Light"/>
                <a:cs typeface="Segoe UI Light"/>
              </a:rPr>
              <a:t>i</a:t>
            </a:r>
            <a:r>
              <a:rPr sz="3453" spc="19" baseline="1066" dirty="0">
                <a:solidFill>
                  <a:srgbClr val="FFFFFF"/>
                </a:solidFill>
                <a:latin typeface="Segoe UI Light"/>
                <a:cs typeface="Segoe UI Light"/>
              </a:rPr>
              <a:t>ce</a:t>
            </a:r>
            <a:r>
              <a:rPr sz="3453" baseline="1066" dirty="0">
                <a:solidFill>
                  <a:srgbClr val="FFFFFF"/>
                </a:solidFill>
                <a:latin typeface="Segoe UI Light"/>
                <a:cs typeface="Segoe UI Light"/>
              </a:rPr>
              <a:t>s</a:t>
            </a:r>
            <a:r>
              <a:rPr sz="3453" spc="20" baseline="1066" dirty="0">
                <a:solidFill>
                  <a:srgbClr val="FFFFFF"/>
                </a:solidFill>
                <a:latin typeface="Segoe UI Light"/>
                <a:cs typeface="Segoe UI Light"/>
              </a:rPr>
              <a:t> </a:t>
            </a:r>
            <a:r>
              <a:rPr sz="3453" spc="-34" baseline="1066" dirty="0">
                <a:solidFill>
                  <a:srgbClr val="FFFFFF"/>
                </a:solidFill>
                <a:latin typeface="Segoe UI Light"/>
                <a:cs typeface="Segoe UI Light"/>
              </a:rPr>
              <a:t>p</a:t>
            </a:r>
            <a:r>
              <a:rPr sz="3453" spc="15" baseline="1066" dirty="0">
                <a:solidFill>
                  <a:srgbClr val="FFFFFF"/>
                </a:solidFill>
                <a:latin typeface="Segoe UI Light"/>
                <a:cs typeface="Segoe UI Light"/>
              </a:rPr>
              <a:t>l</a:t>
            </a:r>
            <a:r>
              <a:rPr sz="3453" spc="20" baseline="1066" dirty="0">
                <a:solidFill>
                  <a:srgbClr val="FFFFFF"/>
                </a:solidFill>
                <a:latin typeface="Segoe UI Light"/>
                <a:cs typeface="Segoe UI Light"/>
              </a:rPr>
              <a:t>u</a:t>
            </a:r>
            <a:r>
              <a:rPr sz="3453" baseline="1066" dirty="0">
                <a:solidFill>
                  <a:srgbClr val="FFFFFF"/>
                </a:solidFill>
                <a:latin typeface="Segoe UI Light"/>
                <a:cs typeface="Segoe UI Light"/>
              </a:rPr>
              <a:t>s</a:t>
            </a:r>
            <a:endParaRPr sz="2302">
              <a:latin typeface="Segoe UI Light"/>
              <a:cs typeface="Segoe UI Light"/>
            </a:endParaRPr>
          </a:p>
          <a:p>
            <a:pPr marL="174847" marR="193164" algn="ctr">
              <a:lnSpc>
                <a:spcPts val="2782"/>
              </a:lnSpc>
              <a:spcBef>
                <a:spcPts val="10"/>
              </a:spcBef>
            </a:pPr>
            <a:r>
              <a:rPr sz="2302" dirty="0">
                <a:solidFill>
                  <a:srgbClr val="FFFFFF"/>
                </a:solidFill>
                <a:latin typeface="Segoe UI Light"/>
                <a:cs typeface="Segoe UI Light"/>
              </a:rPr>
              <a:t>a</a:t>
            </a:r>
            <a:r>
              <a:rPr sz="2302" spc="65" dirty="0">
                <a:solidFill>
                  <a:srgbClr val="FFFFFF"/>
                </a:solidFill>
                <a:latin typeface="Segoe UI Light"/>
                <a:cs typeface="Segoe UI Light"/>
              </a:rPr>
              <a:t> </a:t>
            </a:r>
            <a:r>
              <a:rPr sz="2302" spc="-24" dirty="0">
                <a:solidFill>
                  <a:srgbClr val="FFFFFF"/>
                </a:solidFill>
                <a:latin typeface="Segoe UI Light"/>
                <a:cs typeface="Segoe UI Light"/>
              </a:rPr>
              <a:t>w</a:t>
            </a:r>
            <a:r>
              <a:rPr sz="2302" spc="19" dirty="0">
                <a:solidFill>
                  <a:srgbClr val="FFFFFF"/>
                </a:solidFill>
                <a:latin typeface="Segoe UI Light"/>
                <a:cs typeface="Segoe UI Light"/>
              </a:rPr>
              <a:t>h</a:t>
            </a:r>
            <a:r>
              <a:rPr sz="2302" spc="33" dirty="0">
                <a:solidFill>
                  <a:srgbClr val="FFFFFF"/>
                </a:solidFill>
                <a:latin typeface="Segoe UI Light"/>
                <a:cs typeface="Segoe UI Light"/>
              </a:rPr>
              <a:t>o</a:t>
            </a:r>
            <a:r>
              <a:rPr sz="2302" spc="14" dirty="0">
                <a:solidFill>
                  <a:srgbClr val="FFFFFF"/>
                </a:solidFill>
                <a:latin typeface="Segoe UI Light"/>
                <a:cs typeface="Segoe UI Light"/>
              </a:rPr>
              <a:t>l</a:t>
            </a:r>
            <a:r>
              <a:rPr sz="2302" dirty="0">
                <a:solidFill>
                  <a:srgbClr val="FFFFFF"/>
                </a:solidFill>
                <a:latin typeface="Segoe UI Light"/>
                <a:cs typeface="Segoe UI Light"/>
              </a:rPr>
              <a:t>e</a:t>
            </a:r>
            <a:r>
              <a:rPr sz="2302" spc="91" dirty="0">
                <a:solidFill>
                  <a:srgbClr val="FFFFFF"/>
                </a:solidFill>
                <a:latin typeface="Segoe UI Light"/>
                <a:cs typeface="Segoe UI Light"/>
              </a:rPr>
              <a:t> </a:t>
            </a:r>
            <a:r>
              <a:rPr sz="2302" spc="14" dirty="0">
                <a:solidFill>
                  <a:srgbClr val="FFFFFF"/>
                </a:solidFill>
                <a:latin typeface="Segoe UI Light"/>
                <a:cs typeface="Segoe UI Light"/>
              </a:rPr>
              <a:t>l</a:t>
            </a:r>
            <a:r>
              <a:rPr sz="2302" spc="33" dirty="0">
                <a:solidFill>
                  <a:srgbClr val="FFFFFF"/>
                </a:solidFill>
                <a:latin typeface="Segoe UI Light"/>
                <a:cs typeface="Segoe UI Light"/>
              </a:rPr>
              <a:t>o</a:t>
            </a:r>
            <a:r>
              <a:rPr sz="2302" dirty="0">
                <a:solidFill>
                  <a:srgbClr val="FFFFFF"/>
                </a:solidFill>
                <a:latin typeface="Segoe UI Light"/>
                <a:cs typeface="Segoe UI Light"/>
              </a:rPr>
              <a:t>t</a:t>
            </a:r>
            <a:r>
              <a:rPr sz="2302" spc="-24" dirty="0">
                <a:solidFill>
                  <a:srgbClr val="FFFFFF"/>
                </a:solidFill>
                <a:latin typeface="Segoe UI Light"/>
                <a:cs typeface="Segoe UI Light"/>
              </a:rPr>
              <a:t> </a:t>
            </a:r>
            <a:r>
              <a:rPr sz="2302" spc="-10" dirty="0">
                <a:solidFill>
                  <a:srgbClr val="FFFFFF"/>
                </a:solidFill>
                <a:latin typeface="Segoe UI Light"/>
                <a:cs typeface="Segoe UI Light"/>
              </a:rPr>
              <a:t>m</a:t>
            </a:r>
            <a:r>
              <a:rPr sz="2302" spc="34" dirty="0">
                <a:solidFill>
                  <a:srgbClr val="FFFFFF"/>
                </a:solidFill>
                <a:latin typeface="Segoe UI Light"/>
                <a:cs typeface="Segoe UI Light"/>
              </a:rPr>
              <a:t>o</a:t>
            </a:r>
            <a:r>
              <a:rPr sz="2302" spc="-64" dirty="0">
                <a:solidFill>
                  <a:srgbClr val="FFFFFF"/>
                </a:solidFill>
                <a:latin typeface="Segoe UI Light"/>
                <a:cs typeface="Segoe UI Light"/>
              </a:rPr>
              <a:t>r</a:t>
            </a:r>
            <a:r>
              <a:rPr sz="2302" dirty="0">
                <a:solidFill>
                  <a:srgbClr val="FFFFFF"/>
                </a:solidFill>
                <a:latin typeface="Segoe UI Light"/>
                <a:cs typeface="Segoe UI Light"/>
              </a:rPr>
              <a:t>e</a:t>
            </a:r>
            <a:endParaRPr sz="2302">
              <a:latin typeface="Segoe UI Light"/>
              <a:cs typeface="Segoe UI Light"/>
            </a:endParaRPr>
          </a:p>
        </p:txBody>
      </p:sp>
      <p:sp>
        <p:nvSpPr>
          <p:cNvPr id="2" name="object 2"/>
          <p:cNvSpPr txBox="1"/>
          <p:nvPr/>
        </p:nvSpPr>
        <p:spPr>
          <a:xfrm>
            <a:off x="4833257" y="4466473"/>
            <a:ext cx="7247629" cy="321391"/>
          </a:xfrm>
          <a:prstGeom prst="rect">
            <a:avLst/>
          </a:prstGeom>
        </p:spPr>
        <p:txBody>
          <a:bodyPr wrap="square" lIns="0" tIns="0" rIns="0" bIns="0" rtlCol="0">
            <a:noAutofit/>
          </a:bodyPr>
          <a:lstStyle/>
          <a:p>
            <a:r>
              <a:rPr lang="en-IN" sz="3453" baseline="1233" dirty="0" smtClean="0">
                <a:solidFill>
                  <a:srgbClr val="FFFFFF"/>
                </a:solidFill>
                <a:latin typeface="Arial"/>
                <a:cs typeface="Arial"/>
              </a:rPr>
              <a:t>   </a:t>
            </a:r>
            <a:r>
              <a:rPr lang="en-IN" sz="4000" baseline="1233" dirty="0" smtClean="0">
                <a:solidFill>
                  <a:srgbClr val="FFFFFF"/>
                </a:solidFill>
                <a:effectLst>
                  <a:outerShdw blurRad="38100" dist="38100" dir="2700000" algn="tl">
                    <a:srgbClr val="000000">
                      <a:alpha val="43137"/>
                    </a:srgbClr>
                  </a:outerShdw>
                </a:effectLst>
                <a:latin typeface="Arial"/>
                <a:cs typeface="Arial"/>
              </a:rPr>
              <a:t>Features</a:t>
            </a:r>
            <a:r>
              <a:rPr lang="en-IN" sz="3453" baseline="1233" dirty="0" smtClean="0">
                <a:solidFill>
                  <a:srgbClr val="FFFFFF"/>
                </a:solidFill>
                <a:latin typeface="Arial"/>
                <a:cs typeface="Arial"/>
              </a:rPr>
              <a:t>:</a:t>
            </a:r>
            <a:r>
              <a:rPr sz="3453" spc="528" baseline="1233" dirty="0" smtClean="0">
                <a:solidFill>
                  <a:srgbClr val="FFFFFF"/>
                </a:solidFill>
                <a:latin typeface="Arial"/>
                <a:cs typeface="Arial"/>
              </a:rPr>
              <a:t> </a:t>
            </a:r>
            <a:r>
              <a:rPr lang="en-IN" sz="1600" dirty="0" smtClean="0">
                <a:solidFill>
                  <a:schemeClr val="bg1"/>
                </a:solidFill>
              </a:rPr>
              <a:t>Integrate </a:t>
            </a:r>
            <a:r>
              <a:rPr lang="en-IN" sz="1600" dirty="0">
                <a:solidFill>
                  <a:schemeClr val="bg1"/>
                </a:solidFill>
              </a:rPr>
              <a:t>with SQL, Oracle, SAP, MongoDB, and </a:t>
            </a:r>
            <a:r>
              <a:rPr lang="en-IN" sz="1600" dirty="0" smtClean="0">
                <a:solidFill>
                  <a:schemeClr val="bg1"/>
                </a:solidFill>
              </a:rPr>
              <a:t>etc.</a:t>
            </a:r>
            <a:endParaRPr lang="en-IN" sz="1600" dirty="0">
              <a:solidFill>
                <a:schemeClr val="bg1"/>
              </a:solidFill>
            </a:endParaRPr>
          </a:p>
          <a:p>
            <a:pPr marL="285750" indent="-285750">
              <a:buFont typeface="Arial" panose="020B0604020202020204" pitchFamily="34" charset="0"/>
              <a:buChar char="•"/>
            </a:pPr>
            <a:r>
              <a:rPr lang="en-IN" sz="1600" dirty="0">
                <a:solidFill>
                  <a:schemeClr val="bg1"/>
                </a:solidFill>
              </a:rPr>
              <a:t>Make your app work offline and sync.</a:t>
            </a:r>
          </a:p>
          <a:p>
            <a:pPr marL="285750" indent="-285750">
              <a:buFont typeface="Arial" panose="020B0604020202020204" pitchFamily="34" charset="0"/>
              <a:buChar char="•"/>
            </a:pPr>
            <a:r>
              <a:rPr lang="en-IN" sz="1600" dirty="0">
                <a:solidFill>
                  <a:schemeClr val="bg1"/>
                </a:solidFill>
              </a:rPr>
              <a:t>Connect to on-premises data.</a:t>
            </a:r>
          </a:p>
          <a:p>
            <a:pPr marL="285750" indent="-285750">
              <a:buFont typeface="Arial" panose="020B0604020202020204" pitchFamily="34" charset="0"/>
              <a:buChar char="•"/>
            </a:pPr>
            <a:r>
              <a:rPr lang="en-IN" sz="1600" dirty="0">
                <a:solidFill>
                  <a:schemeClr val="bg1"/>
                </a:solidFill>
              </a:rPr>
              <a:t>Leverage enterprise single sign-on with Active Directory.</a:t>
            </a:r>
          </a:p>
          <a:p>
            <a:pPr marL="285750" indent="-285750">
              <a:buFont typeface="Arial" panose="020B0604020202020204" pitchFamily="34" charset="0"/>
              <a:buChar char="•"/>
            </a:pPr>
            <a:r>
              <a:rPr lang="en-IN" sz="1600" dirty="0">
                <a:solidFill>
                  <a:schemeClr val="bg1"/>
                </a:solidFill>
              </a:rPr>
              <a:t>Integrate with social providers like Facebook, Twitter, and Google.</a:t>
            </a:r>
          </a:p>
          <a:p>
            <a:pPr marL="285750" indent="-285750">
              <a:buFont typeface="Arial" panose="020B0604020202020204" pitchFamily="34" charset="0"/>
              <a:buChar char="•"/>
            </a:pPr>
            <a:r>
              <a:rPr lang="en-IN" sz="1600" dirty="0">
                <a:solidFill>
                  <a:schemeClr val="bg1"/>
                </a:solidFill>
              </a:rPr>
              <a:t>Broadcast push notifications across platforms, with customer segmentation.</a:t>
            </a:r>
          </a:p>
          <a:p>
            <a:pPr marL="285750" indent="-285750">
              <a:buFont typeface="Arial" panose="020B0604020202020204" pitchFamily="34" charset="0"/>
              <a:buChar char="•"/>
            </a:pPr>
            <a:r>
              <a:rPr lang="en-IN" sz="1600" dirty="0">
                <a:solidFill>
                  <a:schemeClr val="bg1"/>
                </a:solidFill>
              </a:rPr>
              <a:t>Gain insights with mobile analytics.</a:t>
            </a:r>
          </a:p>
          <a:p>
            <a:pPr marL="285750" indent="-285750">
              <a:buFont typeface="Arial" panose="020B0604020202020204" pitchFamily="34" charset="0"/>
              <a:buChar char="•"/>
            </a:pPr>
            <a:r>
              <a:rPr lang="en-IN" sz="1600" dirty="0">
                <a:solidFill>
                  <a:schemeClr val="bg1"/>
                </a:solidFill>
              </a:rPr>
              <a:t>Auto-scale to millions of devices</a:t>
            </a:r>
            <a:r>
              <a:rPr lang="en-IN" sz="1600" dirty="0"/>
              <a:t>.</a:t>
            </a:r>
          </a:p>
          <a:p>
            <a:pPr marL="12441">
              <a:lnSpc>
                <a:spcPts val="2532"/>
              </a:lnSpc>
              <a:spcBef>
                <a:spcPts val="126"/>
              </a:spcBef>
            </a:pPr>
            <a:endParaRPr sz="2302" dirty="0">
              <a:latin typeface="Segoe UI Light"/>
              <a:cs typeface="Segoe UI Light"/>
            </a:endParaRPr>
          </a:p>
        </p:txBody>
      </p:sp>
    </p:spTree>
    <p:extLst>
      <p:ext uri="{BB962C8B-B14F-4D97-AF65-F5344CB8AC3E}">
        <p14:creationId xmlns:p14="http://schemas.microsoft.com/office/powerpoint/2010/main" val="754006307"/>
      </p:ext>
    </p:extLst>
  </p:cSld>
  <p:clrMapOvr>
    <a:masterClrMapping/>
  </p:clrMapOvr>
  <p:timing>
    <p:tnLst>
      <p:par>
        <p:cTn id="1" dur="indefinite" restart="never" nodeType="tmRoot"/>
      </p:par>
    </p:tnLst>
  </p:timing>
</p:sld>
</file>

<file path=ppt/slides/slide189.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17" name="object 17"/>
          <p:cNvSpPr/>
          <p:nvPr/>
        </p:nvSpPr>
        <p:spPr>
          <a:xfrm>
            <a:off x="0" y="1555"/>
            <a:ext cx="12182047" cy="6852401"/>
          </a:xfrm>
          <a:custGeom>
            <a:avLst/>
            <a:gdLst/>
            <a:ahLst/>
            <a:cxnLst/>
            <a:rect l="l" t="t" r="r" b="b"/>
            <a:pathLst>
              <a:path w="12435840" h="6995159">
                <a:moveTo>
                  <a:pt x="12435840" y="0"/>
                </a:moveTo>
                <a:lnTo>
                  <a:pt x="0" y="0"/>
                </a:lnTo>
                <a:lnTo>
                  <a:pt x="0" y="6995158"/>
                </a:lnTo>
                <a:lnTo>
                  <a:pt x="12435840" y="6995158"/>
                </a:lnTo>
                <a:lnTo>
                  <a:pt x="12435840" y="0"/>
                </a:lnTo>
                <a:close/>
              </a:path>
            </a:pathLst>
          </a:custGeom>
          <a:solidFill>
            <a:schemeClr val="bg2">
              <a:lumMod val="50000"/>
            </a:schemeClr>
          </a:solidFill>
        </p:spPr>
        <p:txBody>
          <a:bodyPr wrap="square" lIns="0" tIns="0" rIns="0" bIns="0" rtlCol="0">
            <a:noAutofit/>
          </a:bodyPr>
          <a:lstStyle/>
          <a:p>
            <a:endParaRPr sz="1763"/>
          </a:p>
        </p:txBody>
      </p:sp>
      <p:sp>
        <p:nvSpPr>
          <p:cNvPr id="15" name="object 15"/>
          <p:cNvSpPr/>
          <p:nvPr/>
        </p:nvSpPr>
        <p:spPr>
          <a:xfrm>
            <a:off x="2361625" y="2413011"/>
            <a:ext cx="584570" cy="677126"/>
          </a:xfrm>
          <a:custGeom>
            <a:avLst/>
            <a:gdLst/>
            <a:ahLst/>
            <a:cxnLst/>
            <a:rect l="l" t="t" r="r" b="b"/>
            <a:pathLst>
              <a:path w="596749" h="691233">
                <a:moveTo>
                  <a:pt x="62816" y="259090"/>
                </a:moveTo>
                <a:lnTo>
                  <a:pt x="62551" y="431641"/>
                </a:lnTo>
                <a:lnTo>
                  <a:pt x="72872" y="401092"/>
                </a:lnTo>
                <a:lnTo>
                  <a:pt x="81314" y="277354"/>
                </a:lnTo>
                <a:lnTo>
                  <a:pt x="62816" y="259090"/>
                </a:lnTo>
                <a:close/>
              </a:path>
              <a:path w="596749" h="691233">
                <a:moveTo>
                  <a:pt x="589921" y="196081"/>
                </a:moveTo>
                <a:lnTo>
                  <a:pt x="596749" y="99988"/>
                </a:lnTo>
                <a:lnTo>
                  <a:pt x="589320" y="110928"/>
                </a:lnTo>
                <a:lnTo>
                  <a:pt x="581425" y="121654"/>
                </a:lnTo>
                <a:lnTo>
                  <a:pt x="575448" y="129236"/>
                </a:lnTo>
                <a:lnTo>
                  <a:pt x="575078" y="212399"/>
                </a:lnTo>
                <a:lnTo>
                  <a:pt x="589921" y="196081"/>
                </a:lnTo>
                <a:close/>
              </a:path>
              <a:path w="596749" h="691233">
                <a:moveTo>
                  <a:pt x="329562" y="561246"/>
                </a:moveTo>
                <a:lnTo>
                  <a:pt x="360334" y="561246"/>
                </a:lnTo>
                <a:lnTo>
                  <a:pt x="337617" y="511872"/>
                </a:lnTo>
                <a:lnTo>
                  <a:pt x="318999" y="511872"/>
                </a:lnTo>
                <a:lnTo>
                  <a:pt x="300499" y="493616"/>
                </a:lnTo>
                <a:lnTo>
                  <a:pt x="329562" y="561246"/>
                </a:lnTo>
                <a:close/>
              </a:path>
              <a:path w="596749" h="691233">
                <a:moveTo>
                  <a:pt x="125099" y="567416"/>
                </a:moveTo>
                <a:lnTo>
                  <a:pt x="157298" y="554708"/>
                </a:lnTo>
                <a:lnTo>
                  <a:pt x="183435" y="544393"/>
                </a:lnTo>
                <a:lnTo>
                  <a:pt x="204144" y="536220"/>
                </a:lnTo>
                <a:lnTo>
                  <a:pt x="220055" y="529941"/>
                </a:lnTo>
                <a:lnTo>
                  <a:pt x="231801" y="525305"/>
                </a:lnTo>
                <a:lnTo>
                  <a:pt x="240014" y="522063"/>
                </a:lnTo>
                <a:lnTo>
                  <a:pt x="245327" y="519967"/>
                </a:lnTo>
                <a:lnTo>
                  <a:pt x="248370" y="518766"/>
                </a:lnTo>
                <a:lnTo>
                  <a:pt x="250200" y="518044"/>
                </a:lnTo>
                <a:lnTo>
                  <a:pt x="272106" y="539659"/>
                </a:lnTo>
                <a:lnTo>
                  <a:pt x="285125" y="552505"/>
                </a:lnTo>
                <a:lnTo>
                  <a:pt x="291569" y="558865"/>
                </a:lnTo>
                <a:lnTo>
                  <a:pt x="293983" y="561246"/>
                </a:lnTo>
                <a:lnTo>
                  <a:pt x="329562" y="561246"/>
                </a:lnTo>
                <a:lnTo>
                  <a:pt x="300499" y="493616"/>
                </a:lnTo>
                <a:lnTo>
                  <a:pt x="294516" y="487713"/>
                </a:lnTo>
                <a:lnTo>
                  <a:pt x="293983" y="487187"/>
                </a:lnTo>
                <a:lnTo>
                  <a:pt x="319361" y="462147"/>
                </a:lnTo>
                <a:lnTo>
                  <a:pt x="341410" y="440392"/>
                </a:lnTo>
                <a:lnTo>
                  <a:pt x="360365" y="421690"/>
                </a:lnTo>
                <a:lnTo>
                  <a:pt x="376458" y="405812"/>
                </a:lnTo>
                <a:lnTo>
                  <a:pt x="389924" y="392525"/>
                </a:lnTo>
                <a:lnTo>
                  <a:pt x="400998" y="381599"/>
                </a:lnTo>
                <a:lnTo>
                  <a:pt x="409912" y="372804"/>
                </a:lnTo>
                <a:lnTo>
                  <a:pt x="416902" y="365907"/>
                </a:lnTo>
                <a:lnTo>
                  <a:pt x="422201" y="360678"/>
                </a:lnTo>
                <a:lnTo>
                  <a:pt x="426044" y="356887"/>
                </a:lnTo>
                <a:lnTo>
                  <a:pt x="428664" y="354302"/>
                </a:lnTo>
                <a:lnTo>
                  <a:pt x="431602" y="351403"/>
                </a:lnTo>
                <a:lnTo>
                  <a:pt x="431602" y="511872"/>
                </a:lnTo>
                <a:lnTo>
                  <a:pt x="337617" y="511872"/>
                </a:lnTo>
                <a:lnTo>
                  <a:pt x="360334" y="561246"/>
                </a:lnTo>
                <a:lnTo>
                  <a:pt x="481634" y="561246"/>
                </a:lnTo>
                <a:lnTo>
                  <a:pt x="481633" y="302037"/>
                </a:lnTo>
                <a:lnTo>
                  <a:pt x="503540" y="280423"/>
                </a:lnTo>
                <a:lnTo>
                  <a:pt x="516559" y="267577"/>
                </a:lnTo>
                <a:lnTo>
                  <a:pt x="523003" y="261218"/>
                </a:lnTo>
                <a:lnTo>
                  <a:pt x="525417" y="258837"/>
                </a:lnTo>
                <a:lnTo>
                  <a:pt x="542821" y="243796"/>
                </a:lnTo>
                <a:lnTo>
                  <a:pt x="559377" y="228310"/>
                </a:lnTo>
                <a:lnTo>
                  <a:pt x="575078" y="212399"/>
                </a:lnTo>
                <a:lnTo>
                  <a:pt x="575448" y="129236"/>
                </a:lnTo>
                <a:lnTo>
                  <a:pt x="550700" y="103651"/>
                </a:lnTo>
                <a:lnTo>
                  <a:pt x="529273" y="81500"/>
                </a:lnTo>
                <a:lnTo>
                  <a:pt x="510929" y="62536"/>
                </a:lnTo>
                <a:lnTo>
                  <a:pt x="495428" y="46512"/>
                </a:lnTo>
                <a:lnTo>
                  <a:pt x="482531" y="33179"/>
                </a:lnTo>
                <a:lnTo>
                  <a:pt x="471999" y="22291"/>
                </a:lnTo>
                <a:lnTo>
                  <a:pt x="463591" y="13599"/>
                </a:lnTo>
                <a:lnTo>
                  <a:pt x="457069" y="6856"/>
                </a:lnTo>
                <a:lnTo>
                  <a:pt x="452193" y="1816"/>
                </a:lnTo>
                <a:lnTo>
                  <a:pt x="448724" y="-1770"/>
                </a:lnTo>
                <a:lnTo>
                  <a:pt x="445048" y="-5570"/>
                </a:lnTo>
                <a:lnTo>
                  <a:pt x="444099" y="-6551"/>
                </a:lnTo>
                <a:lnTo>
                  <a:pt x="454799" y="-13683"/>
                </a:lnTo>
                <a:lnTo>
                  <a:pt x="465725" y="-20462"/>
                </a:lnTo>
                <a:lnTo>
                  <a:pt x="476862" y="-26888"/>
                </a:lnTo>
                <a:lnTo>
                  <a:pt x="488198" y="-32960"/>
                </a:lnTo>
                <a:lnTo>
                  <a:pt x="499719" y="-38679"/>
                </a:lnTo>
                <a:lnTo>
                  <a:pt x="511411" y="-44045"/>
                </a:lnTo>
                <a:lnTo>
                  <a:pt x="523261" y="-49057"/>
                </a:lnTo>
                <a:lnTo>
                  <a:pt x="535256" y="-53715"/>
                </a:lnTo>
                <a:lnTo>
                  <a:pt x="547381" y="-58021"/>
                </a:lnTo>
                <a:lnTo>
                  <a:pt x="559624" y="-61973"/>
                </a:lnTo>
                <a:lnTo>
                  <a:pt x="571971" y="-65571"/>
                </a:lnTo>
                <a:lnTo>
                  <a:pt x="584408" y="-68817"/>
                </a:lnTo>
                <a:lnTo>
                  <a:pt x="596922" y="-71708"/>
                </a:lnTo>
                <a:lnTo>
                  <a:pt x="609500" y="-74247"/>
                </a:lnTo>
                <a:lnTo>
                  <a:pt x="622128" y="-76432"/>
                </a:lnTo>
                <a:lnTo>
                  <a:pt x="634792" y="-78264"/>
                </a:lnTo>
                <a:lnTo>
                  <a:pt x="647479" y="-79742"/>
                </a:lnTo>
                <a:lnTo>
                  <a:pt x="656766" y="-80600"/>
                </a:lnTo>
                <a:lnTo>
                  <a:pt x="655527" y="-68065"/>
                </a:lnTo>
                <a:lnTo>
                  <a:pt x="653924" y="-55543"/>
                </a:lnTo>
                <a:lnTo>
                  <a:pt x="651948" y="-43048"/>
                </a:lnTo>
                <a:lnTo>
                  <a:pt x="649593" y="-30592"/>
                </a:lnTo>
                <a:lnTo>
                  <a:pt x="646853" y="-18190"/>
                </a:lnTo>
                <a:lnTo>
                  <a:pt x="643720" y="-5853"/>
                </a:lnTo>
                <a:lnTo>
                  <a:pt x="640188" y="6403"/>
                </a:lnTo>
                <a:lnTo>
                  <a:pt x="636250" y="18566"/>
                </a:lnTo>
                <a:lnTo>
                  <a:pt x="631899" y="30624"/>
                </a:lnTo>
                <a:lnTo>
                  <a:pt x="627129" y="42562"/>
                </a:lnTo>
                <a:lnTo>
                  <a:pt x="621932" y="54366"/>
                </a:lnTo>
                <a:lnTo>
                  <a:pt x="616303" y="66025"/>
                </a:lnTo>
                <a:lnTo>
                  <a:pt x="610234" y="77523"/>
                </a:lnTo>
                <a:lnTo>
                  <a:pt x="603718" y="88849"/>
                </a:lnTo>
                <a:lnTo>
                  <a:pt x="596749" y="99988"/>
                </a:lnTo>
                <a:lnTo>
                  <a:pt x="589921" y="196081"/>
                </a:lnTo>
                <a:lnTo>
                  <a:pt x="603901" y="179374"/>
                </a:lnTo>
                <a:lnTo>
                  <a:pt x="617013" y="162296"/>
                </a:lnTo>
                <a:lnTo>
                  <a:pt x="629252" y="144867"/>
                </a:lnTo>
                <a:lnTo>
                  <a:pt x="640614" y="127105"/>
                </a:lnTo>
                <a:lnTo>
                  <a:pt x="651094" y="109028"/>
                </a:lnTo>
                <a:lnTo>
                  <a:pt x="660687" y="90654"/>
                </a:lnTo>
                <a:lnTo>
                  <a:pt x="669389" y="72003"/>
                </a:lnTo>
                <a:lnTo>
                  <a:pt x="677194" y="53093"/>
                </a:lnTo>
                <a:lnTo>
                  <a:pt x="684099" y="33942"/>
                </a:lnTo>
                <a:lnTo>
                  <a:pt x="690099" y="14568"/>
                </a:lnTo>
                <a:lnTo>
                  <a:pt x="695188" y="-5008"/>
                </a:lnTo>
                <a:lnTo>
                  <a:pt x="699363" y="-24770"/>
                </a:lnTo>
                <a:lnTo>
                  <a:pt x="702618" y="-44700"/>
                </a:lnTo>
                <a:lnTo>
                  <a:pt x="704948" y="-64777"/>
                </a:lnTo>
                <a:lnTo>
                  <a:pt x="706350" y="-84985"/>
                </a:lnTo>
                <a:lnTo>
                  <a:pt x="706819" y="-105303"/>
                </a:lnTo>
                <a:lnTo>
                  <a:pt x="706819" y="-129986"/>
                </a:lnTo>
                <a:lnTo>
                  <a:pt x="681782" y="-129986"/>
                </a:lnTo>
                <a:lnTo>
                  <a:pt x="661192" y="-129524"/>
                </a:lnTo>
                <a:lnTo>
                  <a:pt x="640715" y="-128141"/>
                </a:lnTo>
                <a:lnTo>
                  <a:pt x="620369" y="-125841"/>
                </a:lnTo>
                <a:lnTo>
                  <a:pt x="600173" y="-122630"/>
                </a:lnTo>
                <a:lnTo>
                  <a:pt x="580146" y="-118511"/>
                </a:lnTo>
                <a:lnTo>
                  <a:pt x="560306" y="-113489"/>
                </a:lnTo>
                <a:lnTo>
                  <a:pt x="540673" y="-107569"/>
                </a:lnTo>
                <a:lnTo>
                  <a:pt x="521264" y="-100756"/>
                </a:lnTo>
                <a:lnTo>
                  <a:pt x="502100" y="-93055"/>
                </a:lnTo>
                <a:lnTo>
                  <a:pt x="483198" y="-84469"/>
                </a:lnTo>
                <a:lnTo>
                  <a:pt x="464578" y="-75003"/>
                </a:lnTo>
                <a:lnTo>
                  <a:pt x="446257" y="-64663"/>
                </a:lnTo>
                <a:lnTo>
                  <a:pt x="428256" y="-53452"/>
                </a:lnTo>
                <a:lnTo>
                  <a:pt x="410592" y="-41376"/>
                </a:lnTo>
                <a:lnTo>
                  <a:pt x="393285" y="-28439"/>
                </a:lnTo>
                <a:lnTo>
                  <a:pt x="376352" y="-14645"/>
                </a:lnTo>
                <a:lnTo>
                  <a:pt x="359814" y="0"/>
                </a:lnTo>
                <a:lnTo>
                  <a:pt x="350284" y="86035"/>
                </a:lnTo>
                <a:lnTo>
                  <a:pt x="359325" y="74612"/>
                </a:lnTo>
                <a:lnTo>
                  <a:pt x="368363" y="64146"/>
                </a:lnTo>
                <a:lnTo>
                  <a:pt x="377400" y="54637"/>
                </a:lnTo>
                <a:lnTo>
                  <a:pt x="386437" y="46085"/>
                </a:lnTo>
                <a:lnTo>
                  <a:pt x="395475" y="38491"/>
                </a:lnTo>
                <a:lnTo>
                  <a:pt x="404515" y="31855"/>
                </a:lnTo>
                <a:lnTo>
                  <a:pt x="406565" y="30483"/>
                </a:lnTo>
                <a:lnTo>
                  <a:pt x="431945" y="55521"/>
                </a:lnTo>
                <a:lnTo>
                  <a:pt x="453995" y="77275"/>
                </a:lnTo>
                <a:lnTo>
                  <a:pt x="472950" y="95975"/>
                </a:lnTo>
                <a:lnTo>
                  <a:pt x="489043" y="111852"/>
                </a:lnTo>
                <a:lnTo>
                  <a:pt x="502510" y="125137"/>
                </a:lnTo>
                <a:lnTo>
                  <a:pt x="513583" y="136061"/>
                </a:lnTo>
                <a:lnTo>
                  <a:pt x="522497" y="144856"/>
                </a:lnTo>
                <a:lnTo>
                  <a:pt x="529487" y="151751"/>
                </a:lnTo>
                <a:lnTo>
                  <a:pt x="534786" y="156978"/>
                </a:lnTo>
                <a:lnTo>
                  <a:pt x="538628" y="160769"/>
                </a:lnTo>
                <a:lnTo>
                  <a:pt x="541248" y="163353"/>
                </a:lnTo>
                <a:lnTo>
                  <a:pt x="544184" y="166250"/>
                </a:lnTo>
                <a:lnTo>
                  <a:pt x="537670" y="175170"/>
                </a:lnTo>
                <a:lnTo>
                  <a:pt x="530190" y="184090"/>
                </a:lnTo>
                <a:lnTo>
                  <a:pt x="521743" y="193010"/>
                </a:lnTo>
                <a:lnTo>
                  <a:pt x="512330" y="201929"/>
                </a:lnTo>
                <a:lnTo>
                  <a:pt x="501950" y="210849"/>
                </a:lnTo>
                <a:lnTo>
                  <a:pt x="490603" y="219769"/>
                </a:lnTo>
                <a:lnTo>
                  <a:pt x="487882" y="221802"/>
                </a:lnTo>
                <a:lnTo>
                  <a:pt x="454874" y="254371"/>
                </a:lnTo>
                <a:lnTo>
                  <a:pt x="425164" y="283686"/>
                </a:lnTo>
                <a:lnTo>
                  <a:pt x="398578" y="309918"/>
                </a:lnTo>
                <a:lnTo>
                  <a:pt x="374942" y="333239"/>
                </a:lnTo>
                <a:lnTo>
                  <a:pt x="354085" y="353819"/>
                </a:lnTo>
                <a:lnTo>
                  <a:pt x="335830" y="371831"/>
                </a:lnTo>
                <a:lnTo>
                  <a:pt x="320006" y="387444"/>
                </a:lnTo>
                <a:lnTo>
                  <a:pt x="306438" y="400832"/>
                </a:lnTo>
                <a:lnTo>
                  <a:pt x="294953" y="412164"/>
                </a:lnTo>
                <a:lnTo>
                  <a:pt x="285378" y="421612"/>
                </a:lnTo>
                <a:lnTo>
                  <a:pt x="277538" y="429347"/>
                </a:lnTo>
                <a:lnTo>
                  <a:pt x="271260" y="435541"/>
                </a:lnTo>
                <a:lnTo>
                  <a:pt x="266371" y="440365"/>
                </a:lnTo>
                <a:lnTo>
                  <a:pt x="262697" y="443990"/>
                </a:lnTo>
                <a:lnTo>
                  <a:pt x="260065" y="446588"/>
                </a:lnTo>
                <a:lnTo>
                  <a:pt x="257229" y="449385"/>
                </a:lnTo>
                <a:lnTo>
                  <a:pt x="256448" y="450156"/>
                </a:lnTo>
                <a:lnTo>
                  <a:pt x="231072" y="425114"/>
                </a:lnTo>
                <a:lnTo>
                  <a:pt x="209024" y="403358"/>
                </a:lnTo>
                <a:lnTo>
                  <a:pt x="190072" y="384655"/>
                </a:lnTo>
                <a:lnTo>
                  <a:pt x="173980" y="368776"/>
                </a:lnTo>
                <a:lnTo>
                  <a:pt x="160515" y="355489"/>
                </a:lnTo>
                <a:lnTo>
                  <a:pt x="149443" y="344563"/>
                </a:lnTo>
                <a:lnTo>
                  <a:pt x="140529" y="335767"/>
                </a:lnTo>
                <a:lnTo>
                  <a:pt x="133540" y="328871"/>
                </a:lnTo>
                <a:lnTo>
                  <a:pt x="134350" y="403745"/>
                </a:lnTo>
                <a:lnTo>
                  <a:pt x="152568" y="421719"/>
                </a:lnTo>
                <a:lnTo>
                  <a:pt x="167716" y="436665"/>
                </a:lnTo>
                <a:lnTo>
                  <a:pt x="180078" y="448861"/>
                </a:lnTo>
                <a:lnTo>
                  <a:pt x="189936" y="458587"/>
                </a:lnTo>
                <a:lnTo>
                  <a:pt x="197573" y="466123"/>
                </a:lnTo>
                <a:lnTo>
                  <a:pt x="203274" y="471747"/>
                </a:lnTo>
                <a:lnTo>
                  <a:pt x="207321" y="475740"/>
                </a:lnTo>
                <a:lnTo>
                  <a:pt x="209997" y="478381"/>
                </a:lnTo>
                <a:lnTo>
                  <a:pt x="212665" y="481013"/>
                </a:lnTo>
                <a:lnTo>
                  <a:pt x="181979" y="491106"/>
                </a:lnTo>
                <a:lnTo>
                  <a:pt x="161056" y="497988"/>
                </a:lnTo>
                <a:lnTo>
                  <a:pt x="148029" y="502273"/>
                </a:lnTo>
                <a:lnTo>
                  <a:pt x="141026" y="504576"/>
                </a:lnTo>
                <a:lnTo>
                  <a:pt x="138177" y="505513"/>
                </a:lnTo>
                <a:lnTo>
                  <a:pt x="137609" y="505700"/>
                </a:lnTo>
                <a:lnTo>
                  <a:pt x="62551" y="431641"/>
                </a:lnTo>
                <a:lnTo>
                  <a:pt x="50039" y="320555"/>
                </a:lnTo>
                <a:lnTo>
                  <a:pt x="37046" y="352604"/>
                </a:lnTo>
                <a:lnTo>
                  <a:pt x="26523" y="378561"/>
                </a:lnTo>
                <a:lnTo>
                  <a:pt x="18209" y="399069"/>
                </a:lnTo>
                <a:lnTo>
                  <a:pt x="11844" y="414769"/>
                </a:lnTo>
                <a:lnTo>
                  <a:pt x="7167" y="426304"/>
                </a:lnTo>
                <a:lnTo>
                  <a:pt x="3919" y="434316"/>
                </a:lnTo>
                <a:lnTo>
                  <a:pt x="1839" y="439446"/>
                </a:lnTo>
                <a:lnTo>
                  <a:pt x="667" y="442338"/>
                </a:lnTo>
                <a:lnTo>
                  <a:pt x="0" y="443984"/>
                </a:lnTo>
                <a:lnTo>
                  <a:pt x="125099" y="567416"/>
                </a:lnTo>
                <a:close/>
              </a:path>
              <a:path w="596749" h="691233">
                <a:moveTo>
                  <a:pt x="112778" y="382461"/>
                </a:moveTo>
                <a:lnTo>
                  <a:pt x="134350" y="403745"/>
                </a:lnTo>
                <a:lnTo>
                  <a:pt x="133540" y="328871"/>
                </a:lnTo>
                <a:lnTo>
                  <a:pt x="128242" y="323642"/>
                </a:lnTo>
                <a:lnTo>
                  <a:pt x="124400" y="319851"/>
                </a:lnTo>
                <a:lnTo>
                  <a:pt x="121780" y="317266"/>
                </a:lnTo>
                <a:lnTo>
                  <a:pt x="118844" y="314368"/>
                </a:lnTo>
                <a:lnTo>
                  <a:pt x="350284" y="86035"/>
                </a:lnTo>
                <a:lnTo>
                  <a:pt x="359814" y="0"/>
                </a:lnTo>
                <a:lnTo>
                  <a:pt x="343688" y="15492"/>
                </a:lnTo>
                <a:lnTo>
                  <a:pt x="327994" y="31827"/>
                </a:lnTo>
                <a:lnTo>
                  <a:pt x="312750" y="49000"/>
                </a:lnTo>
                <a:lnTo>
                  <a:pt x="290844" y="70615"/>
                </a:lnTo>
                <a:lnTo>
                  <a:pt x="277824" y="83461"/>
                </a:lnTo>
                <a:lnTo>
                  <a:pt x="271380" y="89820"/>
                </a:lnTo>
                <a:lnTo>
                  <a:pt x="268967" y="92201"/>
                </a:lnTo>
                <a:lnTo>
                  <a:pt x="6255" y="92201"/>
                </a:lnTo>
                <a:lnTo>
                  <a:pt x="6255" y="277354"/>
                </a:lnTo>
                <a:lnTo>
                  <a:pt x="28162" y="298969"/>
                </a:lnTo>
                <a:lnTo>
                  <a:pt x="41181" y="311815"/>
                </a:lnTo>
                <a:lnTo>
                  <a:pt x="47625" y="318173"/>
                </a:lnTo>
                <a:lnTo>
                  <a:pt x="50039" y="320555"/>
                </a:lnTo>
                <a:lnTo>
                  <a:pt x="62551" y="431641"/>
                </a:lnTo>
                <a:lnTo>
                  <a:pt x="62816" y="259090"/>
                </a:lnTo>
                <a:lnTo>
                  <a:pt x="56829" y="253179"/>
                </a:lnTo>
                <a:lnTo>
                  <a:pt x="56294" y="252650"/>
                </a:lnTo>
                <a:lnTo>
                  <a:pt x="56294" y="141567"/>
                </a:lnTo>
                <a:lnTo>
                  <a:pt x="218914" y="141567"/>
                </a:lnTo>
                <a:lnTo>
                  <a:pt x="193538" y="166609"/>
                </a:lnTo>
                <a:lnTo>
                  <a:pt x="171491" y="188366"/>
                </a:lnTo>
                <a:lnTo>
                  <a:pt x="152538" y="207068"/>
                </a:lnTo>
                <a:lnTo>
                  <a:pt x="136447" y="222947"/>
                </a:lnTo>
                <a:lnTo>
                  <a:pt x="122982" y="236235"/>
                </a:lnTo>
                <a:lnTo>
                  <a:pt x="111911" y="247161"/>
                </a:lnTo>
                <a:lnTo>
                  <a:pt x="102997" y="255956"/>
                </a:lnTo>
                <a:lnTo>
                  <a:pt x="96009" y="262853"/>
                </a:lnTo>
                <a:lnTo>
                  <a:pt x="90711" y="268081"/>
                </a:lnTo>
                <a:lnTo>
                  <a:pt x="86869" y="271872"/>
                </a:lnTo>
                <a:lnTo>
                  <a:pt x="84250" y="274457"/>
                </a:lnTo>
                <a:lnTo>
                  <a:pt x="81314" y="277354"/>
                </a:lnTo>
                <a:lnTo>
                  <a:pt x="72872" y="401092"/>
                </a:lnTo>
                <a:lnTo>
                  <a:pt x="79873" y="380368"/>
                </a:lnTo>
                <a:lnTo>
                  <a:pt x="84200" y="367561"/>
                </a:lnTo>
                <a:lnTo>
                  <a:pt x="86496" y="360767"/>
                </a:lnTo>
                <a:lnTo>
                  <a:pt x="87404" y="358078"/>
                </a:lnTo>
                <a:lnTo>
                  <a:pt x="87569" y="357590"/>
                </a:lnTo>
                <a:lnTo>
                  <a:pt x="112778" y="382461"/>
                </a:lnTo>
                <a:close/>
              </a:path>
            </a:pathLst>
          </a:custGeom>
          <a:solidFill>
            <a:srgbClr val="FFFFFF"/>
          </a:solidFill>
        </p:spPr>
        <p:txBody>
          <a:bodyPr wrap="square" lIns="0" tIns="0" rIns="0" bIns="0" rtlCol="0">
            <a:noAutofit/>
          </a:bodyPr>
          <a:lstStyle/>
          <a:p>
            <a:endParaRPr sz="1763"/>
          </a:p>
        </p:txBody>
      </p:sp>
      <p:sp>
        <p:nvSpPr>
          <p:cNvPr id="16" name="object 16"/>
          <p:cNvSpPr/>
          <p:nvPr/>
        </p:nvSpPr>
        <p:spPr>
          <a:xfrm>
            <a:off x="2686377" y="2551689"/>
            <a:ext cx="98041" cy="96737"/>
          </a:xfrm>
          <a:custGeom>
            <a:avLst/>
            <a:gdLst/>
            <a:ahLst/>
            <a:cxnLst/>
            <a:rect l="l" t="t" r="r" b="b"/>
            <a:pathLst>
              <a:path w="100084" h="98752">
                <a:moveTo>
                  <a:pt x="50031" y="98752"/>
                </a:moveTo>
                <a:lnTo>
                  <a:pt x="63443" y="96481"/>
                </a:lnTo>
                <a:lnTo>
                  <a:pt x="75973" y="90250"/>
                </a:lnTo>
                <a:lnTo>
                  <a:pt x="86733" y="80932"/>
                </a:lnTo>
                <a:lnTo>
                  <a:pt x="94839" y="69400"/>
                </a:lnTo>
                <a:lnTo>
                  <a:pt x="99404" y="56528"/>
                </a:lnTo>
                <a:lnTo>
                  <a:pt x="100084" y="49386"/>
                </a:lnTo>
                <a:lnTo>
                  <a:pt x="97782" y="36148"/>
                </a:lnTo>
                <a:lnTo>
                  <a:pt x="91464" y="23786"/>
                </a:lnTo>
                <a:lnTo>
                  <a:pt x="82019" y="13171"/>
                </a:lnTo>
                <a:lnTo>
                  <a:pt x="70330" y="5176"/>
                </a:lnTo>
                <a:lnTo>
                  <a:pt x="57284" y="673"/>
                </a:lnTo>
                <a:lnTo>
                  <a:pt x="50031" y="0"/>
                </a:lnTo>
                <a:lnTo>
                  <a:pt x="36621" y="2271"/>
                </a:lnTo>
                <a:lnTo>
                  <a:pt x="24096" y="8503"/>
                </a:lnTo>
                <a:lnTo>
                  <a:pt x="13341" y="17823"/>
                </a:lnTo>
                <a:lnTo>
                  <a:pt x="5240" y="29359"/>
                </a:lnTo>
                <a:lnTo>
                  <a:pt x="679" y="42240"/>
                </a:lnTo>
                <a:lnTo>
                  <a:pt x="0" y="49386"/>
                </a:lnTo>
                <a:lnTo>
                  <a:pt x="2302" y="62620"/>
                </a:lnTo>
                <a:lnTo>
                  <a:pt x="8620" y="74981"/>
                </a:lnTo>
                <a:lnTo>
                  <a:pt x="18067" y="85594"/>
                </a:lnTo>
                <a:lnTo>
                  <a:pt x="29758" y="93587"/>
                </a:lnTo>
                <a:lnTo>
                  <a:pt x="42808" y="98084"/>
                </a:lnTo>
                <a:lnTo>
                  <a:pt x="50031" y="98752"/>
                </a:lnTo>
                <a:close/>
              </a:path>
            </a:pathLst>
          </a:custGeom>
          <a:solidFill>
            <a:srgbClr val="FFFFFF"/>
          </a:solidFill>
        </p:spPr>
        <p:txBody>
          <a:bodyPr wrap="square" lIns="0" tIns="0" rIns="0" bIns="0" rtlCol="0">
            <a:noAutofit/>
          </a:bodyPr>
          <a:lstStyle/>
          <a:p>
            <a:endParaRPr sz="1763"/>
          </a:p>
        </p:txBody>
      </p:sp>
      <p:sp>
        <p:nvSpPr>
          <p:cNvPr id="14" name="object 14"/>
          <p:cNvSpPr txBox="1"/>
          <p:nvPr/>
        </p:nvSpPr>
        <p:spPr>
          <a:xfrm>
            <a:off x="4925817" y="973272"/>
            <a:ext cx="6223656" cy="419629"/>
          </a:xfrm>
          <a:prstGeom prst="rect">
            <a:avLst/>
          </a:prstGeom>
        </p:spPr>
        <p:txBody>
          <a:bodyPr wrap="square" lIns="0" tIns="0" rIns="0" bIns="0" rtlCol="0">
            <a:noAutofit/>
          </a:bodyPr>
          <a:lstStyle/>
          <a:p>
            <a:pPr marL="12441">
              <a:lnSpc>
                <a:spcPts val="3306"/>
              </a:lnSpc>
              <a:spcBef>
                <a:spcPts val="165"/>
              </a:spcBef>
            </a:pPr>
            <a:r>
              <a:rPr sz="3086" spc="-14" dirty="0">
                <a:solidFill>
                  <a:srgbClr val="FFFFFF"/>
                </a:solidFill>
                <a:latin typeface="Segoe UI Light"/>
                <a:cs typeface="Segoe UI Light"/>
              </a:rPr>
              <a:t>Ne</a:t>
            </a:r>
            <a:r>
              <a:rPr sz="3086" dirty="0">
                <a:solidFill>
                  <a:srgbClr val="FFFFFF"/>
                </a:solidFill>
                <a:latin typeface="Segoe UI Light"/>
                <a:cs typeface="Segoe UI Light"/>
              </a:rPr>
              <a:t>w</a:t>
            </a:r>
            <a:r>
              <a:rPr sz="3086" spc="82" dirty="0">
                <a:solidFill>
                  <a:srgbClr val="FFFFFF"/>
                </a:solidFill>
                <a:latin typeface="Segoe UI Light"/>
                <a:cs typeface="Segoe UI Light"/>
              </a:rPr>
              <a:t> </a:t>
            </a:r>
            <a:r>
              <a:rPr sz="3086" spc="-9" dirty="0">
                <a:solidFill>
                  <a:srgbClr val="FFFFFF"/>
                </a:solidFill>
                <a:latin typeface="Segoe UI Light"/>
                <a:cs typeface="Segoe UI Light"/>
              </a:rPr>
              <a:t>L</a:t>
            </a:r>
            <a:r>
              <a:rPr sz="3086" spc="19" dirty="0">
                <a:solidFill>
                  <a:srgbClr val="FFFFFF"/>
                </a:solidFill>
                <a:latin typeface="Segoe UI Light"/>
                <a:cs typeface="Segoe UI Light"/>
              </a:rPr>
              <a:t>og</a:t>
            </a:r>
            <a:r>
              <a:rPr sz="3086" dirty="0">
                <a:solidFill>
                  <a:srgbClr val="FFFFFF"/>
                </a:solidFill>
                <a:latin typeface="Segoe UI Light"/>
                <a:cs typeface="Segoe UI Light"/>
              </a:rPr>
              <a:t>ic</a:t>
            </a:r>
            <a:r>
              <a:rPr sz="3086" spc="38" dirty="0">
                <a:solidFill>
                  <a:srgbClr val="FFFFFF"/>
                </a:solidFill>
                <a:latin typeface="Segoe UI Light"/>
                <a:cs typeface="Segoe UI Light"/>
              </a:rPr>
              <a:t> </a:t>
            </a:r>
            <a:r>
              <a:rPr sz="3086" spc="14" dirty="0">
                <a:solidFill>
                  <a:srgbClr val="FFFFFF"/>
                </a:solidFill>
                <a:latin typeface="Segoe UI Light"/>
                <a:cs typeface="Segoe UI Light"/>
              </a:rPr>
              <a:t>A</a:t>
            </a:r>
            <a:r>
              <a:rPr sz="3086" spc="19" dirty="0">
                <a:solidFill>
                  <a:srgbClr val="FFFFFF"/>
                </a:solidFill>
                <a:latin typeface="Segoe UI Light"/>
                <a:cs typeface="Segoe UI Light"/>
              </a:rPr>
              <a:t>pp</a:t>
            </a:r>
            <a:r>
              <a:rPr sz="3086" dirty="0">
                <a:solidFill>
                  <a:srgbClr val="FFFFFF"/>
                </a:solidFill>
                <a:latin typeface="Segoe UI Light"/>
                <a:cs typeface="Segoe UI Light"/>
              </a:rPr>
              <a:t>s </a:t>
            </a:r>
            <a:r>
              <a:rPr sz="3086" spc="-9" dirty="0">
                <a:solidFill>
                  <a:srgbClr val="FFFFFF"/>
                </a:solidFill>
                <a:latin typeface="Segoe UI Light"/>
                <a:cs typeface="Segoe UI Light"/>
              </a:rPr>
              <a:t>f</a:t>
            </a:r>
            <a:r>
              <a:rPr sz="3086" spc="19" dirty="0">
                <a:solidFill>
                  <a:srgbClr val="FFFFFF"/>
                </a:solidFill>
                <a:latin typeface="Segoe UI Light"/>
                <a:cs typeface="Segoe UI Light"/>
              </a:rPr>
              <a:t>o</a:t>
            </a:r>
            <a:r>
              <a:rPr sz="3086" dirty="0">
                <a:solidFill>
                  <a:srgbClr val="FFFFFF"/>
                </a:solidFill>
                <a:latin typeface="Segoe UI Light"/>
                <a:cs typeface="Segoe UI Light"/>
              </a:rPr>
              <a:t>r</a:t>
            </a:r>
            <a:r>
              <a:rPr sz="3086" spc="106" dirty="0">
                <a:solidFill>
                  <a:srgbClr val="FFFFFF"/>
                </a:solidFill>
                <a:latin typeface="Segoe UI Light"/>
                <a:cs typeface="Segoe UI Light"/>
              </a:rPr>
              <a:t> </a:t>
            </a:r>
            <a:r>
              <a:rPr sz="3086" spc="-14" dirty="0">
                <a:solidFill>
                  <a:srgbClr val="FFFFFF"/>
                </a:solidFill>
                <a:latin typeface="Segoe UI Light"/>
                <a:cs typeface="Segoe UI Light"/>
              </a:rPr>
              <a:t>e</a:t>
            </a:r>
            <a:r>
              <a:rPr sz="3086" spc="14" dirty="0">
                <a:solidFill>
                  <a:srgbClr val="FFFFFF"/>
                </a:solidFill>
                <a:latin typeface="Segoe UI Light"/>
                <a:cs typeface="Segoe UI Light"/>
              </a:rPr>
              <a:t>a</a:t>
            </a:r>
            <a:r>
              <a:rPr sz="3086" dirty="0">
                <a:solidFill>
                  <a:srgbClr val="FFFFFF"/>
                </a:solidFill>
                <a:latin typeface="Segoe UI Light"/>
                <a:cs typeface="Segoe UI Light"/>
              </a:rPr>
              <a:t>sy</a:t>
            </a:r>
            <a:r>
              <a:rPr sz="3086" spc="68" dirty="0">
                <a:solidFill>
                  <a:srgbClr val="FFFFFF"/>
                </a:solidFill>
                <a:latin typeface="Segoe UI Light"/>
                <a:cs typeface="Segoe UI Light"/>
              </a:rPr>
              <a:t> </a:t>
            </a:r>
            <a:r>
              <a:rPr sz="3086" spc="14" dirty="0">
                <a:solidFill>
                  <a:srgbClr val="FFFFFF"/>
                </a:solidFill>
                <a:latin typeface="Segoe UI Light"/>
                <a:cs typeface="Segoe UI Light"/>
              </a:rPr>
              <a:t>a</a:t>
            </a:r>
            <a:r>
              <a:rPr sz="3086" spc="28" dirty="0">
                <a:solidFill>
                  <a:srgbClr val="FFFFFF"/>
                </a:solidFill>
                <a:latin typeface="Segoe UI Light"/>
                <a:cs typeface="Segoe UI Light"/>
              </a:rPr>
              <a:t>u</a:t>
            </a:r>
            <a:r>
              <a:rPr sz="3086" dirty="0">
                <a:solidFill>
                  <a:srgbClr val="FFFFFF"/>
                </a:solidFill>
                <a:latin typeface="Segoe UI Light"/>
                <a:cs typeface="Segoe UI Light"/>
              </a:rPr>
              <a:t>t</a:t>
            </a:r>
            <a:r>
              <a:rPr sz="3086" spc="14" dirty="0">
                <a:solidFill>
                  <a:srgbClr val="FFFFFF"/>
                </a:solidFill>
                <a:latin typeface="Segoe UI Light"/>
                <a:cs typeface="Segoe UI Light"/>
              </a:rPr>
              <a:t>o</a:t>
            </a:r>
            <a:r>
              <a:rPr sz="3086" spc="-9" dirty="0">
                <a:solidFill>
                  <a:srgbClr val="FFFFFF"/>
                </a:solidFill>
                <a:latin typeface="Segoe UI Light"/>
                <a:cs typeface="Segoe UI Light"/>
              </a:rPr>
              <a:t>m</a:t>
            </a:r>
            <a:r>
              <a:rPr sz="3086" spc="14" dirty="0">
                <a:solidFill>
                  <a:srgbClr val="FFFFFF"/>
                </a:solidFill>
                <a:latin typeface="Segoe UI Light"/>
                <a:cs typeface="Segoe UI Light"/>
              </a:rPr>
              <a:t>a</a:t>
            </a:r>
            <a:r>
              <a:rPr sz="3086" dirty="0">
                <a:solidFill>
                  <a:srgbClr val="FFFFFF"/>
                </a:solidFill>
                <a:latin typeface="Segoe UI Light"/>
                <a:cs typeface="Segoe UI Light"/>
              </a:rPr>
              <a:t>ti</a:t>
            </a:r>
            <a:r>
              <a:rPr sz="3086" spc="9" dirty="0">
                <a:solidFill>
                  <a:srgbClr val="FFFFFF"/>
                </a:solidFill>
                <a:latin typeface="Segoe UI Light"/>
                <a:cs typeface="Segoe UI Light"/>
              </a:rPr>
              <a:t>o</a:t>
            </a:r>
            <a:r>
              <a:rPr sz="3086" dirty="0">
                <a:solidFill>
                  <a:srgbClr val="FFFFFF"/>
                </a:solidFill>
                <a:latin typeface="Segoe UI Light"/>
                <a:cs typeface="Segoe UI Light"/>
              </a:rPr>
              <a:t>n</a:t>
            </a:r>
            <a:endParaRPr sz="3086">
              <a:latin typeface="Segoe UI Light"/>
              <a:cs typeface="Segoe UI Light"/>
            </a:endParaRPr>
          </a:p>
        </p:txBody>
      </p:sp>
      <p:sp>
        <p:nvSpPr>
          <p:cNvPr id="13" name="object 13"/>
          <p:cNvSpPr txBox="1"/>
          <p:nvPr/>
        </p:nvSpPr>
        <p:spPr>
          <a:xfrm>
            <a:off x="5383017" y="1735763"/>
            <a:ext cx="172833" cy="320786"/>
          </a:xfrm>
          <a:prstGeom prst="rect">
            <a:avLst/>
          </a:prstGeom>
        </p:spPr>
        <p:txBody>
          <a:bodyPr wrap="square" lIns="0" tIns="0" rIns="0" bIns="0" rtlCol="0">
            <a:noAutofit/>
          </a:bodyPr>
          <a:lstStyle/>
          <a:p>
            <a:pPr marL="12441">
              <a:lnSpc>
                <a:spcPts val="2473"/>
              </a:lnSpc>
              <a:spcBef>
                <a:spcPts val="123"/>
              </a:spcBef>
            </a:pPr>
            <a:r>
              <a:rPr sz="2302" dirty="0">
                <a:solidFill>
                  <a:srgbClr val="FFFFFF"/>
                </a:solidFill>
                <a:latin typeface="Arial"/>
                <a:cs typeface="Arial"/>
              </a:rPr>
              <a:t>•</a:t>
            </a:r>
            <a:endParaRPr sz="2302">
              <a:latin typeface="Arial"/>
              <a:cs typeface="Arial"/>
            </a:endParaRPr>
          </a:p>
        </p:txBody>
      </p:sp>
      <p:sp>
        <p:nvSpPr>
          <p:cNvPr id="12" name="object 12"/>
          <p:cNvSpPr txBox="1"/>
          <p:nvPr/>
        </p:nvSpPr>
        <p:spPr>
          <a:xfrm>
            <a:off x="5714690" y="1735469"/>
            <a:ext cx="4539547" cy="320786"/>
          </a:xfrm>
          <a:prstGeom prst="rect">
            <a:avLst/>
          </a:prstGeom>
        </p:spPr>
        <p:txBody>
          <a:bodyPr wrap="square" lIns="0" tIns="0" rIns="0" bIns="0" rtlCol="0">
            <a:noAutofit/>
          </a:bodyPr>
          <a:lstStyle/>
          <a:p>
            <a:pPr marL="12441">
              <a:lnSpc>
                <a:spcPts val="2527"/>
              </a:lnSpc>
              <a:spcBef>
                <a:spcPts val="126"/>
              </a:spcBef>
            </a:pPr>
            <a:r>
              <a:rPr sz="3453" spc="-28" baseline="1066" dirty="0">
                <a:solidFill>
                  <a:srgbClr val="FFFFFF"/>
                </a:solidFill>
                <a:latin typeface="Segoe UI Light"/>
                <a:cs typeface="Segoe UI Light"/>
              </a:rPr>
              <a:t>N</a:t>
            </a:r>
            <a:r>
              <a:rPr sz="3453" baseline="1066" dirty="0">
                <a:solidFill>
                  <a:srgbClr val="FFFFFF"/>
                </a:solidFill>
                <a:latin typeface="Segoe UI Light"/>
                <a:cs typeface="Segoe UI Light"/>
              </a:rPr>
              <a:t>o</a:t>
            </a:r>
            <a:r>
              <a:rPr sz="3453" spc="136" baseline="1066" dirty="0">
                <a:solidFill>
                  <a:srgbClr val="FFFFFF"/>
                </a:solidFill>
                <a:latin typeface="Segoe UI Light"/>
                <a:cs typeface="Segoe UI Light"/>
              </a:rPr>
              <a:t> </a:t>
            </a:r>
            <a:r>
              <a:rPr sz="3453" spc="19" baseline="1066" dirty="0">
                <a:solidFill>
                  <a:srgbClr val="FFFFFF"/>
                </a:solidFill>
                <a:latin typeface="Segoe UI Light"/>
                <a:cs typeface="Segoe UI Light"/>
              </a:rPr>
              <a:t>c</a:t>
            </a:r>
            <a:r>
              <a:rPr sz="3453" spc="28" baseline="1066" dirty="0">
                <a:solidFill>
                  <a:srgbClr val="FFFFFF"/>
                </a:solidFill>
                <a:latin typeface="Segoe UI Light"/>
                <a:cs typeface="Segoe UI Light"/>
              </a:rPr>
              <a:t>o</a:t>
            </a:r>
            <a:r>
              <a:rPr sz="3453" spc="-33" baseline="1066" dirty="0">
                <a:solidFill>
                  <a:srgbClr val="FFFFFF"/>
                </a:solidFill>
                <a:latin typeface="Segoe UI Light"/>
                <a:cs typeface="Segoe UI Light"/>
              </a:rPr>
              <a:t>d</a:t>
            </a:r>
            <a:r>
              <a:rPr sz="3453" baseline="1066" dirty="0">
                <a:solidFill>
                  <a:srgbClr val="FFFFFF"/>
                </a:solidFill>
                <a:latin typeface="Segoe UI Light"/>
                <a:cs typeface="Segoe UI Light"/>
              </a:rPr>
              <a:t>e</a:t>
            </a:r>
            <a:r>
              <a:rPr sz="3453" spc="76" baseline="1066" dirty="0">
                <a:solidFill>
                  <a:srgbClr val="FFFFFF"/>
                </a:solidFill>
                <a:latin typeface="Segoe UI Light"/>
                <a:cs typeface="Segoe UI Light"/>
              </a:rPr>
              <a:t> </a:t>
            </a:r>
            <a:r>
              <a:rPr sz="3453" spc="-38" baseline="1066" dirty="0">
                <a:solidFill>
                  <a:srgbClr val="FFFFFF"/>
                </a:solidFill>
                <a:latin typeface="Segoe UI Light"/>
                <a:cs typeface="Segoe UI Light"/>
              </a:rPr>
              <a:t>d</a:t>
            </a:r>
            <a:r>
              <a:rPr sz="3453" spc="19" baseline="1066" dirty="0">
                <a:solidFill>
                  <a:srgbClr val="FFFFFF"/>
                </a:solidFill>
                <a:latin typeface="Segoe UI Light"/>
                <a:cs typeface="Segoe UI Light"/>
              </a:rPr>
              <a:t>e</a:t>
            </a:r>
            <a:r>
              <a:rPr sz="3453" spc="9" baseline="1066" dirty="0">
                <a:solidFill>
                  <a:srgbClr val="FFFFFF"/>
                </a:solidFill>
                <a:latin typeface="Segoe UI Light"/>
                <a:cs typeface="Segoe UI Light"/>
              </a:rPr>
              <a:t>s</a:t>
            </a:r>
            <a:r>
              <a:rPr sz="3453" spc="14" baseline="1066" dirty="0">
                <a:solidFill>
                  <a:srgbClr val="FFFFFF"/>
                </a:solidFill>
                <a:latin typeface="Segoe UI Light"/>
                <a:cs typeface="Segoe UI Light"/>
              </a:rPr>
              <a:t>i</a:t>
            </a:r>
            <a:r>
              <a:rPr sz="3453" spc="-33" baseline="1066" dirty="0">
                <a:solidFill>
                  <a:srgbClr val="FFFFFF"/>
                </a:solidFill>
                <a:latin typeface="Segoe UI Light"/>
                <a:cs typeface="Segoe UI Light"/>
              </a:rPr>
              <a:t>g</a:t>
            </a:r>
            <a:r>
              <a:rPr sz="3453" spc="19" baseline="1066" dirty="0">
                <a:solidFill>
                  <a:srgbClr val="FFFFFF"/>
                </a:solidFill>
                <a:latin typeface="Segoe UI Light"/>
                <a:cs typeface="Segoe UI Light"/>
              </a:rPr>
              <a:t>ne</a:t>
            </a:r>
            <a:r>
              <a:rPr sz="3453" baseline="1066" dirty="0">
                <a:solidFill>
                  <a:srgbClr val="FFFFFF"/>
                </a:solidFill>
                <a:latin typeface="Segoe UI Light"/>
                <a:cs typeface="Segoe UI Light"/>
              </a:rPr>
              <a:t>r</a:t>
            </a:r>
            <a:r>
              <a:rPr sz="3453" spc="166" baseline="1066" dirty="0">
                <a:solidFill>
                  <a:srgbClr val="FFFFFF"/>
                </a:solidFill>
                <a:latin typeface="Segoe UI Light"/>
                <a:cs typeface="Segoe UI Light"/>
              </a:rPr>
              <a:t> </a:t>
            </a:r>
            <a:r>
              <a:rPr sz="3453" spc="-9" baseline="1066" dirty="0">
                <a:solidFill>
                  <a:srgbClr val="FFFFFF"/>
                </a:solidFill>
                <a:latin typeface="Segoe UI Light"/>
                <a:cs typeface="Segoe UI Light"/>
              </a:rPr>
              <a:t>f</a:t>
            </a:r>
            <a:r>
              <a:rPr sz="3453" spc="28" baseline="1066" dirty="0">
                <a:solidFill>
                  <a:srgbClr val="FFFFFF"/>
                </a:solidFill>
                <a:latin typeface="Segoe UI Light"/>
                <a:cs typeface="Segoe UI Light"/>
              </a:rPr>
              <a:t>o</a:t>
            </a:r>
            <a:r>
              <a:rPr sz="3453" baseline="1066" dirty="0">
                <a:solidFill>
                  <a:srgbClr val="FFFFFF"/>
                </a:solidFill>
                <a:latin typeface="Segoe UI Light"/>
                <a:cs typeface="Segoe UI Light"/>
              </a:rPr>
              <a:t>r</a:t>
            </a:r>
            <a:r>
              <a:rPr sz="3453" spc="36" baseline="1066" dirty="0">
                <a:solidFill>
                  <a:srgbClr val="FFFFFF"/>
                </a:solidFill>
                <a:latin typeface="Segoe UI Light"/>
                <a:cs typeface="Segoe UI Light"/>
              </a:rPr>
              <a:t> </a:t>
            </a:r>
            <a:r>
              <a:rPr sz="3453" spc="4" baseline="1066" dirty="0">
                <a:solidFill>
                  <a:srgbClr val="FFFFFF"/>
                </a:solidFill>
                <a:latin typeface="Segoe UI Light"/>
                <a:cs typeface="Segoe UI Light"/>
              </a:rPr>
              <a:t>r</a:t>
            </a:r>
            <a:r>
              <a:rPr sz="3453" spc="-24" baseline="1066" dirty="0">
                <a:solidFill>
                  <a:srgbClr val="FFFFFF"/>
                </a:solidFill>
                <a:latin typeface="Segoe UI Light"/>
                <a:cs typeface="Segoe UI Light"/>
              </a:rPr>
              <a:t>a</a:t>
            </a:r>
            <a:r>
              <a:rPr sz="3453" spc="-33" baseline="1066" dirty="0">
                <a:solidFill>
                  <a:srgbClr val="FFFFFF"/>
                </a:solidFill>
                <a:latin typeface="Segoe UI Light"/>
                <a:cs typeface="Segoe UI Light"/>
              </a:rPr>
              <a:t>p</a:t>
            </a:r>
            <a:r>
              <a:rPr sz="3453" spc="14" baseline="1066" dirty="0">
                <a:solidFill>
                  <a:srgbClr val="FFFFFF"/>
                </a:solidFill>
                <a:latin typeface="Segoe UI Light"/>
                <a:cs typeface="Segoe UI Light"/>
              </a:rPr>
              <a:t>i</a:t>
            </a:r>
            <a:r>
              <a:rPr sz="3453" baseline="1066" dirty="0">
                <a:solidFill>
                  <a:srgbClr val="FFFFFF"/>
                </a:solidFill>
                <a:latin typeface="Segoe UI Light"/>
                <a:cs typeface="Segoe UI Light"/>
              </a:rPr>
              <a:t>d</a:t>
            </a:r>
            <a:r>
              <a:rPr sz="3453" spc="157" baseline="1066" dirty="0">
                <a:solidFill>
                  <a:srgbClr val="FFFFFF"/>
                </a:solidFill>
                <a:latin typeface="Segoe UI Light"/>
                <a:cs typeface="Segoe UI Light"/>
              </a:rPr>
              <a:t> </a:t>
            </a:r>
            <a:r>
              <a:rPr sz="3453" spc="20" baseline="1066" dirty="0">
                <a:solidFill>
                  <a:srgbClr val="FFFFFF"/>
                </a:solidFill>
                <a:latin typeface="Segoe UI Light"/>
                <a:cs typeface="Segoe UI Light"/>
              </a:rPr>
              <a:t>c</a:t>
            </a:r>
            <a:r>
              <a:rPr sz="3453" spc="-64" baseline="1066" dirty="0">
                <a:solidFill>
                  <a:srgbClr val="FFFFFF"/>
                </a:solidFill>
                <a:latin typeface="Segoe UI Light"/>
                <a:cs typeface="Segoe UI Light"/>
              </a:rPr>
              <a:t>r</a:t>
            </a:r>
            <a:r>
              <a:rPr sz="3453" spc="20" baseline="1066" dirty="0">
                <a:solidFill>
                  <a:srgbClr val="FFFFFF"/>
                </a:solidFill>
                <a:latin typeface="Segoe UI Light"/>
                <a:cs typeface="Segoe UI Light"/>
              </a:rPr>
              <a:t>e</a:t>
            </a:r>
            <a:r>
              <a:rPr sz="3453" spc="-24" baseline="1066" dirty="0">
                <a:solidFill>
                  <a:srgbClr val="FFFFFF"/>
                </a:solidFill>
                <a:latin typeface="Segoe UI Light"/>
                <a:cs typeface="Segoe UI Light"/>
              </a:rPr>
              <a:t>a</a:t>
            </a:r>
            <a:r>
              <a:rPr sz="3453" spc="10" baseline="1066" dirty="0">
                <a:solidFill>
                  <a:srgbClr val="FFFFFF"/>
                </a:solidFill>
                <a:latin typeface="Segoe UI Light"/>
                <a:cs typeface="Segoe UI Light"/>
              </a:rPr>
              <a:t>t</a:t>
            </a:r>
            <a:r>
              <a:rPr sz="3453" spc="15" baseline="1066" dirty="0">
                <a:solidFill>
                  <a:srgbClr val="FFFFFF"/>
                </a:solidFill>
                <a:latin typeface="Segoe UI Light"/>
                <a:cs typeface="Segoe UI Light"/>
              </a:rPr>
              <a:t>i</a:t>
            </a:r>
            <a:r>
              <a:rPr sz="3453" spc="29" baseline="1066" dirty="0">
                <a:solidFill>
                  <a:srgbClr val="FFFFFF"/>
                </a:solidFill>
                <a:latin typeface="Segoe UI Light"/>
                <a:cs typeface="Segoe UI Light"/>
              </a:rPr>
              <a:t>o</a:t>
            </a:r>
            <a:r>
              <a:rPr sz="3453" baseline="1066" dirty="0">
                <a:solidFill>
                  <a:srgbClr val="FFFFFF"/>
                </a:solidFill>
                <a:latin typeface="Segoe UI Light"/>
                <a:cs typeface="Segoe UI Light"/>
              </a:rPr>
              <a:t>n</a:t>
            </a:r>
            <a:endParaRPr sz="2302">
              <a:latin typeface="Segoe UI Light"/>
              <a:cs typeface="Segoe UI Light"/>
            </a:endParaRPr>
          </a:p>
        </p:txBody>
      </p:sp>
      <p:sp>
        <p:nvSpPr>
          <p:cNvPr id="11" name="object 11"/>
          <p:cNvSpPr txBox="1"/>
          <p:nvPr/>
        </p:nvSpPr>
        <p:spPr>
          <a:xfrm>
            <a:off x="5383017" y="2390523"/>
            <a:ext cx="172833" cy="320786"/>
          </a:xfrm>
          <a:prstGeom prst="rect">
            <a:avLst/>
          </a:prstGeom>
        </p:spPr>
        <p:txBody>
          <a:bodyPr wrap="square" lIns="0" tIns="0" rIns="0" bIns="0" rtlCol="0">
            <a:noAutofit/>
          </a:bodyPr>
          <a:lstStyle/>
          <a:p>
            <a:pPr marL="12441">
              <a:lnSpc>
                <a:spcPts val="2473"/>
              </a:lnSpc>
              <a:spcBef>
                <a:spcPts val="123"/>
              </a:spcBef>
            </a:pPr>
            <a:r>
              <a:rPr sz="2302" dirty="0">
                <a:solidFill>
                  <a:srgbClr val="FFFFFF"/>
                </a:solidFill>
                <a:latin typeface="Arial"/>
                <a:cs typeface="Arial"/>
              </a:rPr>
              <a:t>•</a:t>
            </a:r>
            <a:endParaRPr sz="2302">
              <a:latin typeface="Arial"/>
              <a:cs typeface="Arial"/>
            </a:endParaRPr>
          </a:p>
        </p:txBody>
      </p:sp>
      <p:sp>
        <p:nvSpPr>
          <p:cNvPr id="10" name="object 10"/>
          <p:cNvSpPr txBox="1"/>
          <p:nvPr/>
        </p:nvSpPr>
        <p:spPr>
          <a:xfrm>
            <a:off x="5714689" y="2390230"/>
            <a:ext cx="5560274" cy="320786"/>
          </a:xfrm>
          <a:prstGeom prst="rect">
            <a:avLst/>
          </a:prstGeom>
        </p:spPr>
        <p:txBody>
          <a:bodyPr wrap="square" lIns="0" tIns="0" rIns="0" bIns="0" rtlCol="0">
            <a:noAutofit/>
          </a:bodyPr>
          <a:lstStyle/>
          <a:p>
            <a:pPr marL="12441">
              <a:lnSpc>
                <a:spcPts val="2527"/>
              </a:lnSpc>
              <a:spcBef>
                <a:spcPts val="126"/>
              </a:spcBef>
            </a:pPr>
            <a:r>
              <a:rPr sz="3453" spc="-19" baseline="1066" dirty="0">
                <a:solidFill>
                  <a:srgbClr val="FFFFFF"/>
                </a:solidFill>
                <a:latin typeface="Segoe UI Light"/>
                <a:cs typeface="Segoe UI Light"/>
              </a:rPr>
              <a:t>D</a:t>
            </a:r>
            <a:r>
              <a:rPr sz="3453" spc="28" baseline="1066" dirty="0">
                <a:solidFill>
                  <a:srgbClr val="FFFFFF"/>
                </a:solidFill>
                <a:latin typeface="Segoe UI Light"/>
                <a:cs typeface="Segoe UI Light"/>
              </a:rPr>
              <a:t>o</a:t>
            </a:r>
            <a:r>
              <a:rPr sz="3453" spc="-24" baseline="1066" dirty="0">
                <a:solidFill>
                  <a:srgbClr val="FFFFFF"/>
                </a:solidFill>
                <a:latin typeface="Segoe UI Light"/>
                <a:cs typeface="Segoe UI Light"/>
              </a:rPr>
              <a:t>z</a:t>
            </a:r>
            <a:r>
              <a:rPr sz="3453" spc="19" baseline="1066" dirty="0">
                <a:solidFill>
                  <a:srgbClr val="FFFFFF"/>
                </a:solidFill>
                <a:latin typeface="Segoe UI Light"/>
                <a:cs typeface="Segoe UI Light"/>
              </a:rPr>
              <a:t>en</a:t>
            </a:r>
            <a:r>
              <a:rPr sz="3453" baseline="1066" dirty="0">
                <a:solidFill>
                  <a:srgbClr val="FFFFFF"/>
                </a:solidFill>
                <a:latin typeface="Segoe UI Light"/>
                <a:cs typeface="Segoe UI Light"/>
              </a:rPr>
              <a:t>s</a:t>
            </a:r>
            <a:r>
              <a:rPr sz="3453" spc="160" baseline="1066" dirty="0">
                <a:solidFill>
                  <a:srgbClr val="FFFFFF"/>
                </a:solidFill>
                <a:latin typeface="Segoe UI Light"/>
                <a:cs typeface="Segoe UI Light"/>
              </a:rPr>
              <a:t> </a:t>
            </a:r>
            <a:r>
              <a:rPr sz="3453" spc="-38" baseline="1066" dirty="0">
                <a:solidFill>
                  <a:srgbClr val="FFFFFF"/>
                </a:solidFill>
                <a:latin typeface="Segoe UI Light"/>
                <a:cs typeface="Segoe UI Light"/>
              </a:rPr>
              <a:t>o</a:t>
            </a:r>
            <a:r>
              <a:rPr sz="3453" baseline="1066" dirty="0">
                <a:solidFill>
                  <a:srgbClr val="FFFFFF"/>
                </a:solidFill>
                <a:latin typeface="Segoe UI Light"/>
                <a:cs typeface="Segoe UI Light"/>
              </a:rPr>
              <a:t>f</a:t>
            </a:r>
            <a:r>
              <a:rPr sz="3453" spc="19" baseline="1066" dirty="0">
                <a:solidFill>
                  <a:srgbClr val="FFFFFF"/>
                </a:solidFill>
                <a:latin typeface="Segoe UI Light"/>
                <a:cs typeface="Segoe UI Light"/>
              </a:rPr>
              <a:t> </a:t>
            </a:r>
            <a:r>
              <a:rPr sz="3453" spc="-38" baseline="1066" dirty="0">
                <a:solidFill>
                  <a:srgbClr val="FFFFFF"/>
                </a:solidFill>
                <a:latin typeface="Segoe UI Light"/>
                <a:cs typeface="Segoe UI Light"/>
              </a:rPr>
              <a:t>p</a:t>
            </a:r>
            <a:r>
              <a:rPr sz="3453" spc="-63" baseline="1066" dirty="0">
                <a:solidFill>
                  <a:srgbClr val="FFFFFF"/>
                </a:solidFill>
                <a:latin typeface="Segoe UI Light"/>
                <a:cs typeface="Segoe UI Light"/>
              </a:rPr>
              <a:t>r</a:t>
            </a:r>
            <a:r>
              <a:rPr sz="3453" spc="43" baseline="1066" dirty="0">
                <a:solidFill>
                  <a:srgbClr val="FFFFFF"/>
                </a:solidFill>
                <a:latin typeface="Segoe UI Light"/>
                <a:cs typeface="Segoe UI Light"/>
              </a:rPr>
              <a:t>e</a:t>
            </a:r>
            <a:r>
              <a:rPr sz="3453" spc="-9" baseline="1066" dirty="0">
                <a:solidFill>
                  <a:srgbClr val="FFFFFF"/>
                </a:solidFill>
                <a:latin typeface="Segoe UI Light"/>
                <a:cs typeface="Segoe UI Light"/>
              </a:rPr>
              <a:t>-</a:t>
            </a:r>
            <a:r>
              <a:rPr sz="3453" spc="-33" baseline="1066" dirty="0">
                <a:solidFill>
                  <a:srgbClr val="FFFFFF"/>
                </a:solidFill>
                <a:latin typeface="Segoe UI Light"/>
                <a:cs typeface="Segoe UI Light"/>
              </a:rPr>
              <a:t>b</a:t>
            </a:r>
            <a:r>
              <a:rPr sz="3453" spc="24" baseline="1066" dirty="0">
                <a:solidFill>
                  <a:srgbClr val="FFFFFF"/>
                </a:solidFill>
                <a:latin typeface="Segoe UI Light"/>
                <a:cs typeface="Segoe UI Light"/>
              </a:rPr>
              <a:t>u</a:t>
            </a:r>
            <a:r>
              <a:rPr sz="3453" spc="14" baseline="1066" dirty="0">
                <a:solidFill>
                  <a:srgbClr val="FFFFFF"/>
                </a:solidFill>
                <a:latin typeface="Segoe UI Light"/>
                <a:cs typeface="Segoe UI Light"/>
              </a:rPr>
              <a:t>il</a:t>
            </a:r>
            <a:r>
              <a:rPr sz="3453" baseline="1066" dirty="0">
                <a:solidFill>
                  <a:srgbClr val="FFFFFF"/>
                </a:solidFill>
                <a:latin typeface="Segoe UI Light"/>
                <a:cs typeface="Segoe UI Light"/>
              </a:rPr>
              <a:t>t</a:t>
            </a:r>
            <a:r>
              <a:rPr sz="3453" spc="175" baseline="1066" dirty="0">
                <a:solidFill>
                  <a:srgbClr val="FFFFFF"/>
                </a:solidFill>
                <a:latin typeface="Segoe UI Light"/>
                <a:cs typeface="Segoe UI Light"/>
              </a:rPr>
              <a:t> </a:t>
            </a:r>
            <a:r>
              <a:rPr sz="3453" spc="14" baseline="1066" dirty="0">
                <a:solidFill>
                  <a:srgbClr val="FFFFFF"/>
                </a:solidFill>
                <a:latin typeface="Segoe UI Light"/>
                <a:cs typeface="Segoe UI Light"/>
              </a:rPr>
              <a:t>t</a:t>
            </a:r>
            <a:r>
              <a:rPr sz="3453" spc="24" baseline="1066" dirty="0">
                <a:solidFill>
                  <a:srgbClr val="FFFFFF"/>
                </a:solidFill>
                <a:latin typeface="Segoe UI Light"/>
                <a:cs typeface="Segoe UI Light"/>
              </a:rPr>
              <a:t>e</a:t>
            </a:r>
            <a:r>
              <a:rPr sz="3453" spc="-9" baseline="1066" dirty="0">
                <a:solidFill>
                  <a:srgbClr val="FFFFFF"/>
                </a:solidFill>
                <a:latin typeface="Segoe UI Light"/>
                <a:cs typeface="Segoe UI Light"/>
              </a:rPr>
              <a:t>m</a:t>
            </a:r>
            <a:r>
              <a:rPr sz="3453" spc="-33" baseline="1066" dirty="0">
                <a:solidFill>
                  <a:srgbClr val="FFFFFF"/>
                </a:solidFill>
                <a:latin typeface="Segoe UI Light"/>
                <a:cs typeface="Segoe UI Light"/>
              </a:rPr>
              <a:t>p</a:t>
            </a:r>
            <a:r>
              <a:rPr sz="3453" spc="14" baseline="1066" dirty="0">
                <a:solidFill>
                  <a:srgbClr val="FFFFFF"/>
                </a:solidFill>
                <a:latin typeface="Segoe UI Light"/>
                <a:cs typeface="Segoe UI Light"/>
              </a:rPr>
              <a:t>l</a:t>
            </a:r>
            <a:r>
              <a:rPr sz="3453" spc="-19" baseline="1066" dirty="0">
                <a:solidFill>
                  <a:srgbClr val="FFFFFF"/>
                </a:solidFill>
                <a:latin typeface="Segoe UI Light"/>
                <a:cs typeface="Segoe UI Light"/>
              </a:rPr>
              <a:t>a</a:t>
            </a:r>
            <a:r>
              <a:rPr sz="3453" spc="14" baseline="1066" dirty="0">
                <a:solidFill>
                  <a:srgbClr val="FFFFFF"/>
                </a:solidFill>
                <a:latin typeface="Segoe UI Light"/>
                <a:cs typeface="Segoe UI Light"/>
              </a:rPr>
              <a:t>t</a:t>
            </a:r>
            <a:r>
              <a:rPr sz="3453" spc="24" baseline="1066" dirty="0">
                <a:solidFill>
                  <a:srgbClr val="FFFFFF"/>
                </a:solidFill>
                <a:latin typeface="Segoe UI Light"/>
                <a:cs typeface="Segoe UI Light"/>
              </a:rPr>
              <a:t>e</a:t>
            </a:r>
            <a:r>
              <a:rPr sz="3453" baseline="1066" dirty="0">
                <a:solidFill>
                  <a:srgbClr val="FFFFFF"/>
                </a:solidFill>
                <a:latin typeface="Segoe UI Light"/>
                <a:cs typeface="Segoe UI Light"/>
              </a:rPr>
              <a:t>s</a:t>
            </a:r>
            <a:r>
              <a:rPr sz="3453" spc="186" baseline="1066" dirty="0">
                <a:solidFill>
                  <a:srgbClr val="FFFFFF"/>
                </a:solidFill>
                <a:latin typeface="Segoe UI Light"/>
                <a:cs typeface="Segoe UI Light"/>
              </a:rPr>
              <a:t> </a:t>
            </a:r>
            <a:r>
              <a:rPr sz="3453" spc="14" baseline="1066" dirty="0">
                <a:solidFill>
                  <a:srgbClr val="FFFFFF"/>
                </a:solidFill>
                <a:latin typeface="Segoe UI Light"/>
                <a:cs typeface="Segoe UI Light"/>
              </a:rPr>
              <a:t>t</a:t>
            </a:r>
            <a:r>
              <a:rPr sz="3453" baseline="1066" dirty="0">
                <a:solidFill>
                  <a:srgbClr val="FFFFFF"/>
                </a:solidFill>
                <a:latin typeface="Segoe UI Light"/>
                <a:cs typeface="Segoe UI Light"/>
              </a:rPr>
              <a:t>o</a:t>
            </a:r>
            <a:r>
              <a:rPr sz="3453" spc="64" baseline="1066" dirty="0">
                <a:solidFill>
                  <a:srgbClr val="FFFFFF"/>
                </a:solidFill>
                <a:latin typeface="Segoe UI Light"/>
                <a:cs typeface="Segoe UI Light"/>
              </a:rPr>
              <a:t> </a:t>
            </a:r>
            <a:r>
              <a:rPr sz="3453" spc="-33" baseline="1066" dirty="0">
                <a:solidFill>
                  <a:srgbClr val="FFFFFF"/>
                </a:solidFill>
                <a:latin typeface="Segoe UI Light"/>
                <a:cs typeface="Segoe UI Light"/>
              </a:rPr>
              <a:t>g</a:t>
            </a:r>
            <a:r>
              <a:rPr sz="3453" spc="24" baseline="1066" dirty="0">
                <a:solidFill>
                  <a:srgbClr val="FFFFFF"/>
                </a:solidFill>
                <a:latin typeface="Segoe UI Light"/>
                <a:cs typeface="Segoe UI Light"/>
              </a:rPr>
              <a:t>e</a:t>
            </a:r>
            <a:r>
              <a:rPr sz="3453" baseline="1066" dirty="0">
                <a:solidFill>
                  <a:srgbClr val="FFFFFF"/>
                </a:solidFill>
                <a:latin typeface="Segoe UI Light"/>
                <a:cs typeface="Segoe UI Light"/>
              </a:rPr>
              <a:t>t</a:t>
            </a:r>
            <a:r>
              <a:rPr sz="3453" spc="123" baseline="1066" dirty="0">
                <a:solidFill>
                  <a:srgbClr val="FFFFFF"/>
                </a:solidFill>
                <a:latin typeface="Segoe UI Light"/>
                <a:cs typeface="Segoe UI Light"/>
              </a:rPr>
              <a:t> </a:t>
            </a:r>
            <a:r>
              <a:rPr sz="3453" spc="14" baseline="1066" dirty="0">
                <a:solidFill>
                  <a:srgbClr val="FFFFFF"/>
                </a:solidFill>
                <a:latin typeface="Segoe UI Light"/>
                <a:cs typeface="Segoe UI Light"/>
              </a:rPr>
              <a:t>st</a:t>
            </a:r>
            <a:r>
              <a:rPr sz="3453" spc="-19" baseline="1066" dirty="0">
                <a:solidFill>
                  <a:srgbClr val="FFFFFF"/>
                </a:solidFill>
                <a:latin typeface="Segoe UI Light"/>
                <a:cs typeface="Segoe UI Light"/>
              </a:rPr>
              <a:t>a</a:t>
            </a:r>
            <a:r>
              <a:rPr sz="3453" spc="77" baseline="1066" dirty="0">
                <a:solidFill>
                  <a:srgbClr val="FFFFFF"/>
                </a:solidFill>
                <a:latin typeface="Segoe UI Light"/>
                <a:cs typeface="Segoe UI Light"/>
              </a:rPr>
              <a:t>r</a:t>
            </a:r>
            <a:r>
              <a:rPr sz="3453" spc="14" baseline="1066" dirty="0">
                <a:solidFill>
                  <a:srgbClr val="FFFFFF"/>
                </a:solidFill>
                <a:latin typeface="Segoe UI Light"/>
                <a:cs typeface="Segoe UI Light"/>
              </a:rPr>
              <a:t>t</a:t>
            </a:r>
            <a:r>
              <a:rPr sz="3453" spc="24" baseline="1066" dirty="0">
                <a:solidFill>
                  <a:srgbClr val="FFFFFF"/>
                </a:solidFill>
                <a:latin typeface="Segoe UI Light"/>
                <a:cs typeface="Segoe UI Light"/>
              </a:rPr>
              <a:t>e</a:t>
            </a:r>
            <a:r>
              <a:rPr sz="3453" baseline="1066" dirty="0">
                <a:solidFill>
                  <a:srgbClr val="FFFFFF"/>
                </a:solidFill>
                <a:latin typeface="Segoe UI Light"/>
                <a:cs typeface="Segoe UI Light"/>
              </a:rPr>
              <a:t>d</a:t>
            </a:r>
            <a:endParaRPr sz="2302">
              <a:latin typeface="Segoe UI Light"/>
              <a:cs typeface="Segoe UI Light"/>
            </a:endParaRPr>
          </a:p>
        </p:txBody>
      </p:sp>
      <p:sp>
        <p:nvSpPr>
          <p:cNvPr id="9" name="object 9"/>
          <p:cNvSpPr txBox="1"/>
          <p:nvPr/>
        </p:nvSpPr>
        <p:spPr>
          <a:xfrm>
            <a:off x="5383017" y="3054365"/>
            <a:ext cx="172833" cy="320786"/>
          </a:xfrm>
          <a:prstGeom prst="rect">
            <a:avLst/>
          </a:prstGeom>
        </p:spPr>
        <p:txBody>
          <a:bodyPr wrap="square" lIns="0" tIns="0" rIns="0" bIns="0" rtlCol="0">
            <a:noAutofit/>
          </a:bodyPr>
          <a:lstStyle/>
          <a:p>
            <a:pPr marL="12441">
              <a:lnSpc>
                <a:spcPts val="2473"/>
              </a:lnSpc>
              <a:spcBef>
                <a:spcPts val="123"/>
              </a:spcBef>
            </a:pPr>
            <a:r>
              <a:rPr sz="2302" dirty="0">
                <a:solidFill>
                  <a:srgbClr val="FFFFFF"/>
                </a:solidFill>
                <a:latin typeface="Arial"/>
                <a:cs typeface="Arial"/>
              </a:rPr>
              <a:t>•</a:t>
            </a:r>
            <a:endParaRPr sz="2302">
              <a:latin typeface="Arial"/>
              <a:cs typeface="Arial"/>
            </a:endParaRPr>
          </a:p>
        </p:txBody>
      </p:sp>
      <p:sp>
        <p:nvSpPr>
          <p:cNvPr id="8" name="object 8"/>
          <p:cNvSpPr txBox="1"/>
          <p:nvPr/>
        </p:nvSpPr>
        <p:spPr>
          <a:xfrm>
            <a:off x="5714689" y="3054072"/>
            <a:ext cx="5726793" cy="679389"/>
          </a:xfrm>
          <a:prstGeom prst="rect">
            <a:avLst/>
          </a:prstGeom>
        </p:spPr>
        <p:txBody>
          <a:bodyPr wrap="square" lIns="0" tIns="0" rIns="0" bIns="0" rtlCol="0">
            <a:noAutofit/>
          </a:bodyPr>
          <a:lstStyle/>
          <a:p>
            <a:pPr marL="12441">
              <a:lnSpc>
                <a:spcPts val="2567"/>
              </a:lnSpc>
              <a:spcBef>
                <a:spcPts val="128"/>
              </a:spcBef>
            </a:pPr>
            <a:r>
              <a:rPr sz="3453" spc="-9" baseline="1066" dirty="0">
                <a:solidFill>
                  <a:srgbClr val="FFFFFF"/>
                </a:solidFill>
                <a:latin typeface="Segoe UI Light"/>
                <a:cs typeface="Segoe UI Light"/>
              </a:rPr>
              <a:t>O</a:t>
            </a:r>
            <a:r>
              <a:rPr sz="3453" spc="19" baseline="1066" dirty="0">
                <a:solidFill>
                  <a:srgbClr val="FFFFFF"/>
                </a:solidFill>
                <a:latin typeface="Segoe UI Light"/>
                <a:cs typeface="Segoe UI Light"/>
              </a:rPr>
              <a:t>u</a:t>
            </a:r>
            <a:r>
              <a:rPr sz="3453" baseline="1066" dirty="0">
                <a:solidFill>
                  <a:srgbClr val="FFFFFF"/>
                </a:solidFill>
                <a:latin typeface="Segoe UI Light"/>
                <a:cs typeface="Segoe UI Light"/>
              </a:rPr>
              <a:t>t</a:t>
            </a:r>
            <a:r>
              <a:rPr sz="3453" spc="56" baseline="1066" dirty="0">
                <a:solidFill>
                  <a:srgbClr val="FFFFFF"/>
                </a:solidFill>
                <a:latin typeface="Segoe UI Light"/>
                <a:cs typeface="Segoe UI Light"/>
              </a:rPr>
              <a:t> </a:t>
            </a:r>
            <a:r>
              <a:rPr sz="3453" spc="-43" baseline="1066" dirty="0">
                <a:solidFill>
                  <a:srgbClr val="FFFFFF"/>
                </a:solidFill>
                <a:latin typeface="Segoe UI Light"/>
                <a:cs typeface="Segoe UI Light"/>
              </a:rPr>
              <a:t>o</a:t>
            </a:r>
            <a:r>
              <a:rPr sz="3453" baseline="1066" dirty="0">
                <a:solidFill>
                  <a:srgbClr val="FFFFFF"/>
                </a:solidFill>
                <a:latin typeface="Segoe UI Light"/>
                <a:cs typeface="Segoe UI Light"/>
              </a:rPr>
              <a:t>f</a:t>
            </a:r>
            <a:r>
              <a:rPr sz="3453" spc="87" baseline="1066" dirty="0">
                <a:solidFill>
                  <a:srgbClr val="FFFFFF"/>
                </a:solidFill>
                <a:latin typeface="Segoe UI Light"/>
                <a:cs typeface="Segoe UI Light"/>
              </a:rPr>
              <a:t> </a:t>
            </a:r>
            <a:r>
              <a:rPr sz="3453" spc="-33" baseline="1066" dirty="0">
                <a:solidFill>
                  <a:srgbClr val="FFFFFF"/>
                </a:solidFill>
                <a:latin typeface="Segoe UI Light"/>
                <a:cs typeface="Segoe UI Light"/>
              </a:rPr>
              <a:t>b</a:t>
            </a:r>
            <a:r>
              <a:rPr sz="3453" spc="-38" baseline="1066" dirty="0">
                <a:solidFill>
                  <a:srgbClr val="FFFFFF"/>
                </a:solidFill>
                <a:latin typeface="Segoe UI Light"/>
                <a:cs typeface="Segoe UI Light"/>
              </a:rPr>
              <a:t>o</a:t>
            </a:r>
            <a:r>
              <a:rPr sz="3453" baseline="1066" dirty="0">
                <a:solidFill>
                  <a:srgbClr val="FFFFFF"/>
                </a:solidFill>
                <a:latin typeface="Segoe UI Light"/>
                <a:cs typeface="Segoe UI Light"/>
              </a:rPr>
              <a:t>x</a:t>
            </a:r>
            <a:r>
              <a:rPr sz="3453" spc="119" baseline="1066" dirty="0">
                <a:solidFill>
                  <a:srgbClr val="FFFFFF"/>
                </a:solidFill>
                <a:latin typeface="Segoe UI Light"/>
                <a:cs typeface="Segoe UI Light"/>
              </a:rPr>
              <a:t> </a:t>
            </a:r>
            <a:r>
              <a:rPr sz="3453" spc="9" baseline="1066" dirty="0">
                <a:solidFill>
                  <a:srgbClr val="FFFFFF"/>
                </a:solidFill>
                <a:latin typeface="Segoe UI Light"/>
                <a:cs typeface="Segoe UI Light"/>
              </a:rPr>
              <a:t>s</a:t>
            </a:r>
            <a:r>
              <a:rPr sz="3453" spc="19" baseline="1066" dirty="0">
                <a:solidFill>
                  <a:srgbClr val="FFFFFF"/>
                </a:solidFill>
                <a:latin typeface="Segoe UI Light"/>
                <a:cs typeface="Segoe UI Light"/>
              </a:rPr>
              <a:t>u</a:t>
            </a:r>
            <a:r>
              <a:rPr sz="3453" spc="-33" baseline="1066" dirty="0">
                <a:solidFill>
                  <a:srgbClr val="FFFFFF"/>
                </a:solidFill>
                <a:latin typeface="Segoe UI Light"/>
                <a:cs typeface="Segoe UI Light"/>
              </a:rPr>
              <a:t>pp</a:t>
            </a:r>
            <a:r>
              <a:rPr sz="3453" spc="28" baseline="1066" dirty="0">
                <a:solidFill>
                  <a:srgbClr val="FFFFFF"/>
                </a:solidFill>
                <a:latin typeface="Segoe UI Light"/>
                <a:cs typeface="Segoe UI Light"/>
              </a:rPr>
              <a:t>o</a:t>
            </a:r>
            <a:r>
              <a:rPr sz="3453" spc="73" baseline="1066" dirty="0">
                <a:solidFill>
                  <a:srgbClr val="FFFFFF"/>
                </a:solidFill>
                <a:latin typeface="Segoe UI Light"/>
                <a:cs typeface="Segoe UI Light"/>
              </a:rPr>
              <a:t>r</a:t>
            </a:r>
            <a:r>
              <a:rPr sz="3453" baseline="1066" dirty="0">
                <a:solidFill>
                  <a:srgbClr val="FFFFFF"/>
                </a:solidFill>
                <a:latin typeface="Segoe UI Light"/>
                <a:cs typeface="Segoe UI Light"/>
              </a:rPr>
              <a:t>t</a:t>
            </a:r>
            <a:r>
              <a:rPr sz="3453" spc="162" baseline="1066" dirty="0">
                <a:solidFill>
                  <a:srgbClr val="FFFFFF"/>
                </a:solidFill>
                <a:latin typeface="Segoe UI Light"/>
                <a:cs typeface="Segoe UI Light"/>
              </a:rPr>
              <a:t> </a:t>
            </a:r>
            <a:r>
              <a:rPr sz="3453" spc="-9" baseline="1066" dirty="0">
                <a:solidFill>
                  <a:srgbClr val="FFFFFF"/>
                </a:solidFill>
                <a:latin typeface="Segoe UI Light"/>
                <a:cs typeface="Segoe UI Light"/>
              </a:rPr>
              <a:t>f</a:t>
            </a:r>
            <a:r>
              <a:rPr sz="3453" spc="28" baseline="1066" dirty="0">
                <a:solidFill>
                  <a:srgbClr val="FFFFFF"/>
                </a:solidFill>
                <a:latin typeface="Segoe UI Light"/>
                <a:cs typeface="Segoe UI Light"/>
              </a:rPr>
              <a:t>o</a:t>
            </a:r>
            <a:r>
              <a:rPr sz="3453" baseline="1066" dirty="0">
                <a:solidFill>
                  <a:srgbClr val="FFFFFF"/>
                </a:solidFill>
                <a:latin typeface="Segoe UI Light"/>
                <a:cs typeface="Segoe UI Light"/>
              </a:rPr>
              <a:t>r</a:t>
            </a:r>
            <a:r>
              <a:rPr sz="3453" spc="36" baseline="1066" dirty="0">
                <a:solidFill>
                  <a:srgbClr val="FFFFFF"/>
                </a:solidFill>
                <a:latin typeface="Segoe UI Light"/>
                <a:cs typeface="Segoe UI Light"/>
              </a:rPr>
              <a:t> </a:t>
            </a:r>
            <a:r>
              <a:rPr sz="3453" spc="-33" baseline="1066" dirty="0">
                <a:solidFill>
                  <a:srgbClr val="FFFFFF"/>
                </a:solidFill>
                <a:latin typeface="Segoe UI Light"/>
                <a:cs typeface="Segoe UI Light"/>
              </a:rPr>
              <a:t>p</a:t>
            </a:r>
            <a:r>
              <a:rPr sz="3453" spc="28" baseline="1066" dirty="0">
                <a:solidFill>
                  <a:srgbClr val="FFFFFF"/>
                </a:solidFill>
                <a:latin typeface="Segoe UI Light"/>
                <a:cs typeface="Segoe UI Light"/>
              </a:rPr>
              <a:t>o</a:t>
            </a:r>
            <a:r>
              <a:rPr sz="3453" spc="-33" baseline="1066" dirty="0">
                <a:solidFill>
                  <a:srgbClr val="FFFFFF"/>
                </a:solidFill>
                <a:latin typeface="Segoe UI Light"/>
                <a:cs typeface="Segoe UI Light"/>
              </a:rPr>
              <a:t>p</a:t>
            </a:r>
            <a:r>
              <a:rPr sz="3453" spc="19" baseline="1066" dirty="0">
                <a:solidFill>
                  <a:srgbClr val="FFFFFF"/>
                </a:solidFill>
                <a:latin typeface="Segoe UI Light"/>
                <a:cs typeface="Segoe UI Light"/>
              </a:rPr>
              <a:t>u</a:t>
            </a:r>
            <a:r>
              <a:rPr sz="3453" spc="14" baseline="1066" dirty="0">
                <a:solidFill>
                  <a:srgbClr val="FFFFFF"/>
                </a:solidFill>
                <a:latin typeface="Segoe UI Light"/>
                <a:cs typeface="Segoe UI Light"/>
              </a:rPr>
              <a:t>l</a:t>
            </a:r>
            <a:r>
              <a:rPr sz="3453" spc="-24" baseline="1066" dirty="0">
                <a:solidFill>
                  <a:srgbClr val="FFFFFF"/>
                </a:solidFill>
                <a:latin typeface="Segoe UI Light"/>
                <a:cs typeface="Segoe UI Light"/>
              </a:rPr>
              <a:t>a</a:t>
            </a:r>
            <a:r>
              <a:rPr sz="3453" baseline="1066" dirty="0">
                <a:solidFill>
                  <a:srgbClr val="FFFFFF"/>
                </a:solidFill>
                <a:latin typeface="Segoe UI Light"/>
                <a:cs typeface="Segoe UI Light"/>
              </a:rPr>
              <a:t>r</a:t>
            </a:r>
            <a:r>
              <a:rPr sz="3453" spc="226" baseline="1066" dirty="0">
                <a:solidFill>
                  <a:srgbClr val="FFFFFF"/>
                </a:solidFill>
                <a:latin typeface="Segoe UI Light"/>
                <a:cs typeface="Segoe UI Light"/>
              </a:rPr>
              <a:t> </a:t>
            </a:r>
            <a:r>
              <a:rPr sz="3453" spc="-28" baseline="1066" dirty="0">
                <a:solidFill>
                  <a:srgbClr val="FFFFFF"/>
                </a:solidFill>
                <a:latin typeface="Segoe UI Light"/>
                <a:cs typeface="Segoe UI Light"/>
              </a:rPr>
              <a:t>S</a:t>
            </a:r>
            <a:r>
              <a:rPr sz="3453" spc="-24" baseline="1066" dirty="0">
                <a:solidFill>
                  <a:srgbClr val="FFFFFF"/>
                </a:solidFill>
                <a:latin typeface="Segoe UI Light"/>
                <a:cs typeface="Segoe UI Light"/>
              </a:rPr>
              <a:t>aa</a:t>
            </a:r>
            <a:r>
              <a:rPr sz="3453" baseline="1066" dirty="0">
                <a:solidFill>
                  <a:srgbClr val="FFFFFF"/>
                </a:solidFill>
                <a:latin typeface="Segoe UI Light"/>
                <a:cs typeface="Segoe UI Light"/>
              </a:rPr>
              <a:t>S</a:t>
            </a:r>
            <a:r>
              <a:rPr sz="3453" spc="158" baseline="1066" dirty="0">
                <a:solidFill>
                  <a:srgbClr val="FFFFFF"/>
                </a:solidFill>
                <a:latin typeface="Segoe UI Light"/>
                <a:cs typeface="Segoe UI Light"/>
              </a:rPr>
              <a:t> </a:t>
            </a:r>
            <a:r>
              <a:rPr sz="3453" spc="-24" baseline="1066" dirty="0">
                <a:solidFill>
                  <a:srgbClr val="FFFFFF"/>
                </a:solidFill>
                <a:latin typeface="Segoe UI Light"/>
                <a:cs typeface="Segoe UI Light"/>
              </a:rPr>
              <a:t>a</a:t>
            </a:r>
            <a:r>
              <a:rPr sz="3453" spc="19" baseline="1066" dirty="0">
                <a:solidFill>
                  <a:srgbClr val="FFFFFF"/>
                </a:solidFill>
                <a:latin typeface="Segoe UI Light"/>
                <a:cs typeface="Segoe UI Light"/>
              </a:rPr>
              <a:t>n</a:t>
            </a:r>
            <a:r>
              <a:rPr sz="3453" baseline="1066" dirty="0">
                <a:solidFill>
                  <a:srgbClr val="FFFFFF"/>
                </a:solidFill>
                <a:latin typeface="Segoe UI Light"/>
                <a:cs typeface="Segoe UI Light"/>
              </a:rPr>
              <a:t>d</a:t>
            </a:r>
            <a:r>
              <a:rPr sz="3453" spc="144" baseline="1066" dirty="0">
                <a:solidFill>
                  <a:srgbClr val="FFFFFF"/>
                </a:solidFill>
                <a:latin typeface="Segoe UI Light"/>
                <a:cs typeface="Segoe UI Light"/>
              </a:rPr>
              <a:t> </a:t>
            </a:r>
            <a:r>
              <a:rPr sz="3453" spc="28" baseline="1066" dirty="0">
                <a:solidFill>
                  <a:srgbClr val="FFFFFF"/>
                </a:solidFill>
                <a:latin typeface="Segoe UI Light"/>
                <a:cs typeface="Segoe UI Light"/>
              </a:rPr>
              <a:t>o</a:t>
            </a:r>
            <a:r>
              <a:rPr sz="3453" spc="102" baseline="1066" dirty="0">
                <a:solidFill>
                  <a:srgbClr val="FFFFFF"/>
                </a:solidFill>
                <a:latin typeface="Segoe UI Light"/>
                <a:cs typeface="Segoe UI Light"/>
              </a:rPr>
              <a:t>n</a:t>
            </a:r>
            <a:r>
              <a:rPr sz="3453" baseline="1066" dirty="0">
                <a:solidFill>
                  <a:srgbClr val="FFFFFF"/>
                </a:solidFill>
                <a:latin typeface="Segoe UI Light"/>
                <a:cs typeface="Segoe UI Light"/>
              </a:rPr>
              <a:t>-</a:t>
            </a:r>
            <a:endParaRPr sz="2302">
              <a:latin typeface="Segoe UI Light"/>
              <a:cs typeface="Segoe UI Light"/>
            </a:endParaRPr>
          </a:p>
          <a:p>
            <a:pPr marL="12441" marR="44386">
              <a:lnSpc>
                <a:spcPts val="2782"/>
              </a:lnSpc>
              <a:spcBef>
                <a:spcPts val="10"/>
              </a:spcBef>
            </a:pPr>
            <a:r>
              <a:rPr sz="2302" spc="-38" dirty="0">
                <a:solidFill>
                  <a:srgbClr val="FFFFFF"/>
                </a:solidFill>
                <a:latin typeface="Segoe UI Light"/>
                <a:cs typeface="Segoe UI Light"/>
              </a:rPr>
              <a:t>p</a:t>
            </a:r>
            <a:r>
              <a:rPr sz="2302" spc="-63" dirty="0">
                <a:solidFill>
                  <a:srgbClr val="FFFFFF"/>
                </a:solidFill>
                <a:latin typeface="Segoe UI Light"/>
                <a:cs typeface="Segoe UI Light"/>
              </a:rPr>
              <a:t>r</a:t>
            </a:r>
            <a:r>
              <a:rPr sz="2302" spc="19" dirty="0">
                <a:solidFill>
                  <a:srgbClr val="FFFFFF"/>
                </a:solidFill>
                <a:latin typeface="Segoe UI Light"/>
                <a:cs typeface="Segoe UI Light"/>
              </a:rPr>
              <a:t>e</a:t>
            </a:r>
            <a:r>
              <a:rPr sz="2302" spc="-9" dirty="0">
                <a:solidFill>
                  <a:srgbClr val="FFFFFF"/>
                </a:solidFill>
                <a:latin typeface="Segoe UI Light"/>
                <a:cs typeface="Segoe UI Light"/>
              </a:rPr>
              <a:t>m</a:t>
            </a:r>
            <a:r>
              <a:rPr sz="2302" spc="14" dirty="0">
                <a:solidFill>
                  <a:srgbClr val="FFFFFF"/>
                </a:solidFill>
                <a:latin typeface="Segoe UI Light"/>
                <a:cs typeface="Segoe UI Light"/>
              </a:rPr>
              <a:t>i</a:t>
            </a:r>
            <a:r>
              <a:rPr sz="2302" spc="9" dirty="0">
                <a:solidFill>
                  <a:srgbClr val="FFFFFF"/>
                </a:solidFill>
                <a:latin typeface="Segoe UI Light"/>
                <a:cs typeface="Segoe UI Light"/>
              </a:rPr>
              <a:t>s</a:t>
            </a:r>
            <a:r>
              <a:rPr sz="2302" spc="19" dirty="0">
                <a:solidFill>
                  <a:srgbClr val="FFFFFF"/>
                </a:solidFill>
                <a:latin typeface="Segoe UI Light"/>
                <a:cs typeface="Segoe UI Light"/>
              </a:rPr>
              <a:t>e</a:t>
            </a:r>
            <a:r>
              <a:rPr sz="2302" dirty="0">
                <a:solidFill>
                  <a:srgbClr val="FFFFFF"/>
                </a:solidFill>
                <a:latin typeface="Segoe UI Light"/>
                <a:cs typeface="Segoe UI Light"/>
              </a:rPr>
              <a:t>s</a:t>
            </a:r>
            <a:r>
              <a:rPr sz="2302" spc="168" dirty="0">
                <a:solidFill>
                  <a:srgbClr val="FFFFFF"/>
                </a:solidFill>
                <a:latin typeface="Segoe UI Light"/>
                <a:cs typeface="Segoe UI Light"/>
              </a:rPr>
              <a:t> </a:t>
            </a:r>
            <a:r>
              <a:rPr sz="2302" spc="-24" dirty="0">
                <a:solidFill>
                  <a:srgbClr val="FFFFFF"/>
                </a:solidFill>
                <a:latin typeface="Segoe UI Light"/>
                <a:cs typeface="Segoe UI Light"/>
              </a:rPr>
              <a:t>a</a:t>
            </a:r>
            <a:r>
              <a:rPr sz="2302" spc="-38" dirty="0">
                <a:solidFill>
                  <a:srgbClr val="FFFFFF"/>
                </a:solidFill>
                <a:latin typeface="Segoe UI Light"/>
                <a:cs typeface="Segoe UI Light"/>
              </a:rPr>
              <a:t>pp</a:t>
            </a:r>
            <a:r>
              <a:rPr sz="2302" dirty="0">
                <a:solidFill>
                  <a:srgbClr val="FFFFFF"/>
                </a:solidFill>
                <a:latin typeface="Segoe UI Light"/>
                <a:cs typeface="Segoe UI Light"/>
              </a:rPr>
              <a:t>s</a:t>
            </a:r>
            <a:endParaRPr sz="2302">
              <a:latin typeface="Segoe UI Light"/>
              <a:cs typeface="Segoe UI Light"/>
            </a:endParaRPr>
          </a:p>
        </p:txBody>
      </p:sp>
      <p:sp>
        <p:nvSpPr>
          <p:cNvPr id="7" name="object 7"/>
          <p:cNvSpPr txBox="1"/>
          <p:nvPr/>
        </p:nvSpPr>
        <p:spPr>
          <a:xfrm>
            <a:off x="2068161" y="3265803"/>
            <a:ext cx="1380972" cy="258084"/>
          </a:xfrm>
          <a:prstGeom prst="rect">
            <a:avLst/>
          </a:prstGeom>
        </p:spPr>
        <p:txBody>
          <a:bodyPr wrap="square" lIns="0" tIns="0" rIns="0" bIns="0" rtlCol="0">
            <a:noAutofit/>
          </a:bodyPr>
          <a:lstStyle/>
          <a:p>
            <a:pPr marL="12441">
              <a:lnSpc>
                <a:spcPts val="2033"/>
              </a:lnSpc>
              <a:spcBef>
                <a:spcPts val="101"/>
              </a:spcBef>
            </a:pPr>
            <a:r>
              <a:rPr sz="2718" b="1" spc="-24" baseline="1354" dirty="0">
                <a:solidFill>
                  <a:srgbClr val="FFFFFF"/>
                </a:solidFill>
                <a:latin typeface="Segoe UI"/>
                <a:cs typeface="Segoe UI"/>
              </a:rPr>
              <a:t>L</a:t>
            </a:r>
            <a:r>
              <a:rPr sz="2718" b="1" spc="14" baseline="1354" dirty="0">
                <a:solidFill>
                  <a:srgbClr val="FFFFFF"/>
                </a:solidFill>
                <a:latin typeface="Segoe UI"/>
                <a:cs typeface="Segoe UI"/>
              </a:rPr>
              <a:t>O</a:t>
            </a:r>
            <a:r>
              <a:rPr sz="2718" b="1" spc="-33" baseline="1354" dirty="0">
                <a:solidFill>
                  <a:srgbClr val="FFFFFF"/>
                </a:solidFill>
                <a:latin typeface="Segoe UI"/>
                <a:cs typeface="Segoe UI"/>
              </a:rPr>
              <a:t>G</a:t>
            </a:r>
            <a:r>
              <a:rPr sz="2718" b="1" spc="-19" baseline="1354" dirty="0">
                <a:solidFill>
                  <a:srgbClr val="FFFFFF"/>
                </a:solidFill>
                <a:latin typeface="Segoe UI"/>
                <a:cs typeface="Segoe UI"/>
              </a:rPr>
              <a:t>I</a:t>
            </a:r>
            <a:r>
              <a:rPr sz="2718" b="1" baseline="1354" dirty="0">
                <a:solidFill>
                  <a:srgbClr val="FFFFFF"/>
                </a:solidFill>
                <a:latin typeface="Segoe UI"/>
                <a:cs typeface="Segoe UI"/>
              </a:rPr>
              <a:t>C</a:t>
            </a:r>
            <a:r>
              <a:rPr sz="2718" b="1" spc="101" baseline="1354" dirty="0">
                <a:solidFill>
                  <a:srgbClr val="FFFFFF"/>
                </a:solidFill>
                <a:latin typeface="Segoe UI"/>
                <a:cs typeface="Segoe UI"/>
              </a:rPr>
              <a:t> </a:t>
            </a:r>
            <a:r>
              <a:rPr sz="2718" b="1" spc="-24" baseline="1354" dirty="0">
                <a:solidFill>
                  <a:srgbClr val="FFFFFF"/>
                </a:solidFill>
                <a:latin typeface="Segoe UI"/>
                <a:cs typeface="Segoe UI"/>
              </a:rPr>
              <a:t>A</a:t>
            </a:r>
            <a:r>
              <a:rPr sz="2718" b="1" baseline="1354" dirty="0">
                <a:solidFill>
                  <a:srgbClr val="FFFFFF"/>
                </a:solidFill>
                <a:latin typeface="Segoe UI"/>
                <a:cs typeface="Segoe UI"/>
              </a:rPr>
              <a:t>PPS</a:t>
            </a:r>
            <a:endParaRPr sz="1812">
              <a:latin typeface="Segoe UI"/>
              <a:cs typeface="Segoe UI"/>
            </a:endParaRPr>
          </a:p>
        </p:txBody>
      </p:sp>
      <p:sp>
        <p:nvSpPr>
          <p:cNvPr id="6" name="object 6"/>
          <p:cNvSpPr txBox="1"/>
          <p:nvPr/>
        </p:nvSpPr>
        <p:spPr>
          <a:xfrm>
            <a:off x="1432809" y="3786960"/>
            <a:ext cx="2639873" cy="679513"/>
          </a:xfrm>
          <a:prstGeom prst="rect">
            <a:avLst/>
          </a:prstGeom>
        </p:spPr>
        <p:txBody>
          <a:bodyPr wrap="square" lIns="0" tIns="0" rIns="0" bIns="0" rtlCol="0">
            <a:noAutofit/>
          </a:bodyPr>
          <a:lstStyle/>
          <a:p>
            <a:pPr marL="40508" marR="64897" algn="ctr">
              <a:lnSpc>
                <a:spcPts val="2567"/>
              </a:lnSpc>
              <a:spcBef>
                <a:spcPts val="128"/>
              </a:spcBef>
            </a:pPr>
            <a:r>
              <a:rPr sz="3453" spc="14" baseline="1066" dirty="0">
                <a:solidFill>
                  <a:srgbClr val="FFFFFF"/>
                </a:solidFill>
                <a:latin typeface="Segoe UI Light"/>
                <a:cs typeface="Segoe UI Light"/>
              </a:rPr>
              <a:t>A</a:t>
            </a:r>
            <a:r>
              <a:rPr sz="3453" spc="19" baseline="1066" dirty="0">
                <a:solidFill>
                  <a:srgbClr val="FFFFFF"/>
                </a:solidFill>
                <a:latin typeface="Segoe UI Light"/>
                <a:cs typeface="Segoe UI Light"/>
              </a:rPr>
              <a:t>u</a:t>
            </a:r>
            <a:r>
              <a:rPr sz="3453" spc="9" baseline="1066" dirty="0">
                <a:solidFill>
                  <a:srgbClr val="FFFFFF"/>
                </a:solidFill>
                <a:latin typeface="Segoe UI Light"/>
                <a:cs typeface="Segoe UI Light"/>
              </a:rPr>
              <a:t>t</a:t>
            </a:r>
            <a:r>
              <a:rPr sz="3453" spc="28" baseline="1066" dirty="0">
                <a:solidFill>
                  <a:srgbClr val="FFFFFF"/>
                </a:solidFill>
                <a:latin typeface="Segoe UI Light"/>
                <a:cs typeface="Segoe UI Light"/>
              </a:rPr>
              <a:t>o</a:t>
            </a:r>
            <a:r>
              <a:rPr sz="3453" spc="-9" baseline="1066" dirty="0">
                <a:solidFill>
                  <a:srgbClr val="FFFFFF"/>
                </a:solidFill>
                <a:latin typeface="Segoe UI Light"/>
                <a:cs typeface="Segoe UI Light"/>
              </a:rPr>
              <a:t>m</a:t>
            </a:r>
            <a:r>
              <a:rPr sz="3453" spc="-24" baseline="1066" dirty="0">
                <a:solidFill>
                  <a:srgbClr val="FFFFFF"/>
                </a:solidFill>
                <a:latin typeface="Segoe UI Light"/>
                <a:cs typeface="Segoe UI Light"/>
              </a:rPr>
              <a:t>a</a:t>
            </a:r>
            <a:r>
              <a:rPr sz="3453" spc="9" baseline="1066" dirty="0">
                <a:solidFill>
                  <a:srgbClr val="FFFFFF"/>
                </a:solidFill>
                <a:latin typeface="Segoe UI Light"/>
                <a:cs typeface="Segoe UI Light"/>
              </a:rPr>
              <a:t>t</a:t>
            </a:r>
            <a:r>
              <a:rPr sz="3453" baseline="1066" dirty="0">
                <a:solidFill>
                  <a:srgbClr val="FFFFFF"/>
                </a:solidFill>
                <a:latin typeface="Segoe UI Light"/>
                <a:cs typeface="Segoe UI Light"/>
              </a:rPr>
              <a:t>e</a:t>
            </a:r>
            <a:r>
              <a:rPr sz="3453" spc="124" baseline="1066" dirty="0">
                <a:solidFill>
                  <a:srgbClr val="FFFFFF"/>
                </a:solidFill>
                <a:latin typeface="Segoe UI Light"/>
                <a:cs typeface="Segoe UI Light"/>
              </a:rPr>
              <a:t> </a:t>
            </a:r>
            <a:r>
              <a:rPr sz="3453" spc="-33" baseline="1066" dirty="0">
                <a:solidFill>
                  <a:srgbClr val="FFFFFF"/>
                </a:solidFill>
                <a:latin typeface="Segoe UI Light"/>
                <a:cs typeface="Segoe UI Light"/>
              </a:rPr>
              <a:t>S</a:t>
            </a:r>
            <a:r>
              <a:rPr sz="3453" spc="-24" baseline="1066" dirty="0">
                <a:solidFill>
                  <a:srgbClr val="FFFFFF"/>
                </a:solidFill>
                <a:latin typeface="Segoe UI Light"/>
                <a:cs typeface="Segoe UI Light"/>
              </a:rPr>
              <a:t>aa</a:t>
            </a:r>
            <a:r>
              <a:rPr sz="3453" baseline="1066" dirty="0">
                <a:solidFill>
                  <a:srgbClr val="FFFFFF"/>
                </a:solidFill>
                <a:latin typeface="Segoe UI Light"/>
                <a:cs typeface="Segoe UI Light"/>
              </a:rPr>
              <a:t>S</a:t>
            </a:r>
            <a:r>
              <a:rPr sz="3453" spc="231" baseline="1066" dirty="0">
                <a:solidFill>
                  <a:srgbClr val="FFFFFF"/>
                </a:solidFill>
                <a:latin typeface="Segoe UI Light"/>
                <a:cs typeface="Segoe UI Light"/>
              </a:rPr>
              <a:t> </a:t>
            </a:r>
            <a:r>
              <a:rPr sz="3453" spc="-24" baseline="1066" dirty="0">
                <a:solidFill>
                  <a:srgbClr val="FFFFFF"/>
                </a:solidFill>
                <a:latin typeface="Segoe UI Light"/>
                <a:cs typeface="Segoe UI Light"/>
              </a:rPr>
              <a:t>a</a:t>
            </a:r>
            <a:r>
              <a:rPr sz="3453" spc="20" baseline="1066" dirty="0">
                <a:solidFill>
                  <a:srgbClr val="FFFFFF"/>
                </a:solidFill>
                <a:latin typeface="Segoe UI Light"/>
                <a:cs typeface="Segoe UI Light"/>
              </a:rPr>
              <a:t>n</a:t>
            </a:r>
            <a:r>
              <a:rPr sz="3453" baseline="1066" dirty="0">
                <a:solidFill>
                  <a:srgbClr val="FFFFFF"/>
                </a:solidFill>
                <a:latin typeface="Segoe UI Light"/>
                <a:cs typeface="Segoe UI Light"/>
              </a:rPr>
              <a:t>d</a:t>
            </a:r>
            <a:endParaRPr sz="2302">
              <a:latin typeface="Segoe UI Light"/>
              <a:cs typeface="Segoe UI Light"/>
            </a:endParaRPr>
          </a:p>
          <a:p>
            <a:pPr algn="ctr">
              <a:lnSpc>
                <a:spcPts val="2782"/>
              </a:lnSpc>
              <a:spcBef>
                <a:spcPts val="10"/>
              </a:spcBef>
            </a:pPr>
            <a:r>
              <a:rPr sz="2302" spc="28" dirty="0">
                <a:solidFill>
                  <a:srgbClr val="FFFFFF"/>
                </a:solidFill>
                <a:latin typeface="Segoe UI Light"/>
                <a:cs typeface="Segoe UI Light"/>
              </a:rPr>
              <a:t>o</a:t>
            </a:r>
            <a:r>
              <a:rPr sz="2302" spc="19" dirty="0">
                <a:solidFill>
                  <a:srgbClr val="FFFFFF"/>
                </a:solidFill>
                <a:latin typeface="Segoe UI Light"/>
                <a:cs typeface="Segoe UI Light"/>
              </a:rPr>
              <a:t>n</a:t>
            </a:r>
            <a:r>
              <a:rPr sz="2302" spc="-9" dirty="0">
                <a:solidFill>
                  <a:srgbClr val="FFFFFF"/>
                </a:solidFill>
                <a:latin typeface="Segoe UI Light"/>
                <a:cs typeface="Segoe UI Light"/>
              </a:rPr>
              <a:t>-</a:t>
            </a:r>
            <a:r>
              <a:rPr sz="2302" spc="-38" dirty="0">
                <a:solidFill>
                  <a:srgbClr val="FFFFFF"/>
                </a:solidFill>
                <a:latin typeface="Segoe UI Light"/>
                <a:cs typeface="Segoe UI Light"/>
              </a:rPr>
              <a:t>p</a:t>
            </a:r>
            <a:r>
              <a:rPr sz="2302" spc="-63" dirty="0">
                <a:solidFill>
                  <a:srgbClr val="FFFFFF"/>
                </a:solidFill>
                <a:latin typeface="Segoe UI Light"/>
                <a:cs typeface="Segoe UI Light"/>
              </a:rPr>
              <a:t>r</a:t>
            </a:r>
            <a:r>
              <a:rPr sz="2302" spc="19" dirty="0">
                <a:solidFill>
                  <a:srgbClr val="FFFFFF"/>
                </a:solidFill>
                <a:latin typeface="Segoe UI Light"/>
                <a:cs typeface="Segoe UI Light"/>
              </a:rPr>
              <a:t>e</a:t>
            </a:r>
            <a:r>
              <a:rPr sz="2302" spc="-14" dirty="0">
                <a:solidFill>
                  <a:srgbClr val="FFFFFF"/>
                </a:solidFill>
                <a:latin typeface="Segoe UI Light"/>
                <a:cs typeface="Segoe UI Light"/>
              </a:rPr>
              <a:t>m</a:t>
            </a:r>
            <a:r>
              <a:rPr sz="2302" spc="14" dirty="0">
                <a:solidFill>
                  <a:srgbClr val="FFFFFF"/>
                </a:solidFill>
                <a:latin typeface="Segoe UI Light"/>
                <a:cs typeface="Segoe UI Light"/>
              </a:rPr>
              <a:t>i</a:t>
            </a:r>
            <a:r>
              <a:rPr sz="2302" spc="9" dirty="0">
                <a:solidFill>
                  <a:srgbClr val="FFFFFF"/>
                </a:solidFill>
                <a:latin typeface="Segoe UI Light"/>
                <a:cs typeface="Segoe UI Light"/>
              </a:rPr>
              <a:t>s</a:t>
            </a:r>
            <a:r>
              <a:rPr sz="2302" spc="19" dirty="0">
                <a:solidFill>
                  <a:srgbClr val="FFFFFF"/>
                </a:solidFill>
                <a:latin typeface="Segoe UI Light"/>
                <a:cs typeface="Segoe UI Light"/>
              </a:rPr>
              <a:t>e</a:t>
            </a:r>
            <a:r>
              <a:rPr sz="2302" dirty="0">
                <a:solidFill>
                  <a:srgbClr val="FFFFFF"/>
                </a:solidFill>
                <a:latin typeface="Segoe UI Light"/>
                <a:cs typeface="Segoe UI Light"/>
              </a:rPr>
              <a:t>s</a:t>
            </a:r>
            <a:r>
              <a:rPr sz="2302" spc="202" dirty="0">
                <a:solidFill>
                  <a:srgbClr val="FFFFFF"/>
                </a:solidFill>
                <a:latin typeface="Segoe UI Light"/>
                <a:cs typeface="Segoe UI Light"/>
              </a:rPr>
              <a:t> </a:t>
            </a:r>
            <a:r>
              <a:rPr sz="2302" spc="10" dirty="0">
                <a:solidFill>
                  <a:srgbClr val="FFFFFF"/>
                </a:solidFill>
                <a:latin typeface="Segoe UI Light"/>
                <a:cs typeface="Segoe UI Light"/>
              </a:rPr>
              <a:t>s</a:t>
            </a:r>
            <a:r>
              <a:rPr sz="2302" dirty="0">
                <a:solidFill>
                  <a:srgbClr val="FFFFFF"/>
                </a:solidFill>
                <a:latin typeface="Segoe UI Light"/>
                <a:cs typeface="Segoe UI Light"/>
              </a:rPr>
              <a:t>y</a:t>
            </a:r>
            <a:r>
              <a:rPr sz="2302" spc="10" dirty="0">
                <a:solidFill>
                  <a:srgbClr val="FFFFFF"/>
                </a:solidFill>
                <a:latin typeface="Segoe UI Light"/>
                <a:cs typeface="Segoe UI Light"/>
              </a:rPr>
              <a:t>st</a:t>
            </a:r>
            <a:r>
              <a:rPr sz="2302" spc="20" dirty="0">
                <a:solidFill>
                  <a:srgbClr val="FFFFFF"/>
                </a:solidFill>
                <a:latin typeface="Segoe UI Light"/>
                <a:cs typeface="Segoe UI Light"/>
              </a:rPr>
              <a:t>e</a:t>
            </a:r>
            <a:r>
              <a:rPr sz="2302" spc="-15" dirty="0">
                <a:solidFill>
                  <a:srgbClr val="FFFFFF"/>
                </a:solidFill>
                <a:latin typeface="Segoe UI Light"/>
                <a:cs typeface="Segoe UI Light"/>
              </a:rPr>
              <a:t>m</a:t>
            </a:r>
            <a:r>
              <a:rPr sz="2302" dirty="0">
                <a:solidFill>
                  <a:srgbClr val="FFFFFF"/>
                </a:solidFill>
                <a:latin typeface="Segoe UI Light"/>
                <a:cs typeface="Segoe UI Light"/>
              </a:rPr>
              <a:t>s</a:t>
            </a:r>
            <a:endParaRPr sz="2302">
              <a:latin typeface="Segoe UI Light"/>
              <a:cs typeface="Segoe UI Light"/>
            </a:endParaRPr>
          </a:p>
        </p:txBody>
      </p:sp>
      <p:sp>
        <p:nvSpPr>
          <p:cNvPr id="5" name="object 5"/>
          <p:cNvSpPr txBox="1"/>
          <p:nvPr/>
        </p:nvSpPr>
        <p:spPr>
          <a:xfrm>
            <a:off x="5383017" y="4067418"/>
            <a:ext cx="172989" cy="321097"/>
          </a:xfrm>
          <a:prstGeom prst="rect">
            <a:avLst/>
          </a:prstGeom>
        </p:spPr>
        <p:txBody>
          <a:bodyPr wrap="square" lIns="0" tIns="0" rIns="0" bIns="0" rtlCol="0">
            <a:noAutofit/>
          </a:bodyPr>
          <a:lstStyle/>
          <a:p>
            <a:pPr marL="12441">
              <a:lnSpc>
                <a:spcPts val="2473"/>
              </a:lnSpc>
              <a:spcBef>
                <a:spcPts val="123"/>
              </a:spcBef>
            </a:pPr>
            <a:r>
              <a:rPr sz="2302" dirty="0">
                <a:solidFill>
                  <a:srgbClr val="FFFFFF"/>
                </a:solidFill>
                <a:latin typeface="Arial"/>
                <a:cs typeface="Arial"/>
              </a:rPr>
              <a:t>•</a:t>
            </a:r>
            <a:endParaRPr sz="2302">
              <a:latin typeface="Arial"/>
              <a:cs typeface="Arial"/>
            </a:endParaRPr>
          </a:p>
        </p:txBody>
      </p:sp>
      <p:sp>
        <p:nvSpPr>
          <p:cNvPr id="4" name="object 4"/>
          <p:cNvSpPr txBox="1"/>
          <p:nvPr/>
        </p:nvSpPr>
        <p:spPr>
          <a:xfrm>
            <a:off x="5714689" y="4067124"/>
            <a:ext cx="4870723" cy="321097"/>
          </a:xfrm>
          <a:prstGeom prst="rect">
            <a:avLst/>
          </a:prstGeom>
        </p:spPr>
        <p:txBody>
          <a:bodyPr wrap="square" lIns="0" tIns="0" rIns="0" bIns="0" rtlCol="0">
            <a:noAutofit/>
          </a:bodyPr>
          <a:lstStyle/>
          <a:p>
            <a:pPr marL="12441">
              <a:lnSpc>
                <a:spcPts val="2527"/>
              </a:lnSpc>
              <a:spcBef>
                <a:spcPts val="126"/>
              </a:spcBef>
            </a:pPr>
            <a:r>
              <a:rPr sz="3453" spc="-28" baseline="1066" dirty="0">
                <a:solidFill>
                  <a:srgbClr val="FFFFFF"/>
                </a:solidFill>
                <a:latin typeface="Segoe UI Light"/>
                <a:cs typeface="Segoe UI Light"/>
              </a:rPr>
              <a:t>U</a:t>
            </a:r>
            <a:r>
              <a:rPr sz="3453" spc="9" baseline="1066" dirty="0">
                <a:solidFill>
                  <a:srgbClr val="FFFFFF"/>
                </a:solidFill>
                <a:latin typeface="Segoe UI Light"/>
                <a:cs typeface="Segoe UI Light"/>
              </a:rPr>
              <a:t>s</a:t>
            </a:r>
            <a:r>
              <a:rPr sz="3453" baseline="1066" dirty="0">
                <a:solidFill>
                  <a:srgbClr val="FFFFFF"/>
                </a:solidFill>
                <a:latin typeface="Segoe UI Light"/>
                <a:cs typeface="Segoe UI Light"/>
              </a:rPr>
              <a:t>e</a:t>
            </a:r>
            <a:r>
              <a:rPr sz="3453" spc="128" baseline="1066" dirty="0">
                <a:solidFill>
                  <a:srgbClr val="FFFFFF"/>
                </a:solidFill>
                <a:latin typeface="Segoe UI Light"/>
                <a:cs typeface="Segoe UI Light"/>
              </a:rPr>
              <a:t> </a:t>
            </a:r>
            <a:r>
              <a:rPr sz="3453" spc="-28" baseline="1066" dirty="0">
                <a:solidFill>
                  <a:srgbClr val="FFFFFF"/>
                </a:solidFill>
                <a:latin typeface="Segoe UI Light"/>
                <a:cs typeface="Segoe UI Light"/>
              </a:rPr>
              <a:t>w</a:t>
            </a:r>
            <a:r>
              <a:rPr sz="3453" spc="14" baseline="1066" dirty="0">
                <a:solidFill>
                  <a:srgbClr val="FFFFFF"/>
                </a:solidFill>
                <a:latin typeface="Segoe UI Light"/>
                <a:cs typeface="Segoe UI Light"/>
              </a:rPr>
              <a:t>i</a:t>
            </a:r>
            <a:r>
              <a:rPr sz="3453" spc="9" baseline="1066" dirty="0">
                <a:solidFill>
                  <a:srgbClr val="FFFFFF"/>
                </a:solidFill>
                <a:latin typeface="Segoe UI Light"/>
                <a:cs typeface="Segoe UI Light"/>
              </a:rPr>
              <a:t>t</a:t>
            </a:r>
            <a:r>
              <a:rPr sz="3453" baseline="1066" dirty="0">
                <a:solidFill>
                  <a:srgbClr val="FFFFFF"/>
                </a:solidFill>
                <a:latin typeface="Segoe UI Light"/>
                <a:cs typeface="Segoe UI Light"/>
              </a:rPr>
              <a:t>h</a:t>
            </a:r>
            <a:r>
              <a:rPr sz="3453" spc="69" baseline="1066" dirty="0">
                <a:solidFill>
                  <a:srgbClr val="FFFFFF"/>
                </a:solidFill>
                <a:latin typeface="Segoe UI Light"/>
                <a:cs typeface="Segoe UI Light"/>
              </a:rPr>
              <a:t> </a:t>
            </a:r>
            <a:r>
              <a:rPr sz="3453" spc="14" baseline="1066" dirty="0">
                <a:solidFill>
                  <a:srgbClr val="FFFFFF"/>
                </a:solidFill>
                <a:latin typeface="Segoe UI Light"/>
                <a:cs typeface="Segoe UI Light"/>
              </a:rPr>
              <a:t>c</a:t>
            </a:r>
            <a:r>
              <a:rPr sz="3453" spc="19" baseline="1066" dirty="0">
                <a:solidFill>
                  <a:srgbClr val="FFFFFF"/>
                </a:solidFill>
                <a:latin typeface="Segoe UI Light"/>
                <a:cs typeface="Segoe UI Light"/>
              </a:rPr>
              <a:t>u</a:t>
            </a:r>
            <a:r>
              <a:rPr sz="3453" spc="9" baseline="1066" dirty="0">
                <a:solidFill>
                  <a:srgbClr val="FFFFFF"/>
                </a:solidFill>
                <a:latin typeface="Segoe UI Light"/>
                <a:cs typeface="Segoe UI Light"/>
              </a:rPr>
              <a:t>st</a:t>
            </a:r>
            <a:r>
              <a:rPr sz="3453" spc="28" baseline="1066" dirty="0">
                <a:solidFill>
                  <a:srgbClr val="FFFFFF"/>
                </a:solidFill>
                <a:latin typeface="Segoe UI Light"/>
                <a:cs typeface="Segoe UI Light"/>
              </a:rPr>
              <a:t>o</a:t>
            </a:r>
            <a:r>
              <a:rPr sz="3453" baseline="1066" dirty="0">
                <a:solidFill>
                  <a:srgbClr val="FFFFFF"/>
                </a:solidFill>
                <a:latin typeface="Segoe UI Light"/>
                <a:cs typeface="Segoe UI Light"/>
              </a:rPr>
              <a:t>m</a:t>
            </a:r>
            <a:r>
              <a:rPr sz="3453" spc="70" baseline="1066" dirty="0">
                <a:solidFill>
                  <a:srgbClr val="FFFFFF"/>
                </a:solidFill>
                <a:latin typeface="Segoe UI Light"/>
                <a:cs typeface="Segoe UI Light"/>
              </a:rPr>
              <a:t> </a:t>
            </a:r>
            <a:r>
              <a:rPr sz="3453" spc="4" baseline="1066" dirty="0">
                <a:solidFill>
                  <a:srgbClr val="FFFFFF"/>
                </a:solidFill>
                <a:latin typeface="Segoe UI Light"/>
                <a:cs typeface="Segoe UI Light"/>
              </a:rPr>
              <a:t>A</a:t>
            </a:r>
            <a:r>
              <a:rPr sz="3453" baseline="1066" dirty="0">
                <a:solidFill>
                  <a:srgbClr val="FFFFFF"/>
                </a:solidFill>
                <a:latin typeface="Segoe UI Light"/>
                <a:cs typeface="Segoe UI Light"/>
              </a:rPr>
              <a:t>PI</a:t>
            </a:r>
            <a:r>
              <a:rPr sz="3453" spc="71" baseline="1066" dirty="0">
                <a:solidFill>
                  <a:srgbClr val="FFFFFF"/>
                </a:solidFill>
                <a:latin typeface="Segoe UI Light"/>
                <a:cs typeface="Segoe UI Light"/>
              </a:rPr>
              <a:t> </a:t>
            </a:r>
            <a:r>
              <a:rPr sz="3453" spc="-28" baseline="1066" dirty="0">
                <a:solidFill>
                  <a:srgbClr val="FFFFFF"/>
                </a:solidFill>
                <a:latin typeface="Segoe UI Light"/>
                <a:cs typeface="Segoe UI Light"/>
              </a:rPr>
              <a:t>a</a:t>
            </a:r>
            <a:r>
              <a:rPr sz="3453" spc="-38" baseline="1066" dirty="0">
                <a:solidFill>
                  <a:srgbClr val="FFFFFF"/>
                </a:solidFill>
                <a:latin typeface="Segoe UI Light"/>
                <a:cs typeface="Segoe UI Light"/>
              </a:rPr>
              <a:t>pp</a:t>
            </a:r>
            <a:r>
              <a:rPr sz="3453" baseline="1066" dirty="0">
                <a:solidFill>
                  <a:srgbClr val="FFFFFF"/>
                </a:solidFill>
                <a:latin typeface="Segoe UI Light"/>
                <a:cs typeface="Segoe UI Light"/>
              </a:rPr>
              <a:t>s</a:t>
            </a:r>
            <a:r>
              <a:rPr sz="3453" spc="202" baseline="1066" dirty="0">
                <a:solidFill>
                  <a:srgbClr val="FFFFFF"/>
                </a:solidFill>
                <a:latin typeface="Segoe UI Light"/>
                <a:cs typeface="Segoe UI Light"/>
              </a:rPr>
              <a:t> </a:t>
            </a:r>
            <a:r>
              <a:rPr sz="3453" spc="-38" baseline="1066" dirty="0">
                <a:solidFill>
                  <a:srgbClr val="FFFFFF"/>
                </a:solidFill>
                <a:latin typeface="Segoe UI Light"/>
                <a:cs typeface="Segoe UI Light"/>
              </a:rPr>
              <a:t>o</a:t>
            </a:r>
            <a:r>
              <a:rPr sz="3453" baseline="1066" dirty="0">
                <a:solidFill>
                  <a:srgbClr val="FFFFFF"/>
                </a:solidFill>
                <a:latin typeface="Segoe UI Light"/>
                <a:cs typeface="Segoe UI Light"/>
              </a:rPr>
              <a:t>f</a:t>
            </a:r>
            <a:r>
              <a:rPr sz="3453" spc="19" baseline="1066" dirty="0">
                <a:solidFill>
                  <a:srgbClr val="FFFFFF"/>
                </a:solidFill>
                <a:latin typeface="Segoe UI Light"/>
                <a:cs typeface="Segoe UI Light"/>
              </a:rPr>
              <a:t> </a:t>
            </a:r>
            <a:r>
              <a:rPr sz="3453" baseline="1066" dirty="0">
                <a:solidFill>
                  <a:srgbClr val="FFFFFF"/>
                </a:solidFill>
                <a:latin typeface="Segoe UI Light"/>
                <a:cs typeface="Segoe UI Light"/>
              </a:rPr>
              <a:t>y</a:t>
            </a:r>
            <a:r>
              <a:rPr sz="3453" spc="24" baseline="1066" dirty="0">
                <a:solidFill>
                  <a:srgbClr val="FFFFFF"/>
                </a:solidFill>
                <a:latin typeface="Segoe UI Light"/>
                <a:cs typeface="Segoe UI Light"/>
              </a:rPr>
              <a:t>o</a:t>
            </a:r>
            <a:r>
              <a:rPr sz="3453" spc="19" baseline="1066" dirty="0">
                <a:solidFill>
                  <a:srgbClr val="FFFFFF"/>
                </a:solidFill>
                <a:latin typeface="Segoe UI Light"/>
                <a:cs typeface="Segoe UI Light"/>
              </a:rPr>
              <a:t>u</a:t>
            </a:r>
            <a:r>
              <a:rPr sz="3453" baseline="1066" dirty="0">
                <a:solidFill>
                  <a:srgbClr val="FFFFFF"/>
                </a:solidFill>
                <a:latin typeface="Segoe UI Light"/>
                <a:cs typeface="Segoe UI Light"/>
              </a:rPr>
              <a:t>r</a:t>
            </a:r>
            <a:r>
              <a:rPr sz="3453" spc="53" baseline="1066" dirty="0">
                <a:solidFill>
                  <a:srgbClr val="FFFFFF"/>
                </a:solidFill>
                <a:latin typeface="Segoe UI Light"/>
                <a:cs typeface="Segoe UI Light"/>
              </a:rPr>
              <a:t> </a:t>
            </a:r>
            <a:r>
              <a:rPr sz="3453" spc="29" baseline="1066" dirty="0">
                <a:solidFill>
                  <a:srgbClr val="FFFFFF"/>
                </a:solidFill>
                <a:latin typeface="Segoe UI Light"/>
                <a:cs typeface="Segoe UI Light"/>
              </a:rPr>
              <a:t>o</a:t>
            </a:r>
            <a:r>
              <a:rPr sz="3453" spc="-29" baseline="1066" dirty="0">
                <a:solidFill>
                  <a:srgbClr val="FFFFFF"/>
                </a:solidFill>
                <a:latin typeface="Segoe UI Light"/>
                <a:cs typeface="Segoe UI Light"/>
              </a:rPr>
              <a:t>w</a:t>
            </a:r>
            <a:r>
              <a:rPr sz="3453" baseline="1066" dirty="0">
                <a:solidFill>
                  <a:srgbClr val="FFFFFF"/>
                </a:solidFill>
                <a:latin typeface="Segoe UI Light"/>
                <a:cs typeface="Segoe UI Light"/>
              </a:rPr>
              <a:t>n</a:t>
            </a:r>
            <a:endParaRPr sz="2302">
              <a:latin typeface="Segoe UI Light"/>
              <a:cs typeface="Segoe UI Light"/>
            </a:endParaRPr>
          </a:p>
        </p:txBody>
      </p:sp>
      <p:sp>
        <p:nvSpPr>
          <p:cNvPr id="3" name="object 3"/>
          <p:cNvSpPr txBox="1"/>
          <p:nvPr/>
        </p:nvSpPr>
        <p:spPr>
          <a:xfrm>
            <a:off x="5383017" y="4722803"/>
            <a:ext cx="172833" cy="320786"/>
          </a:xfrm>
          <a:prstGeom prst="rect">
            <a:avLst/>
          </a:prstGeom>
        </p:spPr>
        <p:txBody>
          <a:bodyPr wrap="square" lIns="0" tIns="0" rIns="0" bIns="0" rtlCol="0">
            <a:noAutofit/>
          </a:bodyPr>
          <a:lstStyle/>
          <a:p>
            <a:pPr marL="12441">
              <a:lnSpc>
                <a:spcPts val="2473"/>
              </a:lnSpc>
              <a:spcBef>
                <a:spcPts val="123"/>
              </a:spcBef>
            </a:pPr>
            <a:r>
              <a:rPr sz="2302" dirty="0">
                <a:solidFill>
                  <a:srgbClr val="FFFFFF"/>
                </a:solidFill>
                <a:latin typeface="Arial"/>
                <a:cs typeface="Arial"/>
              </a:rPr>
              <a:t>•</a:t>
            </a:r>
            <a:endParaRPr sz="2302">
              <a:latin typeface="Arial"/>
              <a:cs typeface="Arial"/>
            </a:endParaRPr>
          </a:p>
        </p:txBody>
      </p:sp>
      <p:sp>
        <p:nvSpPr>
          <p:cNvPr id="2" name="object 2"/>
          <p:cNvSpPr txBox="1"/>
          <p:nvPr/>
        </p:nvSpPr>
        <p:spPr>
          <a:xfrm>
            <a:off x="5714690" y="4722509"/>
            <a:ext cx="5445736" cy="320786"/>
          </a:xfrm>
          <a:prstGeom prst="rect">
            <a:avLst/>
          </a:prstGeom>
        </p:spPr>
        <p:txBody>
          <a:bodyPr wrap="square" lIns="0" tIns="0" rIns="0" bIns="0" rtlCol="0">
            <a:noAutofit/>
          </a:bodyPr>
          <a:lstStyle/>
          <a:p>
            <a:pPr marL="12441">
              <a:lnSpc>
                <a:spcPts val="2527"/>
              </a:lnSpc>
              <a:spcBef>
                <a:spcPts val="126"/>
              </a:spcBef>
            </a:pPr>
            <a:r>
              <a:rPr sz="3453" baseline="1066" dirty="0">
                <a:solidFill>
                  <a:srgbClr val="FFFFFF"/>
                </a:solidFill>
                <a:latin typeface="Segoe UI Light"/>
                <a:cs typeface="Segoe UI Light"/>
              </a:rPr>
              <a:t>B</a:t>
            </a:r>
            <a:r>
              <a:rPr sz="3453" spc="14" baseline="1066" dirty="0">
                <a:solidFill>
                  <a:srgbClr val="FFFFFF"/>
                </a:solidFill>
                <a:latin typeface="Segoe UI Light"/>
                <a:cs typeface="Segoe UI Light"/>
              </a:rPr>
              <a:t>i</a:t>
            </a:r>
            <a:r>
              <a:rPr sz="3453" spc="-24" baseline="1066" dirty="0">
                <a:solidFill>
                  <a:srgbClr val="FFFFFF"/>
                </a:solidFill>
                <a:latin typeface="Segoe UI Light"/>
                <a:cs typeface="Segoe UI Light"/>
              </a:rPr>
              <a:t>z</a:t>
            </a:r>
            <a:r>
              <a:rPr sz="3453" spc="9" baseline="1066" dirty="0">
                <a:solidFill>
                  <a:srgbClr val="FFFFFF"/>
                </a:solidFill>
                <a:latin typeface="Segoe UI Light"/>
                <a:cs typeface="Segoe UI Light"/>
              </a:rPr>
              <a:t>t</a:t>
            </a:r>
            <a:r>
              <a:rPr sz="3453" spc="-24" baseline="1066" dirty="0">
                <a:solidFill>
                  <a:srgbClr val="FFFFFF"/>
                </a:solidFill>
                <a:latin typeface="Segoe UI Light"/>
                <a:cs typeface="Segoe UI Light"/>
              </a:rPr>
              <a:t>a</a:t>
            </a:r>
            <a:r>
              <a:rPr sz="3453" spc="14" baseline="1066" dirty="0">
                <a:solidFill>
                  <a:srgbClr val="FFFFFF"/>
                </a:solidFill>
                <a:latin typeface="Segoe UI Light"/>
                <a:cs typeface="Segoe UI Light"/>
              </a:rPr>
              <a:t>l</a:t>
            </a:r>
            <a:r>
              <a:rPr sz="3453" baseline="1066" dirty="0">
                <a:solidFill>
                  <a:srgbClr val="FFFFFF"/>
                </a:solidFill>
                <a:latin typeface="Segoe UI Light"/>
                <a:cs typeface="Segoe UI Light"/>
              </a:rPr>
              <a:t>k</a:t>
            </a:r>
            <a:r>
              <a:rPr sz="3453" spc="100" baseline="1066" dirty="0">
                <a:solidFill>
                  <a:srgbClr val="FFFFFF"/>
                </a:solidFill>
                <a:latin typeface="Segoe UI Light"/>
                <a:cs typeface="Segoe UI Light"/>
              </a:rPr>
              <a:t> </a:t>
            </a:r>
            <a:r>
              <a:rPr sz="3453" spc="14" baseline="1066" dirty="0">
                <a:solidFill>
                  <a:srgbClr val="FFFFFF"/>
                </a:solidFill>
                <a:latin typeface="Segoe UI Light"/>
                <a:cs typeface="Segoe UI Light"/>
              </a:rPr>
              <a:t>A</a:t>
            </a:r>
            <a:r>
              <a:rPr sz="3453" baseline="1066" dirty="0">
                <a:solidFill>
                  <a:srgbClr val="FFFFFF"/>
                </a:solidFill>
                <a:latin typeface="Segoe UI Light"/>
                <a:cs typeface="Segoe UI Light"/>
              </a:rPr>
              <a:t>P</a:t>
            </a:r>
            <a:r>
              <a:rPr sz="3453" spc="33" baseline="1066" dirty="0">
                <a:solidFill>
                  <a:srgbClr val="FFFFFF"/>
                </a:solidFill>
                <a:latin typeface="Segoe UI Light"/>
                <a:cs typeface="Segoe UI Light"/>
              </a:rPr>
              <a:t>I</a:t>
            </a:r>
            <a:r>
              <a:rPr sz="3453" baseline="1066" dirty="0">
                <a:solidFill>
                  <a:srgbClr val="FFFFFF"/>
                </a:solidFill>
                <a:latin typeface="Segoe UI Light"/>
                <a:cs typeface="Segoe UI Light"/>
              </a:rPr>
              <a:t>s</a:t>
            </a:r>
            <a:r>
              <a:rPr sz="3453" spc="60" baseline="1066" dirty="0">
                <a:solidFill>
                  <a:srgbClr val="FFFFFF"/>
                </a:solidFill>
                <a:latin typeface="Segoe UI Light"/>
                <a:cs typeface="Segoe UI Light"/>
              </a:rPr>
              <a:t> </a:t>
            </a:r>
            <a:r>
              <a:rPr sz="3453" spc="-9" baseline="1066" dirty="0">
                <a:solidFill>
                  <a:srgbClr val="FFFFFF"/>
                </a:solidFill>
                <a:latin typeface="Segoe UI Light"/>
                <a:cs typeface="Segoe UI Light"/>
              </a:rPr>
              <a:t>f</a:t>
            </a:r>
            <a:r>
              <a:rPr sz="3453" spc="28" baseline="1066" dirty="0">
                <a:solidFill>
                  <a:srgbClr val="FFFFFF"/>
                </a:solidFill>
                <a:latin typeface="Segoe UI Light"/>
                <a:cs typeface="Segoe UI Light"/>
              </a:rPr>
              <a:t>o</a:t>
            </a:r>
            <a:r>
              <a:rPr sz="3453" baseline="1066" dirty="0">
                <a:solidFill>
                  <a:srgbClr val="FFFFFF"/>
                </a:solidFill>
                <a:latin typeface="Segoe UI Light"/>
                <a:cs typeface="Segoe UI Light"/>
              </a:rPr>
              <a:t>r</a:t>
            </a:r>
            <a:r>
              <a:rPr sz="3453" spc="36" baseline="1066" dirty="0">
                <a:solidFill>
                  <a:srgbClr val="FFFFFF"/>
                </a:solidFill>
                <a:latin typeface="Segoe UI Light"/>
                <a:cs typeface="Segoe UI Light"/>
              </a:rPr>
              <a:t> </a:t>
            </a:r>
            <a:r>
              <a:rPr sz="3453" spc="24" baseline="1066" dirty="0">
                <a:solidFill>
                  <a:srgbClr val="FFFFFF"/>
                </a:solidFill>
                <a:latin typeface="Segoe UI Light"/>
                <a:cs typeface="Segoe UI Light"/>
              </a:rPr>
              <a:t>e</a:t>
            </a:r>
            <a:r>
              <a:rPr sz="3453" baseline="1066" dirty="0">
                <a:solidFill>
                  <a:srgbClr val="FFFFFF"/>
                </a:solidFill>
                <a:latin typeface="Segoe UI Light"/>
                <a:cs typeface="Segoe UI Light"/>
              </a:rPr>
              <a:t>x</a:t>
            </a:r>
            <a:r>
              <a:rPr sz="3453" spc="-28" baseline="1066" dirty="0">
                <a:solidFill>
                  <a:srgbClr val="FFFFFF"/>
                </a:solidFill>
                <a:latin typeface="Segoe UI Light"/>
                <a:cs typeface="Segoe UI Light"/>
              </a:rPr>
              <a:t>p</a:t>
            </a:r>
            <a:r>
              <a:rPr sz="3453" spc="19" baseline="1066" dirty="0">
                <a:solidFill>
                  <a:srgbClr val="FFFFFF"/>
                </a:solidFill>
                <a:latin typeface="Segoe UI Light"/>
                <a:cs typeface="Segoe UI Light"/>
              </a:rPr>
              <a:t>e</a:t>
            </a:r>
            <a:r>
              <a:rPr sz="3453" spc="73" baseline="1066" dirty="0">
                <a:solidFill>
                  <a:srgbClr val="FFFFFF"/>
                </a:solidFill>
                <a:latin typeface="Segoe UI Light"/>
                <a:cs typeface="Segoe UI Light"/>
              </a:rPr>
              <a:t>r</a:t>
            </a:r>
            <a:r>
              <a:rPr sz="3453" baseline="1066" dirty="0">
                <a:solidFill>
                  <a:srgbClr val="FFFFFF"/>
                </a:solidFill>
                <a:latin typeface="Segoe UI Light"/>
                <a:cs typeface="Segoe UI Light"/>
              </a:rPr>
              <a:t>t</a:t>
            </a:r>
            <a:r>
              <a:rPr sz="3453" spc="148" baseline="1066" dirty="0">
                <a:solidFill>
                  <a:srgbClr val="FFFFFF"/>
                </a:solidFill>
                <a:latin typeface="Segoe UI Light"/>
                <a:cs typeface="Segoe UI Light"/>
              </a:rPr>
              <a:t> </a:t>
            </a:r>
            <a:r>
              <a:rPr sz="3453" spc="14" baseline="1066" dirty="0">
                <a:solidFill>
                  <a:srgbClr val="FFFFFF"/>
                </a:solidFill>
                <a:latin typeface="Segoe UI Light"/>
                <a:cs typeface="Segoe UI Light"/>
              </a:rPr>
              <a:t>i</a:t>
            </a:r>
            <a:r>
              <a:rPr sz="3453" spc="19" baseline="1066" dirty="0">
                <a:solidFill>
                  <a:srgbClr val="FFFFFF"/>
                </a:solidFill>
                <a:latin typeface="Segoe UI Light"/>
                <a:cs typeface="Segoe UI Light"/>
              </a:rPr>
              <a:t>n</a:t>
            </a:r>
            <a:r>
              <a:rPr sz="3453" spc="9" baseline="1066" dirty="0">
                <a:solidFill>
                  <a:srgbClr val="FFFFFF"/>
                </a:solidFill>
                <a:latin typeface="Segoe UI Light"/>
                <a:cs typeface="Segoe UI Light"/>
              </a:rPr>
              <a:t>t</a:t>
            </a:r>
            <a:r>
              <a:rPr sz="3453" spc="19" baseline="1066" dirty="0">
                <a:solidFill>
                  <a:srgbClr val="FFFFFF"/>
                </a:solidFill>
                <a:latin typeface="Segoe UI Light"/>
                <a:cs typeface="Segoe UI Light"/>
              </a:rPr>
              <a:t>e</a:t>
            </a:r>
            <a:r>
              <a:rPr sz="3453" spc="-33" baseline="1066" dirty="0">
                <a:solidFill>
                  <a:srgbClr val="FFFFFF"/>
                </a:solidFill>
                <a:latin typeface="Segoe UI Light"/>
                <a:cs typeface="Segoe UI Light"/>
              </a:rPr>
              <a:t>g</a:t>
            </a:r>
            <a:r>
              <a:rPr sz="3453" baseline="1066" dirty="0">
                <a:solidFill>
                  <a:srgbClr val="FFFFFF"/>
                </a:solidFill>
                <a:latin typeface="Segoe UI Light"/>
                <a:cs typeface="Segoe UI Light"/>
              </a:rPr>
              <a:t>r</a:t>
            </a:r>
            <a:r>
              <a:rPr sz="3453" spc="-14" baseline="1066" dirty="0">
                <a:solidFill>
                  <a:srgbClr val="FFFFFF"/>
                </a:solidFill>
                <a:latin typeface="Segoe UI Light"/>
                <a:cs typeface="Segoe UI Light"/>
              </a:rPr>
              <a:t>a</a:t>
            </a:r>
            <a:r>
              <a:rPr sz="3453" spc="9" baseline="1066" dirty="0">
                <a:solidFill>
                  <a:srgbClr val="FFFFFF"/>
                </a:solidFill>
                <a:latin typeface="Segoe UI Light"/>
                <a:cs typeface="Segoe UI Light"/>
              </a:rPr>
              <a:t>t</a:t>
            </a:r>
            <a:r>
              <a:rPr sz="3453" spc="14" baseline="1066" dirty="0">
                <a:solidFill>
                  <a:srgbClr val="FFFFFF"/>
                </a:solidFill>
                <a:latin typeface="Segoe UI Light"/>
                <a:cs typeface="Segoe UI Light"/>
              </a:rPr>
              <a:t>i</a:t>
            </a:r>
            <a:r>
              <a:rPr sz="3453" spc="28" baseline="1066" dirty="0">
                <a:solidFill>
                  <a:srgbClr val="FFFFFF"/>
                </a:solidFill>
                <a:latin typeface="Segoe UI Light"/>
                <a:cs typeface="Segoe UI Light"/>
              </a:rPr>
              <a:t>o</a:t>
            </a:r>
            <a:r>
              <a:rPr sz="3453" baseline="1066" dirty="0">
                <a:solidFill>
                  <a:srgbClr val="FFFFFF"/>
                </a:solidFill>
                <a:latin typeface="Segoe UI Light"/>
                <a:cs typeface="Segoe UI Light"/>
              </a:rPr>
              <a:t>n</a:t>
            </a:r>
            <a:r>
              <a:rPr sz="3453" spc="133" baseline="1066" dirty="0">
                <a:solidFill>
                  <a:srgbClr val="FFFFFF"/>
                </a:solidFill>
                <a:latin typeface="Segoe UI Light"/>
                <a:cs typeface="Segoe UI Light"/>
              </a:rPr>
              <a:t> </a:t>
            </a:r>
            <a:r>
              <a:rPr sz="3453" spc="4" baseline="1066" dirty="0">
                <a:solidFill>
                  <a:srgbClr val="FFFFFF"/>
                </a:solidFill>
                <a:latin typeface="Segoe UI Light"/>
                <a:cs typeface="Segoe UI Light"/>
              </a:rPr>
              <a:t>s</a:t>
            </a:r>
            <a:r>
              <a:rPr sz="3453" spc="20" baseline="1066" dirty="0">
                <a:solidFill>
                  <a:srgbClr val="FFFFFF"/>
                </a:solidFill>
                <a:latin typeface="Segoe UI Light"/>
                <a:cs typeface="Segoe UI Light"/>
              </a:rPr>
              <a:t>cen</a:t>
            </a:r>
            <a:r>
              <a:rPr sz="3453" spc="-24" baseline="1066" dirty="0">
                <a:solidFill>
                  <a:srgbClr val="FFFFFF"/>
                </a:solidFill>
                <a:latin typeface="Segoe UI Light"/>
                <a:cs typeface="Segoe UI Light"/>
              </a:rPr>
              <a:t>a</a:t>
            </a:r>
            <a:r>
              <a:rPr sz="3453" baseline="1066" dirty="0">
                <a:solidFill>
                  <a:srgbClr val="FFFFFF"/>
                </a:solidFill>
                <a:latin typeface="Segoe UI Light"/>
                <a:cs typeface="Segoe UI Light"/>
              </a:rPr>
              <a:t>r</a:t>
            </a:r>
            <a:r>
              <a:rPr sz="3453" spc="20" baseline="1066" dirty="0">
                <a:solidFill>
                  <a:srgbClr val="FFFFFF"/>
                </a:solidFill>
                <a:latin typeface="Segoe UI Light"/>
                <a:cs typeface="Segoe UI Light"/>
              </a:rPr>
              <a:t>i</a:t>
            </a:r>
            <a:r>
              <a:rPr sz="3453" spc="29" baseline="1066" dirty="0">
                <a:solidFill>
                  <a:srgbClr val="FFFFFF"/>
                </a:solidFill>
                <a:latin typeface="Segoe UI Light"/>
                <a:cs typeface="Segoe UI Light"/>
              </a:rPr>
              <a:t>o</a:t>
            </a:r>
            <a:r>
              <a:rPr sz="3453" baseline="1066" dirty="0">
                <a:solidFill>
                  <a:srgbClr val="FFFFFF"/>
                </a:solidFill>
                <a:latin typeface="Segoe UI Light"/>
                <a:cs typeface="Segoe UI Light"/>
              </a:rPr>
              <a:t>s</a:t>
            </a:r>
            <a:endParaRPr sz="2302">
              <a:latin typeface="Segoe UI Light"/>
              <a:cs typeface="Segoe UI Light"/>
            </a:endParaRPr>
          </a:p>
        </p:txBody>
      </p:sp>
    </p:spTree>
    <p:extLst>
      <p:ext uri="{BB962C8B-B14F-4D97-AF65-F5344CB8AC3E}">
        <p14:creationId xmlns:p14="http://schemas.microsoft.com/office/powerpoint/2010/main" val="323887229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02408"/>
            <a:ext cx="10515600" cy="1893097"/>
          </a:xfrm>
        </p:spPr>
        <p:txBody>
          <a:bodyPr>
            <a:normAutofit/>
          </a:bodyPr>
          <a:lstStyle/>
          <a:p>
            <a:r>
              <a:rPr lang="en-US" sz="3600" b="1" u="sng" dirty="0">
                <a:effectLst>
                  <a:outerShdw blurRad="38100" dist="38100" dir="2700000" algn="tl">
                    <a:srgbClr val="000000">
                      <a:alpha val="43137"/>
                    </a:srgbClr>
                  </a:outerShdw>
                </a:effectLst>
              </a:rPr>
              <a:t>Azure billing and support options</a:t>
            </a:r>
          </a:p>
        </p:txBody>
      </p:sp>
      <p:sp>
        <p:nvSpPr>
          <p:cNvPr id="4" name="Content Placeholder 2"/>
          <p:cNvSpPr txBox="1">
            <a:spLocks/>
          </p:cNvSpPr>
          <p:nvPr/>
        </p:nvSpPr>
        <p:spPr>
          <a:xfrm>
            <a:off x="1982788" y="1021216"/>
            <a:ext cx="8119156" cy="544851"/>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dirty="0">
                <a:solidFill>
                  <a:srgbClr val="000000"/>
                </a:solidFill>
              </a:rPr>
              <a:t>The most common Azure billing options include:</a:t>
            </a:r>
          </a:p>
          <a:p>
            <a:pPr marL="0" indent="0">
              <a:buNone/>
            </a:pPr>
            <a:endParaRPr lang="en-US" kern="0" dirty="0">
              <a:solidFill>
                <a:srgbClr val="000000"/>
              </a:solidFill>
            </a:endParaRPr>
          </a:p>
        </p:txBody>
      </p:sp>
      <p:grpSp>
        <p:nvGrpSpPr>
          <p:cNvPr id="5" name="Group 4" descr="An illustration that depicts the most common Azure billing options. On the top, icons of money and a clock depict Pay-As-You-Go. Under this illustration, icons of user agreement, money, and a user depict a purchase from a Microsoft reseller. Under this illustration, icons of user, money, and a briefcase depict purchase through an enterprise agreement."/>
          <p:cNvGrpSpPr/>
          <p:nvPr/>
        </p:nvGrpSpPr>
        <p:grpSpPr>
          <a:xfrm>
            <a:off x="1982787" y="1592227"/>
            <a:ext cx="8315936" cy="4708965"/>
            <a:chOff x="458787" y="1592226"/>
            <a:chExt cx="8315936" cy="4708965"/>
          </a:xfrm>
        </p:grpSpPr>
        <p:grpSp>
          <p:nvGrpSpPr>
            <p:cNvPr id="6" name="Group 5"/>
            <p:cNvGrpSpPr/>
            <p:nvPr/>
          </p:nvGrpSpPr>
          <p:grpSpPr>
            <a:xfrm>
              <a:off x="458788" y="1592226"/>
              <a:ext cx="8315935" cy="1457165"/>
              <a:chOff x="458788" y="2948912"/>
              <a:chExt cx="8315935" cy="1457165"/>
            </a:xfrm>
          </p:grpSpPr>
          <p:sp>
            <p:nvSpPr>
              <p:cNvPr id="19" name="Rectangle 18"/>
              <p:cNvSpPr/>
              <p:nvPr/>
            </p:nvSpPr>
            <p:spPr bwMode="auto">
              <a:xfrm>
                <a:off x="458788" y="2948912"/>
                <a:ext cx="8315935" cy="145716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lvl="0" eaLnBrk="0" fontAlgn="base" hangingPunct="0">
                  <a:spcBef>
                    <a:spcPct val="0"/>
                  </a:spcBef>
                  <a:spcAft>
                    <a:spcPct val="0"/>
                  </a:spcAft>
                </a:pPr>
                <a:r>
                  <a:rPr lang="en-GB" sz="3200" dirty="0">
                    <a:solidFill>
                      <a:srgbClr val="000000"/>
                    </a:solidFill>
                    <a:latin typeface="Segoe UI" panose="020B0502040204020203" pitchFamily="34" charset="0"/>
                    <a:cs typeface="Segoe UI" panose="020B0502040204020203" pitchFamily="34" charset="0"/>
                  </a:rPr>
                  <a:t>Pay-As-You-Go</a:t>
                </a:r>
              </a:p>
            </p:txBody>
          </p:sp>
          <p:grpSp>
            <p:nvGrpSpPr>
              <p:cNvPr id="20" name="Group 19"/>
              <p:cNvGrpSpPr/>
              <p:nvPr/>
            </p:nvGrpSpPr>
            <p:grpSpPr>
              <a:xfrm>
                <a:off x="6211605" y="3167589"/>
                <a:ext cx="2239435" cy="1104788"/>
                <a:chOff x="5861757" y="1566066"/>
                <a:chExt cx="2239435" cy="1104788"/>
              </a:xfrm>
            </p:grpSpPr>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61757" y="1678338"/>
                  <a:ext cx="1750198" cy="992516"/>
                </a:xfrm>
                <a:prstGeom prst="rect">
                  <a:avLst/>
                </a:prstGeom>
              </p:spPr>
            </p:pic>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22719" y="1566066"/>
                  <a:ext cx="978473" cy="1104788"/>
                </a:xfrm>
                <a:prstGeom prst="rect">
                  <a:avLst/>
                </a:prstGeom>
              </p:spPr>
            </p:pic>
          </p:grpSp>
        </p:grpSp>
        <p:grpSp>
          <p:nvGrpSpPr>
            <p:cNvPr id="7" name="Group 6"/>
            <p:cNvGrpSpPr/>
            <p:nvPr/>
          </p:nvGrpSpPr>
          <p:grpSpPr>
            <a:xfrm>
              <a:off x="458787" y="3218126"/>
              <a:ext cx="8315935" cy="1457165"/>
              <a:chOff x="262009" y="3735183"/>
              <a:chExt cx="8315935" cy="1457165"/>
            </a:xfrm>
          </p:grpSpPr>
          <p:sp>
            <p:nvSpPr>
              <p:cNvPr id="14" name="Rectangle 13"/>
              <p:cNvSpPr/>
              <p:nvPr/>
            </p:nvSpPr>
            <p:spPr bwMode="auto">
              <a:xfrm>
                <a:off x="262009" y="3735183"/>
                <a:ext cx="8315935" cy="145716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lvl="0" eaLnBrk="0" fontAlgn="base" hangingPunct="0">
                  <a:spcBef>
                    <a:spcPct val="0"/>
                  </a:spcBef>
                  <a:spcAft>
                    <a:spcPct val="0"/>
                  </a:spcAft>
                </a:pPr>
                <a:r>
                  <a:rPr lang="en-US" sz="3200" dirty="0">
                    <a:solidFill>
                      <a:srgbClr val="000000"/>
                    </a:solidFill>
                    <a:latin typeface="Segoe UI" panose="020B0502040204020203" pitchFamily="34" charset="0"/>
                    <a:cs typeface="Segoe UI" panose="020B0502040204020203" pitchFamily="34" charset="0"/>
                  </a:rPr>
                  <a:t>Buy from a Microsoft Reseller</a:t>
                </a:r>
              </a:p>
            </p:txBody>
          </p:sp>
          <p:grpSp>
            <p:nvGrpSpPr>
              <p:cNvPr id="15" name="Group 14"/>
              <p:cNvGrpSpPr/>
              <p:nvPr/>
            </p:nvGrpSpPr>
            <p:grpSpPr>
              <a:xfrm>
                <a:off x="6173734" y="3856343"/>
                <a:ext cx="2196492" cy="1238488"/>
                <a:chOff x="5764875" y="3167589"/>
                <a:chExt cx="2196492" cy="1238488"/>
              </a:xfrm>
            </p:grpSpPr>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39754" y="3167589"/>
                  <a:ext cx="565929" cy="742143"/>
                </a:xfrm>
                <a:prstGeom prst="rect">
                  <a:avLst/>
                </a:prstGeom>
              </p:spPr>
            </p:pic>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64875" y="3413561"/>
                  <a:ext cx="1750198" cy="992516"/>
                </a:xfrm>
                <a:prstGeom prst="rect">
                  <a:avLst/>
                </a:prstGeom>
              </p:spPr>
            </p:pic>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05564" y="3289201"/>
                  <a:ext cx="855803" cy="866329"/>
                </a:xfrm>
                <a:prstGeom prst="rect">
                  <a:avLst/>
                </a:prstGeom>
              </p:spPr>
            </p:pic>
          </p:grpSp>
        </p:grpSp>
        <p:grpSp>
          <p:nvGrpSpPr>
            <p:cNvPr id="8" name="Group 7"/>
            <p:cNvGrpSpPr/>
            <p:nvPr/>
          </p:nvGrpSpPr>
          <p:grpSpPr>
            <a:xfrm>
              <a:off x="458787" y="4844026"/>
              <a:ext cx="8315935" cy="1457165"/>
              <a:chOff x="663942" y="5293070"/>
              <a:chExt cx="8315935" cy="1457165"/>
            </a:xfrm>
          </p:grpSpPr>
          <p:sp>
            <p:nvSpPr>
              <p:cNvPr id="9" name="Rectangle 8"/>
              <p:cNvSpPr/>
              <p:nvPr/>
            </p:nvSpPr>
            <p:spPr bwMode="auto">
              <a:xfrm>
                <a:off x="663942" y="5293070"/>
                <a:ext cx="8315935" cy="145716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lvl="0" eaLnBrk="0" fontAlgn="base" hangingPunct="0">
                  <a:spcBef>
                    <a:spcPct val="0"/>
                  </a:spcBef>
                  <a:spcAft>
                    <a:spcPct val="0"/>
                  </a:spcAft>
                </a:pPr>
                <a:r>
                  <a:rPr lang="en-US" sz="3200" dirty="0">
                    <a:solidFill>
                      <a:srgbClr val="000000"/>
                    </a:solidFill>
                    <a:latin typeface="Segoe UI" panose="020B0502040204020203" pitchFamily="34" charset="0"/>
                    <a:cs typeface="Segoe UI" panose="020B0502040204020203" pitchFamily="34" charset="0"/>
                  </a:rPr>
                  <a:t>Enterprise agreements</a:t>
                </a:r>
              </a:p>
            </p:txBody>
          </p:sp>
          <p:grpSp>
            <p:nvGrpSpPr>
              <p:cNvPr id="10" name="Group 9"/>
              <p:cNvGrpSpPr/>
              <p:nvPr/>
            </p:nvGrpSpPr>
            <p:grpSpPr>
              <a:xfrm>
                <a:off x="5969551" y="5375025"/>
                <a:ext cx="2805171" cy="1330547"/>
                <a:chOff x="5015367" y="4820439"/>
                <a:chExt cx="2805171" cy="1330547"/>
              </a:xfrm>
            </p:grpSpPr>
            <p:pic>
              <p:nvPicPr>
                <p:cNvPr id="11" name="Picture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506268" y="4820439"/>
                  <a:ext cx="2314270" cy="329456"/>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86123" y="5158470"/>
                  <a:ext cx="1750198" cy="992516"/>
                </a:xfrm>
                <a:prstGeom prst="rect">
                  <a:avLst/>
                </a:prstGeom>
              </p:spPr>
            </p:pic>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15367" y="4857238"/>
                  <a:ext cx="835476" cy="759300"/>
                </a:xfrm>
                <a:prstGeom prst="rect">
                  <a:avLst/>
                </a:prstGeom>
              </p:spPr>
            </p:pic>
          </p:grpSp>
        </p:grpSp>
      </p:grpSp>
    </p:spTree>
    <p:custDataLst>
      <p:tags r:id="rId1"/>
    </p:custDataLst>
    <p:extLst>
      <p:ext uri="{BB962C8B-B14F-4D97-AF65-F5344CB8AC3E}">
        <p14:creationId xmlns:p14="http://schemas.microsoft.com/office/powerpoint/2010/main" val="2856576727"/>
      </p:ext>
    </p:extLst>
  </p:cSld>
  <p:clrMapOvr>
    <a:masterClrMapping/>
  </p:clrMapOvr>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bg>
      <p:bgPr>
        <a:solidFill>
          <a:schemeClr val="bg2">
            <a:lumMod val="25000"/>
          </a:schemeClr>
        </a:solidFill>
        <a:effectLst/>
      </p:bgPr>
    </p:bg>
    <p:spTree>
      <p:nvGrpSpPr>
        <p:cNvPr id="1" name=""/>
        <p:cNvGrpSpPr/>
        <p:nvPr/>
      </p:nvGrpSpPr>
      <p:grpSpPr>
        <a:xfrm>
          <a:off x="0" y="0"/>
          <a:ext cx="0" cy="0"/>
          <a:chOff x="0" y="0"/>
          <a:chExt cx="0" cy="0"/>
        </a:xfrm>
      </p:grpSpPr>
      <p:sp>
        <p:nvSpPr>
          <p:cNvPr id="16" name="object 16"/>
          <p:cNvSpPr/>
          <p:nvPr/>
        </p:nvSpPr>
        <p:spPr>
          <a:xfrm>
            <a:off x="0" y="1555"/>
            <a:ext cx="12182047" cy="6852401"/>
          </a:xfrm>
          <a:custGeom>
            <a:avLst/>
            <a:gdLst/>
            <a:ahLst/>
            <a:cxnLst/>
            <a:rect l="l" t="t" r="r" b="b"/>
            <a:pathLst>
              <a:path w="12435840" h="6995159">
                <a:moveTo>
                  <a:pt x="12435840" y="0"/>
                </a:moveTo>
                <a:lnTo>
                  <a:pt x="0" y="0"/>
                </a:lnTo>
                <a:lnTo>
                  <a:pt x="0" y="6995158"/>
                </a:lnTo>
                <a:lnTo>
                  <a:pt x="12435840" y="6995158"/>
                </a:lnTo>
                <a:lnTo>
                  <a:pt x="12435840" y="0"/>
                </a:lnTo>
                <a:close/>
              </a:path>
            </a:pathLst>
          </a:custGeom>
          <a:solidFill>
            <a:schemeClr val="bg2">
              <a:lumMod val="50000"/>
            </a:schemeClr>
          </a:solidFill>
        </p:spPr>
        <p:txBody>
          <a:bodyPr wrap="square" lIns="0" tIns="0" rIns="0" bIns="0" rtlCol="0">
            <a:noAutofit/>
          </a:bodyPr>
          <a:lstStyle/>
          <a:p>
            <a:endParaRPr sz="1763"/>
          </a:p>
        </p:txBody>
      </p:sp>
      <p:sp>
        <p:nvSpPr>
          <p:cNvPr id="15" name="object 15"/>
          <p:cNvSpPr/>
          <p:nvPr/>
        </p:nvSpPr>
        <p:spPr>
          <a:xfrm>
            <a:off x="2409537" y="2393177"/>
            <a:ext cx="662847" cy="671804"/>
          </a:xfrm>
          <a:prstGeom prst="rect">
            <a:avLst/>
          </a:prstGeom>
          <a:blipFill>
            <a:blip r:embed="rId2" cstate="print"/>
            <a:stretch>
              <a:fillRect/>
            </a:stretch>
          </a:blipFill>
        </p:spPr>
        <p:txBody>
          <a:bodyPr wrap="square" lIns="0" tIns="0" rIns="0" bIns="0" rtlCol="0">
            <a:noAutofit/>
          </a:bodyPr>
          <a:lstStyle/>
          <a:p>
            <a:endParaRPr sz="1763"/>
          </a:p>
        </p:txBody>
      </p:sp>
      <p:sp>
        <p:nvSpPr>
          <p:cNvPr id="14" name="object 14"/>
          <p:cNvSpPr txBox="1"/>
          <p:nvPr/>
        </p:nvSpPr>
        <p:spPr>
          <a:xfrm>
            <a:off x="5039775" y="1060358"/>
            <a:ext cx="5379754" cy="419629"/>
          </a:xfrm>
          <a:prstGeom prst="rect">
            <a:avLst/>
          </a:prstGeom>
        </p:spPr>
        <p:txBody>
          <a:bodyPr wrap="square" lIns="0" tIns="0" rIns="0" bIns="0" rtlCol="0">
            <a:noAutofit/>
          </a:bodyPr>
          <a:lstStyle/>
          <a:p>
            <a:pPr marL="12441">
              <a:lnSpc>
                <a:spcPts val="3306"/>
              </a:lnSpc>
              <a:spcBef>
                <a:spcPts val="165"/>
              </a:spcBef>
            </a:pPr>
            <a:r>
              <a:rPr sz="3086" dirty="0">
                <a:solidFill>
                  <a:srgbClr val="FFFFFF"/>
                </a:solidFill>
                <a:latin typeface="Segoe UI Light"/>
                <a:cs typeface="Segoe UI Light"/>
              </a:rPr>
              <a:t>E</a:t>
            </a:r>
            <a:r>
              <a:rPr sz="3086" spc="14" dirty="0">
                <a:solidFill>
                  <a:srgbClr val="FFFFFF"/>
                </a:solidFill>
                <a:latin typeface="Segoe UI Light"/>
                <a:cs typeface="Segoe UI Light"/>
              </a:rPr>
              <a:t>a</a:t>
            </a:r>
            <a:r>
              <a:rPr sz="3086" dirty="0">
                <a:solidFill>
                  <a:srgbClr val="FFFFFF"/>
                </a:solidFill>
                <a:latin typeface="Segoe UI Light"/>
                <a:cs typeface="Segoe UI Light"/>
              </a:rPr>
              <a:t>sily</a:t>
            </a:r>
            <a:r>
              <a:rPr sz="3086" spc="73" dirty="0">
                <a:solidFill>
                  <a:srgbClr val="FFFFFF"/>
                </a:solidFill>
                <a:latin typeface="Segoe UI Light"/>
                <a:cs typeface="Segoe UI Light"/>
              </a:rPr>
              <a:t> </a:t>
            </a:r>
            <a:r>
              <a:rPr sz="3086" spc="28" dirty="0">
                <a:solidFill>
                  <a:srgbClr val="FFFFFF"/>
                </a:solidFill>
                <a:latin typeface="Segoe UI Light"/>
                <a:cs typeface="Segoe UI Light"/>
              </a:rPr>
              <a:t>u</a:t>
            </a:r>
            <a:r>
              <a:rPr sz="3086" dirty="0">
                <a:solidFill>
                  <a:srgbClr val="FFFFFF"/>
                </a:solidFill>
                <a:latin typeface="Segoe UI Light"/>
                <a:cs typeface="Segoe UI Light"/>
              </a:rPr>
              <a:t>se</a:t>
            </a:r>
            <a:r>
              <a:rPr sz="3086" spc="53" dirty="0">
                <a:solidFill>
                  <a:srgbClr val="FFFFFF"/>
                </a:solidFill>
                <a:latin typeface="Segoe UI Light"/>
                <a:cs typeface="Segoe UI Light"/>
              </a:rPr>
              <a:t> </a:t>
            </a:r>
            <a:r>
              <a:rPr sz="3086" spc="28" dirty="0">
                <a:solidFill>
                  <a:srgbClr val="FFFFFF"/>
                </a:solidFill>
                <a:latin typeface="Segoe UI Light"/>
                <a:cs typeface="Segoe UI Light"/>
              </a:rPr>
              <a:t>c</a:t>
            </a:r>
            <a:r>
              <a:rPr sz="3086" dirty="0">
                <a:solidFill>
                  <a:srgbClr val="FFFFFF"/>
                </a:solidFill>
                <a:latin typeface="Segoe UI Light"/>
                <a:cs typeface="Segoe UI Light"/>
              </a:rPr>
              <a:t>l</a:t>
            </a:r>
            <a:r>
              <a:rPr sz="3086" spc="19" dirty="0">
                <a:solidFill>
                  <a:srgbClr val="FFFFFF"/>
                </a:solidFill>
                <a:latin typeface="Segoe UI Light"/>
                <a:cs typeface="Segoe UI Light"/>
              </a:rPr>
              <a:t>o</a:t>
            </a:r>
            <a:r>
              <a:rPr sz="3086" spc="28" dirty="0">
                <a:solidFill>
                  <a:srgbClr val="FFFFFF"/>
                </a:solidFill>
                <a:latin typeface="Segoe UI Light"/>
                <a:cs typeface="Segoe UI Light"/>
              </a:rPr>
              <a:t>u</a:t>
            </a:r>
            <a:r>
              <a:rPr sz="3086" dirty="0">
                <a:solidFill>
                  <a:srgbClr val="FFFFFF"/>
                </a:solidFill>
                <a:latin typeface="Segoe UI Light"/>
                <a:cs typeface="Segoe UI Light"/>
              </a:rPr>
              <a:t>d</a:t>
            </a:r>
            <a:r>
              <a:rPr sz="3086" spc="-43" dirty="0">
                <a:solidFill>
                  <a:srgbClr val="FFFFFF"/>
                </a:solidFill>
                <a:latin typeface="Segoe UI Light"/>
                <a:cs typeface="Segoe UI Light"/>
              </a:rPr>
              <a:t> </a:t>
            </a:r>
            <a:r>
              <a:rPr sz="3086" spc="19" dirty="0">
                <a:solidFill>
                  <a:srgbClr val="FFFFFF"/>
                </a:solidFill>
                <a:latin typeface="Segoe UI Light"/>
                <a:cs typeface="Segoe UI Light"/>
              </a:rPr>
              <a:t>o</a:t>
            </a:r>
            <a:r>
              <a:rPr sz="3086" dirty="0">
                <a:solidFill>
                  <a:srgbClr val="FFFFFF"/>
                </a:solidFill>
                <a:latin typeface="Segoe UI Light"/>
                <a:cs typeface="Segoe UI Light"/>
              </a:rPr>
              <a:t>r</a:t>
            </a:r>
            <a:r>
              <a:rPr sz="3086" spc="38" dirty="0">
                <a:solidFill>
                  <a:srgbClr val="FFFFFF"/>
                </a:solidFill>
                <a:latin typeface="Segoe UI Light"/>
                <a:cs typeface="Segoe UI Light"/>
              </a:rPr>
              <a:t> </a:t>
            </a:r>
            <a:r>
              <a:rPr sz="3086" spc="28" dirty="0">
                <a:solidFill>
                  <a:srgbClr val="FFFFFF"/>
                </a:solidFill>
                <a:latin typeface="Segoe UI Light"/>
                <a:cs typeface="Segoe UI Light"/>
              </a:rPr>
              <a:t>cu</a:t>
            </a:r>
            <a:r>
              <a:rPr sz="3086" dirty="0">
                <a:solidFill>
                  <a:srgbClr val="FFFFFF"/>
                </a:solidFill>
                <a:latin typeface="Segoe UI Light"/>
                <a:cs typeface="Segoe UI Light"/>
              </a:rPr>
              <a:t>st</a:t>
            </a:r>
            <a:r>
              <a:rPr sz="3086" spc="9" dirty="0">
                <a:solidFill>
                  <a:srgbClr val="FFFFFF"/>
                </a:solidFill>
                <a:latin typeface="Segoe UI Light"/>
                <a:cs typeface="Segoe UI Light"/>
              </a:rPr>
              <a:t>o</a:t>
            </a:r>
            <a:r>
              <a:rPr sz="3086" dirty="0">
                <a:solidFill>
                  <a:srgbClr val="FFFFFF"/>
                </a:solidFill>
                <a:latin typeface="Segoe UI Light"/>
                <a:cs typeface="Segoe UI Light"/>
              </a:rPr>
              <a:t>m</a:t>
            </a:r>
            <a:r>
              <a:rPr sz="3086" spc="63" dirty="0">
                <a:solidFill>
                  <a:srgbClr val="FFFFFF"/>
                </a:solidFill>
                <a:latin typeface="Segoe UI Light"/>
                <a:cs typeface="Segoe UI Light"/>
              </a:rPr>
              <a:t> </a:t>
            </a:r>
            <a:r>
              <a:rPr sz="3086" spc="19" dirty="0">
                <a:solidFill>
                  <a:srgbClr val="FFFFFF"/>
                </a:solidFill>
                <a:latin typeface="Segoe UI Light"/>
                <a:cs typeface="Segoe UI Light"/>
              </a:rPr>
              <a:t>A</a:t>
            </a:r>
            <a:r>
              <a:rPr sz="3086" dirty="0">
                <a:solidFill>
                  <a:srgbClr val="FFFFFF"/>
                </a:solidFill>
                <a:latin typeface="Segoe UI Light"/>
                <a:cs typeface="Segoe UI Light"/>
              </a:rPr>
              <a:t>PIs:</a:t>
            </a:r>
            <a:endParaRPr sz="3086">
              <a:latin typeface="Segoe UI Light"/>
              <a:cs typeface="Segoe UI Light"/>
            </a:endParaRPr>
          </a:p>
        </p:txBody>
      </p:sp>
      <p:sp>
        <p:nvSpPr>
          <p:cNvPr id="13" name="object 13"/>
          <p:cNvSpPr txBox="1"/>
          <p:nvPr/>
        </p:nvSpPr>
        <p:spPr>
          <a:xfrm>
            <a:off x="5497224" y="1822224"/>
            <a:ext cx="172989" cy="321097"/>
          </a:xfrm>
          <a:prstGeom prst="rect">
            <a:avLst/>
          </a:prstGeom>
        </p:spPr>
        <p:txBody>
          <a:bodyPr wrap="square" lIns="0" tIns="0" rIns="0" bIns="0" rtlCol="0">
            <a:noAutofit/>
          </a:bodyPr>
          <a:lstStyle/>
          <a:p>
            <a:pPr marL="12441">
              <a:lnSpc>
                <a:spcPts val="2473"/>
              </a:lnSpc>
              <a:spcBef>
                <a:spcPts val="123"/>
              </a:spcBef>
            </a:pPr>
            <a:r>
              <a:rPr sz="2302" dirty="0">
                <a:solidFill>
                  <a:srgbClr val="FFFFFF"/>
                </a:solidFill>
                <a:latin typeface="Arial"/>
                <a:cs typeface="Arial"/>
              </a:rPr>
              <a:t>•</a:t>
            </a:r>
            <a:endParaRPr sz="2302">
              <a:latin typeface="Arial"/>
              <a:cs typeface="Arial"/>
            </a:endParaRPr>
          </a:p>
        </p:txBody>
      </p:sp>
      <p:sp>
        <p:nvSpPr>
          <p:cNvPr id="12" name="object 12"/>
          <p:cNvSpPr txBox="1"/>
          <p:nvPr/>
        </p:nvSpPr>
        <p:spPr>
          <a:xfrm>
            <a:off x="5828647" y="1821930"/>
            <a:ext cx="5043344" cy="321097"/>
          </a:xfrm>
          <a:prstGeom prst="rect">
            <a:avLst/>
          </a:prstGeom>
        </p:spPr>
        <p:txBody>
          <a:bodyPr wrap="square" lIns="0" tIns="0" rIns="0" bIns="0" rtlCol="0">
            <a:noAutofit/>
          </a:bodyPr>
          <a:lstStyle/>
          <a:p>
            <a:pPr marL="12441">
              <a:lnSpc>
                <a:spcPts val="2527"/>
              </a:lnSpc>
              <a:spcBef>
                <a:spcPts val="126"/>
              </a:spcBef>
            </a:pPr>
            <a:r>
              <a:rPr sz="3453" spc="-19" baseline="1066" dirty="0">
                <a:solidFill>
                  <a:srgbClr val="FFFFFF"/>
                </a:solidFill>
                <a:latin typeface="Segoe UI Light"/>
                <a:cs typeface="Segoe UI Light"/>
              </a:rPr>
              <a:t>D</a:t>
            </a:r>
            <a:r>
              <a:rPr sz="3453" spc="33" baseline="1066" dirty="0">
                <a:solidFill>
                  <a:srgbClr val="FFFFFF"/>
                </a:solidFill>
                <a:latin typeface="Segoe UI Light"/>
                <a:cs typeface="Segoe UI Light"/>
              </a:rPr>
              <a:t>o</a:t>
            </a:r>
            <a:r>
              <a:rPr sz="3453" spc="-19" baseline="1066" dirty="0">
                <a:solidFill>
                  <a:srgbClr val="FFFFFF"/>
                </a:solidFill>
                <a:latin typeface="Segoe UI Light"/>
                <a:cs typeface="Segoe UI Light"/>
              </a:rPr>
              <a:t>z</a:t>
            </a:r>
            <a:r>
              <a:rPr sz="3453" spc="19" baseline="1066" dirty="0">
                <a:solidFill>
                  <a:srgbClr val="FFFFFF"/>
                </a:solidFill>
                <a:latin typeface="Segoe UI Light"/>
                <a:cs typeface="Segoe UI Light"/>
              </a:rPr>
              <a:t>en</a:t>
            </a:r>
            <a:r>
              <a:rPr sz="3453" baseline="1066" dirty="0">
                <a:solidFill>
                  <a:srgbClr val="FFFFFF"/>
                </a:solidFill>
                <a:latin typeface="Segoe UI Light"/>
                <a:cs typeface="Segoe UI Light"/>
              </a:rPr>
              <a:t>s</a:t>
            </a:r>
            <a:r>
              <a:rPr sz="3453" spc="160" baseline="1066" dirty="0">
                <a:solidFill>
                  <a:srgbClr val="FFFFFF"/>
                </a:solidFill>
                <a:latin typeface="Segoe UI Light"/>
                <a:cs typeface="Segoe UI Light"/>
              </a:rPr>
              <a:t> </a:t>
            </a:r>
            <a:r>
              <a:rPr sz="3453" spc="-38" baseline="1066" dirty="0">
                <a:solidFill>
                  <a:srgbClr val="FFFFFF"/>
                </a:solidFill>
                <a:latin typeface="Segoe UI Light"/>
                <a:cs typeface="Segoe UI Light"/>
              </a:rPr>
              <a:t>o</a:t>
            </a:r>
            <a:r>
              <a:rPr sz="3453" baseline="1066" dirty="0">
                <a:solidFill>
                  <a:srgbClr val="FFFFFF"/>
                </a:solidFill>
                <a:latin typeface="Segoe UI Light"/>
                <a:cs typeface="Segoe UI Light"/>
              </a:rPr>
              <a:t>f</a:t>
            </a:r>
            <a:r>
              <a:rPr sz="3453" spc="19" baseline="1066" dirty="0">
                <a:solidFill>
                  <a:srgbClr val="FFFFFF"/>
                </a:solidFill>
                <a:latin typeface="Segoe UI Light"/>
                <a:cs typeface="Segoe UI Light"/>
              </a:rPr>
              <a:t> </a:t>
            </a:r>
            <a:r>
              <a:rPr sz="3453" spc="-33" baseline="1066" dirty="0">
                <a:solidFill>
                  <a:srgbClr val="FFFFFF"/>
                </a:solidFill>
                <a:latin typeface="Segoe UI Light"/>
                <a:cs typeface="Segoe UI Light"/>
              </a:rPr>
              <a:t>b</a:t>
            </a:r>
            <a:r>
              <a:rPr sz="3453" spc="19" baseline="1066" dirty="0">
                <a:solidFill>
                  <a:srgbClr val="FFFFFF"/>
                </a:solidFill>
                <a:latin typeface="Segoe UI Light"/>
                <a:cs typeface="Segoe UI Light"/>
              </a:rPr>
              <a:t>u</a:t>
            </a:r>
            <a:r>
              <a:rPr sz="3453" spc="14" baseline="1066" dirty="0">
                <a:solidFill>
                  <a:srgbClr val="FFFFFF"/>
                </a:solidFill>
                <a:latin typeface="Segoe UI Light"/>
                <a:cs typeface="Segoe UI Light"/>
              </a:rPr>
              <a:t>il</a:t>
            </a:r>
            <a:r>
              <a:rPr sz="3453" spc="19" baseline="1066" dirty="0">
                <a:solidFill>
                  <a:srgbClr val="FFFFFF"/>
                </a:solidFill>
                <a:latin typeface="Segoe UI Light"/>
                <a:cs typeface="Segoe UI Light"/>
              </a:rPr>
              <a:t>t</a:t>
            </a:r>
            <a:r>
              <a:rPr sz="3453" spc="-9" baseline="1066" dirty="0">
                <a:solidFill>
                  <a:srgbClr val="FFFFFF"/>
                </a:solidFill>
                <a:latin typeface="Segoe UI Light"/>
                <a:cs typeface="Segoe UI Light"/>
              </a:rPr>
              <a:t>-</a:t>
            </a:r>
            <a:r>
              <a:rPr sz="3453" spc="14" baseline="1066" dirty="0">
                <a:solidFill>
                  <a:srgbClr val="FFFFFF"/>
                </a:solidFill>
                <a:latin typeface="Segoe UI Light"/>
                <a:cs typeface="Segoe UI Light"/>
              </a:rPr>
              <a:t>i</a:t>
            </a:r>
            <a:r>
              <a:rPr sz="3453" baseline="1066" dirty="0">
                <a:solidFill>
                  <a:srgbClr val="FFFFFF"/>
                </a:solidFill>
                <a:latin typeface="Segoe UI Light"/>
                <a:cs typeface="Segoe UI Light"/>
              </a:rPr>
              <a:t>n</a:t>
            </a:r>
            <a:r>
              <a:rPr sz="3453" spc="97" baseline="1066" dirty="0">
                <a:solidFill>
                  <a:srgbClr val="FFFFFF"/>
                </a:solidFill>
                <a:latin typeface="Segoe UI Light"/>
                <a:cs typeface="Segoe UI Light"/>
              </a:rPr>
              <a:t> </a:t>
            </a:r>
            <a:r>
              <a:rPr sz="3453" spc="4" baseline="1066" dirty="0">
                <a:solidFill>
                  <a:srgbClr val="FFFFFF"/>
                </a:solidFill>
                <a:latin typeface="Segoe UI Light"/>
                <a:cs typeface="Segoe UI Light"/>
              </a:rPr>
              <a:t>A</a:t>
            </a:r>
            <a:r>
              <a:rPr sz="3453" baseline="1066" dirty="0">
                <a:solidFill>
                  <a:srgbClr val="FFFFFF"/>
                </a:solidFill>
                <a:latin typeface="Segoe UI Light"/>
                <a:cs typeface="Segoe UI Light"/>
              </a:rPr>
              <a:t>P</a:t>
            </a:r>
            <a:r>
              <a:rPr sz="3453" spc="28" baseline="1066" dirty="0">
                <a:solidFill>
                  <a:srgbClr val="FFFFFF"/>
                </a:solidFill>
                <a:latin typeface="Segoe UI Light"/>
                <a:cs typeface="Segoe UI Light"/>
              </a:rPr>
              <a:t>I</a:t>
            </a:r>
            <a:r>
              <a:rPr sz="3453" baseline="1066" dirty="0">
                <a:solidFill>
                  <a:srgbClr val="FFFFFF"/>
                </a:solidFill>
                <a:latin typeface="Segoe UI Light"/>
                <a:cs typeface="Segoe UI Light"/>
              </a:rPr>
              <a:t>s</a:t>
            </a:r>
            <a:r>
              <a:rPr sz="3453" spc="60" baseline="1066" dirty="0">
                <a:solidFill>
                  <a:srgbClr val="FFFFFF"/>
                </a:solidFill>
                <a:latin typeface="Segoe UI Light"/>
                <a:cs typeface="Segoe UI Light"/>
              </a:rPr>
              <a:t> </a:t>
            </a:r>
            <a:r>
              <a:rPr sz="3453" spc="-14" baseline="1066" dirty="0">
                <a:solidFill>
                  <a:srgbClr val="FFFFFF"/>
                </a:solidFill>
                <a:latin typeface="Segoe UI Light"/>
                <a:cs typeface="Segoe UI Light"/>
              </a:rPr>
              <a:t>f</a:t>
            </a:r>
            <a:r>
              <a:rPr sz="3453" spc="28" baseline="1066" dirty="0">
                <a:solidFill>
                  <a:srgbClr val="FFFFFF"/>
                </a:solidFill>
                <a:latin typeface="Segoe UI Light"/>
                <a:cs typeface="Segoe UI Light"/>
              </a:rPr>
              <a:t>o</a:t>
            </a:r>
            <a:r>
              <a:rPr sz="3453" baseline="1066" dirty="0">
                <a:solidFill>
                  <a:srgbClr val="FFFFFF"/>
                </a:solidFill>
                <a:latin typeface="Segoe UI Light"/>
                <a:cs typeface="Segoe UI Light"/>
              </a:rPr>
              <a:t>r</a:t>
            </a:r>
            <a:r>
              <a:rPr sz="3453" spc="36" baseline="1066" dirty="0">
                <a:solidFill>
                  <a:srgbClr val="FFFFFF"/>
                </a:solidFill>
                <a:latin typeface="Segoe UI Light"/>
                <a:cs typeface="Segoe UI Light"/>
              </a:rPr>
              <a:t> </a:t>
            </a:r>
            <a:r>
              <a:rPr sz="3453" spc="-33" baseline="1066" dirty="0">
                <a:solidFill>
                  <a:srgbClr val="FFFFFF"/>
                </a:solidFill>
                <a:latin typeface="Segoe UI Light"/>
                <a:cs typeface="Segoe UI Light"/>
              </a:rPr>
              <a:t>p</a:t>
            </a:r>
            <a:r>
              <a:rPr sz="3453" spc="28" baseline="1066" dirty="0">
                <a:solidFill>
                  <a:srgbClr val="FFFFFF"/>
                </a:solidFill>
                <a:latin typeface="Segoe UI Light"/>
                <a:cs typeface="Segoe UI Light"/>
              </a:rPr>
              <a:t>o</a:t>
            </a:r>
            <a:r>
              <a:rPr sz="3453" spc="-38" baseline="1066" dirty="0">
                <a:solidFill>
                  <a:srgbClr val="FFFFFF"/>
                </a:solidFill>
                <a:latin typeface="Segoe UI Light"/>
                <a:cs typeface="Segoe UI Light"/>
              </a:rPr>
              <a:t>p</a:t>
            </a:r>
            <a:r>
              <a:rPr sz="3453" spc="19" baseline="1066" dirty="0">
                <a:solidFill>
                  <a:srgbClr val="FFFFFF"/>
                </a:solidFill>
                <a:latin typeface="Segoe UI Light"/>
                <a:cs typeface="Segoe UI Light"/>
              </a:rPr>
              <a:t>u</a:t>
            </a:r>
            <a:r>
              <a:rPr sz="3453" spc="14" baseline="1066" dirty="0">
                <a:solidFill>
                  <a:srgbClr val="FFFFFF"/>
                </a:solidFill>
                <a:latin typeface="Segoe UI Light"/>
                <a:cs typeface="Segoe UI Light"/>
              </a:rPr>
              <a:t>l</a:t>
            </a:r>
            <a:r>
              <a:rPr sz="3453" spc="-24" baseline="1066" dirty="0">
                <a:solidFill>
                  <a:srgbClr val="FFFFFF"/>
                </a:solidFill>
                <a:latin typeface="Segoe UI Light"/>
                <a:cs typeface="Segoe UI Light"/>
              </a:rPr>
              <a:t>a</a:t>
            </a:r>
            <a:r>
              <a:rPr sz="3453" baseline="1066" dirty="0">
                <a:solidFill>
                  <a:srgbClr val="FFFFFF"/>
                </a:solidFill>
                <a:latin typeface="Segoe UI Light"/>
                <a:cs typeface="Segoe UI Light"/>
              </a:rPr>
              <a:t>r</a:t>
            </a:r>
            <a:r>
              <a:rPr sz="3453" spc="153" baseline="1066" dirty="0">
                <a:solidFill>
                  <a:srgbClr val="FFFFFF"/>
                </a:solidFill>
                <a:latin typeface="Segoe UI Light"/>
                <a:cs typeface="Segoe UI Light"/>
              </a:rPr>
              <a:t> </a:t>
            </a:r>
            <a:r>
              <a:rPr sz="3453" spc="-28" baseline="1066" dirty="0">
                <a:solidFill>
                  <a:srgbClr val="FFFFFF"/>
                </a:solidFill>
                <a:latin typeface="Segoe UI Light"/>
                <a:cs typeface="Segoe UI Light"/>
              </a:rPr>
              <a:t>S</a:t>
            </a:r>
            <a:r>
              <a:rPr sz="3453" spc="-24" baseline="1066" dirty="0">
                <a:solidFill>
                  <a:srgbClr val="FFFFFF"/>
                </a:solidFill>
                <a:latin typeface="Segoe UI Light"/>
                <a:cs typeface="Segoe UI Light"/>
              </a:rPr>
              <a:t>aa</a:t>
            </a:r>
            <a:r>
              <a:rPr sz="3453" baseline="1066" dirty="0">
                <a:solidFill>
                  <a:srgbClr val="FFFFFF"/>
                </a:solidFill>
                <a:latin typeface="Segoe UI Light"/>
                <a:cs typeface="Segoe UI Light"/>
              </a:rPr>
              <a:t>S</a:t>
            </a:r>
            <a:endParaRPr sz="2302">
              <a:latin typeface="Segoe UI Light"/>
              <a:cs typeface="Segoe UI Light"/>
            </a:endParaRPr>
          </a:p>
        </p:txBody>
      </p:sp>
      <p:sp>
        <p:nvSpPr>
          <p:cNvPr id="11" name="object 11"/>
          <p:cNvSpPr txBox="1"/>
          <p:nvPr/>
        </p:nvSpPr>
        <p:spPr>
          <a:xfrm>
            <a:off x="5497224" y="2477108"/>
            <a:ext cx="172989" cy="321096"/>
          </a:xfrm>
          <a:prstGeom prst="rect">
            <a:avLst/>
          </a:prstGeom>
        </p:spPr>
        <p:txBody>
          <a:bodyPr wrap="square" lIns="0" tIns="0" rIns="0" bIns="0" rtlCol="0">
            <a:noAutofit/>
          </a:bodyPr>
          <a:lstStyle/>
          <a:p>
            <a:pPr marL="12441">
              <a:lnSpc>
                <a:spcPts val="2473"/>
              </a:lnSpc>
              <a:spcBef>
                <a:spcPts val="123"/>
              </a:spcBef>
            </a:pPr>
            <a:r>
              <a:rPr sz="2302" dirty="0">
                <a:solidFill>
                  <a:srgbClr val="FFFFFF"/>
                </a:solidFill>
                <a:latin typeface="Arial"/>
                <a:cs typeface="Arial"/>
              </a:rPr>
              <a:t>•</a:t>
            </a:r>
            <a:endParaRPr sz="2302">
              <a:latin typeface="Arial"/>
              <a:cs typeface="Arial"/>
            </a:endParaRPr>
          </a:p>
        </p:txBody>
      </p:sp>
      <p:sp>
        <p:nvSpPr>
          <p:cNvPr id="10" name="object 10"/>
          <p:cNvSpPr txBox="1"/>
          <p:nvPr/>
        </p:nvSpPr>
        <p:spPr>
          <a:xfrm>
            <a:off x="5828647" y="2476815"/>
            <a:ext cx="4421927" cy="321097"/>
          </a:xfrm>
          <a:prstGeom prst="rect">
            <a:avLst/>
          </a:prstGeom>
        </p:spPr>
        <p:txBody>
          <a:bodyPr wrap="square" lIns="0" tIns="0" rIns="0" bIns="0" rtlCol="0">
            <a:noAutofit/>
          </a:bodyPr>
          <a:lstStyle/>
          <a:p>
            <a:pPr marL="12441">
              <a:lnSpc>
                <a:spcPts val="2527"/>
              </a:lnSpc>
              <a:spcBef>
                <a:spcPts val="126"/>
              </a:spcBef>
            </a:pPr>
            <a:r>
              <a:rPr sz="3453" spc="14" baseline="1066" dirty="0">
                <a:solidFill>
                  <a:srgbClr val="FFFFFF"/>
                </a:solidFill>
                <a:latin typeface="Segoe UI Light"/>
                <a:cs typeface="Segoe UI Light"/>
              </a:rPr>
              <a:t>A</a:t>
            </a:r>
            <a:r>
              <a:rPr sz="3453" baseline="1066" dirty="0">
                <a:solidFill>
                  <a:srgbClr val="FFFFFF"/>
                </a:solidFill>
                <a:latin typeface="Segoe UI Light"/>
                <a:cs typeface="Segoe UI Light"/>
              </a:rPr>
              <a:t>n</a:t>
            </a:r>
            <a:r>
              <a:rPr sz="3453" spc="56" baseline="1066" dirty="0">
                <a:solidFill>
                  <a:srgbClr val="FFFFFF"/>
                </a:solidFill>
                <a:latin typeface="Segoe UI Light"/>
                <a:cs typeface="Segoe UI Light"/>
              </a:rPr>
              <a:t> </a:t>
            </a:r>
            <a:r>
              <a:rPr sz="3453" spc="19" baseline="1066" dirty="0">
                <a:solidFill>
                  <a:srgbClr val="FFFFFF"/>
                </a:solidFill>
                <a:latin typeface="Segoe UI Light"/>
                <a:cs typeface="Segoe UI Light"/>
              </a:rPr>
              <a:t>e</a:t>
            </a:r>
            <a:r>
              <a:rPr sz="3453" spc="24" baseline="1066" dirty="0">
                <a:solidFill>
                  <a:srgbClr val="FFFFFF"/>
                </a:solidFill>
                <a:latin typeface="Segoe UI Light"/>
                <a:cs typeface="Segoe UI Light"/>
              </a:rPr>
              <a:t>c</a:t>
            </a:r>
            <a:r>
              <a:rPr sz="3453" spc="33" baseline="1066" dirty="0">
                <a:solidFill>
                  <a:srgbClr val="FFFFFF"/>
                </a:solidFill>
                <a:latin typeface="Segoe UI Light"/>
                <a:cs typeface="Segoe UI Light"/>
              </a:rPr>
              <a:t>o</a:t>
            </a:r>
            <a:r>
              <a:rPr sz="3453" spc="9" baseline="1066" dirty="0">
                <a:solidFill>
                  <a:srgbClr val="FFFFFF"/>
                </a:solidFill>
                <a:latin typeface="Segoe UI Light"/>
                <a:cs typeface="Segoe UI Light"/>
              </a:rPr>
              <a:t>s</a:t>
            </a:r>
            <a:r>
              <a:rPr sz="3453" baseline="1066" dirty="0">
                <a:solidFill>
                  <a:srgbClr val="FFFFFF"/>
                </a:solidFill>
                <a:latin typeface="Segoe UI Light"/>
                <a:cs typeface="Segoe UI Light"/>
              </a:rPr>
              <a:t>y</a:t>
            </a:r>
            <a:r>
              <a:rPr sz="3453" spc="14" baseline="1066" dirty="0">
                <a:solidFill>
                  <a:srgbClr val="FFFFFF"/>
                </a:solidFill>
                <a:latin typeface="Segoe UI Light"/>
                <a:cs typeface="Segoe UI Light"/>
              </a:rPr>
              <a:t>s</a:t>
            </a:r>
            <a:r>
              <a:rPr sz="3453" spc="9" baseline="1066" dirty="0">
                <a:solidFill>
                  <a:srgbClr val="FFFFFF"/>
                </a:solidFill>
                <a:latin typeface="Segoe UI Light"/>
                <a:cs typeface="Segoe UI Light"/>
              </a:rPr>
              <a:t>t</a:t>
            </a:r>
            <a:r>
              <a:rPr sz="3453" spc="19" baseline="1066" dirty="0">
                <a:solidFill>
                  <a:srgbClr val="FFFFFF"/>
                </a:solidFill>
                <a:latin typeface="Segoe UI Light"/>
                <a:cs typeface="Segoe UI Light"/>
              </a:rPr>
              <a:t>e</a:t>
            </a:r>
            <a:r>
              <a:rPr sz="3453" baseline="1066" dirty="0">
                <a:solidFill>
                  <a:srgbClr val="FFFFFF"/>
                </a:solidFill>
                <a:latin typeface="Segoe UI Light"/>
                <a:cs typeface="Segoe UI Light"/>
              </a:rPr>
              <a:t>m</a:t>
            </a:r>
            <a:r>
              <a:rPr sz="3453" spc="100" baseline="1066" dirty="0">
                <a:solidFill>
                  <a:srgbClr val="FFFFFF"/>
                </a:solidFill>
                <a:latin typeface="Segoe UI Light"/>
                <a:cs typeface="Segoe UI Light"/>
              </a:rPr>
              <a:t> </a:t>
            </a:r>
            <a:r>
              <a:rPr sz="3453" spc="-38" baseline="1066" dirty="0">
                <a:solidFill>
                  <a:srgbClr val="FFFFFF"/>
                </a:solidFill>
                <a:latin typeface="Segoe UI Light"/>
                <a:cs typeface="Segoe UI Light"/>
              </a:rPr>
              <a:t>o</a:t>
            </a:r>
            <a:r>
              <a:rPr sz="3453" baseline="1066" dirty="0">
                <a:solidFill>
                  <a:srgbClr val="FFFFFF"/>
                </a:solidFill>
                <a:latin typeface="Segoe UI Light"/>
                <a:cs typeface="Segoe UI Light"/>
              </a:rPr>
              <a:t>f</a:t>
            </a:r>
            <a:r>
              <a:rPr sz="3453" spc="19" baseline="1066" dirty="0">
                <a:solidFill>
                  <a:srgbClr val="FFFFFF"/>
                </a:solidFill>
                <a:latin typeface="Segoe UI Light"/>
                <a:cs typeface="Segoe UI Light"/>
              </a:rPr>
              <a:t> </a:t>
            </a:r>
            <a:r>
              <a:rPr sz="3453" spc="14" baseline="1066" dirty="0">
                <a:solidFill>
                  <a:srgbClr val="FFFFFF"/>
                </a:solidFill>
                <a:latin typeface="Segoe UI Light"/>
                <a:cs typeface="Segoe UI Light"/>
              </a:rPr>
              <a:t>A</a:t>
            </a:r>
            <a:r>
              <a:rPr sz="3453" baseline="1066" dirty="0">
                <a:solidFill>
                  <a:srgbClr val="FFFFFF"/>
                </a:solidFill>
                <a:latin typeface="Segoe UI Light"/>
                <a:cs typeface="Segoe UI Light"/>
              </a:rPr>
              <a:t>P</a:t>
            </a:r>
            <a:r>
              <a:rPr sz="3453" spc="33" baseline="1066" dirty="0">
                <a:solidFill>
                  <a:srgbClr val="FFFFFF"/>
                </a:solidFill>
                <a:latin typeface="Segoe UI Light"/>
                <a:cs typeface="Segoe UI Light"/>
              </a:rPr>
              <a:t>I</a:t>
            </a:r>
            <a:r>
              <a:rPr sz="3453" baseline="1066" dirty="0">
                <a:solidFill>
                  <a:srgbClr val="FFFFFF"/>
                </a:solidFill>
                <a:latin typeface="Segoe UI Light"/>
                <a:cs typeface="Segoe UI Light"/>
              </a:rPr>
              <a:t>s</a:t>
            </a:r>
            <a:r>
              <a:rPr sz="3453" spc="60" baseline="1066" dirty="0">
                <a:solidFill>
                  <a:srgbClr val="FFFFFF"/>
                </a:solidFill>
                <a:latin typeface="Segoe UI Light"/>
                <a:cs typeface="Segoe UI Light"/>
              </a:rPr>
              <a:t> </a:t>
            </a:r>
            <a:r>
              <a:rPr sz="3453" spc="-9" baseline="1066" dirty="0">
                <a:solidFill>
                  <a:srgbClr val="FFFFFF"/>
                </a:solidFill>
                <a:latin typeface="Segoe UI Light"/>
                <a:cs typeface="Segoe UI Light"/>
              </a:rPr>
              <a:t>f</a:t>
            </a:r>
            <a:r>
              <a:rPr sz="3453" spc="33" baseline="1066" dirty="0">
                <a:solidFill>
                  <a:srgbClr val="FFFFFF"/>
                </a:solidFill>
                <a:latin typeface="Segoe UI Light"/>
                <a:cs typeface="Segoe UI Light"/>
              </a:rPr>
              <a:t>o</a:t>
            </a:r>
            <a:r>
              <a:rPr sz="3453" baseline="1066" dirty="0">
                <a:solidFill>
                  <a:srgbClr val="FFFFFF"/>
                </a:solidFill>
                <a:latin typeface="Segoe UI Light"/>
                <a:cs typeface="Segoe UI Light"/>
              </a:rPr>
              <a:t>r</a:t>
            </a:r>
            <a:r>
              <a:rPr sz="3453" spc="46" baseline="1066" dirty="0">
                <a:solidFill>
                  <a:srgbClr val="FFFFFF"/>
                </a:solidFill>
                <a:latin typeface="Segoe UI Light"/>
                <a:cs typeface="Segoe UI Light"/>
              </a:rPr>
              <a:t> </a:t>
            </a:r>
            <a:r>
              <a:rPr sz="3453" spc="-24" baseline="1066" dirty="0">
                <a:solidFill>
                  <a:srgbClr val="FFFFFF"/>
                </a:solidFill>
                <a:latin typeface="Segoe UI Light"/>
                <a:cs typeface="Segoe UI Light"/>
              </a:rPr>
              <a:t>a</a:t>
            </a:r>
            <a:r>
              <a:rPr sz="3453" spc="19" baseline="1066" dirty="0">
                <a:solidFill>
                  <a:srgbClr val="FFFFFF"/>
                </a:solidFill>
                <a:latin typeface="Segoe UI Light"/>
                <a:cs typeface="Segoe UI Light"/>
              </a:rPr>
              <a:t>n</a:t>
            </a:r>
            <a:r>
              <a:rPr sz="3453" baseline="1066" dirty="0">
                <a:solidFill>
                  <a:srgbClr val="FFFFFF"/>
                </a:solidFill>
                <a:latin typeface="Segoe UI Light"/>
                <a:cs typeface="Segoe UI Light"/>
              </a:rPr>
              <a:t>y</a:t>
            </a:r>
            <a:r>
              <a:rPr sz="3453" spc="112" baseline="1066" dirty="0">
                <a:solidFill>
                  <a:srgbClr val="FFFFFF"/>
                </a:solidFill>
                <a:latin typeface="Segoe UI Light"/>
                <a:cs typeface="Segoe UI Light"/>
              </a:rPr>
              <a:t> </a:t>
            </a:r>
            <a:r>
              <a:rPr sz="3453" spc="19" baseline="1066" dirty="0">
                <a:solidFill>
                  <a:srgbClr val="FFFFFF"/>
                </a:solidFill>
                <a:latin typeface="Segoe UI Light"/>
                <a:cs typeface="Segoe UI Light"/>
              </a:rPr>
              <a:t>nee</a:t>
            </a:r>
            <a:r>
              <a:rPr sz="3453" baseline="1066" dirty="0">
                <a:solidFill>
                  <a:srgbClr val="FFFFFF"/>
                </a:solidFill>
                <a:latin typeface="Segoe UI Light"/>
                <a:cs typeface="Segoe UI Light"/>
              </a:rPr>
              <a:t>d</a:t>
            </a:r>
            <a:endParaRPr sz="2302">
              <a:latin typeface="Segoe UI Light"/>
              <a:cs typeface="Segoe UI Light"/>
            </a:endParaRPr>
          </a:p>
        </p:txBody>
      </p:sp>
      <p:sp>
        <p:nvSpPr>
          <p:cNvPr id="9" name="object 9"/>
          <p:cNvSpPr txBox="1"/>
          <p:nvPr/>
        </p:nvSpPr>
        <p:spPr>
          <a:xfrm>
            <a:off x="5497224" y="3141451"/>
            <a:ext cx="172833" cy="320786"/>
          </a:xfrm>
          <a:prstGeom prst="rect">
            <a:avLst/>
          </a:prstGeom>
        </p:spPr>
        <p:txBody>
          <a:bodyPr wrap="square" lIns="0" tIns="0" rIns="0" bIns="0" rtlCol="0">
            <a:noAutofit/>
          </a:bodyPr>
          <a:lstStyle/>
          <a:p>
            <a:pPr marL="12441">
              <a:lnSpc>
                <a:spcPts val="2473"/>
              </a:lnSpc>
              <a:spcBef>
                <a:spcPts val="123"/>
              </a:spcBef>
            </a:pPr>
            <a:r>
              <a:rPr sz="2302" dirty="0">
                <a:solidFill>
                  <a:srgbClr val="FFFFFF"/>
                </a:solidFill>
                <a:latin typeface="Arial"/>
                <a:cs typeface="Arial"/>
              </a:rPr>
              <a:t>•</a:t>
            </a:r>
            <a:endParaRPr sz="2302">
              <a:latin typeface="Arial"/>
              <a:cs typeface="Arial"/>
            </a:endParaRPr>
          </a:p>
        </p:txBody>
      </p:sp>
      <p:sp>
        <p:nvSpPr>
          <p:cNvPr id="8" name="object 8"/>
          <p:cNvSpPr txBox="1"/>
          <p:nvPr/>
        </p:nvSpPr>
        <p:spPr>
          <a:xfrm>
            <a:off x="5828647" y="3141157"/>
            <a:ext cx="5231085" cy="320786"/>
          </a:xfrm>
          <a:prstGeom prst="rect">
            <a:avLst/>
          </a:prstGeom>
        </p:spPr>
        <p:txBody>
          <a:bodyPr wrap="square" lIns="0" tIns="0" rIns="0" bIns="0" rtlCol="0">
            <a:noAutofit/>
          </a:bodyPr>
          <a:lstStyle/>
          <a:p>
            <a:pPr marL="12441">
              <a:lnSpc>
                <a:spcPts val="2527"/>
              </a:lnSpc>
              <a:spcBef>
                <a:spcPts val="126"/>
              </a:spcBef>
            </a:pPr>
            <a:r>
              <a:rPr sz="3453" spc="-33" baseline="1066" dirty="0">
                <a:solidFill>
                  <a:srgbClr val="FFFFFF"/>
                </a:solidFill>
                <a:latin typeface="Segoe UI Light"/>
                <a:cs typeface="Segoe UI Light"/>
              </a:rPr>
              <a:t>C</a:t>
            </a:r>
            <a:r>
              <a:rPr sz="3453" spc="-58" baseline="1066" dirty="0">
                <a:solidFill>
                  <a:srgbClr val="FFFFFF"/>
                </a:solidFill>
                <a:latin typeface="Segoe UI Light"/>
                <a:cs typeface="Segoe UI Light"/>
              </a:rPr>
              <a:t>r</a:t>
            </a:r>
            <a:r>
              <a:rPr sz="3453" spc="24" baseline="1066" dirty="0">
                <a:solidFill>
                  <a:srgbClr val="FFFFFF"/>
                </a:solidFill>
                <a:latin typeface="Segoe UI Light"/>
                <a:cs typeface="Segoe UI Light"/>
              </a:rPr>
              <a:t>e</a:t>
            </a:r>
            <a:r>
              <a:rPr sz="3453" spc="-19" baseline="1066" dirty="0">
                <a:solidFill>
                  <a:srgbClr val="FFFFFF"/>
                </a:solidFill>
                <a:latin typeface="Segoe UI Light"/>
                <a:cs typeface="Segoe UI Light"/>
              </a:rPr>
              <a:t>a</a:t>
            </a:r>
            <a:r>
              <a:rPr sz="3453" spc="14" baseline="1066" dirty="0">
                <a:solidFill>
                  <a:srgbClr val="FFFFFF"/>
                </a:solidFill>
                <a:latin typeface="Segoe UI Light"/>
                <a:cs typeface="Segoe UI Light"/>
              </a:rPr>
              <a:t>t</a:t>
            </a:r>
            <a:r>
              <a:rPr sz="3453" baseline="1066" dirty="0">
                <a:solidFill>
                  <a:srgbClr val="FFFFFF"/>
                </a:solidFill>
                <a:latin typeface="Segoe UI Light"/>
                <a:cs typeface="Segoe UI Light"/>
              </a:rPr>
              <a:t>e</a:t>
            </a:r>
            <a:r>
              <a:rPr sz="3453" spc="166" baseline="1066" dirty="0">
                <a:solidFill>
                  <a:srgbClr val="FFFFFF"/>
                </a:solidFill>
                <a:latin typeface="Segoe UI Light"/>
                <a:cs typeface="Segoe UI Light"/>
              </a:rPr>
              <a:t> </a:t>
            </a:r>
            <a:r>
              <a:rPr sz="3453" spc="-19" baseline="1066" dirty="0">
                <a:solidFill>
                  <a:srgbClr val="FFFFFF"/>
                </a:solidFill>
                <a:latin typeface="Segoe UI Light"/>
                <a:cs typeface="Segoe UI Light"/>
              </a:rPr>
              <a:t>a</a:t>
            </a:r>
            <a:r>
              <a:rPr sz="3453" spc="24" baseline="1066" dirty="0">
                <a:solidFill>
                  <a:srgbClr val="FFFFFF"/>
                </a:solidFill>
                <a:latin typeface="Segoe UI Light"/>
                <a:cs typeface="Segoe UI Light"/>
              </a:rPr>
              <a:t>n</a:t>
            </a:r>
            <a:r>
              <a:rPr sz="3453" baseline="1066" dirty="0">
                <a:solidFill>
                  <a:srgbClr val="FFFFFF"/>
                </a:solidFill>
                <a:latin typeface="Segoe UI Light"/>
                <a:cs typeface="Segoe UI Light"/>
              </a:rPr>
              <a:t>d</a:t>
            </a:r>
            <a:r>
              <a:rPr sz="3453" spc="149" baseline="1066" dirty="0">
                <a:solidFill>
                  <a:srgbClr val="FFFFFF"/>
                </a:solidFill>
                <a:latin typeface="Segoe UI Light"/>
                <a:cs typeface="Segoe UI Light"/>
              </a:rPr>
              <a:t> </a:t>
            </a:r>
            <a:r>
              <a:rPr sz="3453" spc="-33" baseline="1066" dirty="0">
                <a:solidFill>
                  <a:srgbClr val="FFFFFF"/>
                </a:solidFill>
                <a:latin typeface="Segoe UI Light"/>
                <a:cs typeface="Segoe UI Light"/>
              </a:rPr>
              <a:t>p</a:t>
            </a:r>
            <a:r>
              <a:rPr sz="3453" spc="24" baseline="1066" dirty="0">
                <a:solidFill>
                  <a:srgbClr val="FFFFFF"/>
                </a:solidFill>
                <a:latin typeface="Segoe UI Light"/>
                <a:cs typeface="Segoe UI Light"/>
              </a:rPr>
              <a:t>u</a:t>
            </a:r>
            <a:r>
              <a:rPr sz="3453" spc="-33" baseline="1066" dirty="0">
                <a:solidFill>
                  <a:srgbClr val="FFFFFF"/>
                </a:solidFill>
                <a:latin typeface="Segoe UI Light"/>
                <a:cs typeface="Segoe UI Light"/>
              </a:rPr>
              <a:t>b</a:t>
            </a:r>
            <a:r>
              <a:rPr sz="3453" spc="14" baseline="1066" dirty="0">
                <a:solidFill>
                  <a:srgbClr val="FFFFFF"/>
                </a:solidFill>
                <a:latin typeface="Segoe UI Light"/>
                <a:cs typeface="Segoe UI Light"/>
              </a:rPr>
              <a:t>lis</a:t>
            </a:r>
            <a:r>
              <a:rPr sz="3453" baseline="1066" dirty="0">
                <a:solidFill>
                  <a:srgbClr val="FFFFFF"/>
                </a:solidFill>
                <a:latin typeface="Segoe UI Light"/>
                <a:cs typeface="Segoe UI Light"/>
              </a:rPr>
              <a:t>h</a:t>
            </a:r>
            <a:r>
              <a:rPr sz="3453" spc="171" baseline="1066" dirty="0">
                <a:solidFill>
                  <a:srgbClr val="FFFFFF"/>
                </a:solidFill>
                <a:latin typeface="Segoe UI Light"/>
                <a:cs typeface="Segoe UI Light"/>
              </a:rPr>
              <a:t> </a:t>
            </a:r>
            <a:r>
              <a:rPr sz="3453" spc="24" baseline="1066" dirty="0">
                <a:solidFill>
                  <a:srgbClr val="FFFFFF"/>
                </a:solidFill>
                <a:latin typeface="Segoe UI Light"/>
                <a:cs typeface="Segoe UI Light"/>
              </a:rPr>
              <a:t>cu</a:t>
            </a:r>
            <a:r>
              <a:rPr sz="3453" spc="14" baseline="1066" dirty="0">
                <a:solidFill>
                  <a:srgbClr val="FFFFFF"/>
                </a:solidFill>
                <a:latin typeface="Segoe UI Light"/>
                <a:cs typeface="Segoe UI Light"/>
              </a:rPr>
              <a:t>st</a:t>
            </a:r>
            <a:r>
              <a:rPr sz="3453" spc="33" baseline="1066" dirty="0">
                <a:solidFill>
                  <a:srgbClr val="FFFFFF"/>
                </a:solidFill>
                <a:latin typeface="Segoe UI Light"/>
                <a:cs typeface="Segoe UI Light"/>
              </a:rPr>
              <a:t>o</a:t>
            </a:r>
            <a:r>
              <a:rPr sz="3453" spc="-9" baseline="1066" dirty="0">
                <a:solidFill>
                  <a:srgbClr val="FFFFFF"/>
                </a:solidFill>
                <a:latin typeface="Segoe UI Light"/>
                <a:cs typeface="Segoe UI Light"/>
              </a:rPr>
              <a:t>m</a:t>
            </a:r>
            <a:r>
              <a:rPr sz="3453" baseline="1066" dirty="0">
                <a:solidFill>
                  <a:srgbClr val="FFFFFF"/>
                </a:solidFill>
                <a:latin typeface="Segoe UI Light"/>
                <a:cs typeface="Segoe UI Light"/>
              </a:rPr>
              <a:t>,</a:t>
            </a:r>
            <a:r>
              <a:rPr sz="3453" spc="60" baseline="1066" dirty="0">
                <a:solidFill>
                  <a:srgbClr val="FFFFFF"/>
                </a:solidFill>
                <a:latin typeface="Segoe UI Light"/>
                <a:cs typeface="Segoe UI Light"/>
              </a:rPr>
              <a:t> </a:t>
            </a:r>
            <a:r>
              <a:rPr sz="3453" spc="-63" baseline="1066" dirty="0">
                <a:solidFill>
                  <a:srgbClr val="FFFFFF"/>
                </a:solidFill>
                <a:latin typeface="Segoe UI Light"/>
                <a:cs typeface="Segoe UI Light"/>
              </a:rPr>
              <a:t>r</a:t>
            </a:r>
            <a:r>
              <a:rPr sz="3453" spc="24" baseline="1066" dirty="0">
                <a:solidFill>
                  <a:srgbClr val="FFFFFF"/>
                </a:solidFill>
                <a:latin typeface="Segoe UI Light"/>
                <a:cs typeface="Segoe UI Light"/>
              </a:rPr>
              <a:t>eu</a:t>
            </a:r>
            <a:r>
              <a:rPr sz="3453" spc="14" baseline="1066" dirty="0">
                <a:solidFill>
                  <a:srgbClr val="FFFFFF"/>
                </a:solidFill>
                <a:latin typeface="Segoe UI Light"/>
                <a:cs typeface="Segoe UI Light"/>
              </a:rPr>
              <a:t>s</a:t>
            </a:r>
            <a:r>
              <a:rPr sz="3453" spc="-19" baseline="1066" dirty="0">
                <a:solidFill>
                  <a:srgbClr val="FFFFFF"/>
                </a:solidFill>
                <a:latin typeface="Segoe UI Light"/>
                <a:cs typeface="Segoe UI Light"/>
              </a:rPr>
              <a:t>a</a:t>
            </a:r>
            <a:r>
              <a:rPr sz="3453" spc="-33" baseline="1066" dirty="0">
                <a:solidFill>
                  <a:srgbClr val="FFFFFF"/>
                </a:solidFill>
                <a:latin typeface="Segoe UI Light"/>
                <a:cs typeface="Segoe UI Light"/>
              </a:rPr>
              <a:t>b</a:t>
            </a:r>
            <a:r>
              <a:rPr sz="3453" spc="14" baseline="1066" dirty="0">
                <a:solidFill>
                  <a:srgbClr val="FFFFFF"/>
                </a:solidFill>
                <a:latin typeface="Segoe UI Light"/>
                <a:cs typeface="Segoe UI Light"/>
              </a:rPr>
              <a:t>l</a:t>
            </a:r>
            <a:r>
              <a:rPr sz="3453" baseline="1066" dirty="0">
                <a:solidFill>
                  <a:srgbClr val="FFFFFF"/>
                </a:solidFill>
                <a:latin typeface="Segoe UI Light"/>
                <a:cs typeface="Segoe UI Light"/>
              </a:rPr>
              <a:t>e</a:t>
            </a:r>
            <a:r>
              <a:rPr sz="3453" spc="183" baseline="1066" dirty="0">
                <a:solidFill>
                  <a:srgbClr val="FFFFFF"/>
                </a:solidFill>
                <a:latin typeface="Segoe UI Light"/>
                <a:cs typeface="Segoe UI Light"/>
              </a:rPr>
              <a:t> </a:t>
            </a:r>
            <a:r>
              <a:rPr sz="3453" spc="14" baseline="1066" dirty="0">
                <a:solidFill>
                  <a:srgbClr val="FFFFFF"/>
                </a:solidFill>
                <a:latin typeface="Segoe UI Light"/>
                <a:cs typeface="Segoe UI Light"/>
              </a:rPr>
              <a:t>A</a:t>
            </a:r>
            <a:r>
              <a:rPr sz="3453" baseline="1066" dirty="0">
                <a:solidFill>
                  <a:srgbClr val="FFFFFF"/>
                </a:solidFill>
                <a:latin typeface="Segoe UI Light"/>
                <a:cs typeface="Segoe UI Light"/>
              </a:rPr>
              <a:t>P</a:t>
            </a:r>
            <a:r>
              <a:rPr sz="3453" spc="33" baseline="1066" dirty="0">
                <a:solidFill>
                  <a:srgbClr val="FFFFFF"/>
                </a:solidFill>
                <a:latin typeface="Segoe UI Light"/>
                <a:cs typeface="Segoe UI Light"/>
              </a:rPr>
              <a:t>I</a:t>
            </a:r>
            <a:r>
              <a:rPr sz="3453" baseline="1066" dirty="0">
                <a:solidFill>
                  <a:srgbClr val="FFFFFF"/>
                </a:solidFill>
                <a:latin typeface="Segoe UI Light"/>
                <a:cs typeface="Segoe UI Light"/>
              </a:rPr>
              <a:t>s</a:t>
            </a:r>
            <a:endParaRPr sz="2302">
              <a:latin typeface="Segoe UI Light"/>
              <a:cs typeface="Segoe UI Light"/>
            </a:endParaRPr>
          </a:p>
        </p:txBody>
      </p:sp>
      <p:sp>
        <p:nvSpPr>
          <p:cNvPr id="7" name="object 7"/>
          <p:cNvSpPr txBox="1"/>
          <p:nvPr/>
        </p:nvSpPr>
        <p:spPr>
          <a:xfrm>
            <a:off x="2220437" y="3311212"/>
            <a:ext cx="1077847" cy="258084"/>
          </a:xfrm>
          <a:prstGeom prst="rect">
            <a:avLst/>
          </a:prstGeom>
        </p:spPr>
        <p:txBody>
          <a:bodyPr wrap="square" lIns="0" tIns="0" rIns="0" bIns="0" rtlCol="0">
            <a:noAutofit/>
          </a:bodyPr>
          <a:lstStyle/>
          <a:p>
            <a:pPr marL="12441">
              <a:lnSpc>
                <a:spcPts val="2033"/>
              </a:lnSpc>
              <a:spcBef>
                <a:spcPts val="101"/>
              </a:spcBef>
            </a:pPr>
            <a:r>
              <a:rPr sz="2718" b="1" spc="-24" baseline="1354" dirty="0">
                <a:solidFill>
                  <a:srgbClr val="FFFFFF"/>
                </a:solidFill>
                <a:latin typeface="Segoe UI"/>
                <a:cs typeface="Segoe UI"/>
              </a:rPr>
              <a:t>A</a:t>
            </a:r>
            <a:r>
              <a:rPr sz="2718" b="1" baseline="1354" dirty="0">
                <a:solidFill>
                  <a:srgbClr val="FFFFFF"/>
                </a:solidFill>
                <a:latin typeface="Segoe UI"/>
                <a:cs typeface="Segoe UI"/>
              </a:rPr>
              <a:t>PI</a:t>
            </a:r>
            <a:r>
              <a:rPr sz="2718" b="1" spc="10" baseline="1354" dirty="0">
                <a:solidFill>
                  <a:srgbClr val="FFFFFF"/>
                </a:solidFill>
                <a:latin typeface="Segoe UI"/>
                <a:cs typeface="Segoe UI"/>
              </a:rPr>
              <a:t> </a:t>
            </a:r>
            <a:r>
              <a:rPr sz="2718" b="1" spc="-20" baseline="1354" dirty="0">
                <a:solidFill>
                  <a:srgbClr val="FFFFFF"/>
                </a:solidFill>
                <a:latin typeface="Segoe UI"/>
                <a:cs typeface="Segoe UI"/>
              </a:rPr>
              <a:t>A</a:t>
            </a:r>
            <a:r>
              <a:rPr sz="2718" b="1" baseline="1354" dirty="0">
                <a:solidFill>
                  <a:srgbClr val="FFFFFF"/>
                </a:solidFill>
                <a:latin typeface="Segoe UI"/>
                <a:cs typeface="Segoe UI"/>
              </a:rPr>
              <a:t>PPS</a:t>
            </a:r>
            <a:endParaRPr sz="1812">
              <a:latin typeface="Segoe UI"/>
              <a:cs typeface="Segoe UI"/>
            </a:endParaRPr>
          </a:p>
        </p:txBody>
      </p:sp>
      <p:sp>
        <p:nvSpPr>
          <p:cNvPr id="6" name="object 6"/>
          <p:cNvSpPr txBox="1"/>
          <p:nvPr/>
        </p:nvSpPr>
        <p:spPr>
          <a:xfrm>
            <a:off x="1409669" y="3786960"/>
            <a:ext cx="2717928" cy="679513"/>
          </a:xfrm>
          <a:prstGeom prst="rect">
            <a:avLst/>
          </a:prstGeom>
        </p:spPr>
        <p:txBody>
          <a:bodyPr wrap="square" lIns="0" tIns="0" rIns="0" bIns="0" rtlCol="0">
            <a:noAutofit/>
          </a:bodyPr>
          <a:lstStyle/>
          <a:p>
            <a:pPr marL="12441">
              <a:lnSpc>
                <a:spcPts val="2567"/>
              </a:lnSpc>
              <a:spcBef>
                <a:spcPts val="128"/>
              </a:spcBef>
            </a:pPr>
            <a:r>
              <a:rPr sz="3453" spc="-33" baseline="1066" dirty="0">
                <a:solidFill>
                  <a:srgbClr val="FFFFFF"/>
                </a:solidFill>
                <a:latin typeface="Segoe UI Light"/>
                <a:cs typeface="Segoe UI Light"/>
              </a:rPr>
              <a:t>C</a:t>
            </a:r>
            <a:r>
              <a:rPr sz="3453" spc="-58" baseline="1066" dirty="0">
                <a:solidFill>
                  <a:srgbClr val="FFFFFF"/>
                </a:solidFill>
                <a:latin typeface="Segoe UI Light"/>
                <a:cs typeface="Segoe UI Light"/>
              </a:rPr>
              <a:t>r</a:t>
            </a:r>
            <a:r>
              <a:rPr sz="3453" spc="24" baseline="1066" dirty="0">
                <a:solidFill>
                  <a:srgbClr val="FFFFFF"/>
                </a:solidFill>
                <a:latin typeface="Segoe UI Light"/>
                <a:cs typeface="Segoe UI Light"/>
              </a:rPr>
              <a:t>e</a:t>
            </a:r>
            <a:r>
              <a:rPr sz="3453" spc="-19" baseline="1066" dirty="0">
                <a:solidFill>
                  <a:srgbClr val="FFFFFF"/>
                </a:solidFill>
                <a:latin typeface="Segoe UI Light"/>
                <a:cs typeface="Segoe UI Light"/>
              </a:rPr>
              <a:t>a</a:t>
            </a:r>
            <a:r>
              <a:rPr sz="3453" spc="14" baseline="1066" dirty="0">
                <a:solidFill>
                  <a:srgbClr val="FFFFFF"/>
                </a:solidFill>
                <a:latin typeface="Segoe UI Light"/>
                <a:cs typeface="Segoe UI Light"/>
              </a:rPr>
              <a:t>t</a:t>
            </a:r>
            <a:r>
              <a:rPr sz="3453" spc="24" baseline="1066" dirty="0">
                <a:solidFill>
                  <a:srgbClr val="FFFFFF"/>
                </a:solidFill>
                <a:latin typeface="Segoe UI Light"/>
                <a:cs typeface="Segoe UI Light"/>
              </a:rPr>
              <a:t>e</a:t>
            </a:r>
            <a:r>
              <a:rPr sz="3453" baseline="1066" dirty="0">
                <a:solidFill>
                  <a:srgbClr val="FFFFFF"/>
                </a:solidFill>
                <a:latin typeface="Segoe UI Light"/>
                <a:cs typeface="Segoe UI Light"/>
              </a:rPr>
              <a:t>,</a:t>
            </a:r>
            <a:r>
              <a:rPr sz="3453" spc="190" baseline="1066" dirty="0">
                <a:solidFill>
                  <a:srgbClr val="FFFFFF"/>
                </a:solidFill>
                <a:latin typeface="Segoe UI Light"/>
                <a:cs typeface="Segoe UI Light"/>
              </a:rPr>
              <a:t> </a:t>
            </a:r>
            <a:r>
              <a:rPr sz="3453" spc="24" baseline="1066" dirty="0">
                <a:solidFill>
                  <a:srgbClr val="FFFFFF"/>
                </a:solidFill>
                <a:latin typeface="Segoe UI Light"/>
                <a:cs typeface="Segoe UI Light"/>
              </a:rPr>
              <a:t>c</a:t>
            </a:r>
            <a:r>
              <a:rPr sz="3453" spc="33" baseline="1066" dirty="0">
                <a:solidFill>
                  <a:srgbClr val="FFFFFF"/>
                </a:solidFill>
                <a:latin typeface="Segoe UI Light"/>
                <a:cs typeface="Segoe UI Light"/>
              </a:rPr>
              <a:t>o</a:t>
            </a:r>
            <a:r>
              <a:rPr sz="3453" spc="24" baseline="1066" dirty="0">
                <a:solidFill>
                  <a:srgbClr val="FFFFFF"/>
                </a:solidFill>
                <a:latin typeface="Segoe UI Light"/>
                <a:cs typeface="Segoe UI Light"/>
              </a:rPr>
              <a:t>n</a:t>
            </a:r>
            <a:r>
              <a:rPr sz="3453" spc="14" baseline="1066" dirty="0">
                <a:solidFill>
                  <a:srgbClr val="FFFFFF"/>
                </a:solidFill>
                <a:latin typeface="Segoe UI Light"/>
                <a:cs typeface="Segoe UI Light"/>
              </a:rPr>
              <a:t>s</a:t>
            </a:r>
            <a:r>
              <a:rPr sz="3453" spc="24" baseline="1066" dirty="0">
                <a:solidFill>
                  <a:srgbClr val="FFFFFF"/>
                </a:solidFill>
                <a:latin typeface="Segoe UI Light"/>
                <a:cs typeface="Segoe UI Light"/>
              </a:rPr>
              <a:t>u</a:t>
            </a:r>
            <a:r>
              <a:rPr sz="3453" spc="-9" baseline="1066" dirty="0">
                <a:solidFill>
                  <a:srgbClr val="FFFFFF"/>
                </a:solidFill>
                <a:latin typeface="Segoe UI Light"/>
                <a:cs typeface="Segoe UI Light"/>
              </a:rPr>
              <a:t>m</a:t>
            </a:r>
            <a:r>
              <a:rPr sz="3453" baseline="1066" dirty="0">
                <a:solidFill>
                  <a:srgbClr val="FFFFFF"/>
                </a:solidFill>
                <a:latin typeface="Segoe UI Light"/>
                <a:cs typeface="Segoe UI Light"/>
              </a:rPr>
              <a:t>e</a:t>
            </a:r>
            <a:r>
              <a:rPr sz="3453" spc="48" baseline="1066" dirty="0">
                <a:solidFill>
                  <a:srgbClr val="FFFFFF"/>
                </a:solidFill>
                <a:latin typeface="Segoe UI Light"/>
                <a:cs typeface="Segoe UI Light"/>
              </a:rPr>
              <a:t> </a:t>
            </a:r>
            <a:r>
              <a:rPr sz="3453" spc="-20" baseline="1066" dirty="0">
                <a:solidFill>
                  <a:srgbClr val="FFFFFF"/>
                </a:solidFill>
                <a:latin typeface="Segoe UI Light"/>
                <a:cs typeface="Segoe UI Light"/>
              </a:rPr>
              <a:t>a</a:t>
            </a:r>
            <a:r>
              <a:rPr sz="3453" spc="24" baseline="1066" dirty="0">
                <a:solidFill>
                  <a:srgbClr val="FFFFFF"/>
                </a:solidFill>
                <a:latin typeface="Segoe UI Light"/>
                <a:cs typeface="Segoe UI Light"/>
              </a:rPr>
              <a:t>n</a:t>
            </a:r>
            <a:r>
              <a:rPr sz="3453" baseline="1066" dirty="0">
                <a:solidFill>
                  <a:srgbClr val="FFFFFF"/>
                </a:solidFill>
                <a:latin typeface="Segoe UI Light"/>
                <a:cs typeface="Segoe UI Light"/>
              </a:rPr>
              <a:t>d</a:t>
            </a:r>
            <a:endParaRPr sz="2302">
              <a:latin typeface="Segoe UI Light"/>
              <a:cs typeface="Segoe UI Light"/>
            </a:endParaRPr>
          </a:p>
          <a:p>
            <a:pPr marL="12441" marR="5147">
              <a:lnSpc>
                <a:spcPts val="2782"/>
              </a:lnSpc>
              <a:spcBef>
                <a:spcPts val="10"/>
              </a:spcBef>
            </a:pPr>
            <a:r>
              <a:rPr sz="2302" spc="19" dirty="0">
                <a:solidFill>
                  <a:srgbClr val="FFFFFF"/>
                </a:solidFill>
                <a:latin typeface="Segoe UI Light"/>
                <a:cs typeface="Segoe UI Light"/>
              </a:rPr>
              <a:t>h</a:t>
            </a:r>
            <a:r>
              <a:rPr sz="2302" spc="33" dirty="0">
                <a:solidFill>
                  <a:srgbClr val="FFFFFF"/>
                </a:solidFill>
                <a:latin typeface="Segoe UI Light"/>
                <a:cs typeface="Segoe UI Light"/>
              </a:rPr>
              <a:t>o</a:t>
            </a:r>
            <a:r>
              <a:rPr sz="2302" spc="9" dirty="0">
                <a:solidFill>
                  <a:srgbClr val="FFFFFF"/>
                </a:solidFill>
                <a:latin typeface="Segoe UI Light"/>
                <a:cs typeface="Segoe UI Light"/>
              </a:rPr>
              <a:t>s</a:t>
            </a:r>
            <a:r>
              <a:rPr sz="2302" dirty="0">
                <a:solidFill>
                  <a:srgbClr val="FFFFFF"/>
                </a:solidFill>
                <a:latin typeface="Segoe UI Light"/>
                <a:cs typeface="Segoe UI Light"/>
              </a:rPr>
              <a:t>t</a:t>
            </a:r>
            <a:r>
              <a:rPr sz="2302" spc="65" dirty="0">
                <a:solidFill>
                  <a:srgbClr val="FFFFFF"/>
                </a:solidFill>
                <a:latin typeface="Segoe UI Light"/>
                <a:cs typeface="Segoe UI Light"/>
              </a:rPr>
              <a:t> </a:t>
            </a:r>
            <a:r>
              <a:rPr sz="2302" spc="9" dirty="0">
                <a:solidFill>
                  <a:srgbClr val="FFFFFF"/>
                </a:solidFill>
                <a:latin typeface="Segoe UI Light"/>
                <a:cs typeface="Segoe UI Light"/>
              </a:rPr>
              <a:t>A</a:t>
            </a:r>
            <a:r>
              <a:rPr sz="2302" dirty="0">
                <a:solidFill>
                  <a:srgbClr val="FFFFFF"/>
                </a:solidFill>
                <a:latin typeface="Segoe UI Light"/>
                <a:cs typeface="Segoe UI Light"/>
              </a:rPr>
              <a:t>P</a:t>
            </a:r>
            <a:r>
              <a:rPr sz="2302" spc="33" dirty="0">
                <a:solidFill>
                  <a:srgbClr val="FFFFFF"/>
                </a:solidFill>
                <a:latin typeface="Segoe UI Light"/>
                <a:cs typeface="Segoe UI Light"/>
              </a:rPr>
              <a:t>I</a:t>
            </a:r>
            <a:r>
              <a:rPr sz="2302" dirty="0">
                <a:solidFill>
                  <a:srgbClr val="FFFFFF"/>
                </a:solidFill>
                <a:latin typeface="Segoe UI Light"/>
                <a:cs typeface="Segoe UI Light"/>
              </a:rPr>
              <a:t>s</a:t>
            </a:r>
            <a:r>
              <a:rPr sz="2302" spc="60" dirty="0">
                <a:solidFill>
                  <a:srgbClr val="FFFFFF"/>
                </a:solidFill>
                <a:latin typeface="Segoe UI Light"/>
                <a:cs typeface="Segoe UI Light"/>
              </a:rPr>
              <a:t> </a:t>
            </a:r>
            <a:r>
              <a:rPr sz="2302" spc="-9" dirty="0">
                <a:solidFill>
                  <a:srgbClr val="FFFFFF"/>
                </a:solidFill>
                <a:latin typeface="Segoe UI Light"/>
                <a:cs typeface="Segoe UI Light"/>
              </a:rPr>
              <a:t>m</a:t>
            </a:r>
            <a:r>
              <a:rPr sz="2302" spc="33" dirty="0">
                <a:solidFill>
                  <a:srgbClr val="FFFFFF"/>
                </a:solidFill>
                <a:latin typeface="Segoe UI Light"/>
                <a:cs typeface="Segoe UI Light"/>
              </a:rPr>
              <a:t>o</a:t>
            </a:r>
            <a:r>
              <a:rPr sz="2302" spc="-63" dirty="0">
                <a:solidFill>
                  <a:srgbClr val="FFFFFF"/>
                </a:solidFill>
                <a:latin typeface="Segoe UI Light"/>
                <a:cs typeface="Segoe UI Light"/>
              </a:rPr>
              <a:t>r</a:t>
            </a:r>
            <a:r>
              <a:rPr sz="2302" dirty="0">
                <a:solidFill>
                  <a:srgbClr val="FFFFFF"/>
                </a:solidFill>
                <a:latin typeface="Segoe UI Light"/>
                <a:cs typeface="Segoe UI Light"/>
              </a:rPr>
              <a:t>e</a:t>
            </a:r>
            <a:r>
              <a:rPr sz="2302" spc="85" dirty="0">
                <a:solidFill>
                  <a:srgbClr val="FFFFFF"/>
                </a:solidFill>
                <a:latin typeface="Segoe UI Light"/>
                <a:cs typeface="Segoe UI Light"/>
              </a:rPr>
              <a:t> </a:t>
            </a:r>
            <a:r>
              <a:rPr sz="2302" spc="20" dirty="0">
                <a:solidFill>
                  <a:srgbClr val="FFFFFF"/>
                </a:solidFill>
                <a:latin typeface="Segoe UI Light"/>
                <a:cs typeface="Segoe UI Light"/>
              </a:rPr>
              <a:t>e</a:t>
            </a:r>
            <a:r>
              <a:rPr sz="2302" spc="-20" dirty="0">
                <a:solidFill>
                  <a:srgbClr val="FFFFFF"/>
                </a:solidFill>
                <a:latin typeface="Segoe UI Light"/>
                <a:cs typeface="Segoe UI Light"/>
              </a:rPr>
              <a:t>a</a:t>
            </a:r>
            <a:r>
              <a:rPr sz="2302" spc="10" dirty="0">
                <a:solidFill>
                  <a:srgbClr val="FFFFFF"/>
                </a:solidFill>
                <a:latin typeface="Segoe UI Light"/>
                <a:cs typeface="Segoe UI Light"/>
              </a:rPr>
              <a:t>s</a:t>
            </a:r>
            <a:r>
              <a:rPr sz="2302" spc="15" dirty="0">
                <a:solidFill>
                  <a:srgbClr val="FFFFFF"/>
                </a:solidFill>
                <a:latin typeface="Segoe UI Light"/>
                <a:cs typeface="Segoe UI Light"/>
              </a:rPr>
              <a:t>il</a:t>
            </a:r>
            <a:r>
              <a:rPr sz="2302" dirty="0">
                <a:solidFill>
                  <a:srgbClr val="FFFFFF"/>
                </a:solidFill>
                <a:latin typeface="Segoe UI Light"/>
                <a:cs typeface="Segoe UI Light"/>
              </a:rPr>
              <a:t>y</a:t>
            </a:r>
            <a:endParaRPr sz="2302">
              <a:latin typeface="Segoe UI Light"/>
              <a:cs typeface="Segoe UI Light"/>
            </a:endParaRPr>
          </a:p>
        </p:txBody>
      </p:sp>
      <p:sp>
        <p:nvSpPr>
          <p:cNvPr id="5" name="object 5"/>
          <p:cNvSpPr txBox="1"/>
          <p:nvPr/>
        </p:nvSpPr>
        <p:spPr>
          <a:xfrm>
            <a:off x="5497224" y="3796211"/>
            <a:ext cx="172833" cy="320786"/>
          </a:xfrm>
          <a:prstGeom prst="rect">
            <a:avLst/>
          </a:prstGeom>
        </p:spPr>
        <p:txBody>
          <a:bodyPr wrap="square" lIns="0" tIns="0" rIns="0" bIns="0" rtlCol="0">
            <a:noAutofit/>
          </a:bodyPr>
          <a:lstStyle/>
          <a:p>
            <a:pPr marL="12441">
              <a:lnSpc>
                <a:spcPts val="2473"/>
              </a:lnSpc>
              <a:spcBef>
                <a:spcPts val="123"/>
              </a:spcBef>
            </a:pPr>
            <a:r>
              <a:rPr sz="2302" dirty="0">
                <a:solidFill>
                  <a:srgbClr val="FFFFFF"/>
                </a:solidFill>
                <a:latin typeface="Arial"/>
                <a:cs typeface="Arial"/>
              </a:rPr>
              <a:t>•</a:t>
            </a:r>
            <a:endParaRPr sz="2302">
              <a:latin typeface="Arial"/>
              <a:cs typeface="Arial"/>
            </a:endParaRPr>
          </a:p>
        </p:txBody>
      </p:sp>
      <p:sp>
        <p:nvSpPr>
          <p:cNvPr id="4" name="object 4"/>
          <p:cNvSpPr txBox="1"/>
          <p:nvPr/>
        </p:nvSpPr>
        <p:spPr>
          <a:xfrm>
            <a:off x="5828648" y="3795917"/>
            <a:ext cx="5353854" cy="679513"/>
          </a:xfrm>
          <a:prstGeom prst="rect">
            <a:avLst/>
          </a:prstGeom>
        </p:spPr>
        <p:txBody>
          <a:bodyPr wrap="square" lIns="0" tIns="0" rIns="0" bIns="0" rtlCol="0">
            <a:noAutofit/>
          </a:bodyPr>
          <a:lstStyle/>
          <a:p>
            <a:pPr marL="12441">
              <a:lnSpc>
                <a:spcPts val="2567"/>
              </a:lnSpc>
              <a:spcBef>
                <a:spcPts val="128"/>
              </a:spcBef>
            </a:pPr>
            <a:r>
              <a:rPr sz="3453" baseline="1066" dirty="0">
                <a:solidFill>
                  <a:srgbClr val="FFFFFF"/>
                </a:solidFill>
                <a:latin typeface="Segoe UI Light"/>
                <a:cs typeface="Segoe UI Light"/>
              </a:rPr>
              <a:t>V</a:t>
            </a:r>
            <a:r>
              <a:rPr sz="3453" spc="19" baseline="1066" dirty="0">
                <a:solidFill>
                  <a:srgbClr val="FFFFFF"/>
                </a:solidFill>
                <a:latin typeface="Segoe UI Light"/>
                <a:cs typeface="Segoe UI Light"/>
              </a:rPr>
              <a:t>i</a:t>
            </a:r>
            <a:r>
              <a:rPr sz="3453" spc="14" baseline="1066" dirty="0">
                <a:solidFill>
                  <a:srgbClr val="FFFFFF"/>
                </a:solidFill>
                <a:latin typeface="Segoe UI Light"/>
                <a:cs typeface="Segoe UI Light"/>
              </a:rPr>
              <a:t>s</a:t>
            </a:r>
            <a:r>
              <a:rPr sz="3453" spc="24" baseline="1066" dirty="0">
                <a:solidFill>
                  <a:srgbClr val="FFFFFF"/>
                </a:solidFill>
                <a:latin typeface="Segoe UI Light"/>
                <a:cs typeface="Segoe UI Light"/>
              </a:rPr>
              <a:t>u</a:t>
            </a:r>
            <a:r>
              <a:rPr sz="3453" spc="-19" baseline="1066" dirty="0">
                <a:solidFill>
                  <a:srgbClr val="FFFFFF"/>
                </a:solidFill>
                <a:latin typeface="Segoe UI Light"/>
                <a:cs typeface="Segoe UI Light"/>
              </a:rPr>
              <a:t>a</a:t>
            </a:r>
            <a:r>
              <a:rPr sz="3453" baseline="1066" dirty="0">
                <a:solidFill>
                  <a:srgbClr val="FFFFFF"/>
                </a:solidFill>
                <a:latin typeface="Segoe UI Light"/>
                <a:cs typeface="Segoe UI Light"/>
              </a:rPr>
              <a:t>l</a:t>
            </a:r>
            <a:r>
              <a:rPr sz="3453" spc="80" baseline="1066" dirty="0">
                <a:solidFill>
                  <a:srgbClr val="FFFFFF"/>
                </a:solidFill>
                <a:latin typeface="Segoe UI Light"/>
                <a:cs typeface="Segoe UI Light"/>
              </a:rPr>
              <a:t> </a:t>
            </a:r>
            <a:r>
              <a:rPr sz="3453" spc="-28" baseline="1066" dirty="0">
                <a:solidFill>
                  <a:srgbClr val="FFFFFF"/>
                </a:solidFill>
                <a:latin typeface="Segoe UI Light"/>
                <a:cs typeface="Segoe UI Light"/>
              </a:rPr>
              <a:t>S</a:t>
            </a:r>
            <a:r>
              <a:rPr sz="3453" spc="9" baseline="1066" dirty="0">
                <a:solidFill>
                  <a:srgbClr val="FFFFFF"/>
                </a:solidFill>
                <a:latin typeface="Segoe UI Light"/>
                <a:cs typeface="Segoe UI Light"/>
              </a:rPr>
              <a:t>t</a:t>
            </a:r>
            <a:r>
              <a:rPr sz="3453" spc="24" baseline="1066" dirty="0">
                <a:solidFill>
                  <a:srgbClr val="FFFFFF"/>
                </a:solidFill>
                <a:latin typeface="Segoe UI Light"/>
                <a:cs typeface="Segoe UI Light"/>
              </a:rPr>
              <a:t>u</a:t>
            </a:r>
            <a:r>
              <a:rPr sz="3453" spc="-33" baseline="1066" dirty="0">
                <a:solidFill>
                  <a:srgbClr val="FFFFFF"/>
                </a:solidFill>
                <a:latin typeface="Segoe UI Light"/>
                <a:cs typeface="Segoe UI Light"/>
              </a:rPr>
              <a:t>d</a:t>
            </a:r>
            <a:r>
              <a:rPr sz="3453" spc="14" baseline="1066" dirty="0">
                <a:solidFill>
                  <a:srgbClr val="FFFFFF"/>
                </a:solidFill>
                <a:latin typeface="Segoe UI Light"/>
                <a:cs typeface="Segoe UI Light"/>
              </a:rPr>
              <a:t>i</a:t>
            </a:r>
            <a:r>
              <a:rPr sz="3453" baseline="1066" dirty="0">
                <a:solidFill>
                  <a:srgbClr val="FFFFFF"/>
                </a:solidFill>
                <a:latin typeface="Segoe UI Light"/>
                <a:cs typeface="Segoe UI Light"/>
              </a:rPr>
              <a:t>o</a:t>
            </a:r>
            <a:r>
              <a:rPr sz="3453" spc="168" baseline="1066" dirty="0">
                <a:solidFill>
                  <a:srgbClr val="FFFFFF"/>
                </a:solidFill>
                <a:latin typeface="Segoe UI Light"/>
                <a:cs typeface="Segoe UI Light"/>
              </a:rPr>
              <a:t> </a:t>
            </a:r>
            <a:r>
              <a:rPr sz="3453" spc="9" baseline="1066" dirty="0">
                <a:solidFill>
                  <a:srgbClr val="FFFFFF"/>
                </a:solidFill>
                <a:latin typeface="Segoe UI Light"/>
                <a:cs typeface="Segoe UI Light"/>
              </a:rPr>
              <a:t>t</a:t>
            </a:r>
            <a:r>
              <a:rPr sz="3453" spc="33" baseline="1066" dirty="0">
                <a:solidFill>
                  <a:srgbClr val="FFFFFF"/>
                </a:solidFill>
                <a:latin typeface="Segoe UI Light"/>
                <a:cs typeface="Segoe UI Light"/>
              </a:rPr>
              <a:t>oo</a:t>
            </a:r>
            <a:r>
              <a:rPr sz="3453" spc="14" baseline="1066" dirty="0">
                <a:solidFill>
                  <a:srgbClr val="FFFFFF"/>
                </a:solidFill>
                <a:latin typeface="Segoe UI Light"/>
                <a:cs typeface="Segoe UI Light"/>
              </a:rPr>
              <a:t>li</a:t>
            </a:r>
            <a:r>
              <a:rPr sz="3453" spc="24" baseline="1066" dirty="0">
                <a:solidFill>
                  <a:srgbClr val="FFFFFF"/>
                </a:solidFill>
                <a:latin typeface="Segoe UI Light"/>
                <a:cs typeface="Segoe UI Light"/>
              </a:rPr>
              <a:t>n</a:t>
            </a:r>
            <a:r>
              <a:rPr sz="3453" baseline="1066" dirty="0">
                <a:solidFill>
                  <a:srgbClr val="FFFFFF"/>
                </a:solidFill>
                <a:latin typeface="Segoe UI Light"/>
                <a:cs typeface="Segoe UI Light"/>
              </a:rPr>
              <a:t>g</a:t>
            </a:r>
            <a:r>
              <a:rPr sz="3453" spc="42" baseline="1066" dirty="0">
                <a:solidFill>
                  <a:srgbClr val="FFFFFF"/>
                </a:solidFill>
                <a:latin typeface="Segoe UI Light"/>
                <a:cs typeface="Segoe UI Light"/>
              </a:rPr>
              <a:t> </a:t>
            </a:r>
            <a:r>
              <a:rPr sz="3453" spc="-28" baseline="1066" dirty="0">
                <a:solidFill>
                  <a:srgbClr val="FFFFFF"/>
                </a:solidFill>
                <a:latin typeface="Segoe UI Light"/>
                <a:cs typeface="Segoe UI Light"/>
              </a:rPr>
              <a:t>w</a:t>
            </a:r>
            <a:r>
              <a:rPr sz="3453" spc="14" baseline="1066" dirty="0">
                <a:solidFill>
                  <a:srgbClr val="FFFFFF"/>
                </a:solidFill>
                <a:latin typeface="Segoe UI Light"/>
                <a:cs typeface="Segoe UI Light"/>
              </a:rPr>
              <a:t>i</a:t>
            </a:r>
            <a:r>
              <a:rPr sz="3453" spc="9" baseline="1066" dirty="0">
                <a:solidFill>
                  <a:srgbClr val="FFFFFF"/>
                </a:solidFill>
                <a:latin typeface="Segoe UI Light"/>
                <a:cs typeface="Segoe UI Light"/>
              </a:rPr>
              <a:t>t</a:t>
            </a:r>
            <a:r>
              <a:rPr sz="3453" baseline="1066" dirty="0">
                <a:solidFill>
                  <a:srgbClr val="FFFFFF"/>
                </a:solidFill>
                <a:latin typeface="Segoe UI Light"/>
                <a:cs typeface="Segoe UI Light"/>
              </a:rPr>
              <a:t>h</a:t>
            </a:r>
            <a:r>
              <a:rPr sz="3453" spc="73" baseline="1066" dirty="0">
                <a:solidFill>
                  <a:srgbClr val="FFFFFF"/>
                </a:solidFill>
                <a:latin typeface="Segoe UI Light"/>
                <a:cs typeface="Segoe UI Light"/>
              </a:rPr>
              <a:t> </a:t>
            </a:r>
            <a:r>
              <a:rPr sz="3453" spc="28" baseline="1066" dirty="0">
                <a:solidFill>
                  <a:srgbClr val="FFFFFF"/>
                </a:solidFill>
                <a:latin typeface="Segoe UI Light"/>
                <a:cs typeface="Segoe UI Light"/>
              </a:rPr>
              <a:t>o</a:t>
            </a:r>
            <a:r>
              <a:rPr sz="3453" spc="24" baseline="1066" dirty="0">
                <a:solidFill>
                  <a:srgbClr val="FFFFFF"/>
                </a:solidFill>
                <a:latin typeface="Segoe UI Light"/>
                <a:cs typeface="Segoe UI Light"/>
              </a:rPr>
              <a:t>n</a:t>
            </a:r>
            <a:r>
              <a:rPr sz="3453" baseline="1066" dirty="0">
                <a:solidFill>
                  <a:srgbClr val="FFFFFF"/>
                </a:solidFill>
                <a:latin typeface="Segoe UI Light"/>
                <a:cs typeface="Segoe UI Light"/>
              </a:rPr>
              <a:t>e</a:t>
            </a:r>
            <a:r>
              <a:rPr sz="3453" spc="71" baseline="1066" dirty="0">
                <a:solidFill>
                  <a:srgbClr val="FFFFFF"/>
                </a:solidFill>
                <a:latin typeface="Segoe UI Light"/>
                <a:cs typeface="Segoe UI Light"/>
              </a:rPr>
              <a:t> </a:t>
            </a:r>
            <a:r>
              <a:rPr sz="3453" spc="19" baseline="1066" dirty="0">
                <a:solidFill>
                  <a:srgbClr val="FFFFFF"/>
                </a:solidFill>
                <a:latin typeface="Segoe UI Light"/>
                <a:cs typeface="Segoe UI Light"/>
              </a:rPr>
              <a:t>c</a:t>
            </a:r>
            <a:r>
              <a:rPr sz="3453" spc="14" baseline="1066" dirty="0">
                <a:solidFill>
                  <a:srgbClr val="FFFFFF"/>
                </a:solidFill>
                <a:latin typeface="Segoe UI Light"/>
                <a:cs typeface="Segoe UI Light"/>
              </a:rPr>
              <a:t>li</a:t>
            </a:r>
            <a:r>
              <a:rPr sz="3453" spc="24" baseline="1066" dirty="0">
                <a:solidFill>
                  <a:srgbClr val="FFFFFF"/>
                </a:solidFill>
                <a:latin typeface="Segoe UI Light"/>
                <a:cs typeface="Segoe UI Light"/>
              </a:rPr>
              <a:t>c</a:t>
            </a:r>
            <a:r>
              <a:rPr sz="3453" baseline="1066" dirty="0">
                <a:solidFill>
                  <a:srgbClr val="FFFFFF"/>
                </a:solidFill>
                <a:latin typeface="Segoe UI Light"/>
                <a:cs typeface="Segoe UI Light"/>
              </a:rPr>
              <a:t>k</a:t>
            </a:r>
            <a:r>
              <a:rPr sz="3453" spc="29" baseline="1066" dirty="0">
                <a:solidFill>
                  <a:srgbClr val="FFFFFF"/>
                </a:solidFill>
                <a:latin typeface="Segoe UI Light"/>
                <a:cs typeface="Segoe UI Light"/>
              </a:rPr>
              <a:t> </a:t>
            </a:r>
            <a:r>
              <a:rPr sz="3453" spc="-34" baseline="1066" dirty="0">
                <a:solidFill>
                  <a:srgbClr val="FFFFFF"/>
                </a:solidFill>
                <a:latin typeface="Segoe UI Light"/>
                <a:cs typeface="Segoe UI Light"/>
              </a:rPr>
              <a:t>p</a:t>
            </a:r>
            <a:r>
              <a:rPr sz="3453" spc="20" baseline="1066" dirty="0">
                <a:solidFill>
                  <a:srgbClr val="FFFFFF"/>
                </a:solidFill>
                <a:latin typeface="Segoe UI Light"/>
                <a:cs typeface="Segoe UI Light"/>
              </a:rPr>
              <a:t>u</a:t>
            </a:r>
            <a:r>
              <a:rPr sz="3453" spc="-34" baseline="1066" dirty="0">
                <a:solidFill>
                  <a:srgbClr val="FFFFFF"/>
                </a:solidFill>
                <a:latin typeface="Segoe UI Light"/>
                <a:cs typeface="Segoe UI Light"/>
              </a:rPr>
              <a:t>b</a:t>
            </a:r>
            <a:r>
              <a:rPr sz="3453" spc="15" baseline="1066" dirty="0">
                <a:solidFill>
                  <a:srgbClr val="FFFFFF"/>
                </a:solidFill>
                <a:latin typeface="Segoe UI Light"/>
                <a:cs typeface="Segoe UI Light"/>
              </a:rPr>
              <a:t>li</a:t>
            </a:r>
            <a:r>
              <a:rPr sz="3453" spc="10" baseline="1066" dirty="0">
                <a:solidFill>
                  <a:srgbClr val="FFFFFF"/>
                </a:solidFill>
                <a:latin typeface="Segoe UI Light"/>
                <a:cs typeface="Segoe UI Light"/>
              </a:rPr>
              <a:t>s</a:t>
            </a:r>
            <a:r>
              <a:rPr sz="3453" baseline="1066" dirty="0">
                <a:solidFill>
                  <a:srgbClr val="FFFFFF"/>
                </a:solidFill>
                <a:latin typeface="Segoe UI Light"/>
                <a:cs typeface="Segoe UI Light"/>
              </a:rPr>
              <a:t>h</a:t>
            </a:r>
            <a:endParaRPr sz="2302">
              <a:latin typeface="Segoe UI Light"/>
              <a:cs typeface="Segoe UI Light"/>
            </a:endParaRPr>
          </a:p>
          <a:p>
            <a:pPr marL="12441" marR="44386">
              <a:lnSpc>
                <a:spcPts val="2782"/>
              </a:lnSpc>
              <a:spcBef>
                <a:spcPts val="10"/>
              </a:spcBef>
            </a:pPr>
            <a:r>
              <a:rPr sz="2302" spc="-19" dirty="0">
                <a:solidFill>
                  <a:srgbClr val="FFFFFF"/>
                </a:solidFill>
                <a:latin typeface="Segoe UI Light"/>
                <a:cs typeface="Segoe UI Light"/>
              </a:rPr>
              <a:t>a</a:t>
            </a:r>
            <a:r>
              <a:rPr sz="2302" spc="19" dirty="0">
                <a:solidFill>
                  <a:srgbClr val="FFFFFF"/>
                </a:solidFill>
                <a:latin typeface="Segoe UI Light"/>
                <a:cs typeface="Segoe UI Light"/>
              </a:rPr>
              <a:t>n</a:t>
            </a:r>
            <a:r>
              <a:rPr sz="2302" dirty="0">
                <a:solidFill>
                  <a:srgbClr val="FFFFFF"/>
                </a:solidFill>
                <a:latin typeface="Segoe UI Light"/>
                <a:cs typeface="Segoe UI Light"/>
              </a:rPr>
              <a:t>d</a:t>
            </a:r>
            <a:r>
              <a:rPr sz="2302" spc="80" dirty="0">
                <a:solidFill>
                  <a:srgbClr val="FFFFFF"/>
                </a:solidFill>
                <a:latin typeface="Segoe UI Light"/>
                <a:cs typeface="Segoe UI Light"/>
              </a:rPr>
              <a:t> </a:t>
            </a:r>
            <a:r>
              <a:rPr sz="2302" spc="-63" dirty="0">
                <a:solidFill>
                  <a:srgbClr val="FFFFFF"/>
                </a:solidFill>
                <a:latin typeface="Segoe UI Light"/>
                <a:cs typeface="Segoe UI Light"/>
              </a:rPr>
              <a:t>r</a:t>
            </a:r>
            <a:r>
              <a:rPr sz="2302" spc="19" dirty="0">
                <a:solidFill>
                  <a:srgbClr val="FFFFFF"/>
                </a:solidFill>
                <a:latin typeface="Segoe UI Light"/>
                <a:cs typeface="Segoe UI Light"/>
              </a:rPr>
              <a:t>e</a:t>
            </a:r>
            <a:r>
              <a:rPr sz="2302" spc="-14" dirty="0">
                <a:solidFill>
                  <a:srgbClr val="FFFFFF"/>
                </a:solidFill>
                <a:latin typeface="Segoe UI Light"/>
                <a:cs typeface="Segoe UI Light"/>
              </a:rPr>
              <a:t>m</a:t>
            </a:r>
            <a:r>
              <a:rPr sz="2302" spc="28" dirty="0">
                <a:solidFill>
                  <a:srgbClr val="FFFFFF"/>
                </a:solidFill>
                <a:latin typeface="Segoe UI Light"/>
                <a:cs typeface="Segoe UI Light"/>
              </a:rPr>
              <a:t>o</a:t>
            </a:r>
            <a:r>
              <a:rPr sz="2302" spc="9" dirty="0">
                <a:solidFill>
                  <a:srgbClr val="FFFFFF"/>
                </a:solidFill>
                <a:latin typeface="Segoe UI Light"/>
                <a:cs typeface="Segoe UI Light"/>
              </a:rPr>
              <a:t>t</a:t>
            </a:r>
            <a:r>
              <a:rPr sz="2302" dirty="0">
                <a:solidFill>
                  <a:srgbClr val="FFFFFF"/>
                </a:solidFill>
                <a:latin typeface="Segoe UI Light"/>
                <a:cs typeface="Segoe UI Light"/>
              </a:rPr>
              <a:t>e</a:t>
            </a:r>
            <a:r>
              <a:rPr sz="2302" spc="181" dirty="0">
                <a:solidFill>
                  <a:srgbClr val="FFFFFF"/>
                </a:solidFill>
                <a:latin typeface="Segoe UI Light"/>
                <a:cs typeface="Segoe UI Light"/>
              </a:rPr>
              <a:t> </a:t>
            </a:r>
            <a:r>
              <a:rPr sz="2302" spc="-39" dirty="0">
                <a:solidFill>
                  <a:srgbClr val="FFFFFF"/>
                </a:solidFill>
                <a:latin typeface="Segoe UI Light"/>
                <a:cs typeface="Segoe UI Light"/>
              </a:rPr>
              <a:t>d</a:t>
            </a:r>
            <a:r>
              <a:rPr sz="2302" spc="20" dirty="0">
                <a:solidFill>
                  <a:srgbClr val="FFFFFF"/>
                </a:solidFill>
                <a:latin typeface="Segoe UI Light"/>
                <a:cs typeface="Segoe UI Light"/>
              </a:rPr>
              <a:t>e</a:t>
            </a:r>
            <a:r>
              <a:rPr sz="2302" spc="-39" dirty="0">
                <a:solidFill>
                  <a:srgbClr val="FFFFFF"/>
                </a:solidFill>
                <a:latin typeface="Segoe UI Light"/>
                <a:cs typeface="Segoe UI Light"/>
              </a:rPr>
              <a:t>b</a:t>
            </a:r>
            <a:r>
              <a:rPr sz="2302" spc="20" dirty="0">
                <a:solidFill>
                  <a:srgbClr val="FFFFFF"/>
                </a:solidFill>
                <a:latin typeface="Segoe UI Light"/>
                <a:cs typeface="Segoe UI Light"/>
              </a:rPr>
              <a:t>u</a:t>
            </a:r>
            <a:r>
              <a:rPr sz="2302" spc="-39" dirty="0">
                <a:solidFill>
                  <a:srgbClr val="FFFFFF"/>
                </a:solidFill>
                <a:latin typeface="Segoe UI Light"/>
                <a:cs typeface="Segoe UI Light"/>
              </a:rPr>
              <a:t>gg</a:t>
            </a:r>
            <a:r>
              <a:rPr sz="2302" spc="15" dirty="0">
                <a:solidFill>
                  <a:srgbClr val="FFFFFF"/>
                </a:solidFill>
                <a:latin typeface="Segoe UI Light"/>
                <a:cs typeface="Segoe UI Light"/>
              </a:rPr>
              <a:t>i</a:t>
            </a:r>
            <a:r>
              <a:rPr sz="2302" spc="20" dirty="0">
                <a:solidFill>
                  <a:srgbClr val="FFFFFF"/>
                </a:solidFill>
                <a:latin typeface="Segoe UI Light"/>
                <a:cs typeface="Segoe UI Light"/>
              </a:rPr>
              <a:t>n</a:t>
            </a:r>
            <a:r>
              <a:rPr sz="2302" dirty="0">
                <a:solidFill>
                  <a:srgbClr val="FFFFFF"/>
                </a:solidFill>
                <a:latin typeface="Segoe UI Light"/>
                <a:cs typeface="Segoe UI Light"/>
              </a:rPr>
              <a:t>g</a:t>
            </a:r>
            <a:endParaRPr sz="2302">
              <a:latin typeface="Segoe UI Light"/>
              <a:cs typeface="Segoe UI Light"/>
            </a:endParaRPr>
          </a:p>
        </p:txBody>
      </p:sp>
      <p:sp>
        <p:nvSpPr>
          <p:cNvPr id="3" name="object 3"/>
          <p:cNvSpPr txBox="1"/>
          <p:nvPr/>
        </p:nvSpPr>
        <p:spPr>
          <a:xfrm>
            <a:off x="5497224" y="4809389"/>
            <a:ext cx="172989" cy="321097"/>
          </a:xfrm>
          <a:prstGeom prst="rect">
            <a:avLst/>
          </a:prstGeom>
        </p:spPr>
        <p:txBody>
          <a:bodyPr wrap="square" lIns="0" tIns="0" rIns="0" bIns="0" rtlCol="0">
            <a:noAutofit/>
          </a:bodyPr>
          <a:lstStyle/>
          <a:p>
            <a:pPr marL="12441">
              <a:lnSpc>
                <a:spcPts val="2473"/>
              </a:lnSpc>
              <a:spcBef>
                <a:spcPts val="123"/>
              </a:spcBef>
            </a:pPr>
            <a:r>
              <a:rPr sz="2302" dirty="0">
                <a:solidFill>
                  <a:srgbClr val="FFFFFF"/>
                </a:solidFill>
                <a:latin typeface="Arial"/>
                <a:cs typeface="Arial"/>
              </a:rPr>
              <a:t>•</a:t>
            </a:r>
            <a:endParaRPr sz="2302">
              <a:latin typeface="Arial"/>
              <a:cs typeface="Arial"/>
            </a:endParaRPr>
          </a:p>
        </p:txBody>
      </p:sp>
      <p:sp>
        <p:nvSpPr>
          <p:cNvPr id="2" name="object 2"/>
          <p:cNvSpPr txBox="1"/>
          <p:nvPr/>
        </p:nvSpPr>
        <p:spPr>
          <a:xfrm>
            <a:off x="5828647" y="4809094"/>
            <a:ext cx="5296549" cy="679956"/>
          </a:xfrm>
          <a:prstGeom prst="rect">
            <a:avLst/>
          </a:prstGeom>
        </p:spPr>
        <p:txBody>
          <a:bodyPr wrap="square" lIns="0" tIns="0" rIns="0" bIns="0" rtlCol="0">
            <a:noAutofit/>
          </a:bodyPr>
          <a:lstStyle/>
          <a:p>
            <a:pPr marL="12441">
              <a:lnSpc>
                <a:spcPts val="2567"/>
              </a:lnSpc>
              <a:spcBef>
                <a:spcPts val="128"/>
              </a:spcBef>
            </a:pPr>
            <a:r>
              <a:rPr sz="3453" spc="14" baseline="1066" dirty="0">
                <a:solidFill>
                  <a:srgbClr val="FFFFFF"/>
                </a:solidFill>
                <a:latin typeface="Segoe UI Light"/>
                <a:cs typeface="Segoe UI Light"/>
              </a:rPr>
              <a:t>A</a:t>
            </a:r>
            <a:r>
              <a:rPr sz="3453" spc="19" baseline="1066" dirty="0">
                <a:solidFill>
                  <a:srgbClr val="FFFFFF"/>
                </a:solidFill>
                <a:latin typeface="Segoe UI Light"/>
                <a:cs typeface="Segoe UI Light"/>
              </a:rPr>
              <a:t>u</a:t>
            </a:r>
            <a:r>
              <a:rPr sz="3453" spc="9" baseline="1066" dirty="0">
                <a:solidFill>
                  <a:srgbClr val="FFFFFF"/>
                </a:solidFill>
                <a:latin typeface="Segoe UI Light"/>
                <a:cs typeface="Segoe UI Light"/>
              </a:rPr>
              <a:t>t</a:t>
            </a:r>
            <a:r>
              <a:rPr sz="3453" spc="33" baseline="1066" dirty="0">
                <a:solidFill>
                  <a:srgbClr val="FFFFFF"/>
                </a:solidFill>
                <a:latin typeface="Segoe UI Light"/>
                <a:cs typeface="Segoe UI Light"/>
              </a:rPr>
              <a:t>o</a:t>
            </a:r>
            <a:r>
              <a:rPr sz="3453" spc="-9" baseline="1066" dirty="0">
                <a:solidFill>
                  <a:srgbClr val="FFFFFF"/>
                </a:solidFill>
                <a:latin typeface="Segoe UI Light"/>
                <a:cs typeface="Segoe UI Light"/>
              </a:rPr>
              <a:t>m</a:t>
            </a:r>
            <a:r>
              <a:rPr sz="3453" spc="-19" baseline="1066" dirty="0">
                <a:solidFill>
                  <a:srgbClr val="FFFFFF"/>
                </a:solidFill>
                <a:latin typeface="Segoe UI Light"/>
                <a:cs typeface="Segoe UI Light"/>
              </a:rPr>
              <a:t>a</a:t>
            </a:r>
            <a:r>
              <a:rPr sz="3453" spc="9" baseline="1066" dirty="0">
                <a:solidFill>
                  <a:srgbClr val="FFFFFF"/>
                </a:solidFill>
                <a:latin typeface="Segoe UI Light"/>
                <a:cs typeface="Segoe UI Light"/>
              </a:rPr>
              <a:t>t</a:t>
            </a:r>
            <a:r>
              <a:rPr sz="3453" spc="14" baseline="1066" dirty="0">
                <a:solidFill>
                  <a:srgbClr val="FFFFFF"/>
                </a:solidFill>
                <a:latin typeface="Segoe UI Light"/>
                <a:cs typeface="Segoe UI Light"/>
              </a:rPr>
              <a:t>i</a:t>
            </a:r>
            <a:r>
              <a:rPr sz="3453" baseline="1066" dirty="0">
                <a:solidFill>
                  <a:srgbClr val="FFFFFF"/>
                </a:solidFill>
                <a:latin typeface="Segoe UI Light"/>
                <a:cs typeface="Segoe UI Light"/>
              </a:rPr>
              <a:t>c</a:t>
            </a:r>
            <a:r>
              <a:rPr sz="3453" spc="132" baseline="1066" dirty="0">
                <a:solidFill>
                  <a:srgbClr val="FFFFFF"/>
                </a:solidFill>
                <a:latin typeface="Segoe UI Light"/>
                <a:cs typeface="Segoe UI Light"/>
              </a:rPr>
              <a:t> </a:t>
            </a:r>
            <a:r>
              <a:rPr sz="3453" spc="19" baseline="1066" dirty="0">
                <a:solidFill>
                  <a:srgbClr val="FFFFFF"/>
                </a:solidFill>
                <a:latin typeface="Segoe UI Light"/>
                <a:cs typeface="Segoe UI Light"/>
              </a:rPr>
              <a:t>c</a:t>
            </a:r>
            <a:r>
              <a:rPr sz="3453" spc="14" baseline="1066" dirty="0">
                <a:solidFill>
                  <a:srgbClr val="FFFFFF"/>
                </a:solidFill>
                <a:latin typeface="Segoe UI Light"/>
                <a:cs typeface="Segoe UI Light"/>
              </a:rPr>
              <a:t>li</a:t>
            </a:r>
            <a:r>
              <a:rPr sz="3453" spc="19" baseline="1066" dirty="0">
                <a:solidFill>
                  <a:srgbClr val="FFFFFF"/>
                </a:solidFill>
                <a:latin typeface="Segoe UI Light"/>
                <a:cs typeface="Segoe UI Light"/>
              </a:rPr>
              <a:t>en</a:t>
            </a:r>
            <a:r>
              <a:rPr sz="3453" baseline="1066" dirty="0">
                <a:solidFill>
                  <a:srgbClr val="FFFFFF"/>
                </a:solidFill>
                <a:latin typeface="Segoe UI Light"/>
                <a:cs typeface="Segoe UI Light"/>
              </a:rPr>
              <a:t>t</a:t>
            </a:r>
            <a:r>
              <a:rPr sz="3453" spc="-3" baseline="1066" dirty="0">
                <a:solidFill>
                  <a:srgbClr val="FFFFFF"/>
                </a:solidFill>
                <a:latin typeface="Segoe UI Light"/>
                <a:cs typeface="Segoe UI Light"/>
              </a:rPr>
              <a:t> </a:t>
            </a:r>
            <a:r>
              <a:rPr sz="3453" spc="-28" baseline="1066" dirty="0">
                <a:solidFill>
                  <a:srgbClr val="FFFFFF"/>
                </a:solidFill>
                <a:latin typeface="Segoe UI Light"/>
                <a:cs typeface="Segoe UI Light"/>
              </a:rPr>
              <a:t>S</a:t>
            </a:r>
            <a:r>
              <a:rPr sz="3453" spc="-19" baseline="1066" dirty="0">
                <a:solidFill>
                  <a:srgbClr val="FFFFFF"/>
                </a:solidFill>
                <a:latin typeface="Segoe UI Light"/>
                <a:cs typeface="Segoe UI Light"/>
              </a:rPr>
              <a:t>D</a:t>
            </a:r>
            <a:r>
              <a:rPr sz="3453" baseline="1066" dirty="0">
                <a:solidFill>
                  <a:srgbClr val="FFFFFF"/>
                </a:solidFill>
                <a:latin typeface="Segoe UI Light"/>
                <a:cs typeface="Segoe UI Light"/>
              </a:rPr>
              <a:t>K</a:t>
            </a:r>
            <a:r>
              <a:rPr sz="3453" spc="156" baseline="1066" dirty="0">
                <a:solidFill>
                  <a:srgbClr val="FFFFFF"/>
                </a:solidFill>
                <a:latin typeface="Segoe UI Light"/>
                <a:cs typeface="Segoe UI Light"/>
              </a:rPr>
              <a:t> </a:t>
            </a:r>
            <a:r>
              <a:rPr sz="3453" spc="-38" baseline="1066" dirty="0">
                <a:solidFill>
                  <a:srgbClr val="FFFFFF"/>
                </a:solidFill>
                <a:latin typeface="Segoe UI Light"/>
                <a:cs typeface="Segoe UI Light"/>
              </a:rPr>
              <a:t>g</a:t>
            </a:r>
            <a:r>
              <a:rPr sz="3453" spc="19" baseline="1066" dirty="0">
                <a:solidFill>
                  <a:srgbClr val="FFFFFF"/>
                </a:solidFill>
                <a:latin typeface="Segoe UI Light"/>
                <a:cs typeface="Segoe UI Light"/>
              </a:rPr>
              <a:t>ene</a:t>
            </a:r>
            <a:r>
              <a:rPr sz="3453" baseline="1066" dirty="0">
                <a:solidFill>
                  <a:srgbClr val="FFFFFF"/>
                </a:solidFill>
                <a:latin typeface="Segoe UI Light"/>
                <a:cs typeface="Segoe UI Light"/>
              </a:rPr>
              <a:t>r</a:t>
            </a:r>
            <a:r>
              <a:rPr sz="3453" spc="-19" baseline="1066" dirty="0">
                <a:solidFill>
                  <a:srgbClr val="FFFFFF"/>
                </a:solidFill>
                <a:latin typeface="Segoe UI Light"/>
                <a:cs typeface="Segoe UI Light"/>
              </a:rPr>
              <a:t>a</a:t>
            </a:r>
            <a:r>
              <a:rPr sz="3453" spc="9" baseline="1066" dirty="0">
                <a:solidFill>
                  <a:srgbClr val="FFFFFF"/>
                </a:solidFill>
                <a:latin typeface="Segoe UI Light"/>
                <a:cs typeface="Segoe UI Light"/>
              </a:rPr>
              <a:t>t</a:t>
            </a:r>
            <a:r>
              <a:rPr sz="3453" spc="14" baseline="1066" dirty="0">
                <a:solidFill>
                  <a:srgbClr val="FFFFFF"/>
                </a:solidFill>
                <a:latin typeface="Segoe UI Light"/>
                <a:cs typeface="Segoe UI Light"/>
              </a:rPr>
              <a:t>i</a:t>
            </a:r>
            <a:r>
              <a:rPr sz="3453" spc="28" baseline="1066" dirty="0">
                <a:solidFill>
                  <a:srgbClr val="FFFFFF"/>
                </a:solidFill>
                <a:latin typeface="Segoe UI Light"/>
                <a:cs typeface="Segoe UI Light"/>
              </a:rPr>
              <a:t>o</a:t>
            </a:r>
            <a:r>
              <a:rPr sz="3453" baseline="1066" dirty="0">
                <a:solidFill>
                  <a:srgbClr val="FFFFFF"/>
                </a:solidFill>
                <a:latin typeface="Segoe UI Light"/>
                <a:cs typeface="Segoe UI Light"/>
              </a:rPr>
              <a:t>n</a:t>
            </a:r>
            <a:r>
              <a:rPr sz="3453" spc="133" baseline="1066" dirty="0">
                <a:solidFill>
                  <a:srgbClr val="FFFFFF"/>
                </a:solidFill>
                <a:latin typeface="Segoe UI Light"/>
                <a:cs typeface="Segoe UI Light"/>
              </a:rPr>
              <a:t> </a:t>
            </a:r>
            <a:r>
              <a:rPr sz="3453" spc="-14" baseline="1066" dirty="0">
                <a:solidFill>
                  <a:srgbClr val="FFFFFF"/>
                </a:solidFill>
                <a:latin typeface="Segoe UI Light"/>
                <a:cs typeface="Segoe UI Light"/>
              </a:rPr>
              <a:t>f</a:t>
            </a:r>
            <a:r>
              <a:rPr sz="3453" spc="28" baseline="1066" dirty="0">
                <a:solidFill>
                  <a:srgbClr val="FFFFFF"/>
                </a:solidFill>
                <a:latin typeface="Segoe UI Light"/>
                <a:cs typeface="Segoe UI Light"/>
              </a:rPr>
              <a:t>o</a:t>
            </a:r>
            <a:r>
              <a:rPr sz="3453" baseline="1066" dirty="0">
                <a:solidFill>
                  <a:srgbClr val="FFFFFF"/>
                </a:solidFill>
                <a:latin typeface="Segoe UI Light"/>
                <a:cs typeface="Segoe UI Light"/>
              </a:rPr>
              <a:t>r</a:t>
            </a:r>
            <a:r>
              <a:rPr sz="3453" spc="36" baseline="1066" dirty="0">
                <a:solidFill>
                  <a:srgbClr val="FFFFFF"/>
                </a:solidFill>
                <a:latin typeface="Segoe UI Light"/>
                <a:cs typeface="Segoe UI Light"/>
              </a:rPr>
              <a:t> </a:t>
            </a:r>
            <a:r>
              <a:rPr sz="3453" spc="-10" baseline="1066" dirty="0">
                <a:solidFill>
                  <a:srgbClr val="FFFFFF"/>
                </a:solidFill>
                <a:latin typeface="Segoe UI Light"/>
                <a:cs typeface="Segoe UI Light"/>
              </a:rPr>
              <a:t>m</a:t>
            </a:r>
            <a:r>
              <a:rPr sz="3453" spc="-24" baseline="1066" dirty="0">
                <a:solidFill>
                  <a:srgbClr val="FFFFFF"/>
                </a:solidFill>
                <a:latin typeface="Segoe UI Light"/>
                <a:cs typeface="Segoe UI Light"/>
              </a:rPr>
              <a:t>a</a:t>
            </a:r>
            <a:r>
              <a:rPr sz="3453" spc="20" baseline="1066" dirty="0">
                <a:solidFill>
                  <a:srgbClr val="FFFFFF"/>
                </a:solidFill>
                <a:latin typeface="Segoe UI Light"/>
                <a:cs typeface="Segoe UI Light"/>
              </a:rPr>
              <a:t>n</a:t>
            </a:r>
            <a:r>
              <a:rPr sz="3453" baseline="1066" dirty="0">
                <a:solidFill>
                  <a:srgbClr val="FFFFFF"/>
                </a:solidFill>
                <a:latin typeface="Segoe UI Light"/>
                <a:cs typeface="Segoe UI Light"/>
              </a:rPr>
              <a:t>y</a:t>
            </a:r>
            <a:endParaRPr sz="2302">
              <a:latin typeface="Segoe UI Light"/>
              <a:cs typeface="Segoe UI Light"/>
            </a:endParaRPr>
          </a:p>
          <a:p>
            <a:pPr marL="12441" marR="44433">
              <a:lnSpc>
                <a:spcPts val="2787"/>
              </a:lnSpc>
              <a:spcBef>
                <a:spcPts val="11"/>
              </a:spcBef>
            </a:pPr>
            <a:r>
              <a:rPr sz="2302" spc="15" dirty="0">
                <a:solidFill>
                  <a:srgbClr val="FFFFFF"/>
                </a:solidFill>
                <a:latin typeface="Segoe UI Light"/>
                <a:cs typeface="Segoe UI Light"/>
              </a:rPr>
              <a:t>l</a:t>
            </a:r>
            <a:r>
              <a:rPr sz="2302" spc="-20" dirty="0">
                <a:solidFill>
                  <a:srgbClr val="FFFFFF"/>
                </a:solidFill>
                <a:latin typeface="Segoe UI Light"/>
                <a:cs typeface="Segoe UI Light"/>
              </a:rPr>
              <a:t>a</a:t>
            </a:r>
            <a:r>
              <a:rPr sz="2302" spc="24" dirty="0">
                <a:solidFill>
                  <a:srgbClr val="FFFFFF"/>
                </a:solidFill>
                <a:latin typeface="Segoe UI Light"/>
                <a:cs typeface="Segoe UI Light"/>
              </a:rPr>
              <a:t>n</a:t>
            </a:r>
            <a:r>
              <a:rPr sz="2302" spc="-34" dirty="0">
                <a:solidFill>
                  <a:srgbClr val="FFFFFF"/>
                </a:solidFill>
                <a:latin typeface="Segoe UI Light"/>
                <a:cs typeface="Segoe UI Light"/>
              </a:rPr>
              <a:t>g</a:t>
            </a:r>
            <a:r>
              <a:rPr sz="2302" spc="24" dirty="0">
                <a:solidFill>
                  <a:srgbClr val="FFFFFF"/>
                </a:solidFill>
                <a:latin typeface="Segoe UI Light"/>
                <a:cs typeface="Segoe UI Light"/>
              </a:rPr>
              <a:t>u</a:t>
            </a:r>
            <a:r>
              <a:rPr sz="2302" spc="-20" dirty="0">
                <a:solidFill>
                  <a:srgbClr val="FFFFFF"/>
                </a:solidFill>
                <a:latin typeface="Segoe UI Light"/>
                <a:cs typeface="Segoe UI Light"/>
              </a:rPr>
              <a:t>a</a:t>
            </a:r>
            <a:r>
              <a:rPr sz="2302" spc="-34" dirty="0">
                <a:solidFill>
                  <a:srgbClr val="FFFFFF"/>
                </a:solidFill>
                <a:latin typeface="Segoe UI Light"/>
                <a:cs typeface="Segoe UI Light"/>
              </a:rPr>
              <a:t>g</a:t>
            </a:r>
            <a:r>
              <a:rPr sz="2302" spc="24" dirty="0">
                <a:solidFill>
                  <a:srgbClr val="FFFFFF"/>
                </a:solidFill>
                <a:latin typeface="Segoe UI Light"/>
                <a:cs typeface="Segoe UI Light"/>
              </a:rPr>
              <a:t>e</a:t>
            </a:r>
            <a:r>
              <a:rPr sz="2302" dirty="0">
                <a:solidFill>
                  <a:srgbClr val="FFFFFF"/>
                </a:solidFill>
                <a:latin typeface="Segoe UI Light"/>
                <a:cs typeface="Segoe UI Light"/>
              </a:rPr>
              <a:t>s</a:t>
            </a:r>
            <a:endParaRPr sz="2302">
              <a:latin typeface="Segoe UI Light"/>
              <a:cs typeface="Segoe UI Light"/>
            </a:endParaRPr>
          </a:p>
        </p:txBody>
      </p:sp>
    </p:spTree>
    <p:extLst>
      <p:ext uri="{BB962C8B-B14F-4D97-AF65-F5344CB8AC3E}">
        <p14:creationId xmlns:p14="http://schemas.microsoft.com/office/powerpoint/2010/main" val="4181720966"/>
      </p:ext>
    </p:extLst>
  </p:cSld>
  <p:clrMapOvr>
    <a:masterClrMapping/>
  </p:clrMapOvr>
  <p:timing>
    <p:tnLst>
      <p:par>
        <p:cTn id="1" dur="indefinite" restart="never" nodeType="tmRoot"/>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8"/>
          <p:cNvSpPr/>
          <p:nvPr/>
        </p:nvSpPr>
        <p:spPr>
          <a:xfrm>
            <a:off x="6691169" y="1555"/>
            <a:ext cx="5490879" cy="6861359"/>
          </a:xfrm>
          <a:prstGeom prst="rect">
            <a:avLst/>
          </a:prstGeom>
          <a:blipFill>
            <a:blip r:embed="rId2" cstate="print"/>
            <a:stretch>
              <a:fillRect/>
            </a:stretch>
          </a:blipFill>
        </p:spPr>
        <p:txBody>
          <a:bodyPr wrap="square" lIns="0" tIns="0" rIns="0" bIns="0" rtlCol="0">
            <a:noAutofit/>
          </a:bodyPr>
          <a:lstStyle/>
          <a:p>
            <a:endParaRPr sz="1763"/>
          </a:p>
        </p:txBody>
      </p:sp>
      <p:sp>
        <p:nvSpPr>
          <p:cNvPr id="7" name="object 7"/>
          <p:cNvSpPr/>
          <p:nvPr/>
        </p:nvSpPr>
        <p:spPr>
          <a:xfrm>
            <a:off x="5625239" y="449425"/>
            <a:ext cx="662847" cy="671803"/>
          </a:xfrm>
          <a:prstGeom prst="rect">
            <a:avLst/>
          </a:prstGeom>
          <a:blipFill>
            <a:blip r:embed="rId3" cstate="print"/>
            <a:stretch>
              <a:fillRect/>
            </a:stretch>
          </a:blipFill>
        </p:spPr>
        <p:txBody>
          <a:bodyPr wrap="square" lIns="0" tIns="0" rIns="0" bIns="0" rtlCol="0">
            <a:noAutofit/>
          </a:bodyPr>
          <a:lstStyle/>
          <a:p>
            <a:endParaRPr sz="1763"/>
          </a:p>
        </p:txBody>
      </p:sp>
      <p:sp>
        <p:nvSpPr>
          <p:cNvPr id="6" name="object 6"/>
          <p:cNvSpPr txBox="1"/>
          <p:nvPr/>
        </p:nvSpPr>
        <p:spPr>
          <a:xfrm>
            <a:off x="622912" y="1754235"/>
            <a:ext cx="101174" cy="2429131"/>
          </a:xfrm>
          <a:prstGeom prst="rect">
            <a:avLst/>
          </a:prstGeom>
        </p:spPr>
        <p:txBody>
          <a:bodyPr wrap="square" lIns="0" tIns="0" rIns="0" bIns="0" rtlCol="0">
            <a:noAutofit/>
          </a:bodyPr>
          <a:lstStyle/>
          <a:p>
            <a:pPr marL="12441">
              <a:lnSpc>
                <a:spcPts val="1322"/>
              </a:lnSpc>
              <a:spcBef>
                <a:spcPts val="66"/>
              </a:spcBef>
            </a:pPr>
            <a:r>
              <a:rPr sz="1176" dirty="0">
                <a:latin typeface="Arial"/>
                <a:cs typeface="Arial"/>
              </a:rPr>
              <a:t>•</a:t>
            </a:r>
            <a:endParaRPr sz="1176">
              <a:latin typeface="Arial"/>
              <a:cs typeface="Arial"/>
            </a:endParaRPr>
          </a:p>
          <a:p>
            <a:pPr marL="12441">
              <a:lnSpc>
                <a:spcPct val="95825"/>
              </a:lnSpc>
              <a:spcBef>
                <a:spcPts val="208"/>
              </a:spcBef>
            </a:pPr>
            <a:r>
              <a:rPr sz="1176" dirty="0">
                <a:latin typeface="Arial"/>
                <a:cs typeface="Arial"/>
              </a:rPr>
              <a:t>•</a:t>
            </a:r>
            <a:endParaRPr sz="1176">
              <a:latin typeface="Arial"/>
              <a:cs typeface="Arial"/>
            </a:endParaRPr>
          </a:p>
          <a:p>
            <a:pPr marL="12441">
              <a:lnSpc>
                <a:spcPct val="95825"/>
              </a:lnSpc>
              <a:spcBef>
                <a:spcPts val="269"/>
              </a:spcBef>
            </a:pPr>
            <a:r>
              <a:rPr sz="1176" dirty="0">
                <a:latin typeface="Arial"/>
                <a:cs typeface="Arial"/>
              </a:rPr>
              <a:t>•</a:t>
            </a:r>
            <a:endParaRPr sz="1176">
              <a:latin typeface="Arial"/>
              <a:cs typeface="Arial"/>
            </a:endParaRPr>
          </a:p>
          <a:p>
            <a:pPr marL="12441">
              <a:lnSpc>
                <a:spcPct val="95825"/>
              </a:lnSpc>
              <a:spcBef>
                <a:spcPts val="274"/>
              </a:spcBef>
            </a:pPr>
            <a:r>
              <a:rPr sz="1176" dirty="0">
                <a:latin typeface="Arial"/>
                <a:cs typeface="Arial"/>
              </a:rPr>
              <a:t>•</a:t>
            </a:r>
            <a:endParaRPr sz="1176">
              <a:latin typeface="Arial"/>
              <a:cs typeface="Arial"/>
            </a:endParaRPr>
          </a:p>
          <a:p>
            <a:pPr marL="12441">
              <a:lnSpc>
                <a:spcPct val="95825"/>
              </a:lnSpc>
              <a:spcBef>
                <a:spcPts val="200"/>
              </a:spcBef>
            </a:pPr>
            <a:r>
              <a:rPr sz="1176" dirty="0">
                <a:latin typeface="Arial"/>
                <a:cs typeface="Arial"/>
              </a:rPr>
              <a:t>•</a:t>
            </a:r>
            <a:endParaRPr sz="1176">
              <a:latin typeface="Arial"/>
              <a:cs typeface="Arial"/>
            </a:endParaRPr>
          </a:p>
          <a:p>
            <a:pPr marL="12441">
              <a:lnSpc>
                <a:spcPct val="95825"/>
              </a:lnSpc>
              <a:spcBef>
                <a:spcPts val="269"/>
              </a:spcBef>
            </a:pPr>
            <a:r>
              <a:rPr sz="1176" dirty="0">
                <a:latin typeface="Arial"/>
                <a:cs typeface="Arial"/>
              </a:rPr>
              <a:t>•</a:t>
            </a:r>
            <a:endParaRPr sz="1176">
              <a:latin typeface="Arial"/>
              <a:cs typeface="Arial"/>
            </a:endParaRPr>
          </a:p>
          <a:p>
            <a:pPr marL="12441">
              <a:lnSpc>
                <a:spcPct val="95825"/>
              </a:lnSpc>
              <a:spcBef>
                <a:spcPts val="274"/>
              </a:spcBef>
            </a:pPr>
            <a:r>
              <a:rPr sz="1176" dirty="0">
                <a:latin typeface="Arial"/>
                <a:cs typeface="Arial"/>
              </a:rPr>
              <a:t>•</a:t>
            </a:r>
            <a:endParaRPr sz="1176">
              <a:latin typeface="Arial"/>
              <a:cs typeface="Arial"/>
            </a:endParaRPr>
          </a:p>
          <a:p>
            <a:pPr marL="12441">
              <a:lnSpc>
                <a:spcPct val="95825"/>
              </a:lnSpc>
              <a:spcBef>
                <a:spcPts val="269"/>
              </a:spcBef>
            </a:pPr>
            <a:r>
              <a:rPr sz="1176" dirty="0">
                <a:latin typeface="Arial"/>
                <a:cs typeface="Arial"/>
              </a:rPr>
              <a:t>•</a:t>
            </a:r>
            <a:endParaRPr sz="1176">
              <a:latin typeface="Arial"/>
              <a:cs typeface="Arial"/>
            </a:endParaRPr>
          </a:p>
          <a:p>
            <a:pPr marL="12441">
              <a:lnSpc>
                <a:spcPct val="95825"/>
              </a:lnSpc>
              <a:spcBef>
                <a:spcPts val="200"/>
              </a:spcBef>
            </a:pPr>
            <a:r>
              <a:rPr sz="1176" dirty="0">
                <a:latin typeface="Arial"/>
                <a:cs typeface="Arial"/>
              </a:rPr>
              <a:t>•</a:t>
            </a:r>
            <a:endParaRPr sz="1176">
              <a:latin typeface="Arial"/>
              <a:cs typeface="Arial"/>
            </a:endParaRPr>
          </a:p>
          <a:p>
            <a:pPr marL="12441">
              <a:lnSpc>
                <a:spcPct val="95825"/>
              </a:lnSpc>
              <a:spcBef>
                <a:spcPts val="269"/>
              </a:spcBef>
            </a:pPr>
            <a:r>
              <a:rPr sz="1176" dirty="0">
                <a:latin typeface="Arial"/>
                <a:cs typeface="Arial"/>
              </a:rPr>
              <a:t>•</a:t>
            </a:r>
            <a:endParaRPr sz="1176">
              <a:latin typeface="Arial"/>
              <a:cs typeface="Arial"/>
            </a:endParaRPr>
          </a:p>
          <a:p>
            <a:pPr marL="12441">
              <a:lnSpc>
                <a:spcPct val="95825"/>
              </a:lnSpc>
              <a:spcBef>
                <a:spcPts val="274"/>
              </a:spcBef>
            </a:pPr>
            <a:r>
              <a:rPr sz="1176" dirty="0">
                <a:latin typeface="Arial"/>
                <a:cs typeface="Arial"/>
              </a:rPr>
              <a:t>•</a:t>
            </a:r>
            <a:endParaRPr sz="1176">
              <a:latin typeface="Arial"/>
              <a:cs typeface="Arial"/>
            </a:endParaRPr>
          </a:p>
          <a:p>
            <a:pPr marL="12441">
              <a:lnSpc>
                <a:spcPct val="95825"/>
              </a:lnSpc>
              <a:spcBef>
                <a:spcPts val="269"/>
              </a:spcBef>
            </a:pPr>
            <a:r>
              <a:rPr sz="1176" dirty="0">
                <a:latin typeface="Arial"/>
                <a:cs typeface="Arial"/>
              </a:rPr>
              <a:t>•</a:t>
            </a:r>
            <a:endParaRPr sz="1176">
              <a:latin typeface="Arial"/>
              <a:cs typeface="Arial"/>
            </a:endParaRPr>
          </a:p>
        </p:txBody>
      </p:sp>
      <p:sp>
        <p:nvSpPr>
          <p:cNvPr id="5" name="object 5"/>
          <p:cNvSpPr txBox="1"/>
          <p:nvPr/>
        </p:nvSpPr>
        <p:spPr>
          <a:xfrm>
            <a:off x="900901" y="1754084"/>
            <a:ext cx="1472232" cy="2429131"/>
          </a:xfrm>
          <a:prstGeom prst="rect">
            <a:avLst/>
          </a:prstGeom>
        </p:spPr>
        <p:txBody>
          <a:bodyPr wrap="square" lIns="0" tIns="0" rIns="0" bIns="0" rtlCol="0">
            <a:noAutofit/>
          </a:bodyPr>
          <a:lstStyle/>
          <a:p>
            <a:pPr marL="12441" marR="29785">
              <a:lnSpc>
                <a:spcPts val="1367"/>
              </a:lnSpc>
              <a:spcBef>
                <a:spcPts val="68"/>
              </a:spcBef>
            </a:pPr>
            <a:r>
              <a:rPr sz="1176" spc="14" dirty="0">
                <a:latin typeface="Segoe UI"/>
                <a:cs typeface="Segoe UI"/>
              </a:rPr>
              <a:t>B</a:t>
            </a:r>
            <a:r>
              <a:rPr sz="1176" dirty="0">
                <a:latin typeface="Segoe UI"/>
                <a:cs typeface="Segoe UI"/>
              </a:rPr>
              <a:t>ox</a:t>
            </a:r>
            <a:endParaRPr sz="1176">
              <a:latin typeface="Segoe UI"/>
              <a:cs typeface="Segoe UI"/>
            </a:endParaRPr>
          </a:p>
          <a:p>
            <a:pPr marL="12441" marR="840931">
              <a:lnSpc>
                <a:spcPct val="115162"/>
              </a:lnSpc>
            </a:pPr>
            <a:r>
              <a:rPr sz="1176" spc="28" dirty="0">
                <a:latin typeface="Segoe UI"/>
                <a:cs typeface="Segoe UI"/>
              </a:rPr>
              <a:t>C</a:t>
            </a:r>
            <a:r>
              <a:rPr sz="1176" spc="24" dirty="0">
                <a:latin typeface="Segoe UI"/>
                <a:cs typeface="Segoe UI"/>
              </a:rPr>
              <a:t>h</a:t>
            </a:r>
            <a:r>
              <a:rPr sz="1176" spc="19" dirty="0">
                <a:latin typeface="Segoe UI"/>
                <a:cs typeface="Segoe UI"/>
              </a:rPr>
              <a:t>a</a:t>
            </a:r>
            <a:r>
              <a:rPr sz="1176" spc="14" dirty="0">
                <a:latin typeface="Segoe UI"/>
                <a:cs typeface="Segoe UI"/>
              </a:rPr>
              <a:t>tt</a:t>
            </a:r>
            <a:r>
              <a:rPr sz="1176" spc="4" dirty="0">
                <a:latin typeface="Segoe UI"/>
                <a:cs typeface="Segoe UI"/>
              </a:rPr>
              <a:t>e</a:t>
            </a:r>
            <a:r>
              <a:rPr sz="1176" dirty="0">
                <a:latin typeface="Segoe UI"/>
                <a:cs typeface="Segoe UI"/>
              </a:rPr>
              <a:t>r D</a:t>
            </a:r>
            <a:r>
              <a:rPr sz="1176" spc="4" dirty="0">
                <a:latin typeface="Segoe UI"/>
                <a:cs typeface="Segoe UI"/>
              </a:rPr>
              <a:t>e</a:t>
            </a:r>
            <a:r>
              <a:rPr sz="1176" spc="-9" dirty="0">
                <a:latin typeface="Segoe UI"/>
                <a:cs typeface="Segoe UI"/>
              </a:rPr>
              <a:t>l</a:t>
            </a:r>
            <a:r>
              <a:rPr sz="1176" spc="19" dirty="0">
                <a:latin typeface="Segoe UI"/>
                <a:cs typeface="Segoe UI"/>
              </a:rPr>
              <a:t>a</a:t>
            </a:r>
            <a:r>
              <a:rPr sz="1176" dirty="0">
                <a:latin typeface="Segoe UI"/>
                <a:cs typeface="Segoe UI"/>
              </a:rPr>
              <a:t>y D</a:t>
            </a:r>
            <a:r>
              <a:rPr sz="1176" spc="5" dirty="0">
                <a:latin typeface="Segoe UI"/>
                <a:cs typeface="Segoe UI"/>
              </a:rPr>
              <a:t>r</a:t>
            </a:r>
            <a:r>
              <a:rPr sz="1176" dirty="0">
                <a:latin typeface="Segoe UI"/>
                <a:cs typeface="Segoe UI"/>
              </a:rPr>
              <a:t>opbox</a:t>
            </a:r>
            <a:endParaRPr sz="1176">
              <a:latin typeface="Segoe UI"/>
              <a:cs typeface="Segoe UI"/>
            </a:endParaRPr>
          </a:p>
          <a:p>
            <a:pPr marL="12441" marR="29785">
              <a:lnSpc>
                <a:spcPts val="1494"/>
              </a:lnSpc>
              <a:spcBef>
                <a:spcPts val="74"/>
              </a:spcBef>
            </a:pPr>
            <a:r>
              <a:rPr sz="1176" dirty="0">
                <a:latin typeface="Segoe UI"/>
                <a:cs typeface="Segoe UI"/>
              </a:rPr>
              <a:t>A</a:t>
            </a:r>
            <a:r>
              <a:rPr sz="1176" spc="19" dirty="0">
                <a:latin typeface="Segoe UI"/>
                <a:cs typeface="Segoe UI"/>
              </a:rPr>
              <a:t>z</a:t>
            </a:r>
            <a:r>
              <a:rPr sz="1176" spc="24" dirty="0">
                <a:latin typeface="Segoe UI"/>
                <a:cs typeface="Segoe UI"/>
              </a:rPr>
              <a:t>u</a:t>
            </a:r>
            <a:r>
              <a:rPr sz="1176" spc="4" dirty="0">
                <a:latin typeface="Segoe UI"/>
                <a:cs typeface="Segoe UI"/>
              </a:rPr>
              <a:t>r</a:t>
            </a:r>
            <a:r>
              <a:rPr sz="1176" dirty="0">
                <a:latin typeface="Segoe UI"/>
                <a:cs typeface="Segoe UI"/>
              </a:rPr>
              <a:t>e</a:t>
            </a:r>
            <a:r>
              <a:rPr sz="1176" spc="-43" dirty="0">
                <a:latin typeface="Segoe UI"/>
                <a:cs typeface="Segoe UI"/>
              </a:rPr>
              <a:t> </a:t>
            </a:r>
            <a:r>
              <a:rPr sz="1176" spc="-4" dirty="0">
                <a:latin typeface="Segoe UI"/>
                <a:cs typeface="Segoe UI"/>
              </a:rPr>
              <a:t>H</a:t>
            </a:r>
            <a:r>
              <a:rPr sz="1176" dirty="0">
                <a:latin typeface="Segoe UI"/>
                <a:cs typeface="Segoe UI"/>
              </a:rPr>
              <a:t>D</a:t>
            </a:r>
            <a:r>
              <a:rPr sz="1176" spc="-74" dirty="0">
                <a:latin typeface="Segoe UI"/>
                <a:cs typeface="Segoe UI"/>
              </a:rPr>
              <a:t> </a:t>
            </a:r>
            <a:r>
              <a:rPr sz="1176" spc="33" dirty="0">
                <a:latin typeface="Segoe UI"/>
                <a:cs typeface="Segoe UI"/>
              </a:rPr>
              <a:t>I</a:t>
            </a:r>
            <a:r>
              <a:rPr sz="1176" spc="24" dirty="0">
                <a:latin typeface="Segoe UI"/>
                <a:cs typeface="Segoe UI"/>
              </a:rPr>
              <a:t>n</a:t>
            </a:r>
            <a:r>
              <a:rPr sz="1176" spc="-14" dirty="0">
                <a:latin typeface="Segoe UI"/>
                <a:cs typeface="Segoe UI"/>
              </a:rPr>
              <a:t>s</a:t>
            </a:r>
            <a:r>
              <a:rPr sz="1176" spc="-9" dirty="0">
                <a:latin typeface="Segoe UI"/>
                <a:cs typeface="Segoe UI"/>
              </a:rPr>
              <a:t>i</a:t>
            </a:r>
            <a:r>
              <a:rPr sz="1176" dirty="0">
                <a:latin typeface="Segoe UI"/>
                <a:cs typeface="Segoe UI"/>
              </a:rPr>
              <a:t>g</a:t>
            </a:r>
            <a:r>
              <a:rPr sz="1176" spc="19" dirty="0">
                <a:latin typeface="Segoe UI"/>
                <a:cs typeface="Segoe UI"/>
              </a:rPr>
              <a:t>h</a:t>
            </a:r>
            <a:r>
              <a:rPr sz="1176" dirty="0">
                <a:latin typeface="Segoe UI"/>
                <a:cs typeface="Segoe UI"/>
              </a:rPr>
              <a:t>t</a:t>
            </a:r>
            <a:endParaRPr sz="1176">
              <a:latin typeface="Segoe UI"/>
              <a:cs typeface="Segoe UI"/>
            </a:endParaRPr>
          </a:p>
          <a:p>
            <a:pPr marL="12441" marR="29785">
              <a:lnSpc>
                <a:spcPct val="110839"/>
              </a:lnSpc>
            </a:pPr>
            <a:r>
              <a:rPr sz="1176" spc="-20" dirty="0">
                <a:latin typeface="Segoe UI"/>
                <a:cs typeface="Segoe UI"/>
              </a:rPr>
              <a:t>M</a:t>
            </a:r>
            <a:r>
              <a:rPr sz="1176" spc="20" dirty="0">
                <a:latin typeface="Segoe UI"/>
                <a:cs typeface="Segoe UI"/>
              </a:rPr>
              <a:t>a</a:t>
            </a:r>
            <a:r>
              <a:rPr sz="1176" spc="5" dirty="0">
                <a:latin typeface="Segoe UI"/>
                <a:cs typeface="Segoe UI"/>
              </a:rPr>
              <a:t>r</a:t>
            </a:r>
            <a:r>
              <a:rPr sz="1176" spc="-34" dirty="0">
                <a:latin typeface="Segoe UI"/>
                <a:cs typeface="Segoe UI"/>
              </a:rPr>
              <a:t>k</a:t>
            </a:r>
            <a:r>
              <a:rPr sz="1176" spc="5" dirty="0">
                <a:latin typeface="Segoe UI"/>
                <a:cs typeface="Segoe UI"/>
              </a:rPr>
              <a:t>e</a:t>
            </a:r>
            <a:r>
              <a:rPr sz="1176" spc="15" dirty="0">
                <a:latin typeface="Segoe UI"/>
                <a:cs typeface="Segoe UI"/>
              </a:rPr>
              <a:t>t</a:t>
            </a:r>
            <a:r>
              <a:rPr sz="1176" dirty="0">
                <a:latin typeface="Segoe UI"/>
                <a:cs typeface="Segoe UI"/>
              </a:rPr>
              <a:t>o</a:t>
            </a:r>
            <a:endParaRPr sz="1176">
              <a:latin typeface="Segoe UI"/>
              <a:cs typeface="Segoe UI"/>
            </a:endParaRPr>
          </a:p>
          <a:p>
            <a:pPr marL="12441">
              <a:lnSpc>
                <a:spcPct val="110839"/>
              </a:lnSpc>
              <a:spcBef>
                <a:spcPts val="59"/>
              </a:spcBef>
            </a:pPr>
            <a:r>
              <a:rPr sz="1176" dirty="0">
                <a:latin typeface="Segoe UI"/>
                <a:cs typeface="Segoe UI"/>
              </a:rPr>
              <a:t>A</a:t>
            </a:r>
            <a:r>
              <a:rPr sz="1176" spc="19" dirty="0">
                <a:latin typeface="Segoe UI"/>
                <a:cs typeface="Segoe UI"/>
              </a:rPr>
              <a:t>z</a:t>
            </a:r>
            <a:r>
              <a:rPr sz="1176" spc="24" dirty="0">
                <a:latin typeface="Segoe UI"/>
                <a:cs typeface="Segoe UI"/>
              </a:rPr>
              <a:t>u</a:t>
            </a:r>
            <a:r>
              <a:rPr sz="1176" spc="4" dirty="0">
                <a:latin typeface="Segoe UI"/>
                <a:cs typeface="Segoe UI"/>
              </a:rPr>
              <a:t>r</a:t>
            </a:r>
            <a:r>
              <a:rPr sz="1176" dirty="0">
                <a:latin typeface="Segoe UI"/>
                <a:cs typeface="Segoe UI"/>
              </a:rPr>
              <a:t>e</a:t>
            </a:r>
            <a:r>
              <a:rPr sz="1176" spc="-43" dirty="0">
                <a:latin typeface="Segoe UI"/>
                <a:cs typeface="Segoe UI"/>
              </a:rPr>
              <a:t> </a:t>
            </a:r>
            <a:r>
              <a:rPr sz="1176" spc="-19" dirty="0">
                <a:latin typeface="Segoe UI"/>
                <a:cs typeface="Segoe UI"/>
              </a:rPr>
              <a:t>M</a:t>
            </a:r>
            <a:r>
              <a:rPr sz="1176" spc="4" dirty="0">
                <a:latin typeface="Segoe UI"/>
                <a:cs typeface="Segoe UI"/>
              </a:rPr>
              <a:t>e</a:t>
            </a:r>
            <a:r>
              <a:rPr sz="1176" dirty="0">
                <a:latin typeface="Segoe UI"/>
                <a:cs typeface="Segoe UI"/>
              </a:rPr>
              <a:t>d</a:t>
            </a:r>
            <a:r>
              <a:rPr sz="1176" spc="-9" dirty="0">
                <a:latin typeface="Segoe UI"/>
                <a:cs typeface="Segoe UI"/>
              </a:rPr>
              <a:t>i</a:t>
            </a:r>
            <a:r>
              <a:rPr sz="1176" dirty="0">
                <a:latin typeface="Segoe UI"/>
                <a:cs typeface="Segoe UI"/>
              </a:rPr>
              <a:t>a</a:t>
            </a:r>
            <a:r>
              <a:rPr sz="1176" spc="-8" dirty="0">
                <a:latin typeface="Segoe UI"/>
                <a:cs typeface="Segoe UI"/>
              </a:rPr>
              <a:t> </a:t>
            </a:r>
            <a:r>
              <a:rPr sz="1176" dirty="0">
                <a:latin typeface="Segoe UI"/>
                <a:cs typeface="Segoe UI"/>
              </a:rPr>
              <a:t>Se</a:t>
            </a:r>
            <a:r>
              <a:rPr sz="1176" spc="77" dirty="0">
                <a:latin typeface="Segoe UI"/>
                <a:cs typeface="Segoe UI"/>
              </a:rPr>
              <a:t>r</a:t>
            </a:r>
            <a:r>
              <a:rPr sz="1176" spc="-9" dirty="0">
                <a:latin typeface="Segoe UI"/>
                <a:cs typeface="Segoe UI"/>
              </a:rPr>
              <a:t>vi</a:t>
            </a:r>
            <a:r>
              <a:rPr sz="1176" spc="9" dirty="0">
                <a:latin typeface="Segoe UI"/>
                <a:cs typeface="Segoe UI"/>
              </a:rPr>
              <a:t>c</a:t>
            </a:r>
            <a:r>
              <a:rPr sz="1176" spc="4" dirty="0">
                <a:latin typeface="Segoe UI"/>
                <a:cs typeface="Segoe UI"/>
              </a:rPr>
              <a:t>e</a:t>
            </a:r>
            <a:r>
              <a:rPr sz="1176" dirty="0">
                <a:latin typeface="Segoe UI"/>
                <a:cs typeface="Segoe UI"/>
              </a:rPr>
              <a:t>s</a:t>
            </a:r>
            <a:endParaRPr sz="1176">
              <a:latin typeface="Segoe UI"/>
              <a:cs typeface="Segoe UI"/>
            </a:endParaRPr>
          </a:p>
          <a:p>
            <a:pPr marL="12441" marR="696734">
              <a:lnSpc>
                <a:spcPct val="113500"/>
              </a:lnSpc>
              <a:spcBef>
                <a:spcPts val="59"/>
              </a:spcBef>
            </a:pPr>
            <a:r>
              <a:rPr sz="1176" spc="9" dirty="0">
                <a:latin typeface="Segoe UI"/>
                <a:cs typeface="Segoe UI"/>
              </a:rPr>
              <a:t>O</a:t>
            </a:r>
            <a:r>
              <a:rPr sz="1176" spc="24" dirty="0">
                <a:latin typeface="Segoe UI"/>
                <a:cs typeface="Segoe UI"/>
              </a:rPr>
              <a:t>n</a:t>
            </a:r>
            <a:r>
              <a:rPr sz="1176" spc="4" dirty="0">
                <a:latin typeface="Segoe UI"/>
                <a:cs typeface="Segoe UI"/>
              </a:rPr>
              <a:t>e</a:t>
            </a:r>
            <a:r>
              <a:rPr sz="1176" dirty="0">
                <a:latin typeface="Segoe UI"/>
                <a:cs typeface="Segoe UI"/>
              </a:rPr>
              <a:t>D</a:t>
            </a:r>
            <a:r>
              <a:rPr sz="1176" spc="4" dirty="0">
                <a:latin typeface="Segoe UI"/>
                <a:cs typeface="Segoe UI"/>
              </a:rPr>
              <a:t>r</a:t>
            </a:r>
            <a:r>
              <a:rPr sz="1176" spc="-9" dirty="0">
                <a:latin typeface="Segoe UI"/>
                <a:cs typeface="Segoe UI"/>
              </a:rPr>
              <a:t>iv</a:t>
            </a:r>
            <a:r>
              <a:rPr sz="1176" dirty="0">
                <a:latin typeface="Segoe UI"/>
                <a:cs typeface="Segoe UI"/>
              </a:rPr>
              <a:t>e S</a:t>
            </a:r>
            <a:r>
              <a:rPr sz="1176" spc="20" dirty="0">
                <a:latin typeface="Segoe UI"/>
                <a:cs typeface="Segoe UI"/>
              </a:rPr>
              <a:t>ha</a:t>
            </a:r>
            <a:r>
              <a:rPr sz="1176" spc="5" dirty="0">
                <a:latin typeface="Segoe UI"/>
                <a:cs typeface="Segoe UI"/>
              </a:rPr>
              <a:t>re</a:t>
            </a:r>
            <a:r>
              <a:rPr sz="1176" spc="-39" dirty="0">
                <a:latin typeface="Segoe UI"/>
                <a:cs typeface="Segoe UI"/>
              </a:rPr>
              <a:t>P</a:t>
            </a:r>
            <a:r>
              <a:rPr sz="1176" dirty="0">
                <a:latin typeface="Segoe UI"/>
                <a:cs typeface="Segoe UI"/>
              </a:rPr>
              <a:t>o</a:t>
            </a:r>
            <a:r>
              <a:rPr sz="1176" spc="-10" dirty="0">
                <a:latin typeface="Segoe UI"/>
                <a:cs typeface="Segoe UI"/>
              </a:rPr>
              <a:t>i</a:t>
            </a:r>
            <a:r>
              <a:rPr sz="1176" spc="24" dirty="0">
                <a:latin typeface="Segoe UI"/>
                <a:cs typeface="Segoe UI"/>
              </a:rPr>
              <a:t>n</a:t>
            </a:r>
            <a:r>
              <a:rPr sz="1176" dirty="0">
                <a:latin typeface="Segoe UI"/>
                <a:cs typeface="Segoe UI"/>
              </a:rPr>
              <a:t>t S</a:t>
            </a:r>
            <a:r>
              <a:rPr sz="1176" spc="4" dirty="0">
                <a:latin typeface="Segoe UI"/>
                <a:cs typeface="Segoe UI"/>
              </a:rPr>
              <a:t>Q</a:t>
            </a:r>
            <a:r>
              <a:rPr sz="1176" dirty="0">
                <a:latin typeface="Segoe UI"/>
                <a:cs typeface="Segoe UI"/>
              </a:rPr>
              <a:t>L</a:t>
            </a:r>
            <a:r>
              <a:rPr sz="1176" spc="2" dirty="0">
                <a:latin typeface="Segoe UI"/>
                <a:cs typeface="Segoe UI"/>
              </a:rPr>
              <a:t> </a:t>
            </a:r>
            <a:r>
              <a:rPr sz="1176" dirty="0">
                <a:latin typeface="Segoe UI"/>
                <a:cs typeface="Segoe UI"/>
              </a:rPr>
              <a:t>Se</a:t>
            </a:r>
            <a:r>
              <a:rPr sz="1176" spc="77" dirty="0">
                <a:latin typeface="Segoe UI"/>
                <a:cs typeface="Segoe UI"/>
              </a:rPr>
              <a:t>r</a:t>
            </a:r>
            <a:r>
              <a:rPr sz="1176" spc="-9" dirty="0">
                <a:latin typeface="Segoe UI"/>
                <a:cs typeface="Segoe UI"/>
              </a:rPr>
              <a:t>v</a:t>
            </a:r>
            <a:r>
              <a:rPr sz="1176" spc="4" dirty="0">
                <a:latin typeface="Segoe UI"/>
                <a:cs typeface="Segoe UI"/>
              </a:rPr>
              <a:t>e</a:t>
            </a:r>
            <a:r>
              <a:rPr sz="1176" dirty="0">
                <a:latin typeface="Segoe UI"/>
                <a:cs typeface="Segoe UI"/>
              </a:rPr>
              <a:t>r </a:t>
            </a:r>
            <a:r>
              <a:rPr sz="1176" spc="9" dirty="0">
                <a:latin typeface="Segoe UI"/>
                <a:cs typeface="Segoe UI"/>
              </a:rPr>
              <a:t>O</a:t>
            </a:r>
            <a:r>
              <a:rPr sz="1176" spc="-24" dirty="0">
                <a:latin typeface="Segoe UI"/>
                <a:cs typeface="Segoe UI"/>
              </a:rPr>
              <a:t>ff</a:t>
            </a:r>
            <a:r>
              <a:rPr sz="1176" spc="-9" dirty="0">
                <a:latin typeface="Segoe UI"/>
                <a:cs typeface="Segoe UI"/>
              </a:rPr>
              <a:t>i</a:t>
            </a:r>
            <a:r>
              <a:rPr sz="1176" spc="9" dirty="0">
                <a:latin typeface="Segoe UI"/>
                <a:cs typeface="Segoe UI"/>
              </a:rPr>
              <a:t>c</a:t>
            </a:r>
            <a:r>
              <a:rPr sz="1176" dirty="0">
                <a:latin typeface="Segoe UI"/>
                <a:cs typeface="Segoe UI"/>
              </a:rPr>
              <a:t>e</a:t>
            </a:r>
            <a:r>
              <a:rPr sz="1176" spc="26" dirty="0">
                <a:latin typeface="Segoe UI"/>
                <a:cs typeface="Segoe UI"/>
              </a:rPr>
              <a:t> </a:t>
            </a:r>
            <a:r>
              <a:rPr sz="1176" spc="-14" dirty="0">
                <a:latin typeface="Segoe UI"/>
                <a:cs typeface="Segoe UI"/>
              </a:rPr>
              <a:t>36</a:t>
            </a:r>
            <a:r>
              <a:rPr sz="1176" dirty="0">
                <a:latin typeface="Segoe UI"/>
                <a:cs typeface="Segoe UI"/>
              </a:rPr>
              <a:t>5</a:t>
            </a:r>
            <a:endParaRPr sz="1176">
              <a:latin typeface="Segoe UI"/>
              <a:cs typeface="Segoe UI"/>
            </a:endParaRPr>
          </a:p>
          <a:p>
            <a:pPr marL="12441" marR="29785">
              <a:lnSpc>
                <a:spcPct val="110839"/>
              </a:lnSpc>
              <a:spcBef>
                <a:spcPts val="20"/>
              </a:spcBef>
            </a:pPr>
            <a:r>
              <a:rPr sz="1176" spc="9" dirty="0">
                <a:latin typeface="Segoe UI"/>
                <a:cs typeface="Segoe UI"/>
              </a:rPr>
              <a:t>O</a:t>
            </a:r>
            <a:r>
              <a:rPr sz="1176" spc="4" dirty="0">
                <a:latin typeface="Segoe UI"/>
                <a:cs typeface="Segoe UI"/>
              </a:rPr>
              <a:t>r</a:t>
            </a:r>
            <a:r>
              <a:rPr sz="1176" spc="19" dirty="0">
                <a:latin typeface="Segoe UI"/>
                <a:cs typeface="Segoe UI"/>
              </a:rPr>
              <a:t>a</a:t>
            </a:r>
            <a:r>
              <a:rPr sz="1176" spc="9" dirty="0">
                <a:latin typeface="Segoe UI"/>
                <a:cs typeface="Segoe UI"/>
              </a:rPr>
              <a:t>c</a:t>
            </a:r>
            <a:r>
              <a:rPr sz="1176" spc="-9" dirty="0">
                <a:latin typeface="Segoe UI"/>
                <a:cs typeface="Segoe UI"/>
              </a:rPr>
              <a:t>l</a:t>
            </a:r>
            <a:r>
              <a:rPr sz="1176" dirty="0">
                <a:latin typeface="Segoe UI"/>
                <a:cs typeface="Segoe UI"/>
              </a:rPr>
              <a:t>e</a:t>
            </a:r>
            <a:endParaRPr sz="1176">
              <a:latin typeface="Segoe UI"/>
              <a:cs typeface="Segoe UI"/>
            </a:endParaRPr>
          </a:p>
        </p:txBody>
      </p:sp>
      <p:sp>
        <p:nvSpPr>
          <p:cNvPr id="4" name="object 4"/>
          <p:cNvSpPr txBox="1"/>
          <p:nvPr/>
        </p:nvSpPr>
        <p:spPr>
          <a:xfrm>
            <a:off x="2586073" y="1754235"/>
            <a:ext cx="101174" cy="2429131"/>
          </a:xfrm>
          <a:prstGeom prst="rect">
            <a:avLst/>
          </a:prstGeom>
        </p:spPr>
        <p:txBody>
          <a:bodyPr wrap="square" lIns="0" tIns="0" rIns="0" bIns="0" rtlCol="0">
            <a:noAutofit/>
          </a:bodyPr>
          <a:lstStyle/>
          <a:p>
            <a:pPr marL="12441">
              <a:lnSpc>
                <a:spcPts val="1322"/>
              </a:lnSpc>
              <a:spcBef>
                <a:spcPts val="66"/>
              </a:spcBef>
            </a:pPr>
            <a:r>
              <a:rPr sz="1176" dirty="0">
                <a:latin typeface="Arial"/>
                <a:cs typeface="Arial"/>
              </a:rPr>
              <a:t>•</a:t>
            </a:r>
            <a:endParaRPr sz="1176">
              <a:latin typeface="Arial"/>
              <a:cs typeface="Arial"/>
            </a:endParaRPr>
          </a:p>
          <a:p>
            <a:pPr marL="12441">
              <a:lnSpc>
                <a:spcPct val="95825"/>
              </a:lnSpc>
              <a:spcBef>
                <a:spcPts val="208"/>
              </a:spcBef>
            </a:pPr>
            <a:r>
              <a:rPr sz="1176" dirty="0">
                <a:latin typeface="Arial"/>
                <a:cs typeface="Arial"/>
              </a:rPr>
              <a:t>•</a:t>
            </a:r>
            <a:endParaRPr sz="1176">
              <a:latin typeface="Arial"/>
              <a:cs typeface="Arial"/>
            </a:endParaRPr>
          </a:p>
          <a:p>
            <a:pPr marL="12441">
              <a:lnSpc>
                <a:spcPct val="95825"/>
              </a:lnSpc>
              <a:spcBef>
                <a:spcPts val="269"/>
              </a:spcBef>
            </a:pPr>
            <a:r>
              <a:rPr sz="1176" dirty="0">
                <a:latin typeface="Arial"/>
                <a:cs typeface="Arial"/>
              </a:rPr>
              <a:t>•</a:t>
            </a:r>
            <a:endParaRPr sz="1176">
              <a:latin typeface="Arial"/>
              <a:cs typeface="Arial"/>
            </a:endParaRPr>
          </a:p>
          <a:p>
            <a:pPr marL="12441">
              <a:lnSpc>
                <a:spcPct val="95825"/>
              </a:lnSpc>
              <a:spcBef>
                <a:spcPts val="274"/>
              </a:spcBef>
            </a:pPr>
            <a:r>
              <a:rPr sz="1176" dirty="0">
                <a:latin typeface="Arial"/>
                <a:cs typeface="Arial"/>
              </a:rPr>
              <a:t>•</a:t>
            </a:r>
            <a:endParaRPr sz="1176">
              <a:latin typeface="Arial"/>
              <a:cs typeface="Arial"/>
            </a:endParaRPr>
          </a:p>
          <a:p>
            <a:pPr marL="12441">
              <a:lnSpc>
                <a:spcPct val="95825"/>
              </a:lnSpc>
              <a:spcBef>
                <a:spcPts val="200"/>
              </a:spcBef>
            </a:pPr>
            <a:r>
              <a:rPr sz="1176" dirty="0">
                <a:latin typeface="Arial"/>
                <a:cs typeface="Arial"/>
              </a:rPr>
              <a:t>•</a:t>
            </a:r>
            <a:endParaRPr sz="1176">
              <a:latin typeface="Arial"/>
              <a:cs typeface="Arial"/>
            </a:endParaRPr>
          </a:p>
          <a:p>
            <a:pPr marL="12441">
              <a:lnSpc>
                <a:spcPct val="95825"/>
              </a:lnSpc>
              <a:spcBef>
                <a:spcPts val="269"/>
              </a:spcBef>
            </a:pPr>
            <a:r>
              <a:rPr sz="1176" dirty="0">
                <a:latin typeface="Arial"/>
                <a:cs typeface="Arial"/>
              </a:rPr>
              <a:t>•</a:t>
            </a:r>
            <a:endParaRPr sz="1176">
              <a:latin typeface="Arial"/>
              <a:cs typeface="Arial"/>
            </a:endParaRPr>
          </a:p>
          <a:p>
            <a:pPr marL="12441">
              <a:lnSpc>
                <a:spcPct val="95825"/>
              </a:lnSpc>
              <a:spcBef>
                <a:spcPts val="274"/>
              </a:spcBef>
            </a:pPr>
            <a:r>
              <a:rPr sz="1176" dirty="0">
                <a:latin typeface="Arial"/>
                <a:cs typeface="Arial"/>
              </a:rPr>
              <a:t>•</a:t>
            </a:r>
            <a:endParaRPr sz="1176">
              <a:latin typeface="Arial"/>
              <a:cs typeface="Arial"/>
            </a:endParaRPr>
          </a:p>
          <a:p>
            <a:pPr marL="12441">
              <a:lnSpc>
                <a:spcPct val="95825"/>
              </a:lnSpc>
              <a:spcBef>
                <a:spcPts val="269"/>
              </a:spcBef>
            </a:pPr>
            <a:r>
              <a:rPr sz="1176" dirty="0">
                <a:latin typeface="Arial"/>
                <a:cs typeface="Arial"/>
              </a:rPr>
              <a:t>•</a:t>
            </a:r>
            <a:endParaRPr sz="1176">
              <a:latin typeface="Arial"/>
              <a:cs typeface="Arial"/>
            </a:endParaRPr>
          </a:p>
          <a:p>
            <a:pPr marL="12441">
              <a:lnSpc>
                <a:spcPct val="95825"/>
              </a:lnSpc>
              <a:spcBef>
                <a:spcPts val="200"/>
              </a:spcBef>
            </a:pPr>
            <a:r>
              <a:rPr sz="1176" dirty="0">
                <a:latin typeface="Arial"/>
                <a:cs typeface="Arial"/>
              </a:rPr>
              <a:t>•</a:t>
            </a:r>
            <a:endParaRPr sz="1176">
              <a:latin typeface="Arial"/>
              <a:cs typeface="Arial"/>
            </a:endParaRPr>
          </a:p>
          <a:p>
            <a:pPr marL="12441">
              <a:lnSpc>
                <a:spcPct val="95825"/>
              </a:lnSpc>
              <a:spcBef>
                <a:spcPts val="269"/>
              </a:spcBef>
            </a:pPr>
            <a:r>
              <a:rPr sz="1176" dirty="0">
                <a:latin typeface="Arial"/>
                <a:cs typeface="Arial"/>
              </a:rPr>
              <a:t>•</a:t>
            </a:r>
            <a:endParaRPr sz="1176">
              <a:latin typeface="Arial"/>
              <a:cs typeface="Arial"/>
            </a:endParaRPr>
          </a:p>
          <a:p>
            <a:pPr marL="12441">
              <a:lnSpc>
                <a:spcPct val="95825"/>
              </a:lnSpc>
              <a:spcBef>
                <a:spcPts val="274"/>
              </a:spcBef>
            </a:pPr>
            <a:r>
              <a:rPr sz="1176" dirty="0">
                <a:latin typeface="Arial"/>
                <a:cs typeface="Arial"/>
              </a:rPr>
              <a:t>•</a:t>
            </a:r>
            <a:endParaRPr sz="1176">
              <a:latin typeface="Arial"/>
              <a:cs typeface="Arial"/>
            </a:endParaRPr>
          </a:p>
          <a:p>
            <a:pPr marL="12441">
              <a:lnSpc>
                <a:spcPct val="95825"/>
              </a:lnSpc>
              <a:spcBef>
                <a:spcPts val="269"/>
              </a:spcBef>
            </a:pPr>
            <a:r>
              <a:rPr sz="1176" dirty="0">
                <a:latin typeface="Arial"/>
                <a:cs typeface="Arial"/>
              </a:rPr>
              <a:t>•</a:t>
            </a:r>
            <a:endParaRPr sz="1176">
              <a:latin typeface="Arial"/>
              <a:cs typeface="Arial"/>
            </a:endParaRPr>
          </a:p>
        </p:txBody>
      </p:sp>
      <p:sp>
        <p:nvSpPr>
          <p:cNvPr id="3" name="object 3"/>
          <p:cNvSpPr txBox="1"/>
          <p:nvPr/>
        </p:nvSpPr>
        <p:spPr>
          <a:xfrm>
            <a:off x="2864125" y="1754084"/>
            <a:ext cx="1302430" cy="2429131"/>
          </a:xfrm>
          <a:prstGeom prst="rect">
            <a:avLst/>
          </a:prstGeom>
        </p:spPr>
        <p:txBody>
          <a:bodyPr wrap="square" lIns="0" tIns="0" rIns="0" bIns="0" rtlCol="0">
            <a:noAutofit/>
          </a:bodyPr>
          <a:lstStyle/>
          <a:p>
            <a:pPr marL="12441" marR="17344">
              <a:lnSpc>
                <a:spcPts val="1367"/>
              </a:lnSpc>
              <a:spcBef>
                <a:spcPts val="68"/>
              </a:spcBef>
            </a:pPr>
            <a:r>
              <a:rPr sz="1176" spc="10" dirty="0">
                <a:latin typeface="Segoe UI"/>
                <a:cs typeface="Segoe UI"/>
              </a:rPr>
              <a:t>Q</a:t>
            </a:r>
            <a:r>
              <a:rPr sz="1176" spc="24" dirty="0">
                <a:latin typeface="Segoe UI"/>
                <a:cs typeface="Segoe UI"/>
              </a:rPr>
              <a:t>u</a:t>
            </a:r>
            <a:r>
              <a:rPr sz="1176" spc="-10" dirty="0">
                <a:latin typeface="Segoe UI"/>
                <a:cs typeface="Segoe UI"/>
              </a:rPr>
              <a:t>i</a:t>
            </a:r>
            <a:r>
              <a:rPr sz="1176" spc="10" dirty="0">
                <a:latin typeface="Segoe UI"/>
                <a:cs typeface="Segoe UI"/>
              </a:rPr>
              <a:t>c</a:t>
            </a:r>
            <a:r>
              <a:rPr sz="1176" spc="-34" dirty="0">
                <a:latin typeface="Segoe UI"/>
                <a:cs typeface="Segoe UI"/>
              </a:rPr>
              <a:t>k</a:t>
            </a:r>
            <a:r>
              <a:rPr sz="1176" spc="15" dirty="0">
                <a:latin typeface="Segoe UI"/>
                <a:cs typeface="Segoe UI"/>
              </a:rPr>
              <a:t>B</a:t>
            </a:r>
            <a:r>
              <a:rPr sz="1176" dirty="0">
                <a:latin typeface="Segoe UI"/>
                <a:cs typeface="Segoe UI"/>
              </a:rPr>
              <a:t>oo</a:t>
            </a:r>
            <a:r>
              <a:rPr sz="1176" spc="-29" dirty="0">
                <a:latin typeface="Segoe UI"/>
                <a:cs typeface="Segoe UI"/>
              </a:rPr>
              <a:t>k</a:t>
            </a:r>
            <a:r>
              <a:rPr sz="1176" dirty="0">
                <a:latin typeface="Segoe UI"/>
                <a:cs typeface="Segoe UI"/>
              </a:rPr>
              <a:t>s</a:t>
            </a:r>
            <a:endParaRPr sz="1176">
              <a:latin typeface="Segoe UI"/>
              <a:cs typeface="Segoe UI"/>
            </a:endParaRPr>
          </a:p>
          <a:p>
            <a:pPr marL="12441" marR="514831" algn="just">
              <a:lnSpc>
                <a:spcPct val="115162"/>
              </a:lnSpc>
            </a:pPr>
            <a:r>
              <a:rPr sz="1176" dirty="0">
                <a:latin typeface="Segoe UI"/>
                <a:cs typeface="Segoe UI"/>
              </a:rPr>
              <a:t>S</a:t>
            </a:r>
            <a:r>
              <a:rPr sz="1176" spc="20" dirty="0">
                <a:latin typeface="Segoe UI"/>
                <a:cs typeface="Segoe UI"/>
              </a:rPr>
              <a:t>a</a:t>
            </a:r>
            <a:r>
              <a:rPr sz="1176" spc="-10" dirty="0">
                <a:latin typeface="Segoe UI"/>
                <a:cs typeface="Segoe UI"/>
              </a:rPr>
              <a:t>l</a:t>
            </a:r>
            <a:r>
              <a:rPr sz="1176" spc="5" dirty="0">
                <a:latin typeface="Segoe UI"/>
                <a:cs typeface="Segoe UI"/>
              </a:rPr>
              <a:t>e</a:t>
            </a:r>
            <a:r>
              <a:rPr sz="1176" spc="-15" dirty="0">
                <a:latin typeface="Segoe UI"/>
                <a:cs typeface="Segoe UI"/>
              </a:rPr>
              <a:t>s</a:t>
            </a:r>
            <a:r>
              <a:rPr sz="1176" spc="-20" dirty="0">
                <a:latin typeface="Segoe UI"/>
                <a:cs typeface="Segoe UI"/>
              </a:rPr>
              <a:t>F</a:t>
            </a:r>
            <a:r>
              <a:rPr sz="1176" dirty="0">
                <a:latin typeface="Segoe UI"/>
                <a:cs typeface="Segoe UI"/>
              </a:rPr>
              <a:t>o</a:t>
            </a:r>
            <a:r>
              <a:rPr sz="1176" spc="5" dirty="0">
                <a:latin typeface="Segoe UI"/>
                <a:cs typeface="Segoe UI"/>
              </a:rPr>
              <a:t>r</a:t>
            </a:r>
            <a:r>
              <a:rPr sz="1176" spc="10" dirty="0">
                <a:latin typeface="Segoe UI"/>
                <a:cs typeface="Segoe UI"/>
              </a:rPr>
              <a:t>c</a:t>
            </a:r>
            <a:r>
              <a:rPr sz="1176" dirty="0">
                <a:latin typeface="Segoe UI"/>
                <a:cs typeface="Segoe UI"/>
              </a:rPr>
              <a:t>e S</a:t>
            </a:r>
            <a:r>
              <a:rPr sz="1176" spc="19" dirty="0">
                <a:latin typeface="Segoe UI"/>
                <a:cs typeface="Segoe UI"/>
              </a:rPr>
              <a:t>u</a:t>
            </a:r>
            <a:r>
              <a:rPr sz="1176" dirty="0">
                <a:latin typeface="Segoe UI"/>
                <a:cs typeface="Segoe UI"/>
              </a:rPr>
              <a:t>g</a:t>
            </a:r>
            <a:r>
              <a:rPr sz="1176" spc="19" dirty="0">
                <a:latin typeface="Segoe UI"/>
                <a:cs typeface="Segoe UI"/>
              </a:rPr>
              <a:t>a</a:t>
            </a:r>
            <a:r>
              <a:rPr sz="1176" dirty="0">
                <a:latin typeface="Segoe UI"/>
                <a:cs typeface="Segoe UI"/>
              </a:rPr>
              <a:t>r</a:t>
            </a:r>
            <a:r>
              <a:rPr sz="1176" spc="-48" dirty="0">
                <a:latin typeface="Segoe UI"/>
                <a:cs typeface="Segoe UI"/>
              </a:rPr>
              <a:t> </a:t>
            </a:r>
            <a:r>
              <a:rPr sz="1176" spc="28" dirty="0">
                <a:latin typeface="Segoe UI"/>
                <a:cs typeface="Segoe UI"/>
              </a:rPr>
              <a:t>C</a:t>
            </a:r>
            <a:r>
              <a:rPr sz="1176" spc="-14" dirty="0">
                <a:latin typeface="Segoe UI"/>
                <a:cs typeface="Segoe UI"/>
              </a:rPr>
              <a:t>R</a:t>
            </a:r>
            <a:r>
              <a:rPr sz="1176" dirty="0">
                <a:latin typeface="Segoe UI"/>
                <a:cs typeface="Segoe UI"/>
              </a:rPr>
              <a:t>M SAP</a:t>
            </a:r>
            <a:endParaRPr sz="1176">
              <a:latin typeface="Segoe UI"/>
              <a:cs typeface="Segoe UI"/>
            </a:endParaRPr>
          </a:p>
          <a:p>
            <a:pPr marL="12441" marR="17344">
              <a:lnSpc>
                <a:spcPts val="1494"/>
              </a:lnSpc>
              <a:spcBef>
                <a:spcPts val="74"/>
              </a:spcBef>
            </a:pPr>
            <a:r>
              <a:rPr sz="1176" dirty="0">
                <a:latin typeface="Segoe UI"/>
                <a:cs typeface="Segoe UI"/>
              </a:rPr>
              <a:t>A</a:t>
            </a:r>
            <a:r>
              <a:rPr sz="1176" spc="19" dirty="0">
                <a:latin typeface="Segoe UI"/>
                <a:cs typeface="Segoe UI"/>
              </a:rPr>
              <a:t>z</a:t>
            </a:r>
            <a:r>
              <a:rPr sz="1176" spc="24" dirty="0">
                <a:latin typeface="Segoe UI"/>
                <a:cs typeface="Segoe UI"/>
              </a:rPr>
              <a:t>u</a:t>
            </a:r>
            <a:r>
              <a:rPr sz="1176" spc="4" dirty="0">
                <a:latin typeface="Segoe UI"/>
                <a:cs typeface="Segoe UI"/>
              </a:rPr>
              <a:t>r</a:t>
            </a:r>
            <a:r>
              <a:rPr sz="1176" dirty="0">
                <a:latin typeface="Segoe UI"/>
                <a:cs typeface="Segoe UI"/>
              </a:rPr>
              <a:t>e</a:t>
            </a:r>
            <a:r>
              <a:rPr sz="1176" spc="-43" dirty="0">
                <a:latin typeface="Segoe UI"/>
                <a:cs typeface="Segoe UI"/>
              </a:rPr>
              <a:t> </a:t>
            </a:r>
            <a:r>
              <a:rPr sz="1176" dirty="0">
                <a:latin typeface="Segoe UI"/>
                <a:cs typeface="Segoe UI"/>
              </a:rPr>
              <a:t>Se</a:t>
            </a:r>
            <a:r>
              <a:rPr sz="1176" spc="77" dirty="0">
                <a:latin typeface="Segoe UI"/>
                <a:cs typeface="Segoe UI"/>
              </a:rPr>
              <a:t>r</a:t>
            </a:r>
            <a:r>
              <a:rPr sz="1176" spc="-9" dirty="0">
                <a:latin typeface="Segoe UI"/>
                <a:cs typeface="Segoe UI"/>
              </a:rPr>
              <a:t>vi</a:t>
            </a:r>
            <a:r>
              <a:rPr sz="1176" spc="9" dirty="0">
                <a:latin typeface="Segoe UI"/>
                <a:cs typeface="Segoe UI"/>
              </a:rPr>
              <a:t>c</a:t>
            </a:r>
            <a:r>
              <a:rPr sz="1176" dirty="0">
                <a:latin typeface="Segoe UI"/>
                <a:cs typeface="Segoe UI"/>
              </a:rPr>
              <a:t>e</a:t>
            </a:r>
            <a:r>
              <a:rPr sz="1176" spc="-29" dirty="0">
                <a:latin typeface="Segoe UI"/>
                <a:cs typeface="Segoe UI"/>
              </a:rPr>
              <a:t> </a:t>
            </a:r>
            <a:r>
              <a:rPr sz="1176" spc="14" dirty="0">
                <a:latin typeface="Segoe UI"/>
                <a:cs typeface="Segoe UI"/>
              </a:rPr>
              <a:t>B</a:t>
            </a:r>
            <a:r>
              <a:rPr sz="1176" spc="24" dirty="0">
                <a:latin typeface="Segoe UI"/>
                <a:cs typeface="Segoe UI"/>
              </a:rPr>
              <a:t>u</a:t>
            </a:r>
            <a:r>
              <a:rPr sz="1176" dirty="0">
                <a:latin typeface="Segoe UI"/>
                <a:cs typeface="Segoe UI"/>
              </a:rPr>
              <a:t>s</a:t>
            </a:r>
            <a:endParaRPr sz="1176">
              <a:latin typeface="Segoe UI"/>
              <a:cs typeface="Segoe UI"/>
            </a:endParaRPr>
          </a:p>
          <a:p>
            <a:pPr marL="12441">
              <a:lnSpc>
                <a:spcPct val="115162"/>
              </a:lnSpc>
            </a:pPr>
            <a:r>
              <a:rPr sz="1176" dirty="0">
                <a:latin typeface="Segoe UI"/>
                <a:cs typeface="Segoe UI"/>
              </a:rPr>
              <a:t>A</a:t>
            </a:r>
            <a:r>
              <a:rPr sz="1176" spc="19" dirty="0">
                <a:latin typeface="Segoe UI"/>
                <a:cs typeface="Segoe UI"/>
              </a:rPr>
              <a:t>z</a:t>
            </a:r>
            <a:r>
              <a:rPr sz="1176" spc="24" dirty="0">
                <a:latin typeface="Segoe UI"/>
                <a:cs typeface="Segoe UI"/>
              </a:rPr>
              <a:t>u</a:t>
            </a:r>
            <a:r>
              <a:rPr sz="1176" spc="4" dirty="0">
                <a:latin typeface="Segoe UI"/>
                <a:cs typeface="Segoe UI"/>
              </a:rPr>
              <a:t>r</a:t>
            </a:r>
            <a:r>
              <a:rPr sz="1176" dirty="0">
                <a:latin typeface="Segoe UI"/>
                <a:cs typeface="Segoe UI"/>
              </a:rPr>
              <a:t>e</a:t>
            </a:r>
            <a:r>
              <a:rPr sz="1176" spc="-38" dirty="0">
                <a:latin typeface="Segoe UI"/>
                <a:cs typeface="Segoe UI"/>
              </a:rPr>
              <a:t> </a:t>
            </a:r>
            <a:r>
              <a:rPr sz="1176" spc="-73" dirty="0">
                <a:latin typeface="Segoe UI"/>
                <a:cs typeface="Segoe UI"/>
              </a:rPr>
              <a:t>S</a:t>
            </a:r>
            <a:r>
              <a:rPr sz="1176" spc="14" dirty="0">
                <a:latin typeface="Segoe UI"/>
                <a:cs typeface="Segoe UI"/>
              </a:rPr>
              <a:t>t</a:t>
            </a:r>
            <a:r>
              <a:rPr sz="1176" dirty="0">
                <a:latin typeface="Segoe UI"/>
                <a:cs typeface="Segoe UI"/>
              </a:rPr>
              <a:t>o</a:t>
            </a:r>
            <a:r>
              <a:rPr sz="1176" spc="4" dirty="0">
                <a:latin typeface="Segoe UI"/>
                <a:cs typeface="Segoe UI"/>
              </a:rPr>
              <a:t>r</a:t>
            </a:r>
            <a:r>
              <a:rPr sz="1176" spc="19" dirty="0">
                <a:latin typeface="Segoe UI"/>
                <a:cs typeface="Segoe UI"/>
              </a:rPr>
              <a:t>a</a:t>
            </a:r>
            <a:r>
              <a:rPr sz="1176" dirty="0">
                <a:latin typeface="Segoe UI"/>
                <a:cs typeface="Segoe UI"/>
              </a:rPr>
              <a:t>ge </a:t>
            </a:r>
            <a:r>
              <a:rPr sz="1176" spc="4" dirty="0">
                <a:latin typeface="Segoe UI"/>
                <a:cs typeface="Segoe UI"/>
              </a:rPr>
              <a:t>T</a:t>
            </a:r>
            <a:r>
              <a:rPr sz="1176" spc="-9" dirty="0">
                <a:latin typeface="Segoe UI"/>
                <a:cs typeface="Segoe UI"/>
              </a:rPr>
              <a:t>i</a:t>
            </a:r>
            <a:r>
              <a:rPr sz="1176" spc="24" dirty="0">
                <a:latin typeface="Segoe UI"/>
                <a:cs typeface="Segoe UI"/>
              </a:rPr>
              <a:t>m</a:t>
            </a:r>
            <a:r>
              <a:rPr sz="1176" spc="4" dirty="0">
                <a:latin typeface="Segoe UI"/>
                <a:cs typeface="Segoe UI"/>
              </a:rPr>
              <a:t>e</a:t>
            </a:r>
            <a:r>
              <a:rPr sz="1176" dirty="0">
                <a:latin typeface="Segoe UI"/>
                <a:cs typeface="Segoe UI"/>
              </a:rPr>
              <a:t>r</a:t>
            </a:r>
            <a:r>
              <a:rPr sz="1176" spc="-49" dirty="0">
                <a:latin typeface="Segoe UI"/>
                <a:cs typeface="Segoe UI"/>
              </a:rPr>
              <a:t> </a:t>
            </a:r>
            <a:r>
              <a:rPr sz="1176" dirty="0">
                <a:latin typeface="Segoe UI"/>
                <a:cs typeface="Segoe UI"/>
              </a:rPr>
              <a:t>/</a:t>
            </a:r>
            <a:r>
              <a:rPr sz="1176" spc="-5" dirty="0">
                <a:latin typeface="Segoe UI"/>
                <a:cs typeface="Segoe UI"/>
              </a:rPr>
              <a:t> </a:t>
            </a:r>
            <a:r>
              <a:rPr sz="1176" spc="-15" dirty="0">
                <a:latin typeface="Segoe UI"/>
                <a:cs typeface="Segoe UI"/>
              </a:rPr>
              <a:t>R</a:t>
            </a:r>
            <a:r>
              <a:rPr sz="1176" spc="5" dirty="0">
                <a:latin typeface="Segoe UI"/>
                <a:cs typeface="Segoe UI"/>
              </a:rPr>
              <a:t>e</a:t>
            </a:r>
            <a:r>
              <a:rPr sz="1176" spc="10" dirty="0">
                <a:latin typeface="Segoe UI"/>
                <a:cs typeface="Segoe UI"/>
              </a:rPr>
              <a:t>c</a:t>
            </a:r>
            <a:r>
              <a:rPr sz="1176" spc="24" dirty="0">
                <a:latin typeface="Segoe UI"/>
                <a:cs typeface="Segoe UI"/>
              </a:rPr>
              <a:t>u</a:t>
            </a:r>
            <a:r>
              <a:rPr sz="1176" spc="5" dirty="0">
                <a:latin typeface="Segoe UI"/>
                <a:cs typeface="Segoe UI"/>
              </a:rPr>
              <a:t>rre</a:t>
            </a:r>
            <a:r>
              <a:rPr sz="1176" spc="-44" dirty="0">
                <a:latin typeface="Segoe UI"/>
                <a:cs typeface="Segoe UI"/>
              </a:rPr>
              <a:t>n</a:t>
            </a:r>
            <a:r>
              <a:rPr sz="1176" spc="10" dirty="0">
                <a:latin typeface="Segoe UI"/>
                <a:cs typeface="Segoe UI"/>
              </a:rPr>
              <a:t>c</a:t>
            </a:r>
            <a:r>
              <a:rPr sz="1176" dirty="0">
                <a:latin typeface="Segoe UI"/>
                <a:cs typeface="Segoe UI"/>
              </a:rPr>
              <a:t>e </a:t>
            </a:r>
            <a:r>
              <a:rPr sz="1176" spc="-63" dirty="0">
                <a:latin typeface="Segoe UI"/>
                <a:cs typeface="Segoe UI"/>
              </a:rPr>
              <a:t>T</a:t>
            </a:r>
            <a:r>
              <a:rPr sz="1176" spc="-24" dirty="0">
                <a:latin typeface="Segoe UI"/>
                <a:cs typeface="Segoe UI"/>
              </a:rPr>
              <a:t>w</a:t>
            </a:r>
            <a:r>
              <a:rPr sz="1176" spc="-9" dirty="0">
                <a:latin typeface="Segoe UI"/>
                <a:cs typeface="Segoe UI"/>
              </a:rPr>
              <a:t>ili</a:t>
            </a:r>
            <a:r>
              <a:rPr sz="1176" dirty="0">
                <a:latin typeface="Segoe UI"/>
                <a:cs typeface="Segoe UI"/>
              </a:rPr>
              <a:t>o</a:t>
            </a:r>
            <a:endParaRPr sz="1176">
              <a:latin typeface="Segoe UI"/>
              <a:cs typeface="Segoe UI"/>
            </a:endParaRPr>
          </a:p>
          <a:p>
            <a:pPr marL="12441" marR="17344">
              <a:lnSpc>
                <a:spcPts val="1494"/>
              </a:lnSpc>
              <a:spcBef>
                <a:spcPts val="74"/>
              </a:spcBef>
            </a:pPr>
            <a:r>
              <a:rPr sz="1176" spc="-63" dirty="0">
                <a:latin typeface="Segoe UI"/>
                <a:cs typeface="Segoe UI"/>
              </a:rPr>
              <a:t>T</a:t>
            </a:r>
            <a:r>
              <a:rPr sz="1176" spc="-24" dirty="0">
                <a:latin typeface="Segoe UI"/>
                <a:cs typeface="Segoe UI"/>
              </a:rPr>
              <a:t>w</a:t>
            </a:r>
            <a:r>
              <a:rPr sz="1176" spc="-9" dirty="0">
                <a:latin typeface="Segoe UI"/>
                <a:cs typeface="Segoe UI"/>
              </a:rPr>
              <a:t>i</a:t>
            </a:r>
            <a:r>
              <a:rPr sz="1176" spc="14" dirty="0">
                <a:latin typeface="Segoe UI"/>
                <a:cs typeface="Segoe UI"/>
              </a:rPr>
              <a:t>tt</a:t>
            </a:r>
            <a:r>
              <a:rPr sz="1176" spc="4" dirty="0">
                <a:latin typeface="Segoe UI"/>
                <a:cs typeface="Segoe UI"/>
              </a:rPr>
              <a:t>e</a:t>
            </a:r>
            <a:r>
              <a:rPr sz="1176" dirty="0">
                <a:latin typeface="Segoe UI"/>
                <a:cs typeface="Segoe UI"/>
              </a:rPr>
              <a:t>r</a:t>
            </a:r>
            <a:endParaRPr sz="1176">
              <a:latin typeface="Segoe UI"/>
              <a:cs typeface="Segoe UI"/>
            </a:endParaRPr>
          </a:p>
          <a:p>
            <a:pPr marL="12441" marR="17344">
              <a:lnSpc>
                <a:spcPct val="110839"/>
              </a:lnSpc>
            </a:pPr>
            <a:r>
              <a:rPr sz="1176" spc="33" dirty="0">
                <a:latin typeface="Segoe UI"/>
                <a:cs typeface="Segoe UI"/>
              </a:rPr>
              <a:t>I</a:t>
            </a:r>
            <a:r>
              <a:rPr sz="1176" spc="14" dirty="0">
                <a:latin typeface="Segoe UI"/>
                <a:cs typeface="Segoe UI"/>
              </a:rPr>
              <a:t>B</a:t>
            </a:r>
            <a:r>
              <a:rPr sz="1176" dirty="0">
                <a:latin typeface="Segoe UI"/>
                <a:cs typeface="Segoe UI"/>
              </a:rPr>
              <a:t>M</a:t>
            </a:r>
            <a:r>
              <a:rPr sz="1176" spc="-18" dirty="0">
                <a:latin typeface="Segoe UI"/>
                <a:cs typeface="Segoe UI"/>
              </a:rPr>
              <a:t> </a:t>
            </a:r>
            <a:r>
              <a:rPr sz="1176" dirty="0">
                <a:latin typeface="Segoe UI"/>
                <a:cs typeface="Segoe UI"/>
              </a:rPr>
              <a:t>D</a:t>
            </a:r>
            <a:r>
              <a:rPr sz="1176" spc="14" dirty="0">
                <a:latin typeface="Segoe UI"/>
                <a:cs typeface="Segoe UI"/>
              </a:rPr>
              <a:t>B</a:t>
            </a:r>
            <a:r>
              <a:rPr sz="1176" dirty="0">
                <a:latin typeface="Segoe UI"/>
                <a:cs typeface="Segoe UI"/>
              </a:rPr>
              <a:t>2</a:t>
            </a:r>
            <a:endParaRPr sz="1176">
              <a:latin typeface="Segoe UI"/>
              <a:cs typeface="Segoe UI"/>
            </a:endParaRPr>
          </a:p>
          <a:p>
            <a:pPr marL="12441" marR="17344">
              <a:lnSpc>
                <a:spcPct val="110839"/>
              </a:lnSpc>
              <a:spcBef>
                <a:spcPts val="59"/>
              </a:spcBef>
            </a:pPr>
            <a:r>
              <a:rPr sz="1176" spc="33" dirty="0">
                <a:latin typeface="Segoe UI"/>
                <a:cs typeface="Segoe UI"/>
              </a:rPr>
              <a:t>I</a:t>
            </a:r>
            <a:r>
              <a:rPr sz="1176" spc="24" dirty="0">
                <a:latin typeface="Segoe UI"/>
                <a:cs typeface="Segoe UI"/>
              </a:rPr>
              <a:t>n</a:t>
            </a:r>
            <a:r>
              <a:rPr sz="1176" spc="-24" dirty="0">
                <a:latin typeface="Segoe UI"/>
                <a:cs typeface="Segoe UI"/>
              </a:rPr>
              <a:t>f</a:t>
            </a:r>
            <a:r>
              <a:rPr sz="1176" dirty="0">
                <a:latin typeface="Segoe UI"/>
                <a:cs typeface="Segoe UI"/>
              </a:rPr>
              <a:t>o</a:t>
            </a:r>
            <a:r>
              <a:rPr sz="1176" spc="4" dirty="0">
                <a:latin typeface="Segoe UI"/>
                <a:cs typeface="Segoe UI"/>
              </a:rPr>
              <a:t>r</a:t>
            </a:r>
            <a:r>
              <a:rPr sz="1176" spc="24" dirty="0">
                <a:latin typeface="Segoe UI"/>
                <a:cs typeface="Segoe UI"/>
              </a:rPr>
              <a:t>m</a:t>
            </a:r>
            <a:r>
              <a:rPr sz="1176" spc="-9" dirty="0">
                <a:latin typeface="Segoe UI"/>
                <a:cs typeface="Segoe UI"/>
              </a:rPr>
              <a:t>i</a:t>
            </a:r>
            <a:r>
              <a:rPr sz="1176" dirty="0">
                <a:latin typeface="Segoe UI"/>
                <a:cs typeface="Segoe UI"/>
              </a:rPr>
              <a:t>x</a:t>
            </a:r>
            <a:endParaRPr sz="1176">
              <a:latin typeface="Segoe UI"/>
              <a:cs typeface="Segoe UI"/>
            </a:endParaRPr>
          </a:p>
          <a:p>
            <a:pPr marL="12441" marR="17344">
              <a:lnSpc>
                <a:spcPct val="110839"/>
              </a:lnSpc>
              <a:spcBef>
                <a:spcPts val="59"/>
              </a:spcBef>
            </a:pPr>
            <a:r>
              <a:rPr sz="1176" spc="4" dirty="0">
                <a:latin typeface="Segoe UI"/>
                <a:cs typeface="Segoe UI"/>
              </a:rPr>
              <a:t>We</a:t>
            </a:r>
            <a:r>
              <a:rPr sz="1176" dirty="0">
                <a:latin typeface="Segoe UI"/>
                <a:cs typeface="Segoe UI"/>
              </a:rPr>
              <a:t>b</a:t>
            </a:r>
            <a:r>
              <a:rPr sz="1176" spc="-14" dirty="0">
                <a:latin typeface="Segoe UI"/>
                <a:cs typeface="Segoe UI"/>
              </a:rPr>
              <a:t>s</a:t>
            </a:r>
            <a:r>
              <a:rPr sz="1176" dirty="0">
                <a:latin typeface="Segoe UI"/>
                <a:cs typeface="Segoe UI"/>
              </a:rPr>
              <a:t>p</a:t>
            </a:r>
            <a:r>
              <a:rPr sz="1176" spc="24" dirty="0">
                <a:latin typeface="Segoe UI"/>
                <a:cs typeface="Segoe UI"/>
              </a:rPr>
              <a:t>h</a:t>
            </a:r>
            <a:r>
              <a:rPr sz="1176" spc="4" dirty="0">
                <a:latin typeface="Segoe UI"/>
                <a:cs typeface="Segoe UI"/>
              </a:rPr>
              <a:t>er</a:t>
            </a:r>
            <a:r>
              <a:rPr sz="1176" dirty="0">
                <a:latin typeface="Segoe UI"/>
                <a:cs typeface="Segoe UI"/>
              </a:rPr>
              <a:t>e</a:t>
            </a:r>
            <a:r>
              <a:rPr sz="1176" spc="29" dirty="0">
                <a:latin typeface="Segoe UI"/>
                <a:cs typeface="Segoe UI"/>
              </a:rPr>
              <a:t> </a:t>
            </a:r>
            <a:r>
              <a:rPr sz="1176" spc="-19" dirty="0">
                <a:latin typeface="Segoe UI"/>
                <a:cs typeface="Segoe UI"/>
              </a:rPr>
              <a:t>MQ</a:t>
            </a:r>
            <a:endParaRPr sz="1176">
              <a:latin typeface="Segoe UI"/>
              <a:cs typeface="Segoe UI"/>
            </a:endParaRPr>
          </a:p>
        </p:txBody>
      </p:sp>
      <p:sp>
        <p:nvSpPr>
          <p:cNvPr id="2" name="object 2"/>
          <p:cNvSpPr txBox="1"/>
          <p:nvPr/>
        </p:nvSpPr>
        <p:spPr>
          <a:xfrm>
            <a:off x="4549358" y="1754084"/>
            <a:ext cx="1647311" cy="993986"/>
          </a:xfrm>
          <a:prstGeom prst="rect">
            <a:avLst/>
          </a:prstGeom>
        </p:spPr>
        <p:txBody>
          <a:bodyPr wrap="square" lIns="0" tIns="0" rIns="0" bIns="0" rtlCol="0">
            <a:noAutofit/>
          </a:bodyPr>
          <a:lstStyle/>
          <a:p>
            <a:pPr marL="12441" marR="22911">
              <a:lnSpc>
                <a:spcPts val="1367"/>
              </a:lnSpc>
              <a:spcBef>
                <a:spcPts val="68"/>
              </a:spcBef>
            </a:pPr>
            <a:r>
              <a:rPr sz="1176" dirty="0">
                <a:latin typeface="Arial"/>
                <a:cs typeface="Arial"/>
              </a:rPr>
              <a:t>•    </a:t>
            </a:r>
            <a:r>
              <a:rPr sz="1176" spc="145" dirty="0">
                <a:latin typeface="Arial"/>
                <a:cs typeface="Arial"/>
              </a:rPr>
              <a:t> </a:t>
            </a:r>
            <a:r>
              <a:rPr sz="1176" dirty="0">
                <a:latin typeface="Segoe UI"/>
                <a:cs typeface="Segoe UI"/>
              </a:rPr>
              <a:t>A</a:t>
            </a:r>
            <a:r>
              <a:rPr sz="1176" spc="24" dirty="0">
                <a:latin typeface="Segoe UI"/>
                <a:cs typeface="Segoe UI"/>
              </a:rPr>
              <a:t>zu</a:t>
            </a:r>
            <a:r>
              <a:rPr sz="1176" spc="4" dirty="0">
                <a:latin typeface="Segoe UI"/>
                <a:cs typeface="Segoe UI"/>
              </a:rPr>
              <a:t>r</a:t>
            </a:r>
            <a:r>
              <a:rPr sz="1176" dirty="0">
                <a:latin typeface="Segoe UI"/>
                <a:cs typeface="Segoe UI"/>
              </a:rPr>
              <a:t>e</a:t>
            </a:r>
            <a:r>
              <a:rPr sz="1176" spc="-43" dirty="0">
                <a:latin typeface="Segoe UI"/>
                <a:cs typeface="Segoe UI"/>
              </a:rPr>
              <a:t> </a:t>
            </a:r>
            <a:r>
              <a:rPr sz="1176" spc="4" dirty="0">
                <a:latin typeface="Segoe UI"/>
                <a:cs typeface="Segoe UI"/>
              </a:rPr>
              <a:t>We</a:t>
            </a:r>
            <a:r>
              <a:rPr sz="1176" dirty="0">
                <a:latin typeface="Segoe UI"/>
                <a:cs typeface="Segoe UI"/>
              </a:rPr>
              <a:t>b</a:t>
            </a:r>
            <a:r>
              <a:rPr sz="1176" spc="-59" dirty="0">
                <a:latin typeface="Segoe UI"/>
                <a:cs typeface="Segoe UI"/>
              </a:rPr>
              <a:t> </a:t>
            </a:r>
            <a:r>
              <a:rPr sz="1176" dirty="0">
                <a:latin typeface="Segoe UI"/>
                <a:cs typeface="Segoe UI"/>
              </a:rPr>
              <a:t>Jobs</a:t>
            </a:r>
            <a:endParaRPr sz="1176">
              <a:latin typeface="Segoe UI"/>
              <a:cs typeface="Segoe UI"/>
            </a:endParaRPr>
          </a:p>
          <a:p>
            <a:pPr marL="12441" marR="22911">
              <a:lnSpc>
                <a:spcPct val="110839"/>
              </a:lnSpc>
            </a:pPr>
            <a:r>
              <a:rPr sz="1176" dirty="0">
                <a:latin typeface="Arial"/>
                <a:cs typeface="Arial"/>
              </a:rPr>
              <a:t>•    </a:t>
            </a:r>
            <a:r>
              <a:rPr sz="1176" spc="145" dirty="0">
                <a:latin typeface="Arial"/>
                <a:cs typeface="Arial"/>
              </a:rPr>
              <a:t> </a:t>
            </a:r>
            <a:r>
              <a:rPr sz="1176" spc="-166" dirty="0">
                <a:latin typeface="Segoe UI"/>
                <a:cs typeface="Segoe UI"/>
              </a:rPr>
              <a:t>Y</a:t>
            </a:r>
            <a:r>
              <a:rPr sz="1176" spc="24" dirty="0">
                <a:latin typeface="Segoe UI"/>
                <a:cs typeface="Segoe UI"/>
              </a:rPr>
              <a:t>amm</a:t>
            </a:r>
            <a:r>
              <a:rPr sz="1176" spc="4" dirty="0">
                <a:latin typeface="Segoe UI"/>
                <a:cs typeface="Segoe UI"/>
              </a:rPr>
              <a:t>e</a:t>
            </a:r>
            <a:r>
              <a:rPr sz="1176" dirty="0">
                <a:latin typeface="Segoe UI"/>
                <a:cs typeface="Segoe UI"/>
              </a:rPr>
              <a:t>r</a:t>
            </a:r>
            <a:endParaRPr sz="1176">
              <a:latin typeface="Segoe UI"/>
              <a:cs typeface="Segoe UI"/>
            </a:endParaRPr>
          </a:p>
          <a:p>
            <a:pPr marL="12441" marR="22911">
              <a:lnSpc>
                <a:spcPct val="110839"/>
              </a:lnSpc>
              <a:spcBef>
                <a:spcPts val="59"/>
              </a:spcBef>
            </a:pPr>
            <a:r>
              <a:rPr sz="1176" dirty="0">
                <a:latin typeface="Arial"/>
                <a:cs typeface="Arial"/>
              </a:rPr>
              <a:t>•    </a:t>
            </a:r>
            <a:r>
              <a:rPr sz="1176" spc="145" dirty="0">
                <a:latin typeface="Arial"/>
                <a:cs typeface="Arial"/>
              </a:rPr>
              <a:t> </a:t>
            </a:r>
            <a:r>
              <a:rPr sz="1176" spc="4" dirty="0">
                <a:latin typeface="Segoe UI"/>
                <a:cs typeface="Segoe UI"/>
              </a:rPr>
              <a:t>D</a:t>
            </a:r>
            <a:r>
              <a:rPr sz="1176" spc="-14" dirty="0">
                <a:latin typeface="Segoe UI"/>
                <a:cs typeface="Segoe UI"/>
              </a:rPr>
              <a:t>y</a:t>
            </a:r>
            <a:r>
              <a:rPr sz="1176" spc="24" dirty="0">
                <a:latin typeface="Segoe UI"/>
                <a:cs typeface="Segoe UI"/>
              </a:rPr>
              <a:t>nam</a:t>
            </a:r>
            <a:r>
              <a:rPr sz="1176" spc="-9" dirty="0">
                <a:latin typeface="Segoe UI"/>
                <a:cs typeface="Segoe UI"/>
              </a:rPr>
              <a:t>i</a:t>
            </a:r>
            <a:r>
              <a:rPr sz="1176" spc="9" dirty="0">
                <a:latin typeface="Segoe UI"/>
                <a:cs typeface="Segoe UI"/>
              </a:rPr>
              <a:t>c</a:t>
            </a:r>
            <a:r>
              <a:rPr sz="1176" dirty="0">
                <a:latin typeface="Segoe UI"/>
                <a:cs typeface="Segoe UI"/>
              </a:rPr>
              <a:t>s</a:t>
            </a:r>
            <a:r>
              <a:rPr sz="1176" spc="-23" dirty="0">
                <a:latin typeface="Segoe UI"/>
                <a:cs typeface="Segoe UI"/>
              </a:rPr>
              <a:t> </a:t>
            </a:r>
            <a:r>
              <a:rPr sz="1176" spc="33" dirty="0">
                <a:latin typeface="Segoe UI"/>
                <a:cs typeface="Segoe UI"/>
              </a:rPr>
              <a:t>C</a:t>
            </a:r>
            <a:r>
              <a:rPr sz="1176" spc="-9" dirty="0">
                <a:latin typeface="Segoe UI"/>
                <a:cs typeface="Segoe UI"/>
              </a:rPr>
              <a:t>R</a:t>
            </a:r>
            <a:r>
              <a:rPr sz="1176" dirty="0">
                <a:latin typeface="Segoe UI"/>
                <a:cs typeface="Segoe UI"/>
              </a:rPr>
              <a:t>M</a:t>
            </a:r>
            <a:endParaRPr sz="1176">
              <a:latin typeface="Segoe UI"/>
              <a:cs typeface="Segoe UI"/>
            </a:endParaRPr>
          </a:p>
          <a:p>
            <a:pPr marL="12441" marR="22911">
              <a:lnSpc>
                <a:spcPct val="110839"/>
              </a:lnSpc>
              <a:spcBef>
                <a:spcPts val="59"/>
              </a:spcBef>
            </a:pPr>
            <a:r>
              <a:rPr sz="1176" dirty="0">
                <a:latin typeface="Arial"/>
                <a:cs typeface="Arial"/>
              </a:rPr>
              <a:t>•    </a:t>
            </a:r>
            <a:r>
              <a:rPr sz="1176" spc="145" dirty="0">
                <a:latin typeface="Arial"/>
                <a:cs typeface="Arial"/>
              </a:rPr>
              <a:t> </a:t>
            </a:r>
            <a:r>
              <a:rPr sz="1176" spc="4" dirty="0">
                <a:latin typeface="Segoe UI"/>
                <a:cs typeface="Segoe UI"/>
              </a:rPr>
              <a:t>D</a:t>
            </a:r>
            <a:r>
              <a:rPr sz="1176" spc="-14" dirty="0">
                <a:latin typeface="Segoe UI"/>
                <a:cs typeface="Segoe UI"/>
              </a:rPr>
              <a:t>y</a:t>
            </a:r>
            <a:r>
              <a:rPr sz="1176" spc="24" dirty="0">
                <a:latin typeface="Segoe UI"/>
                <a:cs typeface="Segoe UI"/>
              </a:rPr>
              <a:t>nam</a:t>
            </a:r>
            <a:r>
              <a:rPr sz="1176" spc="-9" dirty="0">
                <a:latin typeface="Segoe UI"/>
                <a:cs typeface="Segoe UI"/>
              </a:rPr>
              <a:t>i</a:t>
            </a:r>
            <a:r>
              <a:rPr sz="1176" spc="9" dirty="0">
                <a:latin typeface="Segoe UI"/>
                <a:cs typeface="Segoe UI"/>
              </a:rPr>
              <a:t>c</a:t>
            </a:r>
            <a:r>
              <a:rPr sz="1176" dirty="0">
                <a:latin typeface="Segoe UI"/>
                <a:cs typeface="Segoe UI"/>
              </a:rPr>
              <a:t>s</a:t>
            </a:r>
            <a:r>
              <a:rPr sz="1176" spc="-23" dirty="0">
                <a:latin typeface="Segoe UI"/>
                <a:cs typeface="Segoe UI"/>
              </a:rPr>
              <a:t> </a:t>
            </a:r>
            <a:r>
              <a:rPr sz="1176" dirty="0">
                <a:latin typeface="Segoe UI"/>
                <a:cs typeface="Segoe UI"/>
              </a:rPr>
              <a:t>AX</a:t>
            </a:r>
            <a:endParaRPr sz="1176">
              <a:latin typeface="Segoe UI"/>
              <a:cs typeface="Segoe UI"/>
            </a:endParaRPr>
          </a:p>
          <a:p>
            <a:pPr marL="12441">
              <a:lnSpc>
                <a:spcPts val="1553"/>
              </a:lnSpc>
              <a:spcBef>
                <a:spcPts val="77"/>
              </a:spcBef>
            </a:pPr>
            <a:r>
              <a:rPr sz="1176" dirty="0">
                <a:latin typeface="Arial"/>
                <a:cs typeface="Arial"/>
              </a:rPr>
              <a:t>•    </a:t>
            </a:r>
            <a:r>
              <a:rPr sz="1176" spc="145" dirty="0">
                <a:latin typeface="Arial"/>
                <a:cs typeface="Arial"/>
              </a:rPr>
              <a:t> </a:t>
            </a:r>
            <a:r>
              <a:rPr sz="1176" spc="-4" dirty="0">
                <a:latin typeface="Segoe UI"/>
                <a:cs typeface="Segoe UI"/>
              </a:rPr>
              <a:t>H</a:t>
            </a:r>
            <a:r>
              <a:rPr sz="1176" spc="-14" dirty="0">
                <a:latin typeface="Segoe UI"/>
                <a:cs typeface="Segoe UI"/>
              </a:rPr>
              <a:t>y</a:t>
            </a:r>
            <a:r>
              <a:rPr sz="1176" dirty="0">
                <a:latin typeface="Segoe UI"/>
                <a:cs typeface="Segoe UI"/>
              </a:rPr>
              <a:t>b</a:t>
            </a:r>
            <a:r>
              <a:rPr sz="1176" spc="9" dirty="0">
                <a:latin typeface="Segoe UI"/>
                <a:cs typeface="Segoe UI"/>
              </a:rPr>
              <a:t>r</a:t>
            </a:r>
            <a:r>
              <a:rPr sz="1176" spc="-9" dirty="0">
                <a:latin typeface="Segoe UI"/>
                <a:cs typeface="Segoe UI"/>
              </a:rPr>
              <a:t>i</a:t>
            </a:r>
            <a:r>
              <a:rPr sz="1176" dirty="0">
                <a:latin typeface="Segoe UI"/>
                <a:cs typeface="Segoe UI"/>
              </a:rPr>
              <a:t>d</a:t>
            </a:r>
            <a:r>
              <a:rPr sz="1176" spc="29" dirty="0">
                <a:latin typeface="Segoe UI"/>
                <a:cs typeface="Segoe UI"/>
              </a:rPr>
              <a:t> </a:t>
            </a:r>
            <a:r>
              <a:rPr sz="1176" spc="33" dirty="0">
                <a:latin typeface="Segoe UI"/>
                <a:cs typeface="Segoe UI"/>
              </a:rPr>
              <a:t>C</a:t>
            </a:r>
            <a:r>
              <a:rPr sz="1176" spc="4" dirty="0">
                <a:latin typeface="Segoe UI"/>
                <a:cs typeface="Segoe UI"/>
              </a:rPr>
              <a:t>o</a:t>
            </a:r>
            <a:r>
              <a:rPr sz="1176" spc="24" dirty="0">
                <a:latin typeface="Segoe UI"/>
                <a:cs typeface="Segoe UI"/>
              </a:rPr>
              <a:t>nn</a:t>
            </a:r>
            <a:r>
              <a:rPr sz="1176" spc="4" dirty="0">
                <a:latin typeface="Segoe UI"/>
                <a:cs typeface="Segoe UI"/>
              </a:rPr>
              <a:t>e</a:t>
            </a:r>
            <a:r>
              <a:rPr sz="1176" spc="9" dirty="0">
                <a:latin typeface="Segoe UI"/>
                <a:cs typeface="Segoe UI"/>
              </a:rPr>
              <a:t>c</a:t>
            </a:r>
            <a:r>
              <a:rPr sz="1176" spc="-53" dirty="0">
                <a:latin typeface="Segoe UI"/>
                <a:cs typeface="Segoe UI"/>
              </a:rPr>
              <a:t>t</a:t>
            </a:r>
            <a:r>
              <a:rPr sz="1176" spc="-9" dirty="0">
                <a:latin typeface="Segoe UI"/>
                <a:cs typeface="Segoe UI"/>
              </a:rPr>
              <a:t>ivi</a:t>
            </a:r>
            <a:r>
              <a:rPr sz="1176" spc="14" dirty="0">
                <a:latin typeface="Segoe UI"/>
                <a:cs typeface="Segoe UI"/>
              </a:rPr>
              <a:t>t</a:t>
            </a:r>
            <a:r>
              <a:rPr sz="1176" dirty="0">
                <a:latin typeface="Segoe UI"/>
                <a:cs typeface="Segoe UI"/>
              </a:rPr>
              <a:t>y</a:t>
            </a:r>
            <a:endParaRPr sz="1176">
              <a:latin typeface="Segoe UI"/>
              <a:cs typeface="Segoe UI"/>
            </a:endParaRPr>
          </a:p>
        </p:txBody>
      </p:sp>
    </p:spTree>
    <p:extLst>
      <p:ext uri="{BB962C8B-B14F-4D97-AF65-F5344CB8AC3E}">
        <p14:creationId xmlns:p14="http://schemas.microsoft.com/office/powerpoint/2010/main" val="376492617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35" name="object 35"/>
          <p:cNvSpPr/>
          <p:nvPr/>
        </p:nvSpPr>
        <p:spPr>
          <a:xfrm>
            <a:off x="0" y="1555"/>
            <a:ext cx="12182047" cy="6852401"/>
          </a:xfrm>
          <a:custGeom>
            <a:avLst/>
            <a:gdLst/>
            <a:ahLst/>
            <a:cxnLst/>
            <a:rect l="l" t="t" r="r" b="b"/>
            <a:pathLst>
              <a:path w="12435840" h="6995159">
                <a:moveTo>
                  <a:pt x="12435840" y="0"/>
                </a:moveTo>
                <a:lnTo>
                  <a:pt x="0" y="0"/>
                </a:lnTo>
                <a:lnTo>
                  <a:pt x="0" y="6995158"/>
                </a:lnTo>
                <a:lnTo>
                  <a:pt x="12435840" y="6995158"/>
                </a:lnTo>
                <a:lnTo>
                  <a:pt x="12435840" y="0"/>
                </a:lnTo>
                <a:close/>
              </a:path>
            </a:pathLst>
          </a:custGeom>
          <a:solidFill>
            <a:schemeClr val="bg2">
              <a:lumMod val="50000"/>
            </a:schemeClr>
          </a:solidFill>
        </p:spPr>
        <p:txBody>
          <a:bodyPr wrap="square" lIns="0" tIns="0" rIns="0" bIns="0" rtlCol="0">
            <a:noAutofit/>
          </a:bodyPr>
          <a:lstStyle/>
          <a:p>
            <a:endParaRPr sz="1763"/>
          </a:p>
        </p:txBody>
      </p:sp>
      <p:sp>
        <p:nvSpPr>
          <p:cNvPr id="34" name="object 34"/>
          <p:cNvSpPr/>
          <p:nvPr/>
        </p:nvSpPr>
        <p:spPr>
          <a:xfrm>
            <a:off x="9629192" y="4229441"/>
            <a:ext cx="671804" cy="671804"/>
          </a:xfrm>
          <a:prstGeom prst="rect">
            <a:avLst/>
          </a:prstGeom>
          <a:blipFill>
            <a:blip r:embed="rId2" cstate="print"/>
            <a:stretch>
              <a:fillRect/>
            </a:stretch>
          </a:blipFill>
        </p:spPr>
        <p:txBody>
          <a:bodyPr wrap="square" lIns="0" tIns="0" rIns="0" bIns="0" rtlCol="0">
            <a:noAutofit/>
          </a:bodyPr>
          <a:lstStyle/>
          <a:p>
            <a:endParaRPr sz="1763"/>
          </a:p>
        </p:txBody>
      </p:sp>
      <p:sp>
        <p:nvSpPr>
          <p:cNvPr id="21" name="object 21"/>
          <p:cNvSpPr/>
          <p:nvPr/>
        </p:nvSpPr>
        <p:spPr>
          <a:xfrm>
            <a:off x="6775471" y="1617303"/>
            <a:ext cx="686546" cy="693749"/>
          </a:xfrm>
          <a:custGeom>
            <a:avLst/>
            <a:gdLst/>
            <a:ahLst/>
            <a:cxnLst/>
            <a:rect l="l" t="t" r="r" b="b"/>
            <a:pathLst>
              <a:path w="700849" h="708202">
                <a:moveTo>
                  <a:pt x="573" y="337252"/>
                </a:moveTo>
                <a:lnTo>
                  <a:pt x="0" y="364494"/>
                </a:lnTo>
                <a:lnTo>
                  <a:pt x="1481" y="391769"/>
                </a:lnTo>
                <a:lnTo>
                  <a:pt x="5040" y="418951"/>
                </a:lnTo>
                <a:lnTo>
                  <a:pt x="10703" y="445914"/>
                </a:lnTo>
                <a:lnTo>
                  <a:pt x="18493" y="472533"/>
                </a:lnTo>
                <a:lnTo>
                  <a:pt x="28434" y="498682"/>
                </a:lnTo>
                <a:lnTo>
                  <a:pt x="40550" y="524234"/>
                </a:lnTo>
                <a:lnTo>
                  <a:pt x="47128" y="361129"/>
                </a:lnTo>
                <a:lnTo>
                  <a:pt x="47671" y="337629"/>
                </a:lnTo>
                <a:lnTo>
                  <a:pt x="49996" y="314230"/>
                </a:lnTo>
                <a:lnTo>
                  <a:pt x="54087" y="291034"/>
                </a:lnTo>
                <a:lnTo>
                  <a:pt x="59928" y="268142"/>
                </a:lnTo>
                <a:lnTo>
                  <a:pt x="67502" y="245655"/>
                </a:lnTo>
                <a:lnTo>
                  <a:pt x="76794" y="223675"/>
                </a:lnTo>
                <a:lnTo>
                  <a:pt x="87787" y="202302"/>
                </a:lnTo>
                <a:lnTo>
                  <a:pt x="100466" y="181639"/>
                </a:lnTo>
                <a:lnTo>
                  <a:pt x="114814" y="161787"/>
                </a:lnTo>
                <a:lnTo>
                  <a:pt x="130816" y="142846"/>
                </a:lnTo>
                <a:lnTo>
                  <a:pt x="148455" y="124919"/>
                </a:lnTo>
                <a:lnTo>
                  <a:pt x="167715" y="108106"/>
                </a:lnTo>
                <a:lnTo>
                  <a:pt x="189559" y="92293"/>
                </a:lnTo>
                <a:lnTo>
                  <a:pt x="212384" y="79184"/>
                </a:lnTo>
                <a:lnTo>
                  <a:pt x="236039" y="68627"/>
                </a:lnTo>
                <a:lnTo>
                  <a:pt x="260376" y="60470"/>
                </a:lnTo>
                <a:lnTo>
                  <a:pt x="285242" y="54564"/>
                </a:lnTo>
                <a:lnTo>
                  <a:pt x="310487" y="50755"/>
                </a:lnTo>
                <a:lnTo>
                  <a:pt x="335962" y="48893"/>
                </a:lnTo>
                <a:lnTo>
                  <a:pt x="349646" y="48643"/>
                </a:lnTo>
                <a:lnTo>
                  <a:pt x="363288" y="48927"/>
                </a:lnTo>
                <a:lnTo>
                  <a:pt x="390492" y="51216"/>
                </a:lnTo>
                <a:lnTo>
                  <a:pt x="417456" y="55823"/>
                </a:lnTo>
                <a:lnTo>
                  <a:pt x="444018" y="62782"/>
                </a:lnTo>
                <a:lnTo>
                  <a:pt x="470020" y="72126"/>
                </a:lnTo>
                <a:lnTo>
                  <a:pt x="495298" y="83886"/>
                </a:lnTo>
                <a:lnTo>
                  <a:pt x="519693" y="98096"/>
                </a:lnTo>
                <a:lnTo>
                  <a:pt x="543045" y="114787"/>
                </a:lnTo>
                <a:lnTo>
                  <a:pt x="565191" y="133993"/>
                </a:lnTo>
                <a:lnTo>
                  <a:pt x="585971" y="155746"/>
                </a:lnTo>
                <a:lnTo>
                  <a:pt x="610090" y="188287"/>
                </a:lnTo>
                <a:lnTo>
                  <a:pt x="622470" y="209765"/>
                </a:lnTo>
                <a:lnTo>
                  <a:pt x="632956" y="231908"/>
                </a:lnTo>
                <a:lnTo>
                  <a:pt x="641563" y="254603"/>
                </a:lnTo>
                <a:lnTo>
                  <a:pt x="648308" y="277735"/>
                </a:lnTo>
                <a:lnTo>
                  <a:pt x="653207" y="301193"/>
                </a:lnTo>
                <a:lnTo>
                  <a:pt x="656275" y="324861"/>
                </a:lnTo>
                <a:lnTo>
                  <a:pt x="657529" y="348626"/>
                </a:lnTo>
                <a:lnTo>
                  <a:pt x="656986" y="372376"/>
                </a:lnTo>
                <a:lnTo>
                  <a:pt x="654660" y="395996"/>
                </a:lnTo>
                <a:lnTo>
                  <a:pt x="650568" y="419372"/>
                </a:lnTo>
                <a:lnTo>
                  <a:pt x="644726" y="442392"/>
                </a:lnTo>
                <a:lnTo>
                  <a:pt x="637151" y="464941"/>
                </a:lnTo>
                <a:lnTo>
                  <a:pt x="627858" y="486907"/>
                </a:lnTo>
                <a:lnTo>
                  <a:pt x="616863" y="508175"/>
                </a:lnTo>
                <a:lnTo>
                  <a:pt x="604182" y="528632"/>
                </a:lnTo>
                <a:lnTo>
                  <a:pt x="589832" y="548165"/>
                </a:lnTo>
                <a:lnTo>
                  <a:pt x="573828" y="566659"/>
                </a:lnTo>
                <a:lnTo>
                  <a:pt x="556187" y="584002"/>
                </a:lnTo>
                <a:lnTo>
                  <a:pt x="536925" y="600080"/>
                </a:lnTo>
                <a:lnTo>
                  <a:pt x="515612" y="615643"/>
                </a:lnTo>
                <a:lnTo>
                  <a:pt x="492985" y="629074"/>
                </a:lnTo>
                <a:lnTo>
                  <a:pt x="469316" y="640375"/>
                </a:lnTo>
                <a:lnTo>
                  <a:pt x="444874" y="649544"/>
                </a:lnTo>
                <a:lnTo>
                  <a:pt x="419931" y="656583"/>
                </a:lnTo>
                <a:lnTo>
                  <a:pt x="394756" y="661491"/>
                </a:lnTo>
                <a:lnTo>
                  <a:pt x="369620" y="664268"/>
                </a:lnTo>
                <a:lnTo>
                  <a:pt x="349646" y="664955"/>
                </a:lnTo>
                <a:lnTo>
                  <a:pt x="336005" y="664632"/>
                </a:lnTo>
                <a:lnTo>
                  <a:pt x="308820" y="662054"/>
                </a:lnTo>
                <a:lnTo>
                  <a:pt x="281923" y="656930"/>
                </a:lnTo>
                <a:lnTo>
                  <a:pt x="255509" y="649293"/>
                </a:lnTo>
                <a:lnTo>
                  <a:pt x="229768" y="639174"/>
                </a:lnTo>
                <a:lnTo>
                  <a:pt x="204894" y="626606"/>
                </a:lnTo>
                <a:lnTo>
                  <a:pt x="181080" y="611621"/>
                </a:lnTo>
                <a:lnTo>
                  <a:pt x="158518" y="594252"/>
                </a:lnTo>
                <a:lnTo>
                  <a:pt x="137400" y="574532"/>
                </a:lnTo>
                <a:lnTo>
                  <a:pt x="117920" y="552493"/>
                </a:lnTo>
                <a:lnTo>
                  <a:pt x="94564" y="519952"/>
                </a:lnTo>
                <a:lnTo>
                  <a:pt x="82186" y="498580"/>
                </a:lnTo>
                <a:lnTo>
                  <a:pt x="71701" y="476601"/>
                </a:lnTo>
                <a:lnTo>
                  <a:pt x="63094" y="454115"/>
                </a:lnTo>
                <a:lnTo>
                  <a:pt x="71403" y="573049"/>
                </a:lnTo>
                <a:lnTo>
                  <a:pt x="93352" y="599166"/>
                </a:lnTo>
                <a:lnTo>
                  <a:pt x="117290" y="622397"/>
                </a:lnTo>
                <a:lnTo>
                  <a:pt x="142962" y="642773"/>
                </a:lnTo>
                <a:lnTo>
                  <a:pt x="170112" y="660326"/>
                </a:lnTo>
                <a:lnTo>
                  <a:pt x="198481" y="675090"/>
                </a:lnTo>
                <a:lnTo>
                  <a:pt x="227814" y="687097"/>
                </a:lnTo>
                <a:lnTo>
                  <a:pt x="257853" y="696379"/>
                </a:lnTo>
                <a:lnTo>
                  <a:pt x="288343" y="702969"/>
                </a:lnTo>
                <a:lnTo>
                  <a:pt x="319026" y="706899"/>
                </a:lnTo>
                <a:lnTo>
                  <a:pt x="349646" y="708202"/>
                </a:lnTo>
                <a:lnTo>
                  <a:pt x="362313" y="707995"/>
                </a:lnTo>
                <a:lnTo>
                  <a:pt x="387603" y="706320"/>
                </a:lnTo>
                <a:lnTo>
                  <a:pt x="412755" y="702927"/>
                </a:lnTo>
                <a:lnTo>
                  <a:pt x="437677" y="697769"/>
                </a:lnTo>
                <a:lnTo>
                  <a:pt x="462277" y="690798"/>
                </a:lnTo>
                <a:lnTo>
                  <a:pt x="486463" y="681969"/>
                </a:lnTo>
                <a:lnTo>
                  <a:pt x="510142" y="671235"/>
                </a:lnTo>
                <a:lnTo>
                  <a:pt x="533222" y="658549"/>
                </a:lnTo>
                <a:lnTo>
                  <a:pt x="555610" y="643865"/>
                </a:lnTo>
                <a:lnTo>
                  <a:pt x="586002" y="619334"/>
                </a:lnTo>
                <a:lnTo>
                  <a:pt x="606376" y="599329"/>
                </a:lnTo>
                <a:lnTo>
                  <a:pt x="624799" y="578034"/>
                </a:lnTo>
                <a:lnTo>
                  <a:pt x="641260" y="555576"/>
                </a:lnTo>
                <a:lnTo>
                  <a:pt x="655746" y="532080"/>
                </a:lnTo>
                <a:lnTo>
                  <a:pt x="668245" y="507671"/>
                </a:lnTo>
                <a:lnTo>
                  <a:pt x="678746" y="482476"/>
                </a:lnTo>
                <a:lnTo>
                  <a:pt x="687236" y="456620"/>
                </a:lnTo>
                <a:lnTo>
                  <a:pt x="693704" y="430229"/>
                </a:lnTo>
                <a:lnTo>
                  <a:pt x="698136" y="403429"/>
                </a:lnTo>
                <a:lnTo>
                  <a:pt x="700522" y="376344"/>
                </a:lnTo>
                <a:lnTo>
                  <a:pt x="700849" y="349101"/>
                </a:lnTo>
                <a:lnTo>
                  <a:pt x="699105" y="321826"/>
                </a:lnTo>
                <a:lnTo>
                  <a:pt x="695279" y="294644"/>
                </a:lnTo>
                <a:lnTo>
                  <a:pt x="689358" y="267681"/>
                </a:lnTo>
                <a:lnTo>
                  <a:pt x="681330" y="241063"/>
                </a:lnTo>
                <a:lnTo>
                  <a:pt x="671183" y="214914"/>
                </a:lnTo>
                <a:lnTo>
                  <a:pt x="658905" y="189362"/>
                </a:lnTo>
                <a:lnTo>
                  <a:pt x="644484" y="164531"/>
                </a:lnTo>
                <a:lnTo>
                  <a:pt x="627909" y="140548"/>
                </a:lnTo>
                <a:lnTo>
                  <a:pt x="607402" y="114279"/>
                </a:lnTo>
                <a:lnTo>
                  <a:pt x="584583" y="90639"/>
                </a:lnTo>
                <a:lnTo>
                  <a:pt x="559710" y="69659"/>
                </a:lnTo>
                <a:lnTo>
                  <a:pt x="533040" y="51372"/>
                </a:lnTo>
                <a:lnTo>
                  <a:pt x="504828" y="35809"/>
                </a:lnTo>
                <a:lnTo>
                  <a:pt x="475333" y="23004"/>
                </a:lnTo>
                <a:lnTo>
                  <a:pt x="444810" y="12988"/>
                </a:lnTo>
                <a:lnTo>
                  <a:pt x="413517" y="5794"/>
                </a:lnTo>
                <a:lnTo>
                  <a:pt x="381710" y="1453"/>
                </a:lnTo>
                <a:lnTo>
                  <a:pt x="349646" y="0"/>
                </a:lnTo>
                <a:lnTo>
                  <a:pt x="337076" y="204"/>
                </a:lnTo>
                <a:lnTo>
                  <a:pt x="311981" y="1878"/>
                </a:lnTo>
                <a:lnTo>
                  <a:pt x="287021" y="5311"/>
                </a:lnTo>
                <a:lnTo>
                  <a:pt x="262285" y="10595"/>
                </a:lnTo>
                <a:lnTo>
                  <a:pt x="237864" y="17822"/>
                </a:lnTo>
                <a:lnTo>
                  <a:pt x="213848" y="27082"/>
                </a:lnTo>
                <a:lnTo>
                  <a:pt x="190326" y="38466"/>
                </a:lnTo>
                <a:lnTo>
                  <a:pt x="167388" y="52064"/>
                </a:lnTo>
                <a:lnTo>
                  <a:pt x="145124" y="67968"/>
                </a:lnTo>
                <a:lnTo>
                  <a:pt x="114023" y="94272"/>
                </a:lnTo>
                <a:lnTo>
                  <a:pt x="94226" y="114275"/>
                </a:lnTo>
                <a:lnTo>
                  <a:pt x="76244" y="135568"/>
                </a:lnTo>
                <a:lnTo>
                  <a:pt x="60099" y="158025"/>
                </a:lnTo>
                <a:lnTo>
                  <a:pt x="45816" y="181520"/>
                </a:lnTo>
                <a:lnTo>
                  <a:pt x="33420" y="205928"/>
                </a:lnTo>
                <a:lnTo>
                  <a:pt x="22934" y="231122"/>
                </a:lnTo>
                <a:lnTo>
                  <a:pt x="14382" y="256977"/>
                </a:lnTo>
                <a:lnTo>
                  <a:pt x="7789" y="283368"/>
                </a:lnTo>
                <a:lnTo>
                  <a:pt x="3178" y="310168"/>
                </a:lnTo>
                <a:lnTo>
                  <a:pt x="573" y="337252"/>
                </a:lnTo>
                <a:close/>
              </a:path>
              <a:path w="700849" h="708202">
                <a:moveTo>
                  <a:pt x="56350" y="431223"/>
                </a:moveTo>
                <a:lnTo>
                  <a:pt x="51451" y="408028"/>
                </a:lnTo>
                <a:lnTo>
                  <a:pt x="48383" y="384629"/>
                </a:lnTo>
                <a:lnTo>
                  <a:pt x="47128" y="361129"/>
                </a:lnTo>
                <a:lnTo>
                  <a:pt x="40550" y="524234"/>
                </a:lnTo>
                <a:lnTo>
                  <a:pt x="54865" y="549065"/>
                </a:lnTo>
                <a:lnTo>
                  <a:pt x="71403" y="573049"/>
                </a:lnTo>
                <a:lnTo>
                  <a:pt x="63094" y="454115"/>
                </a:lnTo>
                <a:lnTo>
                  <a:pt x="56350" y="431223"/>
                </a:lnTo>
                <a:close/>
              </a:path>
            </a:pathLst>
          </a:custGeom>
          <a:solidFill>
            <a:srgbClr val="FFFFFF"/>
          </a:solidFill>
        </p:spPr>
        <p:txBody>
          <a:bodyPr wrap="square" lIns="0" tIns="0" rIns="0" bIns="0" rtlCol="0">
            <a:noAutofit/>
          </a:bodyPr>
          <a:lstStyle/>
          <a:p>
            <a:endParaRPr sz="1763"/>
          </a:p>
        </p:txBody>
      </p:sp>
      <p:sp>
        <p:nvSpPr>
          <p:cNvPr id="22" name="object 22"/>
          <p:cNvSpPr/>
          <p:nvPr/>
        </p:nvSpPr>
        <p:spPr>
          <a:xfrm>
            <a:off x="6871627" y="1972127"/>
            <a:ext cx="94353" cy="227710"/>
          </a:xfrm>
          <a:custGeom>
            <a:avLst/>
            <a:gdLst/>
            <a:ahLst/>
            <a:cxnLst/>
            <a:rect l="l" t="t" r="r" b="b"/>
            <a:pathLst>
              <a:path w="96319" h="232454">
                <a:moveTo>
                  <a:pt x="58873" y="223822"/>
                </a:moveTo>
                <a:lnTo>
                  <a:pt x="58970" y="214271"/>
                </a:lnTo>
                <a:lnTo>
                  <a:pt x="59233" y="203886"/>
                </a:lnTo>
                <a:lnTo>
                  <a:pt x="59745" y="192751"/>
                </a:lnTo>
                <a:lnTo>
                  <a:pt x="60589" y="180949"/>
                </a:lnTo>
                <a:lnTo>
                  <a:pt x="61848" y="168564"/>
                </a:lnTo>
                <a:lnTo>
                  <a:pt x="63606" y="155680"/>
                </a:lnTo>
                <a:lnTo>
                  <a:pt x="65944" y="142382"/>
                </a:lnTo>
                <a:lnTo>
                  <a:pt x="68947" y="128753"/>
                </a:lnTo>
                <a:lnTo>
                  <a:pt x="72697" y="114877"/>
                </a:lnTo>
                <a:lnTo>
                  <a:pt x="77277" y="100838"/>
                </a:lnTo>
                <a:lnTo>
                  <a:pt x="82770" y="86721"/>
                </a:lnTo>
                <a:lnTo>
                  <a:pt x="89260" y="72608"/>
                </a:lnTo>
                <a:lnTo>
                  <a:pt x="96319" y="59463"/>
                </a:lnTo>
                <a:lnTo>
                  <a:pt x="86506" y="49180"/>
                </a:lnTo>
                <a:lnTo>
                  <a:pt x="77375" y="39029"/>
                </a:lnTo>
                <a:lnTo>
                  <a:pt x="68797" y="29141"/>
                </a:lnTo>
                <a:lnTo>
                  <a:pt x="60643" y="19644"/>
                </a:lnTo>
                <a:lnTo>
                  <a:pt x="52784" y="10668"/>
                </a:lnTo>
                <a:lnTo>
                  <a:pt x="45091" y="2344"/>
                </a:lnTo>
                <a:lnTo>
                  <a:pt x="42803" y="0"/>
                </a:lnTo>
                <a:lnTo>
                  <a:pt x="37323" y="12711"/>
                </a:lnTo>
                <a:lnTo>
                  <a:pt x="32309" y="25410"/>
                </a:lnTo>
                <a:lnTo>
                  <a:pt x="27739" y="38086"/>
                </a:lnTo>
                <a:lnTo>
                  <a:pt x="23587" y="50727"/>
                </a:lnTo>
                <a:lnTo>
                  <a:pt x="19832" y="63321"/>
                </a:lnTo>
                <a:lnTo>
                  <a:pt x="16450" y="75856"/>
                </a:lnTo>
                <a:lnTo>
                  <a:pt x="13417" y="88321"/>
                </a:lnTo>
                <a:lnTo>
                  <a:pt x="10712" y="100704"/>
                </a:lnTo>
                <a:lnTo>
                  <a:pt x="8309" y="112992"/>
                </a:lnTo>
                <a:lnTo>
                  <a:pt x="6187" y="125176"/>
                </a:lnTo>
                <a:lnTo>
                  <a:pt x="4322" y="137242"/>
                </a:lnTo>
                <a:lnTo>
                  <a:pt x="2691" y="149179"/>
                </a:lnTo>
                <a:lnTo>
                  <a:pt x="1270" y="160975"/>
                </a:lnTo>
                <a:lnTo>
                  <a:pt x="36" y="172619"/>
                </a:lnTo>
                <a:lnTo>
                  <a:pt x="0" y="172988"/>
                </a:lnTo>
                <a:lnTo>
                  <a:pt x="5343" y="172988"/>
                </a:lnTo>
                <a:lnTo>
                  <a:pt x="5343" y="178397"/>
                </a:lnTo>
                <a:lnTo>
                  <a:pt x="10694" y="183799"/>
                </a:lnTo>
                <a:lnTo>
                  <a:pt x="17654" y="193280"/>
                </a:lnTo>
                <a:lnTo>
                  <a:pt x="26208" y="203255"/>
                </a:lnTo>
                <a:lnTo>
                  <a:pt x="35741" y="213105"/>
                </a:lnTo>
                <a:lnTo>
                  <a:pt x="45640" y="222206"/>
                </a:lnTo>
                <a:lnTo>
                  <a:pt x="55290" y="229939"/>
                </a:lnTo>
                <a:lnTo>
                  <a:pt x="58859" y="232454"/>
                </a:lnTo>
                <a:lnTo>
                  <a:pt x="58873" y="223822"/>
                </a:lnTo>
                <a:close/>
              </a:path>
            </a:pathLst>
          </a:custGeom>
          <a:solidFill>
            <a:srgbClr val="FFFFFF"/>
          </a:solidFill>
        </p:spPr>
        <p:txBody>
          <a:bodyPr wrap="square" lIns="0" tIns="0" rIns="0" bIns="0" rtlCol="0">
            <a:noAutofit/>
          </a:bodyPr>
          <a:lstStyle/>
          <a:p>
            <a:endParaRPr sz="1763"/>
          </a:p>
        </p:txBody>
      </p:sp>
      <p:sp>
        <p:nvSpPr>
          <p:cNvPr id="23" name="object 23"/>
          <p:cNvSpPr/>
          <p:nvPr/>
        </p:nvSpPr>
        <p:spPr>
          <a:xfrm>
            <a:off x="6945007" y="1797361"/>
            <a:ext cx="178228" cy="185348"/>
          </a:xfrm>
          <a:custGeom>
            <a:avLst/>
            <a:gdLst/>
            <a:ahLst/>
            <a:cxnLst/>
            <a:rect l="l" t="t" r="r" b="b"/>
            <a:pathLst>
              <a:path w="181941" h="189209">
                <a:moveTo>
                  <a:pt x="656" y="123359"/>
                </a:moveTo>
                <a:lnTo>
                  <a:pt x="5443" y="134542"/>
                </a:lnTo>
                <a:lnTo>
                  <a:pt x="11680" y="144739"/>
                </a:lnTo>
                <a:lnTo>
                  <a:pt x="18711" y="154936"/>
                </a:lnTo>
                <a:lnTo>
                  <a:pt x="26535" y="165133"/>
                </a:lnTo>
                <a:lnTo>
                  <a:pt x="35152" y="175330"/>
                </a:lnTo>
                <a:lnTo>
                  <a:pt x="44563" y="185527"/>
                </a:lnTo>
                <a:lnTo>
                  <a:pt x="48155" y="189209"/>
                </a:lnTo>
                <a:lnTo>
                  <a:pt x="55172" y="179804"/>
                </a:lnTo>
                <a:lnTo>
                  <a:pt x="62384" y="170399"/>
                </a:lnTo>
                <a:lnTo>
                  <a:pt x="69987" y="160993"/>
                </a:lnTo>
                <a:lnTo>
                  <a:pt x="78177" y="151588"/>
                </a:lnTo>
                <a:lnTo>
                  <a:pt x="87149" y="142183"/>
                </a:lnTo>
                <a:lnTo>
                  <a:pt x="97099" y="132778"/>
                </a:lnTo>
                <a:lnTo>
                  <a:pt x="107012" y="124345"/>
                </a:lnTo>
                <a:lnTo>
                  <a:pt x="117289" y="114218"/>
                </a:lnTo>
                <a:lnTo>
                  <a:pt x="127498" y="104624"/>
                </a:lnTo>
                <a:lnTo>
                  <a:pt x="137571" y="95564"/>
                </a:lnTo>
                <a:lnTo>
                  <a:pt x="147442" y="87036"/>
                </a:lnTo>
                <a:lnTo>
                  <a:pt x="157042" y="79042"/>
                </a:lnTo>
                <a:lnTo>
                  <a:pt x="166303" y="71580"/>
                </a:lnTo>
                <a:lnTo>
                  <a:pt x="175158" y="64651"/>
                </a:lnTo>
                <a:lnTo>
                  <a:pt x="181941" y="59463"/>
                </a:lnTo>
                <a:lnTo>
                  <a:pt x="173933" y="49530"/>
                </a:lnTo>
                <a:lnTo>
                  <a:pt x="165373" y="40155"/>
                </a:lnTo>
                <a:lnTo>
                  <a:pt x="156519" y="31078"/>
                </a:lnTo>
                <a:lnTo>
                  <a:pt x="147625" y="22040"/>
                </a:lnTo>
                <a:lnTo>
                  <a:pt x="138951" y="12781"/>
                </a:lnTo>
                <a:lnTo>
                  <a:pt x="130751" y="3042"/>
                </a:lnTo>
                <a:lnTo>
                  <a:pt x="128431" y="0"/>
                </a:lnTo>
                <a:lnTo>
                  <a:pt x="117916" y="5800"/>
                </a:lnTo>
                <a:lnTo>
                  <a:pt x="107755" y="12357"/>
                </a:lnTo>
                <a:lnTo>
                  <a:pt x="97903" y="19626"/>
                </a:lnTo>
                <a:lnTo>
                  <a:pt x="88315" y="27562"/>
                </a:lnTo>
                <a:lnTo>
                  <a:pt x="78948" y="36122"/>
                </a:lnTo>
                <a:lnTo>
                  <a:pt x="69756" y="45260"/>
                </a:lnTo>
                <a:lnTo>
                  <a:pt x="60696" y="54932"/>
                </a:lnTo>
                <a:lnTo>
                  <a:pt x="51723" y="65095"/>
                </a:lnTo>
                <a:lnTo>
                  <a:pt x="42810" y="75683"/>
                </a:lnTo>
                <a:lnTo>
                  <a:pt x="33412" y="85219"/>
                </a:lnTo>
                <a:lnTo>
                  <a:pt x="24256" y="94754"/>
                </a:lnTo>
                <a:lnTo>
                  <a:pt x="15584" y="104289"/>
                </a:lnTo>
                <a:lnTo>
                  <a:pt x="7637" y="113824"/>
                </a:lnTo>
                <a:lnTo>
                  <a:pt x="656" y="123359"/>
                </a:lnTo>
                <a:close/>
              </a:path>
            </a:pathLst>
          </a:custGeom>
          <a:solidFill>
            <a:srgbClr val="FFFFFF"/>
          </a:solidFill>
        </p:spPr>
        <p:txBody>
          <a:bodyPr wrap="square" lIns="0" tIns="0" rIns="0" bIns="0" rtlCol="0">
            <a:noAutofit/>
          </a:bodyPr>
          <a:lstStyle/>
          <a:p>
            <a:endParaRPr sz="1763"/>
          </a:p>
        </p:txBody>
      </p:sp>
      <p:sp>
        <p:nvSpPr>
          <p:cNvPr id="24" name="object 24"/>
          <p:cNvSpPr/>
          <p:nvPr/>
        </p:nvSpPr>
        <p:spPr>
          <a:xfrm>
            <a:off x="7112745" y="1729128"/>
            <a:ext cx="241128" cy="100010"/>
          </a:xfrm>
          <a:custGeom>
            <a:avLst/>
            <a:gdLst/>
            <a:ahLst/>
            <a:cxnLst/>
            <a:rect l="l" t="t" r="r" b="b"/>
            <a:pathLst>
              <a:path w="246152" h="102094">
                <a:moveTo>
                  <a:pt x="38200" y="24602"/>
                </a:moveTo>
                <a:lnTo>
                  <a:pt x="24085" y="30667"/>
                </a:lnTo>
                <a:lnTo>
                  <a:pt x="9808" y="37501"/>
                </a:lnTo>
                <a:lnTo>
                  <a:pt x="0" y="42613"/>
                </a:lnTo>
                <a:lnTo>
                  <a:pt x="8006" y="52544"/>
                </a:lnTo>
                <a:lnTo>
                  <a:pt x="16564" y="61918"/>
                </a:lnTo>
                <a:lnTo>
                  <a:pt x="25418" y="70995"/>
                </a:lnTo>
                <a:lnTo>
                  <a:pt x="34309" y="80034"/>
                </a:lnTo>
                <a:lnTo>
                  <a:pt x="42983" y="89296"/>
                </a:lnTo>
                <a:lnTo>
                  <a:pt x="51182" y="99039"/>
                </a:lnTo>
                <a:lnTo>
                  <a:pt x="53510" y="102094"/>
                </a:lnTo>
                <a:lnTo>
                  <a:pt x="74183" y="91689"/>
                </a:lnTo>
                <a:lnTo>
                  <a:pt x="94034" y="82700"/>
                </a:lnTo>
                <a:lnTo>
                  <a:pt x="112992" y="75026"/>
                </a:lnTo>
                <a:lnTo>
                  <a:pt x="130988" y="68562"/>
                </a:lnTo>
                <a:lnTo>
                  <a:pt x="147949" y="63208"/>
                </a:lnTo>
                <a:lnTo>
                  <a:pt x="163807" y="58858"/>
                </a:lnTo>
                <a:lnTo>
                  <a:pt x="178490" y="55412"/>
                </a:lnTo>
                <a:lnTo>
                  <a:pt x="191928" y="52765"/>
                </a:lnTo>
                <a:lnTo>
                  <a:pt x="204051" y="50814"/>
                </a:lnTo>
                <a:lnTo>
                  <a:pt x="214787" y="49458"/>
                </a:lnTo>
                <a:lnTo>
                  <a:pt x="224067" y="48593"/>
                </a:lnTo>
                <a:lnTo>
                  <a:pt x="231820" y="48116"/>
                </a:lnTo>
                <a:lnTo>
                  <a:pt x="237976" y="47924"/>
                </a:lnTo>
                <a:lnTo>
                  <a:pt x="246152" y="48032"/>
                </a:lnTo>
                <a:lnTo>
                  <a:pt x="238799" y="37928"/>
                </a:lnTo>
                <a:lnTo>
                  <a:pt x="230341" y="28118"/>
                </a:lnTo>
                <a:lnTo>
                  <a:pt x="221070" y="18897"/>
                </a:lnTo>
                <a:lnTo>
                  <a:pt x="211276" y="10559"/>
                </a:lnTo>
                <a:lnTo>
                  <a:pt x="203333" y="4771"/>
                </a:lnTo>
                <a:lnTo>
                  <a:pt x="194390" y="3005"/>
                </a:lnTo>
                <a:lnTo>
                  <a:pt x="184897" y="1617"/>
                </a:lnTo>
                <a:lnTo>
                  <a:pt x="174883" y="634"/>
                </a:lnTo>
                <a:lnTo>
                  <a:pt x="164374" y="86"/>
                </a:lnTo>
                <a:lnTo>
                  <a:pt x="153398" y="0"/>
                </a:lnTo>
                <a:lnTo>
                  <a:pt x="141984" y="403"/>
                </a:lnTo>
                <a:lnTo>
                  <a:pt x="130159" y="1323"/>
                </a:lnTo>
                <a:lnTo>
                  <a:pt x="117950" y="2789"/>
                </a:lnTo>
                <a:lnTo>
                  <a:pt x="105386" y="4828"/>
                </a:lnTo>
                <a:lnTo>
                  <a:pt x="92494" y="7469"/>
                </a:lnTo>
                <a:lnTo>
                  <a:pt x="79301" y="10739"/>
                </a:lnTo>
                <a:lnTo>
                  <a:pt x="65836" y="14665"/>
                </a:lnTo>
                <a:lnTo>
                  <a:pt x="52127" y="19277"/>
                </a:lnTo>
                <a:lnTo>
                  <a:pt x="38200" y="24602"/>
                </a:lnTo>
                <a:close/>
              </a:path>
            </a:pathLst>
          </a:custGeom>
          <a:solidFill>
            <a:srgbClr val="FFFFFF"/>
          </a:solidFill>
        </p:spPr>
        <p:txBody>
          <a:bodyPr wrap="square" lIns="0" tIns="0" rIns="0" bIns="0" rtlCol="0">
            <a:noAutofit/>
          </a:bodyPr>
          <a:lstStyle/>
          <a:p>
            <a:endParaRPr sz="1763"/>
          </a:p>
        </p:txBody>
      </p:sp>
      <p:sp>
        <p:nvSpPr>
          <p:cNvPr id="25" name="object 25"/>
          <p:cNvSpPr/>
          <p:nvPr/>
        </p:nvSpPr>
        <p:spPr>
          <a:xfrm>
            <a:off x="6866167" y="1754981"/>
            <a:ext cx="78840" cy="217144"/>
          </a:xfrm>
          <a:custGeom>
            <a:avLst/>
            <a:gdLst/>
            <a:ahLst/>
            <a:cxnLst/>
            <a:rect l="l" t="t" r="r" b="b"/>
            <a:pathLst>
              <a:path w="80483" h="221668">
                <a:moveTo>
                  <a:pt x="41535" y="77537"/>
                </a:moveTo>
                <a:lnTo>
                  <a:pt x="38848" y="64635"/>
                </a:lnTo>
                <a:lnTo>
                  <a:pt x="36990" y="52499"/>
                </a:lnTo>
                <a:lnTo>
                  <a:pt x="35865" y="41188"/>
                </a:lnTo>
                <a:lnTo>
                  <a:pt x="35376" y="30764"/>
                </a:lnTo>
                <a:lnTo>
                  <a:pt x="35427" y="21288"/>
                </a:lnTo>
                <a:lnTo>
                  <a:pt x="35921" y="12820"/>
                </a:lnTo>
                <a:lnTo>
                  <a:pt x="36761" y="5422"/>
                </a:lnTo>
                <a:lnTo>
                  <a:pt x="37680" y="0"/>
                </a:lnTo>
                <a:lnTo>
                  <a:pt x="29461" y="9186"/>
                </a:lnTo>
                <a:lnTo>
                  <a:pt x="21243" y="19406"/>
                </a:lnTo>
                <a:lnTo>
                  <a:pt x="13027" y="29573"/>
                </a:lnTo>
                <a:lnTo>
                  <a:pt x="5573" y="37841"/>
                </a:lnTo>
                <a:lnTo>
                  <a:pt x="3627" y="46514"/>
                </a:lnTo>
                <a:lnTo>
                  <a:pt x="2025" y="55610"/>
                </a:lnTo>
                <a:lnTo>
                  <a:pt x="839" y="65137"/>
                </a:lnTo>
                <a:lnTo>
                  <a:pt x="140" y="75105"/>
                </a:lnTo>
                <a:lnTo>
                  <a:pt x="0" y="85523"/>
                </a:lnTo>
                <a:lnTo>
                  <a:pt x="488" y="96399"/>
                </a:lnTo>
                <a:lnTo>
                  <a:pt x="1678" y="107743"/>
                </a:lnTo>
                <a:lnTo>
                  <a:pt x="3639" y="119564"/>
                </a:lnTo>
                <a:lnTo>
                  <a:pt x="6444" y="131871"/>
                </a:lnTo>
                <a:lnTo>
                  <a:pt x="10164" y="144674"/>
                </a:lnTo>
                <a:lnTo>
                  <a:pt x="14869" y="157980"/>
                </a:lnTo>
                <a:lnTo>
                  <a:pt x="20631" y="171799"/>
                </a:lnTo>
                <a:lnTo>
                  <a:pt x="27521" y="186140"/>
                </a:lnTo>
                <a:lnTo>
                  <a:pt x="35611" y="201013"/>
                </a:lnTo>
                <a:lnTo>
                  <a:pt x="44972" y="216426"/>
                </a:lnTo>
                <a:lnTo>
                  <a:pt x="48376" y="221668"/>
                </a:lnTo>
                <a:lnTo>
                  <a:pt x="54862" y="211266"/>
                </a:lnTo>
                <a:lnTo>
                  <a:pt x="61346" y="200074"/>
                </a:lnTo>
                <a:lnTo>
                  <a:pt x="67830" y="188629"/>
                </a:lnTo>
                <a:lnTo>
                  <a:pt x="74315" y="177467"/>
                </a:lnTo>
                <a:lnTo>
                  <a:pt x="80483" y="167606"/>
                </a:lnTo>
                <a:lnTo>
                  <a:pt x="70791" y="151392"/>
                </a:lnTo>
                <a:lnTo>
                  <a:pt x="62509" y="135578"/>
                </a:lnTo>
                <a:lnTo>
                  <a:pt x="55538" y="120225"/>
                </a:lnTo>
                <a:lnTo>
                  <a:pt x="49784" y="105393"/>
                </a:lnTo>
                <a:lnTo>
                  <a:pt x="45148" y="91143"/>
                </a:lnTo>
                <a:lnTo>
                  <a:pt x="41535" y="77537"/>
                </a:lnTo>
                <a:close/>
              </a:path>
            </a:pathLst>
          </a:custGeom>
          <a:solidFill>
            <a:srgbClr val="FFFFFF"/>
          </a:solidFill>
        </p:spPr>
        <p:txBody>
          <a:bodyPr wrap="square" lIns="0" tIns="0" rIns="0" bIns="0" rtlCol="0">
            <a:noAutofit/>
          </a:bodyPr>
          <a:lstStyle/>
          <a:p>
            <a:endParaRPr sz="1763"/>
          </a:p>
        </p:txBody>
      </p:sp>
      <p:sp>
        <p:nvSpPr>
          <p:cNvPr id="26" name="object 26"/>
          <p:cNvSpPr/>
          <p:nvPr/>
        </p:nvSpPr>
        <p:spPr>
          <a:xfrm>
            <a:off x="6965980" y="1982709"/>
            <a:ext cx="403621" cy="201240"/>
          </a:xfrm>
          <a:custGeom>
            <a:avLst/>
            <a:gdLst/>
            <a:ahLst/>
            <a:cxnLst/>
            <a:rect l="l" t="t" r="r" b="b"/>
            <a:pathLst>
              <a:path w="412030" h="205433">
                <a:moveTo>
                  <a:pt x="6451" y="33388"/>
                </a:moveTo>
                <a:lnTo>
                  <a:pt x="1478" y="44518"/>
                </a:lnTo>
                <a:lnTo>
                  <a:pt x="0" y="48661"/>
                </a:lnTo>
                <a:lnTo>
                  <a:pt x="8924" y="57160"/>
                </a:lnTo>
                <a:lnTo>
                  <a:pt x="18049" y="64959"/>
                </a:lnTo>
                <a:lnTo>
                  <a:pt x="27576" y="72469"/>
                </a:lnTo>
                <a:lnTo>
                  <a:pt x="37709" y="80098"/>
                </a:lnTo>
                <a:lnTo>
                  <a:pt x="48652" y="88256"/>
                </a:lnTo>
                <a:lnTo>
                  <a:pt x="53492" y="91904"/>
                </a:lnTo>
                <a:lnTo>
                  <a:pt x="71947" y="106633"/>
                </a:lnTo>
                <a:lnTo>
                  <a:pt x="90362" y="120044"/>
                </a:lnTo>
                <a:lnTo>
                  <a:pt x="108696" y="132198"/>
                </a:lnTo>
                <a:lnTo>
                  <a:pt x="126910" y="143156"/>
                </a:lnTo>
                <a:lnTo>
                  <a:pt x="144963" y="152978"/>
                </a:lnTo>
                <a:lnTo>
                  <a:pt x="162816" y="161726"/>
                </a:lnTo>
                <a:lnTo>
                  <a:pt x="180428" y="169460"/>
                </a:lnTo>
                <a:lnTo>
                  <a:pt x="197759" y="176242"/>
                </a:lnTo>
                <a:lnTo>
                  <a:pt x="214769" y="182131"/>
                </a:lnTo>
                <a:lnTo>
                  <a:pt x="231418" y="187189"/>
                </a:lnTo>
                <a:lnTo>
                  <a:pt x="247665" y="191477"/>
                </a:lnTo>
                <a:lnTo>
                  <a:pt x="263471" y="195055"/>
                </a:lnTo>
                <a:lnTo>
                  <a:pt x="278796" y="197984"/>
                </a:lnTo>
                <a:lnTo>
                  <a:pt x="293598" y="200325"/>
                </a:lnTo>
                <a:lnTo>
                  <a:pt x="307839" y="202140"/>
                </a:lnTo>
                <a:lnTo>
                  <a:pt x="321478" y="203488"/>
                </a:lnTo>
                <a:lnTo>
                  <a:pt x="334475" y="204430"/>
                </a:lnTo>
                <a:lnTo>
                  <a:pt x="346789" y="205028"/>
                </a:lnTo>
                <a:lnTo>
                  <a:pt x="358381" y="205342"/>
                </a:lnTo>
                <a:lnTo>
                  <a:pt x="369211" y="205433"/>
                </a:lnTo>
                <a:lnTo>
                  <a:pt x="374044" y="202063"/>
                </a:lnTo>
                <a:lnTo>
                  <a:pt x="381612" y="193416"/>
                </a:lnTo>
                <a:lnTo>
                  <a:pt x="390948" y="181689"/>
                </a:lnTo>
                <a:lnTo>
                  <a:pt x="401084" y="169081"/>
                </a:lnTo>
                <a:lnTo>
                  <a:pt x="411052" y="157787"/>
                </a:lnTo>
                <a:lnTo>
                  <a:pt x="412030" y="156786"/>
                </a:lnTo>
                <a:lnTo>
                  <a:pt x="406460" y="157658"/>
                </a:lnTo>
                <a:lnTo>
                  <a:pt x="399422" y="158574"/>
                </a:lnTo>
                <a:lnTo>
                  <a:pt x="390970" y="159418"/>
                </a:lnTo>
                <a:lnTo>
                  <a:pt x="381162" y="160071"/>
                </a:lnTo>
                <a:lnTo>
                  <a:pt x="370054" y="160416"/>
                </a:lnTo>
                <a:lnTo>
                  <a:pt x="357702" y="160335"/>
                </a:lnTo>
                <a:lnTo>
                  <a:pt x="344161" y="159711"/>
                </a:lnTo>
                <a:lnTo>
                  <a:pt x="329489" y="158426"/>
                </a:lnTo>
                <a:lnTo>
                  <a:pt x="313741" y="156363"/>
                </a:lnTo>
                <a:lnTo>
                  <a:pt x="296974" y="153403"/>
                </a:lnTo>
                <a:lnTo>
                  <a:pt x="279244" y="149430"/>
                </a:lnTo>
                <a:lnTo>
                  <a:pt x="260607" y="144326"/>
                </a:lnTo>
                <a:lnTo>
                  <a:pt x="241119" y="137974"/>
                </a:lnTo>
                <a:lnTo>
                  <a:pt x="220836" y="130254"/>
                </a:lnTo>
                <a:lnTo>
                  <a:pt x="199815" y="121051"/>
                </a:lnTo>
                <a:lnTo>
                  <a:pt x="178112" y="110247"/>
                </a:lnTo>
                <a:lnTo>
                  <a:pt x="155783" y="97723"/>
                </a:lnTo>
                <a:lnTo>
                  <a:pt x="132884" y="83362"/>
                </a:lnTo>
                <a:lnTo>
                  <a:pt x="109472" y="67048"/>
                </a:lnTo>
                <a:lnTo>
                  <a:pt x="85602" y="48661"/>
                </a:lnTo>
                <a:lnTo>
                  <a:pt x="74950" y="40569"/>
                </a:lnTo>
                <a:lnTo>
                  <a:pt x="64445" y="32476"/>
                </a:lnTo>
                <a:lnTo>
                  <a:pt x="54235" y="24384"/>
                </a:lnTo>
                <a:lnTo>
                  <a:pt x="44468" y="16291"/>
                </a:lnTo>
                <a:lnTo>
                  <a:pt x="35291" y="8199"/>
                </a:lnTo>
                <a:lnTo>
                  <a:pt x="26746" y="0"/>
                </a:lnTo>
                <a:lnTo>
                  <a:pt x="19472" y="11129"/>
                </a:lnTo>
                <a:lnTo>
                  <a:pt x="12578" y="22259"/>
                </a:lnTo>
                <a:lnTo>
                  <a:pt x="6451" y="33388"/>
                </a:lnTo>
                <a:close/>
              </a:path>
            </a:pathLst>
          </a:custGeom>
          <a:solidFill>
            <a:srgbClr val="FFFFFF"/>
          </a:solidFill>
        </p:spPr>
        <p:txBody>
          <a:bodyPr wrap="square" lIns="0" tIns="0" rIns="0" bIns="0" rtlCol="0">
            <a:noAutofit/>
          </a:bodyPr>
          <a:lstStyle/>
          <a:p>
            <a:endParaRPr sz="1763"/>
          </a:p>
        </p:txBody>
      </p:sp>
      <p:sp>
        <p:nvSpPr>
          <p:cNvPr id="27" name="object 27"/>
          <p:cNvSpPr/>
          <p:nvPr/>
        </p:nvSpPr>
        <p:spPr>
          <a:xfrm>
            <a:off x="6913556" y="1919168"/>
            <a:ext cx="78624" cy="111208"/>
          </a:xfrm>
          <a:custGeom>
            <a:avLst/>
            <a:gdLst/>
            <a:ahLst/>
            <a:cxnLst/>
            <a:rect l="l" t="t" r="r" b="b"/>
            <a:pathLst>
              <a:path w="80262" h="113525">
                <a:moveTo>
                  <a:pt x="46234" y="24076"/>
                </a:moveTo>
                <a:lnTo>
                  <a:pt x="39710" y="13879"/>
                </a:lnTo>
                <a:lnTo>
                  <a:pt x="33980" y="3681"/>
                </a:lnTo>
                <a:lnTo>
                  <a:pt x="32106" y="0"/>
                </a:lnTo>
                <a:lnTo>
                  <a:pt x="25620" y="10393"/>
                </a:lnTo>
                <a:lnTo>
                  <a:pt x="19135" y="21581"/>
                </a:lnTo>
                <a:lnTo>
                  <a:pt x="12651" y="33026"/>
                </a:lnTo>
                <a:lnTo>
                  <a:pt x="6167" y="44192"/>
                </a:lnTo>
                <a:lnTo>
                  <a:pt x="0" y="54062"/>
                </a:lnTo>
                <a:lnTo>
                  <a:pt x="7668" y="62167"/>
                </a:lnTo>
                <a:lnTo>
                  <a:pt x="15463" y="70961"/>
                </a:lnTo>
                <a:lnTo>
                  <a:pt x="23516" y="80315"/>
                </a:lnTo>
                <a:lnTo>
                  <a:pt x="31954" y="90100"/>
                </a:lnTo>
                <a:lnTo>
                  <a:pt x="40906" y="100186"/>
                </a:lnTo>
                <a:lnTo>
                  <a:pt x="50501" y="110443"/>
                </a:lnTo>
                <a:lnTo>
                  <a:pt x="53516" y="113525"/>
                </a:lnTo>
                <a:lnTo>
                  <a:pt x="57961" y="102396"/>
                </a:lnTo>
                <a:lnTo>
                  <a:pt x="63703" y="91266"/>
                </a:lnTo>
                <a:lnTo>
                  <a:pt x="70356" y="80136"/>
                </a:lnTo>
                <a:lnTo>
                  <a:pt x="77534" y="69007"/>
                </a:lnTo>
                <a:lnTo>
                  <a:pt x="80262" y="64864"/>
                </a:lnTo>
                <a:lnTo>
                  <a:pt x="70565" y="54667"/>
                </a:lnTo>
                <a:lnTo>
                  <a:pt x="61662" y="44470"/>
                </a:lnTo>
                <a:lnTo>
                  <a:pt x="53551" y="34273"/>
                </a:lnTo>
                <a:lnTo>
                  <a:pt x="46234" y="24076"/>
                </a:lnTo>
                <a:close/>
              </a:path>
            </a:pathLst>
          </a:custGeom>
          <a:solidFill>
            <a:srgbClr val="FFFFFF"/>
          </a:solidFill>
        </p:spPr>
        <p:txBody>
          <a:bodyPr wrap="square" lIns="0" tIns="0" rIns="0" bIns="0" rtlCol="0">
            <a:noAutofit/>
          </a:bodyPr>
          <a:lstStyle/>
          <a:p>
            <a:endParaRPr sz="1763"/>
          </a:p>
        </p:txBody>
      </p:sp>
      <p:sp>
        <p:nvSpPr>
          <p:cNvPr id="28" name="object 28"/>
          <p:cNvSpPr/>
          <p:nvPr/>
        </p:nvSpPr>
        <p:spPr>
          <a:xfrm>
            <a:off x="7123236" y="1829139"/>
            <a:ext cx="288293" cy="243597"/>
          </a:xfrm>
          <a:custGeom>
            <a:avLst/>
            <a:gdLst/>
            <a:ahLst/>
            <a:cxnLst/>
            <a:rect l="l" t="t" r="r" b="b"/>
            <a:pathLst>
              <a:path w="294299" h="248672">
                <a:moveTo>
                  <a:pt x="17762" y="42342"/>
                </a:moveTo>
                <a:lnTo>
                  <a:pt x="35678" y="57460"/>
                </a:lnTo>
                <a:lnTo>
                  <a:pt x="53658" y="72335"/>
                </a:lnTo>
                <a:lnTo>
                  <a:pt x="71614" y="86925"/>
                </a:lnTo>
                <a:lnTo>
                  <a:pt x="89458" y="101191"/>
                </a:lnTo>
                <a:lnTo>
                  <a:pt x="107101" y="115092"/>
                </a:lnTo>
                <a:lnTo>
                  <a:pt x="124455" y="128588"/>
                </a:lnTo>
                <a:lnTo>
                  <a:pt x="141433" y="141637"/>
                </a:lnTo>
                <a:lnTo>
                  <a:pt x="157944" y="154200"/>
                </a:lnTo>
                <a:lnTo>
                  <a:pt x="173902" y="166235"/>
                </a:lnTo>
                <a:lnTo>
                  <a:pt x="189218" y="177703"/>
                </a:lnTo>
                <a:lnTo>
                  <a:pt x="203804" y="188562"/>
                </a:lnTo>
                <a:lnTo>
                  <a:pt x="217570" y="198773"/>
                </a:lnTo>
                <a:lnTo>
                  <a:pt x="230429" y="208294"/>
                </a:lnTo>
                <a:lnTo>
                  <a:pt x="242293" y="217085"/>
                </a:lnTo>
                <a:lnTo>
                  <a:pt x="253074" y="225106"/>
                </a:lnTo>
                <a:lnTo>
                  <a:pt x="262682" y="232315"/>
                </a:lnTo>
                <a:lnTo>
                  <a:pt x="271029" y="238673"/>
                </a:lnTo>
                <a:lnTo>
                  <a:pt x="278028" y="244139"/>
                </a:lnTo>
                <a:lnTo>
                  <a:pt x="283590" y="248672"/>
                </a:lnTo>
                <a:lnTo>
                  <a:pt x="290166" y="234957"/>
                </a:lnTo>
                <a:lnTo>
                  <a:pt x="294055" y="223942"/>
                </a:lnTo>
                <a:lnTo>
                  <a:pt x="294299" y="221650"/>
                </a:lnTo>
                <a:lnTo>
                  <a:pt x="288244" y="217192"/>
                </a:lnTo>
                <a:lnTo>
                  <a:pt x="281334" y="211939"/>
                </a:lnTo>
                <a:lnTo>
                  <a:pt x="273597" y="205907"/>
                </a:lnTo>
                <a:lnTo>
                  <a:pt x="265061" y="199114"/>
                </a:lnTo>
                <a:lnTo>
                  <a:pt x="255754" y="191574"/>
                </a:lnTo>
                <a:lnTo>
                  <a:pt x="245705" y="183305"/>
                </a:lnTo>
                <a:lnTo>
                  <a:pt x="234942" y="174323"/>
                </a:lnTo>
                <a:lnTo>
                  <a:pt x="223492" y="164643"/>
                </a:lnTo>
                <a:lnTo>
                  <a:pt x="211384" y="154283"/>
                </a:lnTo>
                <a:lnTo>
                  <a:pt x="198646" y="143257"/>
                </a:lnTo>
                <a:lnTo>
                  <a:pt x="185307" y="131583"/>
                </a:lnTo>
                <a:lnTo>
                  <a:pt x="171393" y="119276"/>
                </a:lnTo>
                <a:lnTo>
                  <a:pt x="156934" y="106353"/>
                </a:lnTo>
                <a:lnTo>
                  <a:pt x="141957" y="92830"/>
                </a:lnTo>
                <a:lnTo>
                  <a:pt x="126490" y="78724"/>
                </a:lnTo>
                <a:lnTo>
                  <a:pt x="110563" y="64049"/>
                </a:lnTo>
                <a:lnTo>
                  <a:pt x="94202" y="48823"/>
                </a:lnTo>
                <a:lnTo>
                  <a:pt x="77436" y="33062"/>
                </a:lnTo>
                <a:lnTo>
                  <a:pt x="60293" y="16782"/>
                </a:lnTo>
                <a:lnTo>
                  <a:pt x="42801" y="0"/>
                </a:lnTo>
                <a:lnTo>
                  <a:pt x="33823" y="5000"/>
                </a:lnTo>
                <a:lnTo>
                  <a:pt x="23325" y="11530"/>
                </a:lnTo>
                <a:lnTo>
                  <a:pt x="11822" y="19079"/>
                </a:lnTo>
                <a:lnTo>
                  <a:pt x="0" y="27022"/>
                </a:lnTo>
                <a:lnTo>
                  <a:pt x="17762" y="42342"/>
                </a:lnTo>
                <a:close/>
              </a:path>
            </a:pathLst>
          </a:custGeom>
          <a:solidFill>
            <a:srgbClr val="FFFFFF"/>
          </a:solidFill>
        </p:spPr>
        <p:txBody>
          <a:bodyPr wrap="square" lIns="0" tIns="0" rIns="0" bIns="0" rtlCol="0">
            <a:noAutofit/>
          </a:bodyPr>
          <a:lstStyle/>
          <a:p>
            <a:endParaRPr sz="1763"/>
          </a:p>
        </p:txBody>
      </p:sp>
      <p:sp>
        <p:nvSpPr>
          <p:cNvPr id="29" name="object 29"/>
          <p:cNvSpPr/>
          <p:nvPr/>
        </p:nvSpPr>
        <p:spPr>
          <a:xfrm>
            <a:off x="6986944" y="1675553"/>
            <a:ext cx="125801" cy="121807"/>
          </a:xfrm>
          <a:custGeom>
            <a:avLst/>
            <a:gdLst/>
            <a:ahLst/>
            <a:cxnLst/>
            <a:rect l="l" t="t" r="r" b="b"/>
            <a:pathLst>
              <a:path w="128422" h="124345">
                <a:moveTo>
                  <a:pt x="12402" y="36645"/>
                </a:moveTo>
                <a:lnTo>
                  <a:pt x="19075" y="46572"/>
                </a:lnTo>
                <a:lnTo>
                  <a:pt x="26096" y="56377"/>
                </a:lnTo>
                <a:lnTo>
                  <a:pt x="33490" y="66108"/>
                </a:lnTo>
                <a:lnTo>
                  <a:pt x="41281" y="75818"/>
                </a:lnTo>
                <a:lnTo>
                  <a:pt x="49495" y="85557"/>
                </a:lnTo>
                <a:lnTo>
                  <a:pt x="58156" y="95375"/>
                </a:lnTo>
                <a:lnTo>
                  <a:pt x="67290" y="105324"/>
                </a:lnTo>
                <a:lnTo>
                  <a:pt x="76922" y="115453"/>
                </a:lnTo>
                <a:lnTo>
                  <a:pt x="85620" y="124345"/>
                </a:lnTo>
                <a:lnTo>
                  <a:pt x="94594" y="116291"/>
                </a:lnTo>
                <a:lnTo>
                  <a:pt x="105085" y="108751"/>
                </a:lnTo>
                <a:lnTo>
                  <a:pt x="116585" y="102235"/>
                </a:lnTo>
                <a:lnTo>
                  <a:pt x="128422" y="97305"/>
                </a:lnTo>
                <a:lnTo>
                  <a:pt x="119132" y="87909"/>
                </a:lnTo>
                <a:lnTo>
                  <a:pt x="110121" y="78734"/>
                </a:lnTo>
                <a:lnTo>
                  <a:pt x="101359" y="69688"/>
                </a:lnTo>
                <a:lnTo>
                  <a:pt x="92814" y="60679"/>
                </a:lnTo>
                <a:lnTo>
                  <a:pt x="84456" y="51616"/>
                </a:lnTo>
                <a:lnTo>
                  <a:pt x="76256" y="42407"/>
                </a:lnTo>
                <a:lnTo>
                  <a:pt x="68183" y="32959"/>
                </a:lnTo>
                <a:lnTo>
                  <a:pt x="60206" y="23183"/>
                </a:lnTo>
                <a:lnTo>
                  <a:pt x="52294" y="12985"/>
                </a:lnTo>
                <a:lnTo>
                  <a:pt x="44419" y="2274"/>
                </a:lnTo>
                <a:lnTo>
                  <a:pt x="42801" y="0"/>
                </a:lnTo>
                <a:lnTo>
                  <a:pt x="30454" y="4498"/>
                </a:lnTo>
                <a:lnTo>
                  <a:pt x="19201" y="9001"/>
                </a:lnTo>
                <a:lnTo>
                  <a:pt x="7672" y="13503"/>
                </a:lnTo>
                <a:lnTo>
                  <a:pt x="0" y="16220"/>
                </a:lnTo>
                <a:lnTo>
                  <a:pt x="6052" y="26545"/>
                </a:lnTo>
                <a:lnTo>
                  <a:pt x="12402" y="36645"/>
                </a:lnTo>
                <a:close/>
              </a:path>
            </a:pathLst>
          </a:custGeom>
          <a:solidFill>
            <a:srgbClr val="FFFFFF"/>
          </a:solidFill>
        </p:spPr>
        <p:txBody>
          <a:bodyPr wrap="square" lIns="0" tIns="0" rIns="0" bIns="0" rtlCol="0">
            <a:noAutofit/>
          </a:bodyPr>
          <a:lstStyle/>
          <a:p>
            <a:endParaRPr sz="1763"/>
          </a:p>
        </p:txBody>
      </p:sp>
      <p:sp>
        <p:nvSpPr>
          <p:cNvPr id="30" name="object 30"/>
          <p:cNvSpPr/>
          <p:nvPr/>
        </p:nvSpPr>
        <p:spPr>
          <a:xfrm>
            <a:off x="7070817" y="1770872"/>
            <a:ext cx="94345" cy="84738"/>
          </a:xfrm>
          <a:custGeom>
            <a:avLst/>
            <a:gdLst/>
            <a:ahLst/>
            <a:cxnLst/>
            <a:rect l="l" t="t" r="r" b="b"/>
            <a:pathLst>
              <a:path w="96311" h="86503">
                <a:moveTo>
                  <a:pt x="0" y="27040"/>
                </a:moveTo>
                <a:lnTo>
                  <a:pt x="8008" y="36972"/>
                </a:lnTo>
                <a:lnTo>
                  <a:pt x="16567" y="46348"/>
                </a:lnTo>
                <a:lnTo>
                  <a:pt x="25422" y="55425"/>
                </a:lnTo>
                <a:lnTo>
                  <a:pt x="34315" y="64463"/>
                </a:lnTo>
                <a:lnTo>
                  <a:pt x="42990" y="73722"/>
                </a:lnTo>
                <a:lnTo>
                  <a:pt x="51190" y="83461"/>
                </a:lnTo>
                <a:lnTo>
                  <a:pt x="53510" y="86503"/>
                </a:lnTo>
                <a:lnTo>
                  <a:pt x="65502" y="78448"/>
                </a:lnTo>
                <a:lnTo>
                  <a:pt x="76995" y="70909"/>
                </a:lnTo>
                <a:lnTo>
                  <a:pt x="87474" y="64397"/>
                </a:lnTo>
                <a:lnTo>
                  <a:pt x="96311" y="59481"/>
                </a:lnTo>
                <a:lnTo>
                  <a:pt x="88305" y="49543"/>
                </a:lnTo>
                <a:lnTo>
                  <a:pt x="79747" y="40164"/>
                </a:lnTo>
                <a:lnTo>
                  <a:pt x="70893" y="31085"/>
                </a:lnTo>
                <a:lnTo>
                  <a:pt x="62002" y="22047"/>
                </a:lnTo>
                <a:lnTo>
                  <a:pt x="53328" y="12789"/>
                </a:lnTo>
                <a:lnTo>
                  <a:pt x="45129" y="3052"/>
                </a:lnTo>
                <a:lnTo>
                  <a:pt x="42801" y="0"/>
                </a:lnTo>
                <a:lnTo>
                  <a:pt x="30803" y="5009"/>
                </a:lnTo>
                <a:lnTo>
                  <a:pt x="19314" y="11543"/>
                </a:lnTo>
                <a:lnTo>
                  <a:pt x="8840" y="19093"/>
                </a:lnTo>
                <a:lnTo>
                  <a:pt x="0" y="27040"/>
                </a:lnTo>
                <a:close/>
              </a:path>
            </a:pathLst>
          </a:custGeom>
          <a:solidFill>
            <a:srgbClr val="FFFFFF"/>
          </a:solidFill>
        </p:spPr>
        <p:txBody>
          <a:bodyPr wrap="square" lIns="0" tIns="0" rIns="0" bIns="0" rtlCol="0">
            <a:noAutofit/>
          </a:bodyPr>
          <a:lstStyle/>
          <a:p>
            <a:endParaRPr sz="1763"/>
          </a:p>
        </p:txBody>
      </p:sp>
      <p:sp>
        <p:nvSpPr>
          <p:cNvPr id="31" name="object 31"/>
          <p:cNvSpPr/>
          <p:nvPr/>
        </p:nvSpPr>
        <p:spPr>
          <a:xfrm>
            <a:off x="7232253" y="1912801"/>
            <a:ext cx="129297" cy="130624"/>
          </a:xfrm>
          <a:custGeom>
            <a:avLst/>
            <a:gdLst/>
            <a:ahLst/>
            <a:cxnLst/>
            <a:rect l="l" t="t" r="r" b="b"/>
            <a:pathLst>
              <a:path w="131991" h="133345">
                <a:moveTo>
                  <a:pt x="27825" y="17301"/>
                </a:moveTo>
                <a:lnTo>
                  <a:pt x="17956" y="25242"/>
                </a:lnTo>
                <a:lnTo>
                  <a:pt x="10192" y="34242"/>
                </a:lnTo>
                <a:lnTo>
                  <a:pt x="4580" y="44114"/>
                </a:lnTo>
                <a:lnTo>
                  <a:pt x="1167" y="54669"/>
                </a:lnTo>
                <a:lnTo>
                  <a:pt x="0" y="65719"/>
                </a:lnTo>
                <a:lnTo>
                  <a:pt x="1125" y="77075"/>
                </a:lnTo>
                <a:lnTo>
                  <a:pt x="4591" y="88548"/>
                </a:lnTo>
                <a:lnTo>
                  <a:pt x="10445" y="99950"/>
                </a:lnTo>
                <a:lnTo>
                  <a:pt x="17134" y="109206"/>
                </a:lnTo>
                <a:lnTo>
                  <a:pt x="25496" y="117997"/>
                </a:lnTo>
                <a:lnTo>
                  <a:pt x="35023" y="124863"/>
                </a:lnTo>
                <a:lnTo>
                  <a:pt x="45495" y="129746"/>
                </a:lnTo>
                <a:lnTo>
                  <a:pt x="56687" y="132592"/>
                </a:lnTo>
                <a:lnTo>
                  <a:pt x="68380" y="133345"/>
                </a:lnTo>
                <a:lnTo>
                  <a:pt x="80350" y="131948"/>
                </a:lnTo>
                <a:lnTo>
                  <a:pt x="92376" y="128346"/>
                </a:lnTo>
                <a:lnTo>
                  <a:pt x="104235" y="122483"/>
                </a:lnTo>
                <a:lnTo>
                  <a:pt x="108100" y="120026"/>
                </a:lnTo>
                <a:lnTo>
                  <a:pt x="116757" y="111414"/>
                </a:lnTo>
                <a:lnTo>
                  <a:pt x="123530" y="101341"/>
                </a:lnTo>
                <a:lnTo>
                  <a:pt x="128364" y="90192"/>
                </a:lnTo>
                <a:lnTo>
                  <a:pt x="131202" y="78354"/>
                </a:lnTo>
                <a:lnTo>
                  <a:pt x="131991" y="66214"/>
                </a:lnTo>
                <a:lnTo>
                  <a:pt x="130674" y="54157"/>
                </a:lnTo>
                <a:lnTo>
                  <a:pt x="127197" y="42571"/>
                </a:lnTo>
                <a:lnTo>
                  <a:pt x="121505" y="31841"/>
                </a:lnTo>
                <a:lnTo>
                  <a:pt x="118791" y="28121"/>
                </a:lnTo>
                <a:lnTo>
                  <a:pt x="110719" y="18114"/>
                </a:lnTo>
                <a:lnTo>
                  <a:pt x="101317" y="10251"/>
                </a:lnTo>
                <a:lnTo>
                  <a:pt x="90916" y="4579"/>
                </a:lnTo>
                <a:lnTo>
                  <a:pt x="79845" y="1146"/>
                </a:lnTo>
                <a:lnTo>
                  <a:pt x="68435" y="0"/>
                </a:lnTo>
                <a:lnTo>
                  <a:pt x="57016" y="1186"/>
                </a:lnTo>
                <a:lnTo>
                  <a:pt x="45917" y="4754"/>
                </a:lnTo>
                <a:lnTo>
                  <a:pt x="35468" y="10750"/>
                </a:lnTo>
                <a:lnTo>
                  <a:pt x="27825" y="17301"/>
                </a:lnTo>
                <a:close/>
              </a:path>
            </a:pathLst>
          </a:custGeom>
          <a:solidFill>
            <a:srgbClr val="FFFFFF"/>
          </a:solidFill>
        </p:spPr>
        <p:txBody>
          <a:bodyPr wrap="square" lIns="0" tIns="0" rIns="0" bIns="0" rtlCol="0">
            <a:noAutofit/>
          </a:bodyPr>
          <a:lstStyle/>
          <a:p>
            <a:endParaRPr sz="1763"/>
          </a:p>
        </p:txBody>
      </p:sp>
      <p:sp>
        <p:nvSpPr>
          <p:cNvPr id="32" name="object 32"/>
          <p:cNvSpPr/>
          <p:nvPr/>
        </p:nvSpPr>
        <p:spPr>
          <a:xfrm>
            <a:off x="7103918" y="2075797"/>
            <a:ext cx="115992" cy="121080"/>
          </a:xfrm>
          <a:custGeom>
            <a:avLst/>
            <a:gdLst/>
            <a:ahLst/>
            <a:cxnLst/>
            <a:rect l="l" t="t" r="r" b="b"/>
            <a:pathLst>
              <a:path w="118409" h="123602">
                <a:moveTo>
                  <a:pt x="25065" y="13096"/>
                </a:moveTo>
                <a:lnTo>
                  <a:pt x="15828" y="22160"/>
                </a:lnTo>
                <a:lnTo>
                  <a:pt x="8703" y="32484"/>
                </a:lnTo>
                <a:lnTo>
                  <a:pt x="3689" y="43725"/>
                </a:lnTo>
                <a:lnTo>
                  <a:pt x="788" y="55541"/>
                </a:lnTo>
                <a:lnTo>
                  <a:pt x="0" y="67589"/>
                </a:lnTo>
                <a:lnTo>
                  <a:pt x="1325" y="79526"/>
                </a:lnTo>
                <a:lnTo>
                  <a:pt x="4763" y="91010"/>
                </a:lnTo>
                <a:lnTo>
                  <a:pt x="9010" y="99596"/>
                </a:lnTo>
                <a:lnTo>
                  <a:pt x="17767" y="108734"/>
                </a:lnTo>
                <a:lnTo>
                  <a:pt x="27723" y="115768"/>
                </a:lnTo>
                <a:lnTo>
                  <a:pt x="38560" y="120634"/>
                </a:lnTo>
                <a:lnTo>
                  <a:pt x="49963" y="123266"/>
                </a:lnTo>
                <a:lnTo>
                  <a:pt x="61615" y="123602"/>
                </a:lnTo>
                <a:lnTo>
                  <a:pt x="73199" y="121577"/>
                </a:lnTo>
                <a:lnTo>
                  <a:pt x="84399" y="117127"/>
                </a:lnTo>
                <a:lnTo>
                  <a:pt x="94631" y="110405"/>
                </a:lnTo>
                <a:lnTo>
                  <a:pt x="103639" y="101600"/>
                </a:lnTo>
                <a:lnTo>
                  <a:pt x="110584" y="91594"/>
                </a:lnTo>
                <a:lnTo>
                  <a:pt x="115402" y="80701"/>
                </a:lnTo>
                <a:lnTo>
                  <a:pt x="118032" y="69238"/>
                </a:lnTo>
                <a:lnTo>
                  <a:pt x="118409" y="57522"/>
                </a:lnTo>
                <a:lnTo>
                  <a:pt x="116470" y="45867"/>
                </a:lnTo>
                <a:lnTo>
                  <a:pt x="112153" y="34590"/>
                </a:lnTo>
                <a:lnTo>
                  <a:pt x="105322" y="23916"/>
                </a:lnTo>
                <a:lnTo>
                  <a:pt x="97968" y="14400"/>
                </a:lnTo>
                <a:lnTo>
                  <a:pt x="88840" y="7193"/>
                </a:lnTo>
                <a:lnTo>
                  <a:pt x="78371" y="2368"/>
                </a:lnTo>
                <a:lnTo>
                  <a:pt x="66996" y="0"/>
                </a:lnTo>
                <a:lnTo>
                  <a:pt x="55151" y="159"/>
                </a:lnTo>
                <a:lnTo>
                  <a:pt x="43270" y="2920"/>
                </a:lnTo>
                <a:lnTo>
                  <a:pt x="31788" y="8355"/>
                </a:lnTo>
                <a:lnTo>
                  <a:pt x="25065" y="13096"/>
                </a:lnTo>
                <a:close/>
              </a:path>
            </a:pathLst>
          </a:custGeom>
          <a:solidFill>
            <a:srgbClr val="FFFFFF"/>
          </a:solidFill>
        </p:spPr>
        <p:txBody>
          <a:bodyPr wrap="square" lIns="0" tIns="0" rIns="0" bIns="0" rtlCol="0">
            <a:noAutofit/>
          </a:bodyPr>
          <a:lstStyle/>
          <a:p>
            <a:endParaRPr sz="1763"/>
          </a:p>
        </p:txBody>
      </p:sp>
      <p:sp>
        <p:nvSpPr>
          <p:cNvPr id="33" name="object 33"/>
          <p:cNvSpPr/>
          <p:nvPr/>
        </p:nvSpPr>
        <p:spPr>
          <a:xfrm>
            <a:off x="6867143" y="1879163"/>
            <a:ext cx="180339" cy="182204"/>
          </a:xfrm>
          <a:custGeom>
            <a:avLst/>
            <a:gdLst/>
            <a:ahLst/>
            <a:cxnLst/>
            <a:rect l="l" t="t" r="r" b="b"/>
            <a:pathLst>
              <a:path w="184096" h="186000">
                <a:moveTo>
                  <a:pt x="36683" y="19198"/>
                </a:moveTo>
                <a:lnTo>
                  <a:pt x="26770" y="27833"/>
                </a:lnTo>
                <a:lnTo>
                  <a:pt x="18415" y="37423"/>
                </a:lnTo>
                <a:lnTo>
                  <a:pt x="11617" y="47800"/>
                </a:lnTo>
                <a:lnTo>
                  <a:pt x="6377" y="58795"/>
                </a:lnTo>
                <a:lnTo>
                  <a:pt x="2694" y="70240"/>
                </a:lnTo>
                <a:lnTo>
                  <a:pt x="568" y="81967"/>
                </a:lnTo>
                <a:lnTo>
                  <a:pt x="0" y="93807"/>
                </a:lnTo>
                <a:lnTo>
                  <a:pt x="988" y="105593"/>
                </a:lnTo>
                <a:lnTo>
                  <a:pt x="3535" y="117155"/>
                </a:lnTo>
                <a:lnTo>
                  <a:pt x="7638" y="128325"/>
                </a:lnTo>
                <a:lnTo>
                  <a:pt x="13299" y="138936"/>
                </a:lnTo>
                <a:lnTo>
                  <a:pt x="20624" y="148944"/>
                </a:lnTo>
                <a:lnTo>
                  <a:pt x="27980" y="159001"/>
                </a:lnTo>
                <a:lnTo>
                  <a:pt x="36514" y="167470"/>
                </a:lnTo>
                <a:lnTo>
                  <a:pt x="46057" y="174352"/>
                </a:lnTo>
                <a:lnTo>
                  <a:pt x="56439" y="179645"/>
                </a:lnTo>
                <a:lnTo>
                  <a:pt x="67493" y="183351"/>
                </a:lnTo>
                <a:lnTo>
                  <a:pt x="79050" y="185469"/>
                </a:lnTo>
                <a:lnTo>
                  <a:pt x="90940" y="186000"/>
                </a:lnTo>
                <a:lnTo>
                  <a:pt x="102994" y="184944"/>
                </a:lnTo>
                <a:lnTo>
                  <a:pt x="115045" y="182299"/>
                </a:lnTo>
                <a:lnTo>
                  <a:pt x="126922" y="178068"/>
                </a:lnTo>
                <a:lnTo>
                  <a:pt x="138458" y="172249"/>
                </a:lnTo>
                <a:lnTo>
                  <a:pt x="149061" y="165165"/>
                </a:lnTo>
                <a:lnTo>
                  <a:pt x="157845" y="157770"/>
                </a:lnTo>
                <a:lnTo>
                  <a:pt x="165463" y="149195"/>
                </a:lnTo>
                <a:lnTo>
                  <a:pt x="171857" y="139608"/>
                </a:lnTo>
                <a:lnTo>
                  <a:pt x="176974" y="129177"/>
                </a:lnTo>
                <a:lnTo>
                  <a:pt x="180756" y="118070"/>
                </a:lnTo>
                <a:lnTo>
                  <a:pt x="183149" y="106457"/>
                </a:lnTo>
                <a:lnTo>
                  <a:pt x="184096" y="94505"/>
                </a:lnTo>
                <a:lnTo>
                  <a:pt x="183542" y="82382"/>
                </a:lnTo>
                <a:lnTo>
                  <a:pt x="181431" y="70258"/>
                </a:lnTo>
                <a:lnTo>
                  <a:pt x="177707" y="58300"/>
                </a:lnTo>
                <a:lnTo>
                  <a:pt x="172316" y="46677"/>
                </a:lnTo>
                <a:lnTo>
                  <a:pt x="165098" y="35419"/>
                </a:lnTo>
                <a:lnTo>
                  <a:pt x="156510" y="26502"/>
                </a:lnTo>
                <a:lnTo>
                  <a:pt x="146969" y="18776"/>
                </a:lnTo>
                <a:lnTo>
                  <a:pt x="136644" y="12298"/>
                </a:lnTo>
                <a:lnTo>
                  <a:pt x="125704" y="7124"/>
                </a:lnTo>
                <a:lnTo>
                  <a:pt x="114317" y="3312"/>
                </a:lnTo>
                <a:lnTo>
                  <a:pt x="102653" y="918"/>
                </a:lnTo>
                <a:lnTo>
                  <a:pt x="90880" y="0"/>
                </a:lnTo>
                <a:lnTo>
                  <a:pt x="79168" y="613"/>
                </a:lnTo>
                <a:lnTo>
                  <a:pt x="67685" y="2817"/>
                </a:lnTo>
                <a:lnTo>
                  <a:pt x="56600" y="6666"/>
                </a:lnTo>
                <a:lnTo>
                  <a:pt x="46082" y="12219"/>
                </a:lnTo>
                <a:lnTo>
                  <a:pt x="36683" y="19198"/>
                </a:lnTo>
                <a:close/>
              </a:path>
            </a:pathLst>
          </a:custGeom>
          <a:solidFill>
            <a:srgbClr val="FFFFFF"/>
          </a:solidFill>
        </p:spPr>
        <p:txBody>
          <a:bodyPr wrap="square" lIns="0" tIns="0" rIns="0" bIns="0" rtlCol="0">
            <a:noAutofit/>
          </a:bodyPr>
          <a:lstStyle/>
          <a:p>
            <a:endParaRPr sz="1763"/>
          </a:p>
        </p:txBody>
      </p:sp>
      <p:sp>
        <p:nvSpPr>
          <p:cNvPr id="19" name="object 19"/>
          <p:cNvSpPr/>
          <p:nvPr/>
        </p:nvSpPr>
        <p:spPr>
          <a:xfrm>
            <a:off x="6714915" y="4175686"/>
            <a:ext cx="692393" cy="683170"/>
          </a:xfrm>
          <a:custGeom>
            <a:avLst/>
            <a:gdLst/>
            <a:ahLst/>
            <a:cxnLst/>
            <a:rect l="l" t="t" r="r" b="b"/>
            <a:pathLst>
              <a:path w="706818" h="697403">
                <a:moveTo>
                  <a:pt x="125099" y="697403"/>
                </a:moveTo>
                <a:lnTo>
                  <a:pt x="157298" y="684695"/>
                </a:lnTo>
                <a:lnTo>
                  <a:pt x="183435" y="674380"/>
                </a:lnTo>
                <a:lnTo>
                  <a:pt x="204144" y="666207"/>
                </a:lnTo>
                <a:lnTo>
                  <a:pt x="220055" y="659928"/>
                </a:lnTo>
                <a:lnTo>
                  <a:pt x="231801" y="655292"/>
                </a:lnTo>
                <a:lnTo>
                  <a:pt x="240014" y="652050"/>
                </a:lnTo>
                <a:lnTo>
                  <a:pt x="245327" y="649954"/>
                </a:lnTo>
                <a:lnTo>
                  <a:pt x="248370" y="648753"/>
                </a:lnTo>
                <a:lnTo>
                  <a:pt x="250200" y="648031"/>
                </a:lnTo>
                <a:lnTo>
                  <a:pt x="272106" y="669646"/>
                </a:lnTo>
                <a:lnTo>
                  <a:pt x="285125" y="682492"/>
                </a:lnTo>
                <a:lnTo>
                  <a:pt x="291569" y="688852"/>
                </a:lnTo>
                <a:lnTo>
                  <a:pt x="293983" y="691233"/>
                </a:lnTo>
                <a:lnTo>
                  <a:pt x="329562" y="691233"/>
                </a:lnTo>
                <a:lnTo>
                  <a:pt x="300499" y="623604"/>
                </a:lnTo>
                <a:lnTo>
                  <a:pt x="294516" y="617700"/>
                </a:lnTo>
                <a:lnTo>
                  <a:pt x="293983" y="617174"/>
                </a:lnTo>
                <a:lnTo>
                  <a:pt x="319361" y="592134"/>
                </a:lnTo>
                <a:lnTo>
                  <a:pt x="341410" y="570379"/>
                </a:lnTo>
                <a:lnTo>
                  <a:pt x="360365" y="551677"/>
                </a:lnTo>
                <a:lnTo>
                  <a:pt x="376458" y="535799"/>
                </a:lnTo>
                <a:lnTo>
                  <a:pt x="389924" y="522512"/>
                </a:lnTo>
                <a:lnTo>
                  <a:pt x="400998" y="511586"/>
                </a:lnTo>
                <a:lnTo>
                  <a:pt x="409912" y="502791"/>
                </a:lnTo>
                <a:lnTo>
                  <a:pt x="416902" y="495894"/>
                </a:lnTo>
                <a:lnTo>
                  <a:pt x="422201" y="490665"/>
                </a:lnTo>
                <a:lnTo>
                  <a:pt x="426044" y="486874"/>
                </a:lnTo>
                <a:lnTo>
                  <a:pt x="428664" y="484289"/>
                </a:lnTo>
                <a:lnTo>
                  <a:pt x="431602" y="481390"/>
                </a:lnTo>
                <a:lnTo>
                  <a:pt x="431602" y="641859"/>
                </a:lnTo>
                <a:lnTo>
                  <a:pt x="337617" y="641859"/>
                </a:lnTo>
                <a:lnTo>
                  <a:pt x="360334" y="691233"/>
                </a:lnTo>
                <a:lnTo>
                  <a:pt x="481634" y="691233"/>
                </a:lnTo>
                <a:lnTo>
                  <a:pt x="481633" y="432024"/>
                </a:lnTo>
                <a:lnTo>
                  <a:pt x="503540" y="410410"/>
                </a:lnTo>
                <a:lnTo>
                  <a:pt x="516559" y="397564"/>
                </a:lnTo>
                <a:lnTo>
                  <a:pt x="523003" y="391205"/>
                </a:lnTo>
                <a:lnTo>
                  <a:pt x="525416" y="388824"/>
                </a:lnTo>
                <a:lnTo>
                  <a:pt x="542821" y="373783"/>
                </a:lnTo>
                <a:lnTo>
                  <a:pt x="559377" y="358297"/>
                </a:lnTo>
                <a:lnTo>
                  <a:pt x="575078" y="342386"/>
                </a:lnTo>
                <a:lnTo>
                  <a:pt x="575448" y="259223"/>
                </a:lnTo>
                <a:lnTo>
                  <a:pt x="550699" y="233638"/>
                </a:lnTo>
                <a:lnTo>
                  <a:pt x="529273" y="211487"/>
                </a:lnTo>
                <a:lnTo>
                  <a:pt x="510929" y="192523"/>
                </a:lnTo>
                <a:lnTo>
                  <a:pt x="495428" y="176499"/>
                </a:lnTo>
                <a:lnTo>
                  <a:pt x="482531" y="163166"/>
                </a:lnTo>
                <a:lnTo>
                  <a:pt x="471998" y="152278"/>
                </a:lnTo>
                <a:lnTo>
                  <a:pt x="463591" y="143586"/>
                </a:lnTo>
                <a:lnTo>
                  <a:pt x="457069" y="136843"/>
                </a:lnTo>
                <a:lnTo>
                  <a:pt x="452193" y="131803"/>
                </a:lnTo>
                <a:lnTo>
                  <a:pt x="448724" y="128216"/>
                </a:lnTo>
                <a:lnTo>
                  <a:pt x="445048" y="124416"/>
                </a:lnTo>
                <a:lnTo>
                  <a:pt x="454799" y="116303"/>
                </a:lnTo>
                <a:lnTo>
                  <a:pt x="465724" y="109524"/>
                </a:lnTo>
                <a:lnTo>
                  <a:pt x="476862" y="103098"/>
                </a:lnTo>
                <a:lnTo>
                  <a:pt x="488198" y="97026"/>
                </a:lnTo>
                <a:lnTo>
                  <a:pt x="499718" y="91307"/>
                </a:lnTo>
                <a:lnTo>
                  <a:pt x="511411" y="85941"/>
                </a:lnTo>
                <a:lnTo>
                  <a:pt x="523261" y="80929"/>
                </a:lnTo>
                <a:lnTo>
                  <a:pt x="535255" y="76270"/>
                </a:lnTo>
                <a:lnTo>
                  <a:pt x="547381" y="71965"/>
                </a:lnTo>
                <a:lnTo>
                  <a:pt x="559624" y="68013"/>
                </a:lnTo>
                <a:lnTo>
                  <a:pt x="571970" y="64415"/>
                </a:lnTo>
                <a:lnTo>
                  <a:pt x="584408" y="61169"/>
                </a:lnTo>
                <a:lnTo>
                  <a:pt x="596922" y="58277"/>
                </a:lnTo>
                <a:lnTo>
                  <a:pt x="609500" y="55739"/>
                </a:lnTo>
                <a:lnTo>
                  <a:pt x="622127" y="53554"/>
                </a:lnTo>
                <a:lnTo>
                  <a:pt x="634791" y="51722"/>
                </a:lnTo>
                <a:lnTo>
                  <a:pt x="647478" y="50244"/>
                </a:lnTo>
                <a:lnTo>
                  <a:pt x="656765" y="49386"/>
                </a:lnTo>
                <a:lnTo>
                  <a:pt x="655527" y="61921"/>
                </a:lnTo>
                <a:lnTo>
                  <a:pt x="653923" y="74443"/>
                </a:lnTo>
                <a:lnTo>
                  <a:pt x="651947" y="86938"/>
                </a:lnTo>
                <a:lnTo>
                  <a:pt x="649593" y="99394"/>
                </a:lnTo>
                <a:lnTo>
                  <a:pt x="646852" y="111796"/>
                </a:lnTo>
                <a:lnTo>
                  <a:pt x="643719" y="124133"/>
                </a:lnTo>
                <a:lnTo>
                  <a:pt x="640187" y="136390"/>
                </a:lnTo>
                <a:lnTo>
                  <a:pt x="636249" y="148553"/>
                </a:lnTo>
                <a:lnTo>
                  <a:pt x="631899" y="160611"/>
                </a:lnTo>
                <a:lnTo>
                  <a:pt x="627129" y="172549"/>
                </a:lnTo>
                <a:lnTo>
                  <a:pt x="621932" y="184353"/>
                </a:lnTo>
                <a:lnTo>
                  <a:pt x="616303" y="196012"/>
                </a:lnTo>
                <a:lnTo>
                  <a:pt x="610234" y="207510"/>
                </a:lnTo>
                <a:lnTo>
                  <a:pt x="603718" y="218836"/>
                </a:lnTo>
                <a:lnTo>
                  <a:pt x="596749" y="229975"/>
                </a:lnTo>
                <a:lnTo>
                  <a:pt x="589921" y="326068"/>
                </a:lnTo>
                <a:lnTo>
                  <a:pt x="603901" y="309361"/>
                </a:lnTo>
                <a:lnTo>
                  <a:pt x="617013" y="292283"/>
                </a:lnTo>
                <a:lnTo>
                  <a:pt x="629252" y="274854"/>
                </a:lnTo>
                <a:lnTo>
                  <a:pt x="640614" y="257092"/>
                </a:lnTo>
                <a:lnTo>
                  <a:pt x="651094" y="239015"/>
                </a:lnTo>
                <a:lnTo>
                  <a:pt x="660687" y="220641"/>
                </a:lnTo>
                <a:lnTo>
                  <a:pt x="669388" y="201990"/>
                </a:lnTo>
                <a:lnTo>
                  <a:pt x="677194" y="183080"/>
                </a:lnTo>
                <a:lnTo>
                  <a:pt x="684099" y="163929"/>
                </a:lnTo>
                <a:lnTo>
                  <a:pt x="690098" y="144555"/>
                </a:lnTo>
                <a:lnTo>
                  <a:pt x="695188" y="124978"/>
                </a:lnTo>
                <a:lnTo>
                  <a:pt x="699362" y="105215"/>
                </a:lnTo>
                <a:lnTo>
                  <a:pt x="702617" y="85286"/>
                </a:lnTo>
                <a:lnTo>
                  <a:pt x="704948" y="65208"/>
                </a:lnTo>
                <a:lnTo>
                  <a:pt x="706350" y="45001"/>
                </a:lnTo>
                <a:lnTo>
                  <a:pt x="706818" y="24682"/>
                </a:lnTo>
                <a:lnTo>
                  <a:pt x="706818" y="0"/>
                </a:lnTo>
                <a:lnTo>
                  <a:pt x="681781" y="0"/>
                </a:lnTo>
                <a:lnTo>
                  <a:pt x="661191" y="462"/>
                </a:lnTo>
                <a:lnTo>
                  <a:pt x="640714" y="1845"/>
                </a:lnTo>
                <a:lnTo>
                  <a:pt x="620368" y="4145"/>
                </a:lnTo>
                <a:lnTo>
                  <a:pt x="600172" y="7356"/>
                </a:lnTo>
                <a:lnTo>
                  <a:pt x="580145" y="11475"/>
                </a:lnTo>
                <a:lnTo>
                  <a:pt x="560306" y="16497"/>
                </a:lnTo>
                <a:lnTo>
                  <a:pt x="540672" y="22416"/>
                </a:lnTo>
                <a:lnTo>
                  <a:pt x="521264" y="29229"/>
                </a:lnTo>
                <a:lnTo>
                  <a:pt x="502100" y="36931"/>
                </a:lnTo>
                <a:lnTo>
                  <a:pt x="483198" y="45517"/>
                </a:lnTo>
                <a:lnTo>
                  <a:pt x="464577" y="54983"/>
                </a:lnTo>
                <a:lnTo>
                  <a:pt x="446257" y="65323"/>
                </a:lnTo>
                <a:lnTo>
                  <a:pt x="428256" y="76534"/>
                </a:lnTo>
                <a:lnTo>
                  <a:pt x="410592" y="88610"/>
                </a:lnTo>
                <a:lnTo>
                  <a:pt x="393284" y="101547"/>
                </a:lnTo>
                <a:lnTo>
                  <a:pt x="376352" y="115341"/>
                </a:lnTo>
                <a:lnTo>
                  <a:pt x="359814" y="129987"/>
                </a:lnTo>
                <a:lnTo>
                  <a:pt x="350284" y="216022"/>
                </a:lnTo>
                <a:lnTo>
                  <a:pt x="359324" y="204599"/>
                </a:lnTo>
                <a:lnTo>
                  <a:pt x="368363" y="194133"/>
                </a:lnTo>
                <a:lnTo>
                  <a:pt x="377400" y="184624"/>
                </a:lnTo>
                <a:lnTo>
                  <a:pt x="386437" y="176073"/>
                </a:lnTo>
                <a:lnTo>
                  <a:pt x="395475" y="168478"/>
                </a:lnTo>
                <a:lnTo>
                  <a:pt x="404514" y="161842"/>
                </a:lnTo>
                <a:lnTo>
                  <a:pt x="406564" y="160470"/>
                </a:lnTo>
                <a:lnTo>
                  <a:pt x="431944" y="185508"/>
                </a:lnTo>
                <a:lnTo>
                  <a:pt x="453995" y="207262"/>
                </a:lnTo>
                <a:lnTo>
                  <a:pt x="472950" y="225962"/>
                </a:lnTo>
                <a:lnTo>
                  <a:pt x="489043" y="241839"/>
                </a:lnTo>
                <a:lnTo>
                  <a:pt x="502510" y="255124"/>
                </a:lnTo>
                <a:lnTo>
                  <a:pt x="513583" y="266048"/>
                </a:lnTo>
                <a:lnTo>
                  <a:pt x="522497" y="274842"/>
                </a:lnTo>
                <a:lnTo>
                  <a:pt x="529487" y="281738"/>
                </a:lnTo>
                <a:lnTo>
                  <a:pt x="534786" y="286965"/>
                </a:lnTo>
                <a:lnTo>
                  <a:pt x="538628" y="290756"/>
                </a:lnTo>
                <a:lnTo>
                  <a:pt x="541247" y="293340"/>
                </a:lnTo>
                <a:lnTo>
                  <a:pt x="544184" y="296237"/>
                </a:lnTo>
                <a:lnTo>
                  <a:pt x="537670" y="305157"/>
                </a:lnTo>
                <a:lnTo>
                  <a:pt x="530190" y="314077"/>
                </a:lnTo>
                <a:lnTo>
                  <a:pt x="521743" y="322997"/>
                </a:lnTo>
                <a:lnTo>
                  <a:pt x="512330" y="331916"/>
                </a:lnTo>
                <a:lnTo>
                  <a:pt x="501950" y="340836"/>
                </a:lnTo>
                <a:lnTo>
                  <a:pt x="490603" y="349756"/>
                </a:lnTo>
                <a:lnTo>
                  <a:pt x="487882" y="351789"/>
                </a:lnTo>
                <a:lnTo>
                  <a:pt x="454874" y="384358"/>
                </a:lnTo>
                <a:lnTo>
                  <a:pt x="425163" y="413673"/>
                </a:lnTo>
                <a:lnTo>
                  <a:pt x="398578" y="439905"/>
                </a:lnTo>
                <a:lnTo>
                  <a:pt x="374942" y="463226"/>
                </a:lnTo>
                <a:lnTo>
                  <a:pt x="354084" y="483806"/>
                </a:lnTo>
                <a:lnTo>
                  <a:pt x="335830" y="501818"/>
                </a:lnTo>
                <a:lnTo>
                  <a:pt x="320006" y="517431"/>
                </a:lnTo>
                <a:lnTo>
                  <a:pt x="306438" y="530819"/>
                </a:lnTo>
                <a:lnTo>
                  <a:pt x="294953" y="542151"/>
                </a:lnTo>
                <a:lnTo>
                  <a:pt x="285378" y="551599"/>
                </a:lnTo>
                <a:lnTo>
                  <a:pt x="277538" y="559334"/>
                </a:lnTo>
                <a:lnTo>
                  <a:pt x="271260" y="565528"/>
                </a:lnTo>
                <a:lnTo>
                  <a:pt x="266371" y="570352"/>
                </a:lnTo>
                <a:lnTo>
                  <a:pt x="262697" y="573977"/>
                </a:lnTo>
                <a:lnTo>
                  <a:pt x="260065" y="576575"/>
                </a:lnTo>
                <a:lnTo>
                  <a:pt x="257229" y="579372"/>
                </a:lnTo>
                <a:lnTo>
                  <a:pt x="256448" y="580143"/>
                </a:lnTo>
                <a:lnTo>
                  <a:pt x="231072" y="555101"/>
                </a:lnTo>
                <a:lnTo>
                  <a:pt x="209024" y="533345"/>
                </a:lnTo>
                <a:lnTo>
                  <a:pt x="190071" y="514642"/>
                </a:lnTo>
                <a:lnTo>
                  <a:pt x="173980" y="498763"/>
                </a:lnTo>
                <a:lnTo>
                  <a:pt x="160515" y="485476"/>
                </a:lnTo>
                <a:lnTo>
                  <a:pt x="149443" y="474550"/>
                </a:lnTo>
                <a:lnTo>
                  <a:pt x="140529" y="465754"/>
                </a:lnTo>
                <a:lnTo>
                  <a:pt x="133540" y="458858"/>
                </a:lnTo>
                <a:lnTo>
                  <a:pt x="134350" y="533732"/>
                </a:lnTo>
                <a:lnTo>
                  <a:pt x="152568" y="551707"/>
                </a:lnTo>
                <a:lnTo>
                  <a:pt x="167716" y="566652"/>
                </a:lnTo>
                <a:lnTo>
                  <a:pt x="180078" y="578848"/>
                </a:lnTo>
                <a:lnTo>
                  <a:pt x="189936" y="588574"/>
                </a:lnTo>
                <a:lnTo>
                  <a:pt x="197573" y="596110"/>
                </a:lnTo>
                <a:lnTo>
                  <a:pt x="203274" y="601734"/>
                </a:lnTo>
                <a:lnTo>
                  <a:pt x="207321" y="605727"/>
                </a:lnTo>
                <a:lnTo>
                  <a:pt x="209997" y="608368"/>
                </a:lnTo>
                <a:lnTo>
                  <a:pt x="212665" y="611000"/>
                </a:lnTo>
                <a:lnTo>
                  <a:pt x="181979" y="621093"/>
                </a:lnTo>
                <a:lnTo>
                  <a:pt x="161057" y="627975"/>
                </a:lnTo>
                <a:lnTo>
                  <a:pt x="148029" y="632260"/>
                </a:lnTo>
                <a:lnTo>
                  <a:pt x="141026" y="634563"/>
                </a:lnTo>
                <a:lnTo>
                  <a:pt x="138177" y="635500"/>
                </a:lnTo>
                <a:lnTo>
                  <a:pt x="137609" y="635687"/>
                </a:lnTo>
                <a:lnTo>
                  <a:pt x="62551" y="561628"/>
                </a:lnTo>
                <a:lnTo>
                  <a:pt x="50039" y="450542"/>
                </a:lnTo>
                <a:lnTo>
                  <a:pt x="37046" y="482591"/>
                </a:lnTo>
                <a:lnTo>
                  <a:pt x="26523" y="508548"/>
                </a:lnTo>
                <a:lnTo>
                  <a:pt x="18209" y="529056"/>
                </a:lnTo>
                <a:lnTo>
                  <a:pt x="11844" y="544756"/>
                </a:lnTo>
                <a:lnTo>
                  <a:pt x="7167" y="556291"/>
                </a:lnTo>
                <a:lnTo>
                  <a:pt x="3919" y="564303"/>
                </a:lnTo>
                <a:lnTo>
                  <a:pt x="1839" y="569433"/>
                </a:lnTo>
                <a:lnTo>
                  <a:pt x="667" y="572325"/>
                </a:lnTo>
                <a:lnTo>
                  <a:pt x="0" y="573971"/>
                </a:lnTo>
                <a:lnTo>
                  <a:pt x="125099" y="697403"/>
                </a:lnTo>
                <a:close/>
              </a:path>
              <a:path w="706818" h="697403">
                <a:moveTo>
                  <a:pt x="112778" y="512448"/>
                </a:moveTo>
                <a:lnTo>
                  <a:pt x="134350" y="533732"/>
                </a:lnTo>
                <a:lnTo>
                  <a:pt x="133540" y="458858"/>
                </a:lnTo>
                <a:lnTo>
                  <a:pt x="128242" y="453629"/>
                </a:lnTo>
                <a:lnTo>
                  <a:pt x="124400" y="449838"/>
                </a:lnTo>
                <a:lnTo>
                  <a:pt x="121780" y="447253"/>
                </a:lnTo>
                <a:lnTo>
                  <a:pt x="118844" y="444355"/>
                </a:lnTo>
                <a:lnTo>
                  <a:pt x="350284" y="216022"/>
                </a:lnTo>
                <a:lnTo>
                  <a:pt x="359814" y="129987"/>
                </a:lnTo>
                <a:lnTo>
                  <a:pt x="343688" y="145479"/>
                </a:lnTo>
                <a:lnTo>
                  <a:pt x="327994" y="161814"/>
                </a:lnTo>
                <a:lnTo>
                  <a:pt x="312750" y="178987"/>
                </a:lnTo>
                <a:lnTo>
                  <a:pt x="290843" y="200602"/>
                </a:lnTo>
                <a:lnTo>
                  <a:pt x="277824" y="213448"/>
                </a:lnTo>
                <a:lnTo>
                  <a:pt x="271380" y="219807"/>
                </a:lnTo>
                <a:lnTo>
                  <a:pt x="268967" y="222188"/>
                </a:lnTo>
                <a:lnTo>
                  <a:pt x="6255" y="222188"/>
                </a:lnTo>
                <a:lnTo>
                  <a:pt x="6255" y="407341"/>
                </a:lnTo>
                <a:lnTo>
                  <a:pt x="28161" y="428956"/>
                </a:lnTo>
                <a:lnTo>
                  <a:pt x="41181" y="441802"/>
                </a:lnTo>
                <a:lnTo>
                  <a:pt x="47625" y="448161"/>
                </a:lnTo>
                <a:lnTo>
                  <a:pt x="50039" y="450542"/>
                </a:lnTo>
                <a:lnTo>
                  <a:pt x="62551" y="561628"/>
                </a:lnTo>
                <a:lnTo>
                  <a:pt x="62816" y="389077"/>
                </a:lnTo>
                <a:lnTo>
                  <a:pt x="56829" y="383166"/>
                </a:lnTo>
                <a:lnTo>
                  <a:pt x="56294" y="382638"/>
                </a:lnTo>
                <a:lnTo>
                  <a:pt x="56294" y="271554"/>
                </a:lnTo>
                <a:lnTo>
                  <a:pt x="218914" y="271554"/>
                </a:lnTo>
                <a:lnTo>
                  <a:pt x="193538" y="296596"/>
                </a:lnTo>
                <a:lnTo>
                  <a:pt x="171490" y="318353"/>
                </a:lnTo>
                <a:lnTo>
                  <a:pt x="152538" y="337055"/>
                </a:lnTo>
                <a:lnTo>
                  <a:pt x="136447" y="352935"/>
                </a:lnTo>
                <a:lnTo>
                  <a:pt x="122982" y="366222"/>
                </a:lnTo>
                <a:lnTo>
                  <a:pt x="111911" y="377148"/>
                </a:lnTo>
                <a:lnTo>
                  <a:pt x="102997" y="385943"/>
                </a:lnTo>
                <a:lnTo>
                  <a:pt x="96009" y="392840"/>
                </a:lnTo>
                <a:lnTo>
                  <a:pt x="90711" y="398068"/>
                </a:lnTo>
                <a:lnTo>
                  <a:pt x="86869" y="401859"/>
                </a:lnTo>
                <a:lnTo>
                  <a:pt x="84250" y="404444"/>
                </a:lnTo>
                <a:lnTo>
                  <a:pt x="81314" y="407341"/>
                </a:lnTo>
                <a:lnTo>
                  <a:pt x="72872" y="531079"/>
                </a:lnTo>
                <a:lnTo>
                  <a:pt x="79873" y="510355"/>
                </a:lnTo>
                <a:lnTo>
                  <a:pt x="84200" y="497548"/>
                </a:lnTo>
                <a:lnTo>
                  <a:pt x="86496" y="490754"/>
                </a:lnTo>
                <a:lnTo>
                  <a:pt x="87404" y="488066"/>
                </a:lnTo>
                <a:lnTo>
                  <a:pt x="87569" y="487577"/>
                </a:lnTo>
                <a:lnTo>
                  <a:pt x="112778" y="512448"/>
                </a:lnTo>
                <a:close/>
              </a:path>
              <a:path w="706818" h="697403">
                <a:moveTo>
                  <a:pt x="62816" y="389077"/>
                </a:moveTo>
                <a:lnTo>
                  <a:pt x="62551" y="561628"/>
                </a:lnTo>
                <a:lnTo>
                  <a:pt x="72872" y="531079"/>
                </a:lnTo>
                <a:lnTo>
                  <a:pt x="81314" y="407341"/>
                </a:lnTo>
                <a:lnTo>
                  <a:pt x="62816" y="389077"/>
                </a:lnTo>
                <a:close/>
              </a:path>
              <a:path w="706818" h="697403">
                <a:moveTo>
                  <a:pt x="589921" y="326068"/>
                </a:moveTo>
                <a:lnTo>
                  <a:pt x="596749" y="229975"/>
                </a:lnTo>
                <a:lnTo>
                  <a:pt x="589320" y="240915"/>
                </a:lnTo>
                <a:lnTo>
                  <a:pt x="581424" y="251641"/>
                </a:lnTo>
                <a:lnTo>
                  <a:pt x="575448" y="259223"/>
                </a:lnTo>
                <a:lnTo>
                  <a:pt x="575078" y="342386"/>
                </a:lnTo>
                <a:lnTo>
                  <a:pt x="589921" y="326068"/>
                </a:lnTo>
                <a:close/>
              </a:path>
              <a:path w="706818" h="697403">
                <a:moveTo>
                  <a:pt x="329562" y="691233"/>
                </a:moveTo>
                <a:lnTo>
                  <a:pt x="360334" y="691233"/>
                </a:lnTo>
                <a:lnTo>
                  <a:pt x="337617" y="641859"/>
                </a:lnTo>
                <a:lnTo>
                  <a:pt x="318999" y="641859"/>
                </a:lnTo>
                <a:lnTo>
                  <a:pt x="300499" y="623604"/>
                </a:lnTo>
                <a:lnTo>
                  <a:pt x="329562" y="691233"/>
                </a:lnTo>
                <a:close/>
              </a:path>
            </a:pathLst>
          </a:custGeom>
          <a:solidFill>
            <a:srgbClr val="FFFFFF"/>
          </a:solidFill>
        </p:spPr>
        <p:txBody>
          <a:bodyPr wrap="square" lIns="0" tIns="0" rIns="0" bIns="0" rtlCol="0">
            <a:noAutofit/>
          </a:bodyPr>
          <a:lstStyle/>
          <a:p>
            <a:endParaRPr sz="1763"/>
          </a:p>
        </p:txBody>
      </p:sp>
      <p:sp>
        <p:nvSpPr>
          <p:cNvPr id="20" name="object 20"/>
          <p:cNvSpPr/>
          <p:nvPr/>
        </p:nvSpPr>
        <p:spPr>
          <a:xfrm>
            <a:off x="7039668" y="4441698"/>
            <a:ext cx="98041" cy="96737"/>
          </a:xfrm>
          <a:custGeom>
            <a:avLst/>
            <a:gdLst/>
            <a:ahLst/>
            <a:cxnLst/>
            <a:rect l="l" t="t" r="r" b="b"/>
            <a:pathLst>
              <a:path w="100084" h="98752">
                <a:moveTo>
                  <a:pt x="50031" y="98752"/>
                </a:moveTo>
                <a:lnTo>
                  <a:pt x="63443" y="96481"/>
                </a:lnTo>
                <a:lnTo>
                  <a:pt x="75973" y="90250"/>
                </a:lnTo>
                <a:lnTo>
                  <a:pt x="86733" y="80932"/>
                </a:lnTo>
                <a:lnTo>
                  <a:pt x="94839" y="69400"/>
                </a:lnTo>
                <a:lnTo>
                  <a:pt x="99404" y="56528"/>
                </a:lnTo>
                <a:lnTo>
                  <a:pt x="100084" y="49386"/>
                </a:lnTo>
                <a:lnTo>
                  <a:pt x="97782" y="36148"/>
                </a:lnTo>
                <a:lnTo>
                  <a:pt x="91464" y="23786"/>
                </a:lnTo>
                <a:lnTo>
                  <a:pt x="82018" y="13171"/>
                </a:lnTo>
                <a:lnTo>
                  <a:pt x="70330" y="5176"/>
                </a:lnTo>
                <a:lnTo>
                  <a:pt x="57284" y="673"/>
                </a:lnTo>
                <a:lnTo>
                  <a:pt x="50031" y="0"/>
                </a:lnTo>
                <a:lnTo>
                  <a:pt x="36621" y="2271"/>
                </a:lnTo>
                <a:lnTo>
                  <a:pt x="24096" y="8503"/>
                </a:lnTo>
                <a:lnTo>
                  <a:pt x="13341" y="17823"/>
                </a:lnTo>
                <a:lnTo>
                  <a:pt x="5240" y="29360"/>
                </a:lnTo>
                <a:lnTo>
                  <a:pt x="679" y="42240"/>
                </a:lnTo>
                <a:lnTo>
                  <a:pt x="0" y="49386"/>
                </a:lnTo>
                <a:lnTo>
                  <a:pt x="2302" y="62621"/>
                </a:lnTo>
                <a:lnTo>
                  <a:pt x="8620" y="74981"/>
                </a:lnTo>
                <a:lnTo>
                  <a:pt x="18067" y="85594"/>
                </a:lnTo>
                <a:lnTo>
                  <a:pt x="29758" y="93587"/>
                </a:lnTo>
                <a:lnTo>
                  <a:pt x="42808" y="98084"/>
                </a:lnTo>
                <a:lnTo>
                  <a:pt x="50031" y="98752"/>
                </a:lnTo>
                <a:close/>
              </a:path>
            </a:pathLst>
          </a:custGeom>
          <a:solidFill>
            <a:srgbClr val="FFFFFF"/>
          </a:solidFill>
        </p:spPr>
        <p:txBody>
          <a:bodyPr wrap="square" lIns="0" tIns="0" rIns="0" bIns="0" rtlCol="0">
            <a:noAutofit/>
          </a:bodyPr>
          <a:lstStyle/>
          <a:p>
            <a:endParaRPr sz="1763"/>
          </a:p>
        </p:txBody>
      </p:sp>
      <p:sp>
        <p:nvSpPr>
          <p:cNvPr id="15" name="object 15"/>
          <p:cNvSpPr/>
          <p:nvPr/>
        </p:nvSpPr>
        <p:spPr>
          <a:xfrm>
            <a:off x="9970973" y="1858763"/>
            <a:ext cx="108120" cy="194241"/>
          </a:xfrm>
          <a:custGeom>
            <a:avLst/>
            <a:gdLst/>
            <a:ahLst/>
            <a:cxnLst/>
            <a:rect l="l" t="t" r="r" b="b"/>
            <a:pathLst>
              <a:path w="110373" h="198288">
                <a:moveTo>
                  <a:pt x="0" y="198288"/>
                </a:moveTo>
                <a:lnTo>
                  <a:pt x="110373" y="134140"/>
                </a:lnTo>
                <a:lnTo>
                  <a:pt x="110373" y="0"/>
                </a:lnTo>
                <a:lnTo>
                  <a:pt x="0" y="69993"/>
                </a:lnTo>
                <a:lnTo>
                  <a:pt x="0" y="198288"/>
                </a:lnTo>
                <a:close/>
              </a:path>
            </a:pathLst>
          </a:custGeom>
          <a:solidFill>
            <a:srgbClr val="FFFFFF"/>
          </a:solidFill>
        </p:spPr>
        <p:txBody>
          <a:bodyPr wrap="square" lIns="0" tIns="0" rIns="0" bIns="0" rtlCol="0">
            <a:noAutofit/>
          </a:bodyPr>
          <a:lstStyle/>
          <a:p>
            <a:endParaRPr sz="1763"/>
          </a:p>
        </p:txBody>
      </p:sp>
      <p:sp>
        <p:nvSpPr>
          <p:cNvPr id="16" name="object 16"/>
          <p:cNvSpPr/>
          <p:nvPr/>
        </p:nvSpPr>
        <p:spPr>
          <a:xfrm>
            <a:off x="9834408" y="1858762"/>
            <a:ext cx="108122" cy="194241"/>
          </a:xfrm>
          <a:custGeom>
            <a:avLst/>
            <a:gdLst/>
            <a:ahLst/>
            <a:cxnLst/>
            <a:rect l="l" t="t" r="r" b="b"/>
            <a:pathLst>
              <a:path w="110375" h="198288">
                <a:moveTo>
                  <a:pt x="0" y="134140"/>
                </a:moveTo>
                <a:lnTo>
                  <a:pt x="110375" y="198288"/>
                </a:lnTo>
                <a:lnTo>
                  <a:pt x="110375" y="69993"/>
                </a:lnTo>
                <a:lnTo>
                  <a:pt x="0" y="0"/>
                </a:lnTo>
                <a:lnTo>
                  <a:pt x="0" y="134140"/>
                </a:lnTo>
                <a:close/>
              </a:path>
            </a:pathLst>
          </a:custGeom>
          <a:solidFill>
            <a:srgbClr val="FFFFFF"/>
          </a:solidFill>
        </p:spPr>
        <p:txBody>
          <a:bodyPr wrap="square" lIns="0" tIns="0" rIns="0" bIns="0" rtlCol="0">
            <a:noAutofit/>
          </a:bodyPr>
          <a:lstStyle/>
          <a:p>
            <a:endParaRPr sz="1763"/>
          </a:p>
        </p:txBody>
      </p:sp>
      <p:sp>
        <p:nvSpPr>
          <p:cNvPr id="17" name="object 17"/>
          <p:cNvSpPr/>
          <p:nvPr/>
        </p:nvSpPr>
        <p:spPr>
          <a:xfrm>
            <a:off x="9845793" y="1761642"/>
            <a:ext cx="227597" cy="137111"/>
          </a:xfrm>
          <a:custGeom>
            <a:avLst/>
            <a:gdLst/>
            <a:ahLst/>
            <a:cxnLst/>
            <a:rect l="l" t="t" r="r" b="b"/>
            <a:pathLst>
              <a:path w="232339" h="139967">
                <a:moveTo>
                  <a:pt x="110359" y="0"/>
                </a:moveTo>
                <a:lnTo>
                  <a:pt x="0" y="64147"/>
                </a:lnTo>
                <a:lnTo>
                  <a:pt x="110359" y="139967"/>
                </a:lnTo>
                <a:lnTo>
                  <a:pt x="232339" y="64147"/>
                </a:lnTo>
                <a:lnTo>
                  <a:pt x="110359" y="0"/>
                </a:lnTo>
                <a:close/>
              </a:path>
            </a:pathLst>
          </a:custGeom>
          <a:solidFill>
            <a:srgbClr val="FFFFFF"/>
          </a:solidFill>
        </p:spPr>
        <p:txBody>
          <a:bodyPr wrap="square" lIns="0" tIns="0" rIns="0" bIns="0" rtlCol="0">
            <a:noAutofit/>
          </a:bodyPr>
          <a:lstStyle/>
          <a:p>
            <a:endParaRPr sz="1763"/>
          </a:p>
        </p:txBody>
      </p:sp>
      <p:sp>
        <p:nvSpPr>
          <p:cNvPr id="18" name="object 18"/>
          <p:cNvSpPr/>
          <p:nvPr/>
        </p:nvSpPr>
        <p:spPr>
          <a:xfrm>
            <a:off x="9697848" y="1590250"/>
            <a:ext cx="301585" cy="776970"/>
          </a:xfrm>
          <a:custGeom>
            <a:avLst/>
            <a:gdLst/>
            <a:ahLst/>
            <a:cxnLst/>
            <a:rect l="l" t="t" r="r" b="b"/>
            <a:pathLst>
              <a:path w="307868" h="793157">
                <a:moveTo>
                  <a:pt x="258912" y="0"/>
                </a:moveTo>
                <a:lnTo>
                  <a:pt x="187592" y="0"/>
                </a:lnTo>
                <a:lnTo>
                  <a:pt x="218139" y="29170"/>
                </a:lnTo>
                <a:lnTo>
                  <a:pt x="262037" y="29170"/>
                </a:lnTo>
                <a:lnTo>
                  <a:pt x="258912" y="0"/>
                </a:lnTo>
                <a:close/>
              </a:path>
              <a:path w="307868" h="793157">
                <a:moveTo>
                  <a:pt x="118946" y="-58321"/>
                </a:moveTo>
                <a:lnTo>
                  <a:pt x="53272" y="-58321"/>
                </a:lnTo>
                <a:lnTo>
                  <a:pt x="52276" y="29170"/>
                </a:lnTo>
                <a:lnTo>
                  <a:pt x="218139" y="29170"/>
                </a:lnTo>
                <a:lnTo>
                  <a:pt x="187592" y="0"/>
                </a:lnTo>
                <a:lnTo>
                  <a:pt x="185879" y="0"/>
                </a:lnTo>
                <a:lnTo>
                  <a:pt x="170208" y="-1359"/>
                </a:lnTo>
                <a:lnTo>
                  <a:pt x="162657" y="-10873"/>
                </a:lnTo>
                <a:lnTo>
                  <a:pt x="162638" y="-11672"/>
                </a:lnTo>
                <a:lnTo>
                  <a:pt x="168319" y="-26027"/>
                </a:lnTo>
                <a:lnTo>
                  <a:pt x="181490" y="-29115"/>
                </a:lnTo>
                <a:lnTo>
                  <a:pt x="348528" y="-29150"/>
                </a:lnTo>
                <a:lnTo>
                  <a:pt x="362777" y="-27691"/>
                </a:lnTo>
                <a:lnTo>
                  <a:pt x="371212" y="-17475"/>
                </a:lnTo>
                <a:lnTo>
                  <a:pt x="371740" y="-11672"/>
                </a:lnTo>
                <a:lnTo>
                  <a:pt x="364776" y="-1559"/>
                </a:lnTo>
                <a:lnTo>
                  <a:pt x="349307" y="0"/>
                </a:lnTo>
                <a:lnTo>
                  <a:pt x="258912" y="0"/>
                </a:lnTo>
                <a:lnTo>
                  <a:pt x="262037" y="29170"/>
                </a:lnTo>
                <a:lnTo>
                  <a:pt x="482114" y="29170"/>
                </a:lnTo>
                <a:lnTo>
                  <a:pt x="482114" y="585269"/>
                </a:lnTo>
                <a:lnTo>
                  <a:pt x="496454" y="732867"/>
                </a:lnTo>
                <a:lnTo>
                  <a:pt x="519951" y="718708"/>
                </a:lnTo>
                <a:lnTo>
                  <a:pt x="533027" y="694440"/>
                </a:lnTo>
                <a:lnTo>
                  <a:pt x="534399" y="682348"/>
                </a:lnTo>
                <a:lnTo>
                  <a:pt x="534399" y="0"/>
                </a:lnTo>
                <a:lnTo>
                  <a:pt x="527664" y="-27369"/>
                </a:lnTo>
                <a:lnTo>
                  <a:pt x="509833" y="-48779"/>
                </a:lnTo>
                <a:lnTo>
                  <a:pt x="484467" y="-58257"/>
                </a:lnTo>
                <a:lnTo>
                  <a:pt x="118946" y="-58321"/>
                </a:lnTo>
                <a:close/>
              </a:path>
              <a:path w="307868" h="793157">
                <a:moveTo>
                  <a:pt x="275407" y="688182"/>
                </a:moveTo>
                <a:lnTo>
                  <a:pt x="226529" y="688182"/>
                </a:lnTo>
                <a:lnTo>
                  <a:pt x="214571" y="734835"/>
                </a:lnTo>
                <a:lnTo>
                  <a:pt x="298324" y="734836"/>
                </a:lnTo>
                <a:lnTo>
                  <a:pt x="307868" y="688182"/>
                </a:lnTo>
                <a:lnTo>
                  <a:pt x="275407" y="688182"/>
                </a:lnTo>
                <a:close/>
              </a:path>
              <a:path w="307868" h="793157">
                <a:moveTo>
                  <a:pt x="0" y="597054"/>
                </a:moveTo>
                <a:lnTo>
                  <a:pt x="0" y="682348"/>
                </a:lnTo>
                <a:lnTo>
                  <a:pt x="2148" y="697519"/>
                </a:lnTo>
                <a:lnTo>
                  <a:pt x="8042" y="710917"/>
                </a:lnTo>
                <a:lnTo>
                  <a:pt x="16854" y="721917"/>
                </a:lnTo>
                <a:lnTo>
                  <a:pt x="27756" y="729896"/>
                </a:lnTo>
                <a:lnTo>
                  <a:pt x="39920" y="734230"/>
                </a:lnTo>
                <a:lnTo>
                  <a:pt x="214571" y="734835"/>
                </a:lnTo>
                <a:lnTo>
                  <a:pt x="226529" y="688182"/>
                </a:lnTo>
                <a:lnTo>
                  <a:pt x="209659" y="685086"/>
                </a:lnTo>
                <a:lnTo>
                  <a:pt x="200698" y="682486"/>
                </a:lnTo>
                <a:lnTo>
                  <a:pt x="197595" y="674209"/>
                </a:lnTo>
                <a:lnTo>
                  <a:pt x="197495" y="670686"/>
                </a:lnTo>
                <a:lnTo>
                  <a:pt x="201318" y="660558"/>
                </a:lnTo>
                <a:lnTo>
                  <a:pt x="211861" y="653110"/>
                </a:lnTo>
                <a:lnTo>
                  <a:pt x="226529" y="647355"/>
                </a:lnTo>
                <a:lnTo>
                  <a:pt x="313671" y="647355"/>
                </a:lnTo>
                <a:lnTo>
                  <a:pt x="325552" y="655472"/>
                </a:lnTo>
                <a:lnTo>
                  <a:pt x="330815" y="666488"/>
                </a:lnTo>
                <a:lnTo>
                  <a:pt x="331100" y="670686"/>
                </a:lnTo>
                <a:lnTo>
                  <a:pt x="331100" y="682348"/>
                </a:lnTo>
                <a:lnTo>
                  <a:pt x="325277" y="688182"/>
                </a:lnTo>
                <a:lnTo>
                  <a:pt x="307868" y="688182"/>
                </a:lnTo>
                <a:lnTo>
                  <a:pt x="298324" y="734836"/>
                </a:lnTo>
                <a:lnTo>
                  <a:pt x="482114" y="734836"/>
                </a:lnTo>
                <a:lnTo>
                  <a:pt x="496454" y="732867"/>
                </a:lnTo>
                <a:lnTo>
                  <a:pt x="482114" y="585269"/>
                </a:lnTo>
                <a:lnTo>
                  <a:pt x="482114" y="600701"/>
                </a:lnTo>
                <a:lnTo>
                  <a:pt x="52276" y="600700"/>
                </a:lnTo>
                <a:lnTo>
                  <a:pt x="52276" y="29170"/>
                </a:lnTo>
                <a:lnTo>
                  <a:pt x="53272" y="-58321"/>
                </a:lnTo>
                <a:lnTo>
                  <a:pt x="46465" y="-58321"/>
                </a:lnTo>
                <a:lnTo>
                  <a:pt x="34706" y="-55927"/>
                </a:lnTo>
                <a:lnTo>
                  <a:pt x="23637" y="-49321"/>
                </a:lnTo>
                <a:lnTo>
                  <a:pt x="13948" y="-39369"/>
                </a:lnTo>
                <a:lnTo>
                  <a:pt x="6326" y="-26935"/>
                </a:lnTo>
                <a:lnTo>
                  <a:pt x="1459" y="-12886"/>
                </a:lnTo>
                <a:lnTo>
                  <a:pt x="0" y="0"/>
                </a:lnTo>
                <a:lnTo>
                  <a:pt x="0" y="597054"/>
                </a:lnTo>
                <a:close/>
              </a:path>
            </a:pathLst>
          </a:custGeom>
          <a:solidFill>
            <a:srgbClr val="FFFFFF"/>
          </a:solidFill>
        </p:spPr>
        <p:txBody>
          <a:bodyPr wrap="square" lIns="0" tIns="0" rIns="0" bIns="0" rtlCol="0">
            <a:noAutofit/>
          </a:bodyPr>
          <a:lstStyle/>
          <a:p>
            <a:endParaRPr sz="1763"/>
          </a:p>
        </p:txBody>
      </p:sp>
      <p:sp>
        <p:nvSpPr>
          <p:cNvPr id="14" name="object 14"/>
          <p:cNvSpPr/>
          <p:nvPr/>
        </p:nvSpPr>
        <p:spPr>
          <a:xfrm>
            <a:off x="1298821" y="2196114"/>
            <a:ext cx="3045512" cy="3045512"/>
          </a:xfrm>
          <a:prstGeom prst="rect">
            <a:avLst/>
          </a:prstGeom>
          <a:blipFill>
            <a:blip r:embed="rId3" cstate="print"/>
            <a:stretch>
              <a:fillRect/>
            </a:stretch>
          </a:blipFill>
        </p:spPr>
        <p:txBody>
          <a:bodyPr wrap="square" lIns="0" tIns="0" rIns="0" bIns="0" rtlCol="0">
            <a:noAutofit/>
          </a:bodyPr>
          <a:lstStyle/>
          <a:p>
            <a:endParaRPr sz="1763"/>
          </a:p>
        </p:txBody>
      </p:sp>
      <p:sp>
        <p:nvSpPr>
          <p:cNvPr id="12" name="object 12"/>
          <p:cNvSpPr/>
          <p:nvPr/>
        </p:nvSpPr>
        <p:spPr>
          <a:xfrm>
            <a:off x="8451295" y="1179451"/>
            <a:ext cx="18038" cy="5360275"/>
          </a:xfrm>
          <a:custGeom>
            <a:avLst/>
            <a:gdLst/>
            <a:ahLst/>
            <a:cxnLst/>
            <a:rect l="l" t="t" r="r" b="b"/>
            <a:pathLst>
              <a:path w="18414" h="5471947">
                <a:moveTo>
                  <a:pt x="18414" y="0"/>
                </a:moveTo>
                <a:lnTo>
                  <a:pt x="0" y="5471947"/>
                </a:lnTo>
              </a:path>
            </a:pathLst>
          </a:custGeom>
          <a:ln w="9154">
            <a:solidFill>
              <a:srgbClr val="008EC0"/>
            </a:solidFill>
          </a:ln>
        </p:spPr>
        <p:txBody>
          <a:bodyPr wrap="square" lIns="0" tIns="0" rIns="0" bIns="0" rtlCol="0">
            <a:noAutofit/>
          </a:bodyPr>
          <a:lstStyle/>
          <a:p>
            <a:endParaRPr sz="1763"/>
          </a:p>
        </p:txBody>
      </p:sp>
      <p:sp>
        <p:nvSpPr>
          <p:cNvPr id="13" name="object 13"/>
          <p:cNvSpPr/>
          <p:nvPr/>
        </p:nvSpPr>
        <p:spPr>
          <a:xfrm>
            <a:off x="5853653" y="3723349"/>
            <a:ext cx="5234349" cy="4602"/>
          </a:xfrm>
          <a:custGeom>
            <a:avLst/>
            <a:gdLst/>
            <a:ahLst/>
            <a:cxnLst/>
            <a:rect l="l" t="t" r="r" b="b"/>
            <a:pathLst>
              <a:path w="5343398" h="4699">
                <a:moveTo>
                  <a:pt x="0" y="0"/>
                </a:moveTo>
                <a:lnTo>
                  <a:pt x="5343398" y="4698"/>
                </a:lnTo>
              </a:path>
            </a:pathLst>
          </a:custGeom>
          <a:ln w="9154">
            <a:solidFill>
              <a:srgbClr val="008EC0"/>
            </a:solidFill>
          </a:ln>
        </p:spPr>
        <p:txBody>
          <a:bodyPr wrap="square" lIns="0" tIns="0" rIns="0" bIns="0" rtlCol="0">
            <a:noAutofit/>
          </a:bodyPr>
          <a:lstStyle/>
          <a:p>
            <a:endParaRPr sz="1763"/>
          </a:p>
        </p:txBody>
      </p:sp>
      <p:sp>
        <p:nvSpPr>
          <p:cNvPr id="11" name="object 11"/>
          <p:cNvSpPr/>
          <p:nvPr/>
        </p:nvSpPr>
        <p:spPr>
          <a:xfrm>
            <a:off x="4828032" y="3548680"/>
            <a:ext cx="447869" cy="80616"/>
          </a:xfrm>
          <a:custGeom>
            <a:avLst/>
            <a:gdLst/>
            <a:ahLst/>
            <a:cxnLst/>
            <a:rect l="l" t="t" r="r" b="b"/>
            <a:pathLst>
              <a:path w="457200" h="82296">
                <a:moveTo>
                  <a:pt x="0" y="82296"/>
                </a:moveTo>
                <a:lnTo>
                  <a:pt x="457200" y="82296"/>
                </a:lnTo>
                <a:lnTo>
                  <a:pt x="457200" y="0"/>
                </a:lnTo>
                <a:lnTo>
                  <a:pt x="0" y="0"/>
                </a:lnTo>
                <a:lnTo>
                  <a:pt x="0" y="82296"/>
                </a:lnTo>
                <a:close/>
              </a:path>
            </a:pathLst>
          </a:custGeom>
          <a:solidFill>
            <a:srgbClr val="FFFFFF"/>
          </a:solidFill>
        </p:spPr>
        <p:txBody>
          <a:bodyPr wrap="square" lIns="0" tIns="0" rIns="0" bIns="0" rtlCol="0">
            <a:noAutofit/>
          </a:bodyPr>
          <a:lstStyle/>
          <a:p>
            <a:endParaRPr sz="1763"/>
          </a:p>
        </p:txBody>
      </p:sp>
      <p:sp>
        <p:nvSpPr>
          <p:cNvPr id="10" name="object 10"/>
          <p:cNvSpPr/>
          <p:nvPr/>
        </p:nvSpPr>
        <p:spPr>
          <a:xfrm>
            <a:off x="4828032" y="3727829"/>
            <a:ext cx="447869" cy="89573"/>
          </a:xfrm>
          <a:custGeom>
            <a:avLst/>
            <a:gdLst/>
            <a:ahLst/>
            <a:cxnLst/>
            <a:rect l="l" t="t" r="r" b="b"/>
            <a:pathLst>
              <a:path w="457200" h="91439">
                <a:moveTo>
                  <a:pt x="0" y="91439"/>
                </a:moveTo>
                <a:lnTo>
                  <a:pt x="457200" y="91439"/>
                </a:lnTo>
                <a:lnTo>
                  <a:pt x="457200" y="0"/>
                </a:lnTo>
                <a:lnTo>
                  <a:pt x="0" y="0"/>
                </a:lnTo>
                <a:lnTo>
                  <a:pt x="0" y="91439"/>
                </a:lnTo>
                <a:close/>
              </a:path>
            </a:pathLst>
          </a:custGeom>
          <a:solidFill>
            <a:srgbClr val="FFFFFF"/>
          </a:solidFill>
        </p:spPr>
        <p:txBody>
          <a:bodyPr wrap="square" lIns="0" tIns="0" rIns="0" bIns="0" rtlCol="0">
            <a:noAutofit/>
          </a:bodyPr>
          <a:lstStyle/>
          <a:p>
            <a:endParaRPr sz="1763"/>
          </a:p>
        </p:txBody>
      </p:sp>
      <p:sp>
        <p:nvSpPr>
          <p:cNvPr id="9" name="object 9"/>
          <p:cNvSpPr txBox="1"/>
          <p:nvPr/>
        </p:nvSpPr>
        <p:spPr>
          <a:xfrm>
            <a:off x="4520246" y="490203"/>
            <a:ext cx="1184039" cy="634605"/>
          </a:xfrm>
          <a:prstGeom prst="rect">
            <a:avLst/>
          </a:prstGeom>
        </p:spPr>
        <p:txBody>
          <a:bodyPr wrap="square" lIns="0" tIns="0" rIns="0" bIns="0" rtlCol="0">
            <a:noAutofit/>
          </a:bodyPr>
          <a:lstStyle/>
          <a:p>
            <a:pPr marL="12441">
              <a:lnSpc>
                <a:spcPts val="4996"/>
              </a:lnSpc>
              <a:spcBef>
                <a:spcPts val="250"/>
              </a:spcBef>
            </a:pPr>
            <a:r>
              <a:rPr sz="4800" spc="9" dirty="0">
                <a:solidFill>
                  <a:srgbClr val="FFFFFF"/>
                </a:solidFill>
                <a:latin typeface="Segoe UI Light"/>
                <a:cs typeface="Segoe UI Light"/>
              </a:rPr>
              <a:t>A</a:t>
            </a:r>
            <a:r>
              <a:rPr sz="4800" dirty="0">
                <a:solidFill>
                  <a:srgbClr val="FFFFFF"/>
                </a:solidFill>
                <a:latin typeface="Segoe UI Light"/>
                <a:cs typeface="Segoe UI Light"/>
              </a:rPr>
              <a:t>pp</a:t>
            </a:r>
            <a:endParaRPr sz="4800">
              <a:latin typeface="Segoe UI Light"/>
              <a:cs typeface="Segoe UI Light"/>
            </a:endParaRPr>
          </a:p>
        </p:txBody>
      </p:sp>
      <p:sp>
        <p:nvSpPr>
          <p:cNvPr id="8" name="object 8"/>
          <p:cNvSpPr txBox="1"/>
          <p:nvPr/>
        </p:nvSpPr>
        <p:spPr>
          <a:xfrm>
            <a:off x="5747622" y="490203"/>
            <a:ext cx="1939861" cy="634605"/>
          </a:xfrm>
          <a:prstGeom prst="rect">
            <a:avLst/>
          </a:prstGeom>
        </p:spPr>
        <p:txBody>
          <a:bodyPr wrap="square" lIns="0" tIns="0" rIns="0" bIns="0" rtlCol="0">
            <a:noAutofit/>
          </a:bodyPr>
          <a:lstStyle/>
          <a:p>
            <a:pPr marL="12441">
              <a:lnSpc>
                <a:spcPts val="4996"/>
              </a:lnSpc>
              <a:spcBef>
                <a:spcPts val="250"/>
              </a:spcBef>
            </a:pPr>
            <a:r>
              <a:rPr sz="4800" dirty="0">
                <a:solidFill>
                  <a:srgbClr val="FFFFFF"/>
                </a:solidFill>
                <a:latin typeface="Segoe UI Light"/>
                <a:cs typeface="Segoe UI Light"/>
              </a:rPr>
              <a:t>Se</a:t>
            </a:r>
            <a:r>
              <a:rPr sz="4800" spc="234" dirty="0">
                <a:solidFill>
                  <a:srgbClr val="FFFFFF"/>
                </a:solidFill>
                <a:latin typeface="Segoe UI Light"/>
                <a:cs typeface="Segoe UI Light"/>
              </a:rPr>
              <a:t>r</a:t>
            </a:r>
            <a:r>
              <a:rPr sz="4800" dirty="0">
                <a:solidFill>
                  <a:srgbClr val="FFFFFF"/>
                </a:solidFill>
                <a:latin typeface="Segoe UI Light"/>
                <a:cs typeface="Segoe UI Light"/>
              </a:rPr>
              <a:t>v</a:t>
            </a:r>
            <a:r>
              <a:rPr sz="4800" spc="14" dirty="0">
                <a:solidFill>
                  <a:srgbClr val="FFFFFF"/>
                </a:solidFill>
                <a:latin typeface="Segoe UI Light"/>
                <a:cs typeface="Segoe UI Light"/>
              </a:rPr>
              <a:t>i</a:t>
            </a:r>
            <a:r>
              <a:rPr sz="4800" dirty="0">
                <a:solidFill>
                  <a:srgbClr val="FFFFFF"/>
                </a:solidFill>
                <a:latin typeface="Segoe UI Light"/>
                <a:cs typeface="Segoe UI Light"/>
              </a:rPr>
              <a:t>ce</a:t>
            </a:r>
            <a:endParaRPr sz="4800">
              <a:latin typeface="Segoe UI Light"/>
              <a:cs typeface="Segoe UI Light"/>
            </a:endParaRPr>
          </a:p>
        </p:txBody>
      </p:sp>
      <p:sp>
        <p:nvSpPr>
          <p:cNvPr id="7" name="object 7"/>
          <p:cNvSpPr txBox="1"/>
          <p:nvPr/>
        </p:nvSpPr>
        <p:spPr>
          <a:xfrm>
            <a:off x="9005534" y="2515870"/>
            <a:ext cx="1928773" cy="728905"/>
          </a:xfrm>
          <a:prstGeom prst="rect">
            <a:avLst/>
          </a:prstGeom>
        </p:spPr>
        <p:txBody>
          <a:bodyPr wrap="square" lIns="0" tIns="0" rIns="0" bIns="0" rtlCol="0">
            <a:noAutofit/>
          </a:bodyPr>
          <a:lstStyle/>
          <a:p>
            <a:pPr marL="176712" marR="182896" algn="ctr">
              <a:lnSpc>
                <a:spcPts val="2042"/>
              </a:lnSpc>
              <a:spcBef>
                <a:spcPts val="102"/>
              </a:spcBef>
            </a:pPr>
            <a:r>
              <a:rPr sz="2718" b="1" spc="4" baseline="1354" dirty="0">
                <a:solidFill>
                  <a:srgbClr val="FFFFFF"/>
                </a:solidFill>
                <a:latin typeface="Segoe UI"/>
                <a:cs typeface="Segoe UI"/>
              </a:rPr>
              <a:t>M</a:t>
            </a:r>
            <a:r>
              <a:rPr sz="2718" b="1" spc="14" baseline="1354" dirty="0">
                <a:solidFill>
                  <a:srgbClr val="FFFFFF"/>
                </a:solidFill>
                <a:latin typeface="Segoe UI"/>
                <a:cs typeface="Segoe UI"/>
              </a:rPr>
              <a:t>O</a:t>
            </a:r>
            <a:r>
              <a:rPr sz="2718" b="1" spc="19" baseline="1354" dirty="0">
                <a:solidFill>
                  <a:srgbClr val="FFFFFF"/>
                </a:solidFill>
                <a:latin typeface="Segoe UI"/>
                <a:cs typeface="Segoe UI"/>
              </a:rPr>
              <a:t>B</a:t>
            </a:r>
            <a:r>
              <a:rPr sz="2718" b="1" spc="-19" baseline="1354" dirty="0">
                <a:solidFill>
                  <a:srgbClr val="FFFFFF"/>
                </a:solidFill>
                <a:latin typeface="Segoe UI"/>
                <a:cs typeface="Segoe UI"/>
              </a:rPr>
              <a:t>I</a:t>
            </a:r>
            <a:r>
              <a:rPr sz="2718" b="1" spc="-24" baseline="1354" dirty="0">
                <a:solidFill>
                  <a:srgbClr val="FFFFFF"/>
                </a:solidFill>
                <a:latin typeface="Segoe UI"/>
                <a:cs typeface="Segoe UI"/>
              </a:rPr>
              <a:t>L</a:t>
            </a:r>
            <a:r>
              <a:rPr sz="2718" b="1" baseline="1354" dirty="0">
                <a:solidFill>
                  <a:srgbClr val="FFFFFF"/>
                </a:solidFill>
                <a:latin typeface="Segoe UI"/>
                <a:cs typeface="Segoe UI"/>
              </a:rPr>
              <a:t>E</a:t>
            </a:r>
            <a:r>
              <a:rPr sz="2718" b="1" spc="67" baseline="1354" dirty="0">
                <a:solidFill>
                  <a:srgbClr val="FFFFFF"/>
                </a:solidFill>
                <a:latin typeface="Segoe UI"/>
                <a:cs typeface="Segoe UI"/>
              </a:rPr>
              <a:t> </a:t>
            </a:r>
            <a:r>
              <a:rPr sz="2718" b="1" spc="-24" baseline="1354" dirty="0">
                <a:solidFill>
                  <a:srgbClr val="FFFFFF"/>
                </a:solidFill>
                <a:latin typeface="Segoe UI"/>
                <a:cs typeface="Segoe UI"/>
              </a:rPr>
              <a:t>A</a:t>
            </a:r>
            <a:r>
              <a:rPr sz="2718" b="1" baseline="1354" dirty="0">
                <a:solidFill>
                  <a:srgbClr val="FFFFFF"/>
                </a:solidFill>
                <a:latin typeface="Segoe UI"/>
                <a:cs typeface="Segoe UI"/>
              </a:rPr>
              <a:t>PPS</a:t>
            </a:r>
            <a:endParaRPr sz="1812">
              <a:latin typeface="Segoe UI"/>
              <a:cs typeface="Segoe UI"/>
            </a:endParaRPr>
          </a:p>
          <a:p>
            <a:pPr algn="ctr">
              <a:lnSpc>
                <a:spcPts val="1889"/>
              </a:lnSpc>
              <a:spcBef>
                <a:spcPts val="541"/>
              </a:spcBef>
            </a:pPr>
            <a:r>
              <a:rPr sz="1420" spc="4" dirty="0">
                <a:solidFill>
                  <a:srgbClr val="FFFFFF"/>
                </a:solidFill>
                <a:latin typeface="Segoe UI Light"/>
                <a:cs typeface="Segoe UI Light"/>
              </a:rPr>
              <a:t>B</a:t>
            </a:r>
            <a:r>
              <a:rPr sz="1420" spc="19" dirty="0">
                <a:solidFill>
                  <a:srgbClr val="FFFFFF"/>
                </a:solidFill>
                <a:latin typeface="Segoe UI Light"/>
                <a:cs typeface="Segoe UI Light"/>
              </a:rPr>
              <a:t>u</a:t>
            </a:r>
            <a:r>
              <a:rPr sz="1420" spc="-4" dirty="0">
                <a:solidFill>
                  <a:srgbClr val="FFFFFF"/>
                </a:solidFill>
                <a:latin typeface="Segoe UI Light"/>
                <a:cs typeface="Segoe UI Light"/>
              </a:rPr>
              <a:t>il</a:t>
            </a:r>
            <a:r>
              <a:rPr sz="1420" dirty="0">
                <a:solidFill>
                  <a:srgbClr val="FFFFFF"/>
                </a:solidFill>
                <a:latin typeface="Segoe UI Light"/>
                <a:cs typeface="Segoe UI Light"/>
              </a:rPr>
              <a:t>d</a:t>
            </a:r>
            <a:r>
              <a:rPr sz="1420" spc="-77" dirty="0">
                <a:solidFill>
                  <a:srgbClr val="FFFFFF"/>
                </a:solidFill>
                <a:latin typeface="Segoe UI Light"/>
                <a:cs typeface="Segoe UI Light"/>
              </a:rPr>
              <a:t> </a:t>
            </a:r>
            <a:r>
              <a:rPr sz="1420" spc="19" dirty="0">
                <a:solidFill>
                  <a:srgbClr val="FFFFFF"/>
                </a:solidFill>
                <a:latin typeface="Segoe UI Light"/>
                <a:cs typeface="Segoe UI Light"/>
              </a:rPr>
              <a:t>M</a:t>
            </a:r>
            <a:r>
              <a:rPr sz="1420" spc="-14" dirty="0">
                <a:solidFill>
                  <a:srgbClr val="FFFFFF"/>
                </a:solidFill>
                <a:latin typeface="Segoe UI Light"/>
                <a:cs typeface="Segoe UI Light"/>
              </a:rPr>
              <a:t>ob</a:t>
            </a:r>
            <a:r>
              <a:rPr sz="1420" spc="-4" dirty="0">
                <a:solidFill>
                  <a:srgbClr val="FFFFFF"/>
                </a:solidFill>
                <a:latin typeface="Segoe UI Light"/>
                <a:cs typeface="Segoe UI Light"/>
              </a:rPr>
              <a:t>il</a:t>
            </a:r>
            <a:r>
              <a:rPr sz="1420" dirty="0">
                <a:solidFill>
                  <a:srgbClr val="FFFFFF"/>
                </a:solidFill>
                <a:latin typeface="Segoe UI Light"/>
                <a:cs typeface="Segoe UI Light"/>
              </a:rPr>
              <a:t>e</a:t>
            </a:r>
            <a:r>
              <a:rPr sz="1420" spc="-84" dirty="0">
                <a:solidFill>
                  <a:srgbClr val="FFFFFF"/>
                </a:solidFill>
                <a:latin typeface="Segoe UI Light"/>
                <a:cs typeface="Segoe UI Light"/>
              </a:rPr>
              <a:t> </a:t>
            </a:r>
            <a:r>
              <a:rPr sz="1420" spc="4" dirty="0">
                <a:solidFill>
                  <a:srgbClr val="FFFFFF"/>
                </a:solidFill>
                <a:latin typeface="Segoe UI Light"/>
                <a:cs typeface="Segoe UI Light"/>
              </a:rPr>
              <a:t>a</a:t>
            </a:r>
            <a:r>
              <a:rPr sz="1420" spc="-14" dirty="0">
                <a:solidFill>
                  <a:srgbClr val="FFFFFF"/>
                </a:solidFill>
                <a:latin typeface="Segoe UI Light"/>
                <a:cs typeface="Segoe UI Light"/>
              </a:rPr>
              <a:t>pp</a:t>
            </a:r>
            <a:r>
              <a:rPr sz="1420" dirty="0">
                <a:solidFill>
                  <a:srgbClr val="FFFFFF"/>
                </a:solidFill>
                <a:latin typeface="Segoe UI Light"/>
                <a:cs typeface="Segoe UI Light"/>
              </a:rPr>
              <a:t>s</a:t>
            </a:r>
            <a:r>
              <a:rPr sz="1420" spc="-47" dirty="0">
                <a:solidFill>
                  <a:srgbClr val="FFFFFF"/>
                </a:solidFill>
                <a:latin typeface="Segoe UI Light"/>
                <a:cs typeface="Segoe UI Light"/>
              </a:rPr>
              <a:t> </a:t>
            </a:r>
            <a:r>
              <a:rPr sz="1420" spc="28" dirty="0">
                <a:solidFill>
                  <a:srgbClr val="FFFFFF"/>
                </a:solidFill>
                <a:latin typeface="Segoe UI Light"/>
                <a:cs typeface="Segoe UI Light"/>
              </a:rPr>
              <a:t>f</a:t>
            </a:r>
            <a:r>
              <a:rPr sz="1420" spc="-14" dirty="0">
                <a:solidFill>
                  <a:srgbClr val="FFFFFF"/>
                </a:solidFill>
                <a:latin typeface="Segoe UI Light"/>
                <a:cs typeface="Segoe UI Light"/>
              </a:rPr>
              <a:t>o</a:t>
            </a:r>
            <a:r>
              <a:rPr sz="1420" dirty="0">
                <a:solidFill>
                  <a:srgbClr val="FFFFFF"/>
                </a:solidFill>
                <a:latin typeface="Segoe UI Light"/>
                <a:cs typeface="Segoe UI Light"/>
              </a:rPr>
              <a:t>r</a:t>
            </a:r>
            <a:r>
              <a:rPr sz="1420" spc="-25" dirty="0">
                <a:solidFill>
                  <a:srgbClr val="FFFFFF"/>
                </a:solidFill>
                <a:latin typeface="Segoe UI Light"/>
                <a:cs typeface="Segoe UI Light"/>
              </a:rPr>
              <a:t> </a:t>
            </a:r>
            <a:r>
              <a:rPr sz="1420" spc="4" dirty="0">
                <a:solidFill>
                  <a:srgbClr val="FFFFFF"/>
                </a:solidFill>
                <a:latin typeface="Segoe UI Light"/>
                <a:cs typeface="Segoe UI Light"/>
              </a:rPr>
              <a:t>a</a:t>
            </a:r>
            <a:r>
              <a:rPr sz="1420" spc="19" dirty="0">
                <a:solidFill>
                  <a:srgbClr val="FFFFFF"/>
                </a:solidFill>
                <a:latin typeface="Segoe UI Light"/>
                <a:cs typeface="Segoe UI Light"/>
              </a:rPr>
              <a:t>n</a:t>
            </a:r>
            <a:r>
              <a:rPr sz="1420" dirty="0">
                <a:solidFill>
                  <a:srgbClr val="FFFFFF"/>
                </a:solidFill>
                <a:latin typeface="Segoe UI Light"/>
                <a:cs typeface="Segoe UI Light"/>
              </a:rPr>
              <a:t>y </a:t>
            </a:r>
            <a:endParaRPr sz="1420">
              <a:latin typeface="Segoe UI Light"/>
              <a:cs typeface="Segoe UI Light"/>
            </a:endParaRPr>
          </a:p>
          <a:p>
            <a:pPr algn="ctr">
              <a:lnSpc>
                <a:spcPts val="1889"/>
              </a:lnSpc>
            </a:pPr>
            <a:r>
              <a:rPr sz="1420" spc="-14" dirty="0">
                <a:solidFill>
                  <a:srgbClr val="FFFFFF"/>
                </a:solidFill>
                <a:latin typeface="Segoe UI Light"/>
                <a:cs typeface="Segoe UI Light"/>
              </a:rPr>
              <a:t>d</a:t>
            </a:r>
            <a:r>
              <a:rPr sz="1420" spc="-9" dirty="0">
                <a:solidFill>
                  <a:srgbClr val="FFFFFF"/>
                </a:solidFill>
                <a:latin typeface="Segoe UI Light"/>
                <a:cs typeface="Segoe UI Light"/>
              </a:rPr>
              <a:t>e</a:t>
            </a:r>
            <a:r>
              <a:rPr sz="1420" spc="-4" dirty="0">
                <a:solidFill>
                  <a:srgbClr val="FFFFFF"/>
                </a:solidFill>
                <a:latin typeface="Segoe UI Light"/>
                <a:cs typeface="Segoe UI Light"/>
              </a:rPr>
              <a:t>vi</a:t>
            </a:r>
            <a:r>
              <a:rPr sz="1420" spc="4" dirty="0">
                <a:solidFill>
                  <a:srgbClr val="FFFFFF"/>
                </a:solidFill>
                <a:latin typeface="Segoe UI Light"/>
                <a:cs typeface="Segoe UI Light"/>
              </a:rPr>
              <a:t>c</a:t>
            </a:r>
            <a:r>
              <a:rPr sz="1420" dirty="0">
                <a:solidFill>
                  <a:srgbClr val="FFFFFF"/>
                </a:solidFill>
                <a:latin typeface="Segoe UI Light"/>
                <a:cs typeface="Segoe UI Light"/>
              </a:rPr>
              <a:t>e</a:t>
            </a:r>
            <a:endParaRPr sz="1420">
              <a:latin typeface="Segoe UI Light"/>
              <a:cs typeface="Segoe UI Light"/>
            </a:endParaRPr>
          </a:p>
        </p:txBody>
      </p:sp>
      <p:sp>
        <p:nvSpPr>
          <p:cNvPr id="6" name="object 6"/>
          <p:cNvSpPr txBox="1"/>
          <p:nvPr/>
        </p:nvSpPr>
        <p:spPr>
          <a:xfrm>
            <a:off x="5975449" y="2522090"/>
            <a:ext cx="2263981" cy="689160"/>
          </a:xfrm>
          <a:prstGeom prst="rect">
            <a:avLst/>
          </a:prstGeom>
        </p:spPr>
        <p:txBody>
          <a:bodyPr wrap="square" lIns="0" tIns="0" rIns="0" bIns="0" rtlCol="0">
            <a:noAutofit/>
          </a:bodyPr>
          <a:lstStyle/>
          <a:p>
            <a:pPr marL="509382" marR="543407" algn="ctr">
              <a:lnSpc>
                <a:spcPts val="2042"/>
              </a:lnSpc>
              <a:spcBef>
                <a:spcPts val="102"/>
              </a:spcBef>
            </a:pPr>
            <a:r>
              <a:rPr sz="2718" b="1" spc="-9" baseline="1354" dirty="0">
                <a:solidFill>
                  <a:srgbClr val="FFFFFF"/>
                </a:solidFill>
                <a:latin typeface="Segoe UI"/>
                <a:cs typeface="Segoe UI"/>
              </a:rPr>
              <a:t>W</a:t>
            </a:r>
            <a:r>
              <a:rPr sz="2718" b="1" spc="9" baseline="1354" dirty="0">
                <a:solidFill>
                  <a:srgbClr val="FFFFFF"/>
                </a:solidFill>
                <a:latin typeface="Segoe UI"/>
                <a:cs typeface="Segoe UI"/>
              </a:rPr>
              <a:t>E</a:t>
            </a:r>
            <a:r>
              <a:rPr sz="2718" b="1" baseline="1354" dirty="0">
                <a:solidFill>
                  <a:srgbClr val="FFFFFF"/>
                </a:solidFill>
                <a:latin typeface="Segoe UI"/>
                <a:cs typeface="Segoe UI"/>
              </a:rPr>
              <a:t>B</a:t>
            </a:r>
            <a:r>
              <a:rPr sz="2718" b="1" spc="54" baseline="1354" dirty="0">
                <a:solidFill>
                  <a:srgbClr val="FFFFFF"/>
                </a:solidFill>
                <a:latin typeface="Segoe UI"/>
                <a:cs typeface="Segoe UI"/>
              </a:rPr>
              <a:t> </a:t>
            </a:r>
            <a:r>
              <a:rPr sz="2718" b="1" spc="-24" baseline="1354" dirty="0">
                <a:solidFill>
                  <a:srgbClr val="FFFFFF"/>
                </a:solidFill>
                <a:latin typeface="Segoe UI"/>
                <a:cs typeface="Segoe UI"/>
              </a:rPr>
              <a:t>A</a:t>
            </a:r>
            <a:r>
              <a:rPr sz="2718" b="1" baseline="1354" dirty="0">
                <a:solidFill>
                  <a:srgbClr val="FFFFFF"/>
                </a:solidFill>
                <a:latin typeface="Segoe UI"/>
                <a:cs typeface="Segoe UI"/>
              </a:rPr>
              <a:t>PPS</a:t>
            </a:r>
            <a:endParaRPr sz="1812">
              <a:latin typeface="Segoe UI"/>
              <a:cs typeface="Segoe UI"/>
            </a:endParaRPr>
          </a:p>
          <a:p>
            <a:pPr algn="ctr">
              <a:lnSpc>
                <a:spcPts val="1479"/>
              </a:lnSpc>
              <a:spcBef>
                <a:spcPts val="324"/>
              </a:spcBef>
            </a:pPr>
            <a:r>
              <a:rPr sz="1371" spc="9" dirty="0">
                <a:solidFill>
                  <a:srgbClr val="FFFFFF"/>
                </a:solidFill>
                <a:latin typeface="Segoe UI Light"/>
                <a:cs typeface="Segoe UI Light"/>
              </a:rPr>
              <a:t>W</a:t>
            </a:r>
            <a:r>
              <a:rPr sz="1371" spc="-4" dirty="0">
                <a:solidFill>
                  <a:srgbClr val="FFFFFF"/>
                </a:solidFill>
                <a:latin typeface="Segoe UI Light"/>
                <a:cs typeface="Segoe UI Light"/>
              </a:rPr>
              <a:t>e</a:t>
            </a:r>
            <a:r>
              <a:rPr sz="1371" dirty="0">
                <a:solidFill>
                  <a:srgbClr val="FFFFFF"/>
                </a:solidFill>
                <a:latin typeface="Segoe UI Light"/>
                <a:cs typeface="Segoe UI Light"/>
              </a:rPr>
              <a:t>b</a:t>
            </a:r>
            <a:r>
              <a:rPr sz="1371" spc="25" dirty="0">
                <a:solidFill>
                  <a:srgbClr val="FFFFFF"/>
                </a:solidFill>
                <a:latin typeface="Segoe UI Light"/>
                <a:cs typeface="Segoe UI Light"/>
              </a:rPr>
              <a:t> </a:t>
            </a:r>
            <a:r>
              <a:rPr sz="1371" spc="4" dirty="0">
                <a:solidFill>
                  <a:srgbClr val="FFFFFF"/>
                </a:solidFill>
                <a:latin typeface="Segoe UI Light"/>
                <a:cs typeface="Segoe UI Light"/>
              </a:rPr>
              <a:t>a</a:t>
            </a:r>
            <a:r>
              <a:rPr sz="1371" spc="-14" dirty="0">
                <a:solidFill>
                  <a:srgbClr val="FFFFFF"/>
                </a:solidFill>
                <a:latin typeface="Segoe UI Light"/>
                <a:cs typeface="Segoe UI Light"/>
              </a:rPr>
              <a:t>pp</a:t>
            </a:r>
            <a:r>
              <a:rPr sz="1371" dirty="0">
                <a:solidFill>
                  <a:srgbClr val="FFFFFF"/>
                </a:solidFill>
                <a:latin typeface="Segoe UI Light"/>
                <a:cs typeface="Segoe UI Light"/>
              </a:rPr>
              <a:t>s</a:t>
            </a:r>
            <a:r>
              <a:rPr sz="1371" spc="50" dirty="0">
                <a:solidFill>
                  <a:srgbClr val="FFFFFF"/>
                </a:solidFill>
                <a:latin typeface="Segoe UI Light"/>
                <a:cs typeface="Segoe UI Light"/>
              </a:rPr>
              <a:t> </a:t>
            </a:r>
            <a:r>
              <a:rPr sz="1371" dirty="0">
                <a:solidFill>
                  <a:srgbClr val="FFFFFF"/>
                </a:solidFill>
                <a:latin typeface="Segoe UI Light"/>
                <a:cs typeface="Segoe UI Light"/>
              </a:rPr>
              <a:t>t</a:t>
            </a:r>
            <a:r>
              <a:rPr sz="1371" spc="24" dirty="0">
                <a:solidFill>
                  <a:srgbClr val="FFFFFF"/>
                </a:solidFill>
                <a:latin typeface="Segoe UI Light"/>
                <a:cs typeface="Segoe UI Light"/>
              </a:rPr>
              <a:t>h</a:t>
            </a:r>
            <a:r>
              <a:rPr sz="1371" spc="4" dirty="0">
                <a:solidFill>
                  <a:srgbClr val="FFFFFF"/>
                </a:solidFill>
                <a:latin typeface="Segoe UI Light"/>
                <a:cs typeface="Segoe UI Light"/>
              </a:rPr>
              <a:t>a</a:t>
            </a:r>
            <a:r>
              <a:rPr sz="1371" dirty="0">
                <a:solidFill>
                  <a:srgbClr val="FFFFFF"/>
                </a:solidFill>
                <a:latin typeface="Segoe UI Light"/>
                <a:cs typeface="Segoe UI Light"/>
              </a:rPr>
              <a:t>t</a:t>
            </a:r>
            <a:r>
              <a:rPr sz="1371" spc="28" dirty="0">
                <a:solidFill>
                  <a:srgbClr val="FFFFFF"/>
                </a:solidFill>
                <a:latin typeface="Segoe UI Light"/>
                <a:cs typeface="Segoe UI Light"/>
              </a:rPr>
              <a:t> </a:t>
            </a:r>
            <a:r>
              <a:rPr sz="1371" spc="14" dirty="0">
                <a:solidFill>
                  <a:srgbClr val="FFFFFF"/>
                </a:solidFill>
                <a:latin typeface="Segoe UI Light"/>
                <a:cs typeface="Segoe UI Light"/>
              </a:rPr>
              <a:t>s</a:t>
            </a:r>
            <a:r>
              <a:rPr sz="1371" spc="4" dirty="0">
                <a:solidFill>
                  <a:srgbClr val="FFFFFF"/>
                </a:solidFill>
                <a:latin typeface="Segoe UI Light"/>
                <a:cs typeface="Segoe UI Light"/>
              </a:rPr>
              <a:t>ca</a:t>
            </a:r>
            <a:r>
              <a:rPr sz="1371" spc="-4" dirty="0">
                <a:solidFill>
                  <a:srgbClr val="FFFFFF"/>
                </a:solidFill>
                <a:latin typeface="Segoe UI Light"/>
                <a:cs typeface="Segoe UI Light"/>
              </a:rPr>
              <a:t>l</a:t>
            </a:r>
            <a:r>
              <a:rPr sz="1371" dirty="0">
                <a:solidFill>
                  <a:srgbClr val="FFFFFF"/>
                </a:solidFill>
                <a:latin typeface="Segoe UI Light"/>
                <a:cs typeface="Segoe UI Light"/>
              </a:rPr>
              <a:t>e</a:t>
            </a:r>
            <a:r>
              <a:rPr sz="1371" spc="-28" dirty="0">
                <a:solidFill>
                  <a:srgbClr val="FFFFFF"/>
                </a:solidFill>
                <a:latin typeface="Segoe UI Light"/>
                <a:cs typeface="Segoe UI Light"/>
              </a:rPr>
              <a:t> </a:t>
            </a:r>
            <a:r>
              <a:rPr sz="1371" spc="28" dirty="0">
                <a:solidFill>
                  <a:srgbClr val="FFFFFF"/>
                </a:solidFill>
                <a:latin typeface="Segoe UI Light"/>
                <a:cs typeface="Segoe UI Light"/>
              </a:rPr>
              <a:t>w</a:t>
            </a:r>
            <a:r>
              <a:rPr sz="1371" spc="-4" dirty="0">
                <a:solidFill>
                  <a:srgbClr val="FFFFFF"/>
                </a:solidFill>
                <a:latin typeface="Segoe UI Light"/>
                <a:cs typeface="Segoe UI Light"/>
              </a:rPr>
              <a:t>i</a:t>
            </a:r>
            <a:r>
              <a:rPr sz="1371" dirty="0">
                <a:solidFill>
                  <a:srgbClr val="FFFFFF"/>
                </a:solidFill>
                <a:latin typeface="Segoe UI Light"/>
                <a:cs typeface="Segoe UI Light"/>
              </a:rPr>
              <a:t>th</a:t>
            </a:r>
            <a:r>
              <a:rPr sz="1371" spc="46" dirty="0">
                <a:solidFill>
                  <a:srgbClr val="FFFFFF"/>
                </a:solidFill>
                <a:latin typeface="Segoe UI Light"/>
                <a:cs typeface="Segoe UI Light"/>
              </a:rPr>
              <a:t> </a:t>
            </a:r>
            <a:r>
              <a:rPr sz="1371" dirty="0">
                <a:solidFill>
                  <a:srgbClr val="FFFFFF"/>
                </a:solidFill>
                <a:latin typeface="Segoe UI Light"/>
                <a:cs typeface="Segoe UI Light"/>
              </a:rPr>
              <a:t>y</a:t>
            </a:r>
            <a:r>
              <a:rPr sz="1371" spc="-20" dirty="0">
                <a:solidFill>
                  <a:srgbClr val="FFFFFF"/>
                </a:solidFill>
                <a:latin typeface="Segoe UI Light"/>
                <a:cs typeface="Segoe UI Light"/>
              </a:rPr>
              <a:t>o</a:t>
            </a:r>
            <a:r>
              <a:rPr sz="1371" spc="20" dirty="0">
                <a:solidFill>
                  <a:srgbClr val="FFFFFF"/>
                </a:solidFill>
                <a:latin typeface="Segoe UI Light"/>
                <a:cs typeface="Segoe UI Light"/>
              </a:rPr>
              <a:t>u</a:t>
            </a:r>
            <a:r>
              <a:rPr sz="1371" dirty="0">
                <a:solidFill>
                  <a:srgbClr val="FFFFFF"/>
                </a:solidFill>
                <a:latin typeface="Segoe UI Light"/>
                <a:cs typeface="Segoe UI Light"/>
              </a:rPr>
              <a:t>r </a:t>
            </a:r>
            <a:r>
              <a:rPr sz="1371" spc="-14" dirty="0">
                <a:solidFill>
                  <a:srgbClr val="FFFFFF"/>
                </a:solidFill>
                <a:latin typeface="Segoe UI Light"/>
                <a:cs typeface="Segoe UI Light"/>
              </a:rPr>
              <a:t>b</a:t>
            </a:r>
            <a:r>
              <a:rPr sz="1371" spc="19" dirty="0">
                <a:solidFill>
                  <a:srgbClr val="FFFFFF"/>
                </a:solidFill>
                <a:latin typeface="Segoe UI Light"/>
                <a:cs typeface="Segoe UI Light"/>
              </a:rPr>
              <a:t>u</a:t>
            </a:r>
            <a:r>
              <a:rPr sz="1371" spc="14" dirty="0">
                <a:solidFill>
                  <a:srgbClr val="FFFFFF"/>
                </a:solidFill>
                <a:latin typeface="Segoe UI Light"/>
                <a:cs typeface="Segoe UI Light"/>
              </a:rPr>
              <a:t>s</a:t>
            </a:r>
            <a:r>
              <a:rPr sz="1371" spc="-4" dirty="0">
                <a:solidFill>
                  <a:srgbClr val="FFFFFF"/>
                </a:solidFill>
                <a:latin typeface="Segoe UI Light"/>
                <a:cs typeface="Segoe UI Light"/>
              </a:rPr>
              <a:t>i</a:t>
            </a:r>
            <a:r>
              <a:rPr sz="1371" spc="19" dirty="0">
                <a:solidFill>
                  <a:srgbClr val="FFFFFF"/>
                </a:solidFill>
                <a:latin typeface="Segoe UI Light"/>
                <a:cs typeface="Segoe UI Light"/>
              </a:rPr>
              <a:t>n</a:t>
            </a:r>
            <a:r>
              <a:rPr sz="1371" spc="-4" dirty="0">
                <a:solidFill>
                  <a:srgbClr val="FFFFFF"/>
                </a:solidFill>
                <a:latin typeface="Segoe UI Light"/>
                <a:cs typeface="Segoe UI Light"/>
              </a:rPr>
              <a:t>e</a:t>
            </a:r>
            <a:r>
              <a:rPr sz="1371" spc="14" dirty="0">
                <a:solidFill>
                  <a:srgbClr val="FFFFFF"/>
                </a:solidFill>
                <a:latin typeface="Segoe UI Light"/>
                <a:cs typeface="Segoe UI Light"/>
              </a:rPr>
              <a:t>s</a:t>
            </a:r>
            <a:r>
              <a:rPr sz="1371" dirty="0">
                <a:solidFill>
                  <a:srgbClr val="FFFFFF"/>
                </a:solidFill>
                <a:latin typeface="Segoe UI Light"/>
                <a:cs typeface="Segoe UI Light"/>
              </a:rPr>
              <a:t>s</a:t>
            </a:r>
            <a:endParaRPr sz="1371">
              <a:latin typeface="Segoe UI Light"/>
              <a:cs typeface="Segoe UI Light"/>
            </a:endParaRPr>
          </a:p>
        </p:txBody>
      </p:sp>
      <p:sp>
        <p:nvSpPr>
          <p:cNvPr id="5" name="object 5"/>
          <p:cNvSpPr txBox="1"/>
          <p:nvPr/>
        </p:nvSpPr>
        <p:spPr>
          <a:xfrm>
            <a:off x="9023449" y="5149341"/>
            <a:ext cx="1914610" cy="772087"/>
          </a:xfrm>
          <a:prstGeom prst="rect">
            <a:avLst/>
          </a:prstGeom>
        </p:spPr>
        <p:txBody>
          <a:bodyPr wrap="square" lIns="0" tIns="0" rIns="0" bIns="0" rtlCol="0">
            <a:noAutofit/>
          </a:bodyPr>
          <a:lstStyle/>
          <a:p>
            <a:pPr marL="409979" marR="427256" algn="ctr">
              <a:lnSpc>
                <a:spcPts val="2042"/>
              </a:lnSpc>
              <a:spcBef>
                <a:spcPts val="102"/>
              </a:spcBef>
            </a:pPr>
            <a:r>
              <a:rPr sz="2718" b="1" spc="-24" baseline="1354" dirty="0">
                <a:solidFill>
                  <a:srgbClr val="FFFFFF"/>
                </a:solidFill>
                <a:latin typeface="Segoe UI"/>
                <a:cs typeface="Segoe UI"/>
              </a:rPr>
              <a:t>A</a:t>
            </a:r>
            <a:r>
              <a:rPr sz="2718" b="1" baseline="1354" dirty="0">
                <a:solidFill>
                  <a:srgbClr val="FFFFFF"/>
                </a:solidFill>
                <a:latin typeface="Segoe UI"/>
                <a:cs typeface="Segoe UI"/>
              </a:rPr>
              <a:t>PI</a:t>
            </a:r>
            <a:r>
              <a:rPr sz="2718" b="1" spc="10" baseline="1354" dirty="0">
                <a:solidFill>
                  <a:srgbClr val="FFFFFF"/>
                </a:solidFill>
                <a:latin typeface="Segoe UI"/>
                <a:cs typeface="Segoe UI"/>
              </a:rPr>
              <a:t> </a:t>
            </a:r>
            <a:r>
              <a:rPr sz="2718" b="1" spc="-24" baseline="1354" dirty="0">
                <a:solidFill>
                  <a:srgbClr val="FFFFFF"/>
                </a:solidFill>
                <a:latin typeface="Segoe UI"/>
                <a:cs typeface="Segoe UI"/>
              </a:rPr>
              <a:t>A</a:t>
            </a:r>
            <a:r>
              <a:rPr sz="2718" b="1" baseline="1354" dirty="0">
                <a:solidFill>
                  <a:srgbClr val="FFFFFF"/>
                </a:solidFill>
                <a:latin typeface="Segoe UI"/>
                <a:cs typeface="Segoe UI"/>
              </a:rPr>
              <a:t>PPS</a:t>
            </a:r>
            <a:endParaRPr sz="1812">
              <a:latin typeface="Segoe UI"/>
              <a:cs typeface="Segoe UI"/>
            </a:endParaRPr>
          </a:p>
          <a:p>
            <a:pPr algn="ctr">
              <a:lnSpc>
                <a:spcPts val="1881"/>
              </a:lnSpc>
              <a:spcBef>
                <a:spcPts val="648"/>
              </a:spcBef>
            </a:pPr>
            <a:r>
              <a:rPr sz="2131" baseline="-1728" dirty="0">
                <a:solidFill>
                  <a:srgbClr val="FFFFFF"/>
                </a:solidFill>
                <a:latin typeface="Segoe UI Light"/>
                <a:cs typeface="Segoe UI Light"/>
              </a:rPr>
              <a:t>E</a:t>
            </a:r>
            <a:r>
              <a:rPr sz="2131" spc="4" baseline="-1728" dirty="0">
                <a:solidFill>
                  <a:srgbClr val="FFFFFF"/>
                </a:solidFill>
                <a:latin typeface="Segoe UI Light"/>
                <a:cs typeface="Segoe UI Light"/>
              </a:rPr>
              <a:t>a</a:t>
            </a:r>
            <a:r>
              <a:rPr sz="2131" spc="14" baseline="-1728" dirty="0">
                <a:solidFill>
                  <a:srgbClr val="FFFFFF"/>
                </a:solidFill>
                <a:latin typeface="Segoe UI Light"/>
                <a:cs typeface="Segoe UI Light"/>
              </a:rPr>
              <a:t>s</a:t>
            </a:r>
            <a:r>
              <a:rPr sz="2131" spc="-4" baseline="-1728" dirty="0">
                <a:solidFill>
                  <a:srgbClr val="FFFFFF"/>
                </a:solidFill>
                <a:latin typeface="Segoe UI Light"/>
                <a:cs typeface="Segoe UI Light"/>
              </a:rPr>
              <a:t>il</a:t>
            </a:r>
            <a:r>
              <a:rPr sz="2131" baseline="-1728" dirty="0">
                <a:solidFill>
                  <a:srgbClr val="FFFFFF"/>
                </a:solidFill>
                <a:latin typeface="Segoe UI Light"/>
                <a:cs typeface="Segoe UI Light"/>
              </a:rPr>
              <a:t>y</a:t>
            </a:r>
            <a:r>
              <a:rPr sz="2131" spc="-71" baseline="-1728" dirty="0">
                <a:solidFill>
                  <a:srgbClr val="FFFFFF"/>
                </a:solidFill>
                <a:latin typeface="Segoe UI Light"/>
                <a:cs typeface="Segoe UI Light"/>
              </a:rPr>
              <a:t> </a:t>
            </a:r>
            <a:r>
              <a:rPr sz="2131" spc="-14" baseline="-1728" dirty="0">
                <a:solidFill>
                  <a:srgbClr val="FFFFFF"/>
                </a:solidFill>
                <a:latin typeface="Segoe UI Light"/>
                <a:cs typeface="Segoe UI Light"/>
              </a:rPr>
              <a:t>b</a:t>
            </a:r>
            <a:r>
              <a:rPr sz="2131" spc="19" baseline="-1728" dirty="0">
                <a:solidFill>
                  <a:srgbClr val="FFFFFF"/>
                </a:solidFill>
                <a:latin typeface="Segoe UI Light"/>
                <a:cs typeface="Segoe UI Light"/>
              </a:rPr>
              <a:t>u</a:t>
            </a:r>
            <a:r>
              <a:rPr sz="2131" spc="-4" baseline="-1728" dirty="0">
                <a:solidFill>
                  <a:srgbClr val="FFFFFF"/>
                </a:solidFill>
                <a:latin typeface="Segoe UI Light"/>
                <a:cs typeface="Segoe UI Light"/>
              </a:rPr>
              <a:t>il</a:t>
            </a:r>
            <a:r>
              <a:rPr sz="2131" baseline="-1728" dirty="0">
                <a:solidFill>
                  <a:srgbClr val="FFFFFF"/>
                </a:solidFill>
                <a:latin typeface="Segoe UI Light"/>
                <a:cs typeface="Segoe UI Light"/>
              </a:rPr>
              <a:t>d</a:t>
            </a:r>
            <a:r>
              <a:rPr sz="2131" spc="-77" baseline="-1728" dirty="0">
                <a:solidFill>
                  <a:srgbClr val="FFFFFF"/>
                </a:solidFill>
                <a:latin typeface="Segoe UI Light"/>
                <a:cs typeface="Segoe UI Light"/>
              </a:rPr>
              <a:t> </a:t>
            </a:r>
            <a:r>
              <a:rPr sz="2131" spc="4" baseline="-1728" dirty="0">
                <a:solidFill>
                  <a:srgbClr val="FFFFFF"/>
                </a:solidFill>
                <a:latin typeface="Segoe UI Light"/>
                <a:cs typeface="Segoe UI Light"/>
              </a:rPr>
              <a:t>a</a:t>
            </a:r>
            <a:r>
              <a:rPr sz="2131" spc="19" baseline="-1728" dirty="0">
                <a:solidFill>
                  <a:srgbClr val="FFFFFF"/>
                </a:solidFill>
                <a:latin typeface="Segoe UI Light"/>
                <a:cs typeface="Segoe UI Light"/>
              </a:rPr>
              <a:t>n</a:t>
            </a:r>
            <a:r>
              <a:rPr sz="2131" baseline="-1728" dirty="0">
                <a:solidFill>
                  <a:srgbClr val="FFFFFF"/>
                </a:solidFill>
                <a:latin typeface="Segoe UI Light"/>
                <a:cs typeface="Segoe UI Light"/>
              </a:rPr>
              <a:t>d</a:t>
            </a:r>
            <a:r>
              <a:rPr sz="2131" spc="-71" baseline="-1728" dirty="0">
                <a:solidFill>
                  <a:srgbClr val="FFFFFF"/>
                </a:solidFill>
                <a:latin typeface="Segoe UI Light"/>
                <a:cs typeface="Segoe UI Light"/>
              </a:rPr>
              <a:t> </a:t>
            </a:r>
            <a:r>
              <a:rPr sz="2131" spc="4" baseline="-1728" dirty="0">
                <a:solidFill>
                  <a:srgbClr val="FFFFFF"/>
                </a:solidFill>
                <a:latin typeface="Segoe UI Light"/>
                <a:cs typeface="Segoe UI Light"/>
              </a:rPr>
              <a:t>c</a:t>
            </a:r>
            <a:r>
              <a:rPr sz="2131" spc="-14" baseline="-1728" dirty="0">
                <a:solidFill>
                  <a:srgbClr val="FFFFFF"/>
                </a:solidFill>
                <a:latin typeface="Segoe UI Light"/>
                <a:cs typeface="Segoe UI Light"/>
              </a:rPr>
              <a:t>o</a:t>
            </a:r>
            <a:r>
              <a:rPr sz="2131" spc="19" baseline="-1728" dirty="0">
                <a:solidFill>
                  <a:srgbClr val="FFFFFF"/>
                </a:solidFill>
                <a:latin typeface="Segoe UI Light"/>
                <a:cs typeface="Segoe UI Light"/>
              </a:rPr>
              <a:t>n</a:t>
            </a:r>
            <a:r>
              <a:rPr sz="2131" spc="14" baseline="-1728" dirty="0">
                <a:solidFill>
                  <a:srgbClr val="FFFFFF"/>
                </a:solidFill>
                <a:latin typeface="Segoe UI Light"/>
                <a:cs typeface="Segoe UI Light"/>
              </a:rPr>
              <a:t>s</a:t>
            </a:r>
            <a:r>
              <a:rPr sz="2131" spc="19" baseline="-1728" dirty="0">
                <a:solidFill>
                  <a:srgbClr val="FFFFFF"/>
                </a:solidFill>
                <a:latin typeface="Segoe UI Light"/>
                <a:cs typeface="Segoe UI Light"/>
              </a:rPr>
              <a:t>u</a:t>
            </a:r>
            <a:r>
              <a:rPr sz="2131" spc="-33" baseline="-1728" dirty="0">
                <a:solidFill>
                  <a:srgbClr val="FFFFFF"/>
                </a:solidFill>
                <a:latin typeface="Segoe UI Light"/>
                <a:cs typeface="Segoe UI Light"/>
              </a:rPr>
              <a:t>m</a:t>
            </a:r>
            <a:r>
              <a:rPr sz="2131" baseline="-1728" dirty="0">
                <a:solidFill>
                  <a:srgbClr val="FFFFFF"/>
                </a:solidFill>
                <a:latin typeface="Segoe UI Light"/>
                <a:cs typeface="Segoe UI Light"/>
              </a:rPr>
              <a:t>e</a:t>
            </a:r>
            <a:endParaRPr sz="1420">
              <a:latin typeface="Segoe UI Light"/>
              <a:cs typeface="Segoe UI Light"/>
            </a:endParaRPr>
          </a:p>
          <a:p>
            <a:pPr marL="300300" marR="316521" algn="ctr">
              <a:lnSpc>
                <a:spcPts val="1494"/>
              </a:lnSpc>
            </a:pPr>
            <a:r>
              <a:rPr sz="2131" spc="28" baseline="1728" dirty="0">
                <a:solidFill>
                  <a:srgbClr val="FFFFFF"/>
                </a:solidFill>
                <a:latin typeface="Segoe UI Light"/>
                <a:cs typeface="Segoe UI Light"/>
              </a:rPr>
              <a:t>A</a:t>
            </a:r>
            <a:r>
              <a:rPr sz="2131" spc="4" baseline="1728" dirty="0">
                <a:solidFill>
                  <a:srgbClr val="FFFFFF"/>
                </a:solidFill>
                <a:latin typeface="Segoe UI Light"/>
                <a:cs typeface="Segoe UI Light"/>
              </a:rPr>
              <a:t>P</a:t>
            </a:r>
            <a:r>
              <a:rPr sz="2131" spc="28" baseline="1728" dirty="0">
                <a:solidFill>
                  <a:srgbClr val="FFFFFF"/>
                </a:solidFill>
                <a:latin typeface="Segoe UI Light"/>
                <a:cs typeface="Segoe UI Light"/>
              </a:rPr>
              <a:t>I</a:t>
            </a:r>
            <a:r>
              <a:rPr sz="2131" baseline="1728" dirty="0">
                <a:solidFill>
                  <a:srgbClr val="FFFFFF"/>
                </a:solidFill>
                <a:latin typeface="Segoe UI Light"/>
                <a:cs typeface="Segoe UI Light"/>
              </a:rPr>
              <a:t>s</a:t>
            </a:r>
            <a:r>
              <a:rPr sz="2131" spc="-118" baseline="1728" dirty="0">
                <a:solidFill>
                  <a:srgbClr val="FFFFFF"/>
                </a:solidFill>
                <a:latin typeface="Segoe UI Light"/>
                <a:cs typeface="Segoe UI Light"/>
              </a:rPr>
              <a:t> </a:t>
            </a:r>
            <a:r>
              <a:rPr sz="2131" spc="-4" baseline="1728" dirty="0">
                <a:solidFill>
                  <a:srgbClr val="FFFFFF"/>
                </a:solidFill>
                <a:latin typeface="Segoe UI Light"/>
                <a:cs typeface="Segoe UI Light"/>
              </a:rPr>
              <a:t>i</a:t>
            </a:r>
            <a:r>
              <a:rPr sz="2131" baseline="1728" dirty="0">
                <a:solidFill>
                  <a:srgbClr val="FFFFFF"/>
                </a:solidFill>
                <a:latin typeface="Segoe UI Light"/>
                <a:cs typeface="Segoe UI Light"/>
              </a:rPr>
              <a:t>n</a:t>
            </a:r>
            <a:r>
              <a:rPr sz="2131" spc="-24" baseline="1728" dirty="0">
                <a:solidFill>
                  <a:srgbClr val="FFFFFF"/>
                </a:solidFill>
                <a:latin typeface="Segoe UI Light"/>
                <a:cs typeface="Segoe UI Light"/>
              </a:rPr>
              <a:t> </a:t>
            </a:r>
            <a:r>
              <a:rPr sz="2131" baseline="1728" dirty="0">
                <a:solidFill>
                  <a:srgbClr val="FFFFFF"/>
                </a:solidFill>
                <a:latin typeface="Segoe UI Light"/>
                <a:cs typeface="Segoe UI Light"/>
              </a:rPr>
              <a:t>t</a:t>
            </a:r>
            <a:r>
              <a:rPr sz="2131" spc="24" baseline="1728" dirty="0">
                <a:solidFill>
                  <a:srgbClr val="FFFFFF"/>
                </a:solidFill>
                <a:latin typeface="Segoe UI Light"/>
                <a:cs typeface="Segoe UI Light"/>
              </a:rPr>
              <a:t>h</a:t>
            </a:r>
            <a:r>
              <a:rPr sz="2131" baseline="1728" dirty="0">
                <a:solidFill>
                  <a:srgbClr val="FFFFFF"/>
                </a:solidFill>
                <a:latin typeface="Segoe UI Light"/>
                <a:cs typeface="Segoe UI Light"/>
              </a:rPr>
              <a:t>e</a:t>
            </a:r>
            <a:r>
              <a:rPr sz="2131" spc="-63" baseline="1728" dirty="0">
                <a:solidFill>
                  <a:srgbClr val="FFFFFF"/>
                </a:solidFill>
                <a:latin typeface="Segoe UI Light"/>
                <a:cs typeface="Segoe UI Light"/>
              </a:rPr>
              <a:t> </a:t>
            </a:r>
            <a:r>
              <a:rPr sz="2131" spc="4" baseline="1728" dirty="0">
                <a:solidFill>
                  <a:srgbClr val="FFFFFF"/>
                </a:solidFill>
                <a:latin typeface="Segoe UI Light"/>
                <a:cs typeface="Segoe UI Light"/>
              </a:rPr>
              <a:t>c</a:t>
            </a:r>
            <a:r>
              <a:rPr sz="2131" spc="-4" baseline="1728" dirty="0">
                <a:solidFill>
                  <a:srgbClr val="FFFFFF"/>
                </a:solidFill>
                <a:latin typeface="Segoe UI Light"/>
                <a:cs typeface="Segoe UI Light"/>
              </a:rPr>
              <a:t>l</a:t>
            </a:r>
            <a:r>
              <a:rPr sz="2131" spc="-14" baseline="1728" dirty="0">
                <a:solidFill>
                  <a:srgbClr val="FFFFFF"/>
                </a:solidFill>
                <a:latin typeface="Segoe UI Light"/>
                <a:cs typeface="Segoe UI Light"/>
              </a:rPr>
              <a:t>o</a:t>
            </a:r>
            <a:r>
              <a:rPr sz="2131" spc="19" baseline="1728" dirty="0">
                <a:solidFill>
                  <a:srgbClr val="FFFFFF"/>
                </a:solidFill>
                <a:latin typeface="Segoe UI Light"/>
                <a:cs typeface="Segoe UI Light"/>
              </a:rPr>
              <a:t>u</a:t>
            </a:r>
            <a:r>
              <a:rPr sz="2131" baseline="1728" dirty="0">
                <a:solidFill>
                  <a:srgbClr val="FFFFFF"/>
                </a:solidFill>
                <a:latin typeface="Segoe UI Light"/>
                <a:cs typeface="Segoe UI Light"/>
              </a:rPr>
              <a:t>d</a:t>
            </a:r>
            <a:endParaRPr sz="1420">
              <a:latin typeface="Segoe UI Light"/>
              <a:cs typeface="Segoe UI Light"/>
            </a:endParaRPr>
          </a:p>
        </p:txBody>
      </p:sp>
      <p:sp>
        <p:nvSpPr>
          <p:cNvPr id="4" name="object 4"/>
          <p:cNvSpPr txBox="1"/>
          <p:nvPr/>
        </p:nvSpPr>
        <p:spPr>
          <a:xfrm>
            <a:off x="5995851" y="5157678"/>
            <a:ext cx="2204760" cy="772352"/>
          </a:xfrm>
          <a:prstGeom prst="rect">
            <a:avLst/>
          </a:prstGeom>
        </p:spPr>
        <p:txBody>
          <a:bodyPr wrap="square" lIns="0" tIns="0" rIns="0" bIns="0" rtlCol="0">
            <a:noAutofit/>
          </a:bodyPr>
          <a:lstStyle/>
          <a:p>
            <a:pPr marL="409606" marR="412788" algn="ctr">
              <a:lnSpc>
                <a:spcPts val="2042"/>
              </a:lnSpc>
              <a:spcBef>
                <a:spcPts val="102"/>
              </a:spcBef>
            </a:pPr>
            <a:r>
              <a:rPr sz="2718" b="1" spc="-24" baseline="1354" dirty="0">
                <a:solidFill>
                  <a:srgbClr val="FFFFFF"/>
                </a:solidFill>
                <a:latin typeface="Segoe UI"/>
                <a:cs typeface="Segoe UI"/>
              </a:rPr>
              <a:t>L</a:t>
            </a:r>
            <a:r>
              <a:rPr sz="2718" b="1" spc="19" baseline="1354" dirty="0">
                <a:solidFill>
                  <a:srgbClr val="FFFFFF"/>
                </a:solidFill>
                <a:latin typeface="Segoe UI"/>
                <a:cs typeface="Segoe UI"/>
              </a:rPr>
              <a:t>O</a:t>
            </a:r>
            <a:r>
              <a:rPr sz="2718" b="1" spc="-33" baseline="1354" dirty="0">
                <a:solidFill>
                  <a:srgbClr val="FFFFFF"/>
                </a:solidFill>
                <a:latin typeface="Segoe UI"/>
                <a:cs typeface="Segoe UI"/>
              </a:rPr>
              <a:t>G</a:t>
            </a:r>
            <a:r>
              <a:rPr sz="2718" b="1" spc="-19" baseline="1354" dirty="0">
                <a:solidFill>
                  <a:srgbClr val="FFFFFF"/>
                </a:solidFill>
                <a:latin typeface="Segoe UI"/>
                <a:cs typeface="Segoe UI"/>
              </a:rPr>
              <a:t>I</a:t>
            </a:r>
            <a:r>
              <a:rPr sz="2718" b="1" baseline="1354" dirty="0">
                <a:solidFill>
                  <a:srgbClr val="FFFFFF"/>
                </a:solidFill>
                <a:latin typeface="Segoe UI"/>
                <a:cs typeface="Segoe UI"/>
              </a:rPr>
              <a:t>C</a:t>
            </a:r>
            <a:r>
              <a:rPr sz="2718" b="1" spc="101" baseline="1354" dirty="0">
                <a:solidFill>
                  <a:srgbClr val="FFFFFF"/>
                </a:solidFill>
                <a:latin typeface="Segoe UI"/>
                <a:cs typeface="Segoe UI"/>
              </a:rPr>
              <a:t> </a:t>
            </a:r>
            <a:r>
              <a:rPr sz="2718" b="1" spc="-20" baseline="1354" dirty="0">
                <a:solidFill>
                  <a:srgbClr val="FFFFFF"/>
                </a:solidFill>
                <a:latin typeface="Segoe UI"/>
                <a:cs typeface="Segoe UI"/>
              </a:rPr>
              <a:t>A</a:t>
            </a:r>
            <a:r>
              <a:rPr sz="2718" b="1" baseline="1354" dirty="0">
                <a:solidFill>
                  <a:srgbClr val="FFFFFF"/>
                </a:solidFill>
                <a:latin typeface="Segoe UI"/>
                <a:cs typeface="Segoe UI"/>
              </a:rPr>
              <a:t>PPS</a:t>
            </a:r>
            <a:endParaRPr sz="1812">
              <a:latin typeface="Segoe UI"/>
              <a:cs typeface="Segoe UI"/>
            </a:endParaRPr>
          </a:p>
          <a:p>
            <a:pPr marL="53663" marR="69844" algn="ctr">
              <a:lnSpc>
                <a:spcPts val="1881"/>
              </a:lnSpc>
              <a:spcBef>
                <a:spcPts val="649"/>
              </a:spcBef>
            </a:pPr>
            <a:r>
              <a:rPr sz="2131" spc="28" baseline="-1728" dirty="0">
                <a:solidFill>
                  <a:srgbClr val="FFFFFF"/>
                </a:solidFill>
                <a:latin typeface="Segoe UI Light"/>
                <a:cs typeface="Segoe UI Light"/>
              </a:rPr>
              <a:t>A</a:t>
            </a:r>
            <a:r>
              <a:rPr sz="2131" spc="19" baseline="-1728" dirty="0">
                <a:solidFill>
                  <a:srgbClr val="FFFFFF"/>
                </a:solidFill>
                <a:latin typeface="Segoe UI Light"/>
                <a:cs typeface="Segoe UI Light"/>
              </a:rPr>
              <a:t>u</a:t>
            </a:r>
            <a:r>
              <a:rPr sz="2131" baseline="-1728" dirty="0">
                <a:solidFill>
                  <a:srgbClr val="FFFFFF"/>
                </a:solidFill>
                <a:latin typeface="Segoe UI Light"/>
                <a:cs typeface="Segoe UI Light"/>
              </a:rPr>
              <a:t>t</a:t>
            </a:r>
            <a:r>
              <a:rPr sz="2131" spc="-14" baseline="-1728" dirty="0">
                <a:solidFill>
                  <a:srgbClr val="FFFFFF"/>
                </a:solidFill>
                <a:latin typeface="Segoe UI Light"/>
                <a:cs typeface="Segoe UI Light"/>
              </a:rPr>
              <a:t>o</a:t>
            </a:r>
            <a:r>
              <a:rPr sz="2131" spc="-33" baseline="-1728" dirty="0">
                <a:solidFill>
                  <a:srgbClr val="FFFFFF"/>
                </a:solidFill>
                <a:latin typeface="Segoe UI Light"/>
                <a:cs typeface="Segoe UI Light"/>
              </a:rPr>
              <a:t>m</a:t>
            </a:r>
            <a:r>
              <a:rPr sz="2131" spc="4" baseline="-1728" dirty="0">
                <a:solidFill>
                  <a:srgbClr val="FFFFFF"/>
                </a:solidFill>
                <a:latin typeface="Segoe UI Light"/>
                <a:cs typeface="Segoe UI Light"/>
              </a:rPr>
              <a:t>a</a:t>
            </a:r>
            <a:r>
              <a:rPr sz="2131" baseline="-1728" dirty="0">
                <a:solidFill>
                  <a:srgbClr val="FFFFFF"/>
                </a:solidFill>
                <a:latin typeface="Segoe UI Light"/>
                <a:cs typeface="Segoe UI Light"/>
              </a:rPr>
              <a:t>te</a:t>
            </a:r>
            <a:r>
              <a:rPr sz="2131" spc="-97" baseline="-1728" dirty="0">
                <a:solidFill>
                  <a:srgbClr val="FFFFFF"/>
                </a:solidFill>
                <a:latin typeface="Segoe UI Light"/>
                <a:cs typeface="Segoe UI Light"/>
              </a:rPr>
              <a:t> </a:t>
            </a:r>
            <a:r>
              <a:rPr sz="2131" spc="-14" baseline="-1728" dirty="0">
                <a:solidFill>
                  <a:srgbClr val="FFFFFF"/>
                </a:solidFill>
                <a:latin typeface="Segoe UI Light"/>
                <a:cs typeface="Segoe UI Light"/>
              </a:rPr>
              <a:t>b</a:t>
            </a:r>
            <a:r>
              <a:rPr sz="2131" spc="19" baseline="-1728" dirty="0">
                <a:solidFill>
                  <a:srgbClr val="FFFFFF"/>
                </a:solidFill>
                <a:latin typeface="Segoe UI Light"/>
                <a:cs typeface="Segoe UI Light"/>
              </a:rPr>
              <a:t>u</a:t>
            </a:r>
            <a:r>
              <a:rPr sz="2131" spc="14" baseline="-1728" dirty="0">
                <a:solidFill>
                  <a:srgbClr val="FFFFFF"/>
                </a:solidFill>
                <a:latin typeface="Segoe UI Light"/>
                <a:cs typeface="Segoe UI Light"/>
              </a:rPr>
              <a:t>s</a:t>
            </a:r>
            <a:r>
              <a:rPr sz="2131" spc="-4" baseline="-1728" dirty="0">
                <a:solidFill>
                  <a:srgbClr val="FFFFFF"/>
                </a:solidFill>
                <a:latin typeface="Segoe UI Light"/>
                <a:cs typeface="Segoe UI Light"/>
              </a:rPr>
              <a:t>i</a:t>
            </a:r>
            <a:r>
              <a:rPr sz="2131" spc="19" baseline="-1728" dirty="0">
                <a:solidFill>
                  <a:srgbClr val="FFFFFF"/>
                </a:solidFill>
                <a:latin typeface="Segoe UI Light"/>
                <a:cs typeface="Segoe UI Light"/>
              </a:rPr>
              <a:t>n</a:t>
            </a:r>
            <a:r>
              <a:rPr sz="2131" spc="-9" baseline="-1728" dirty="0">
                <a:solidFill>
                  <a:srgbClr val="FFFFFF"/>
                </a:solidFill>
                <a:latin typeface="Segoe UI Light"/>
                <a:cs typeface="Segoe UI Light"/>
              </a:rPr>
              <a:t>e</a:t>
            </a:r>
            <a:r>
              <a:rPr sz="2131" spc="14" baseline="-1728" dirty="0">
                <a:solidFill>
                  <a:srgbClr val="FFFFFF"/>
                </a:solidFill>
                <a:latin typeface="Segoe UI Light"/>
                <a:cs typeface="Segoe UI Light"/>
              </a:rPr>
              <a:t>s</a:t>
            </a:r>
            <a:r>
              <a:rPr sz="2131" baseline="-1728" dirty="0">
                <a:solidFill>
                  <a:srgbClr val="FFFFFF"/>
                </a:solidFill>
                <a:latin typeface="Segoe UI Light"/>
                <a:cs typeface="Segoe UI Light"/>
              </a:rPr>
              <a:t>s</a:t>
            </a:r>
            <a:r>
              <a:rPr sz="2131" spc="-161" baseline="-1728" dirty="0">
                <a:solidFill>
                  <a:srgbClr val="FFFFFF"/>
                </a:solidFill>
                <a:latin typeface="Segoe UI Light"/>
                <a:cs typeface="Segoe UI Light"/>
              </a:rPr>
              <a:t> </a:t>
            </a:r>
            <a:r>
              <a:rPr sz="2131" spc="-14" baseline="-1728" dirty="0">
                <a:solidFill>
                  <a:srgbClr val="FFFFFF"/>
                </a:solidFill>
                <a:latin typeface="Segoe UI Light"/>
                <a:cs typeface="Segoe UI Light"/>
              </a:rPr>
              <a:t>p</a:t>
            </a:r>
            <a:r>
              <a:rPr sz="2131" spc="24" baseline="-1728" dirty="0">
                <a:solidFill>
                  <a:srgbClr val="FFFFFF"/>
                </a:solidFill>
                <a:latin typeface="Segoe UI Light"/>
                <a:cs typeface="Segoe UI Light"/>
              </a:rPr>
              <a:t>r</a:t>
            </a:r>
            <a:r>
              <a:rPr sz="2131" spc="-14" baseline="-1728" dirty="0">
                <a:solidFill>
                  <a:srgbClr val="FFFFFF"/>
                </a:solidFill>
                <a:latin typeface="Segoe UI Light"/>
                <a:cs typeface="Segoe UI Light"/>
              </a:rPr>
              <a:t>o</a:t>
            </a:r>
            <a:r>
              <a:rPr sz="2131" spc="4" baseline="-1728" dirty="0">
                <a:solidFill>
                  <a:srgbClr val="FFFFFF"/>
                </a:solidFill>
                <a:latin typeface="Segoe UI Light"/>
                <a:cs typeface="Segoe UI Light"/>
              </a:rPr>
              <a:t>c</a:t>
            </a:r>
            <a:r>
              <a:rPr sz="2131" spc="-9" baseline="-1728" dirty="0">
                <a:solidFill>
                  <a:srgbClr val="FFFFFF"/>
                </a:solidFill>
                <a:latin typeface="Segoe UI Light"/>
                <a:cs typeface="Segoe UI Light"/>
              </a:rPr>
              <a:t>e</a:t>
            </a:r>
            <a:r>
              <a:rPr sz="2131" spc="14" baseline="-1728" dirty="0">
                <a:solidFill>
                  <a:srgbClr val="FFFFFF"/>
                </a:solidFill>
                <a:latin typeface="Segoe UI Light"/>
                <a:cs typeface="Segoe UI Light"/>
              </a:rPr>
              <a:t>s</a:t>
            </a:r>
            <a:r>
              <a:rPr sz="2131" baseline="-1728" dirty="0">
                <a:solidFill>
                  <a:srgbClr val="FFFFFF"/>
                </a:solidFill>
                <a:latin typeface="Segoe UI Light"/>
                <a:cs typeface="Segoe UI Light"/>
              </a:rPr>
              <a:t>s</a:t>
            </a:r>
            <a:endParaRPr sz="1420">
              <a:latin typeface="Segoe UI Light"/>
              <a:cs typeface="Segoe UI Light"/>
            </a:endParaRPr>
          </a:p>
          <a:p>
            <a:pPr algn="ctr">
              <a:lnSpc>
                <a:spcPts val="1494"/>
              </a:lnSpc>
            </a:pPr>
            <a:r>
              <a:rPr sz="2131" spc="4" baseline="1728" dirty="0">
                <a:solidFill>
                  <a:srgbClr val="FFFFFF"/>
                </a:solidFill>
                <a:latin typeface="Segoe UI Light"/>
                <a:cs typeface="Segoe UI Light"/>
              </a:rPr>
              <a:t>ac</a:t>
            </a:r>
            <a:r>
              <a:rPr sz="2131" spc="24" baseline="1728" dirty="0">
                <a:solidFill>
                  <a:srgbClr val="FFFFFF"/>
                </a:solidFill>
                <a:latin typeface="Segoe UI Light"/>
                <a:cs typeface="Segoe UI Light"/>
              </a:rPr>
              <a:t>r</a:t>
            </a:r>
            <a:r>
              <a:rPr sz="2131" spc="-14" baseline="1728" dirty="0">
                <a:solidFill>
                  <a:srgbClr val="FFFFFF"/>
                </a:solidFill>
                <a:latin typeface="Segoe UI Light"/>
                <a:cs typeface="Segoe UI Light"/>
              </a:rPr>
              <a:t>o</a:t>
            </a:r>
            <a:r>
              <a:rPr sz="2131" spc="14" baseline="1728" dirty="0">
                <a:solidFill>
                  <a:srgbClr val="FFFFFF"/>
                </a:solidFill>
                <a:latin typeface="Segoe UI Light"/>
                <a:cs typeface="Segoe UI Light"/>
              </a:rPr>
              <a:t>s</a:t>
            </a:r>
            <a:r>
              <a:rPr sz="2131" baseline="1728" dirty="0">
                <a:solidFill>
                  <a:srgbClr val="FFFFFF"/>
                </a:solidFill>
                <a:latin typeface="Segoe UI Light"/>
                <a:cs typeface="Segoe UI Light"/>
              </a:rPr>
              <a:t>s</a:t>
            </a:r>
            <a:r>
              <a:rPr sz="2131" spc="-124" baseline="1728" dirty="0">
                <a:solidFill>
                  <a:srgbClr val="FFFFFF"/>
                </a:solidFill>
                <a:latin typeface="Segoe UI Light"/>
                <a:cs typeface="Segoe UI Light"/>
              </a:rPr>
              <a:t> </a:t>
            </a:r>
            <a:r>
              <a:rPr sz="2131" baseline="1728" dirty="0">
                <a:solidFill>
                  <a:srgbClr val="FFFFFF"/>
                </a:solidFill>
                <a:latin typeface="Segoe UI Light"/>
                <a:cs typeface="Segoe UI Light"/>
              </a:rPr>
              <a:t>S</a:t>
            </a:r>
            <a:r>
              <a:rPr sz="2131" spc="9" baseline="1728" dirty="0">
                <a:solidFill>
                  <a:srgbClr val="FFFFFF"/>
                </a:solidFill>
                <a:latin typeface="Segoe UI Light"/>
                <a:cs typeface="Segoe UI Light"/>
              </a:rPr>
              <a:t>a</a:t>
            </a:r>
            <a:r>
              <a:rPr sz="2131" spc="4" baseline="1728" dirty="0">
                <a:solidFill>
                  <a:srgbClr val="FFFFFF"/>
                </a:solidFill>
                <a:latin typeface="Segoe UI Light"/>
                <a:cs typeface="Segoe UI Light"/>
              </a:rPr>
              <a:t>a</a:t>
            </a:r>
            <a:r>
              <a:rPr sz="2131" baseline="1728" dirty="0">
                <a:solidFill>
                  <a:srgbClr val="FFFFFF"/>
                </a:solidFill>
                <a:latin typeface="Segoe UI Light"/>
                <a:cs typeface="Segoe UI Light"/>
              </a:rPr>
              <a:t>S</a:t>
            </a:r>
            <a:r>
              <a:rPr sz="2131" spc="-57" baseline="1728" dirty="0">
                <a:solidFill>
                  <a:srgbClr val="FFFFFF"/>
                </a:solidFill>
                <a:latin typeface="Segoe UI Light"/>
                <a:cs typeface="Segoe UI Light"/>
              </a:rPr>
              <a:t> </a:t>
            </a:r>
            <a:r>
              <a:rPr sz="2131" spc="4" baseline="1728" dirty="0">
                <a:solidFill>
                  <a:srgbClr val="FFFFFF"/>
                </a:solidFill>
                <a:latin typeface="Segoe UI Light"/>
                <a:cs typeface="Segoe UI Light"/>
              </a:rPr>
              <a:t>a</a:t>
            </a:r>
            <a:r>
              <a:rPr sz="2131" spc="19" baseline="1728" dirty="0">
                <a:solidFill>
                  <a:srgbClr val="FFFFFF"/>
                </a:solidFill>
                <a:latin typeface="Segoe UI Light"/>
                <a:cs typeface="Segoe UI Light"/>
              </a:rPr>
              <a:t>n</a:t>
            </a:r>
            <a:r>
              <a:rPr sz="2131" baseline="1728" dirty="0">
                <a:solidFill>
                  <a:srgbClr val="FFFFFF"/>
                </a:solidFill>
                <a:latin typeface="Segoe UI Light"/>
                <a:cs typeface="Segoe UI Light"/>
              </a:rPr>
              <a:t>d</a:t>
            </a:r>
            <a:r>
              <a:rPr sz="2131" spc="-139" baseline="1728" dirty="0">
                <a:solidFill>
                  <a:srgbClr val="FFFFFF"/>
                </a:solidFill>
                <a:latin typeface="Segoe UI Light"/>
                <a:cs typeface="Segoe UI Light"/>
              </a:rPr>
              <a:t> </a:t>
            </a:r>
            <a:r>
              <a:rPr sz="2131" spc="-14" baseline="1728" dirty="0">
                <a:solidFill>
                  <a:srgbClr val="FFFFFF"/>
                </a:solidFill>
                <a:latin typeface="Segoe UI Light"/>
                <a:cs typeface="Segoe UI Light"/>
              </a:rPr>
              <a:t>o</a:t>
            </a:r>
            <a:r>
              <a:rPr sz="2131" spc="38" baseline="1728" dirty="0">
                <a:solidFill>
                  <a:srgbClr val="FFFFFF"/>
                </a:solidFill>
                <a:latin typeface="Segoe UI Light"/>
                <a:cs typeface="Segoe UI Light"/>
              </a:rPr>
              <a:t>n</a:t>
            </a:r>
            <a:r>
              <a:rPr sz="2131" spc="4" baseline="1728" dirty="0">
                <a:solidFill>
                  <a:srgbClr val="FFFFFF"/>
                </a:solidFill>
                <a:latin typeface="Segoe UI Light"/>
                <a:cs typeface="Segoe UI Light"/>
              </a:rPr>
              <a:t>-</a:t>
            </a:r>
            <a:r>
              <a:rPr sz="2131" spc="-14" baseline="1728" dirty="0">
                <a:solidFill>
                  <a:srgbClr val="FFFFFF"/>
                </a:solidFill>
                <a:latin typeface="Segoe UI Light"/>
                <a:cs typeface="Segoe UI Light"/>
              </a:rPr>
              <a:t>p</a:t>
            </a:r>
            <a:r>
              <a:rPr sz="2131" spc="24" baseline="1728" dirty="0">
                <a:solidFill>
                  <a:srgbClr val="FFFFFF"/>
                </a:solidFill>
                <a:latin typeface="Segoe UI Light"/>
                <a:cs typeface="Segoe UI Light"/>
              </a:rPr>
              <a:t>r</a:t>
            </a:r>
            <a:r>
              <a:rPr sz="2131" spc="-4" baseline="1728" dirty="0">
                <a:solidFill>
                  <a:srgbClr val="FFFFFF"/>
                </a:solidFill>
                <a:latin typeface="Segoe UI Light"/>
                <a:cs typeface="Segoe UI Light"/>
              </a:rPr>
              <a:t>e</a:t>
            </a:r>
            <a:r>
              <a:rPr sz="2131" spc="-28" baseline="1728" dirty="0">
                <a:solidFill>
                  <a:srgbClr val="FFFFFF"/>
                </a:solidFill>
                <a:latin typeface="Segoe UI Light"/>
                <a:cs typeface="Segoe UI Light"/>
              </a:rPr>
              <a:t>m</a:t>
            </a:r>
            <a:r>
              <a:rPr sz="2131" spc="-4" baseline="1728" dirty="0">
                <a:solidFill>
                  <a:srgbClr val="FFFFFF"/>
                </a:solidFill>
                <a:latin typeface="Segoe UI Light"/>
                <a:cs typeface="Segoe UI Light"/>
              </a:rPr>
              <a:t>i</a:t>
            </a:r>
            <a:r>
              <a:rPr sz="2131" spc="14" baseline="1728" dirty="0">
                <a:solidFill>
                  <a:srgbClr val="FFFFFF"/>
                </a:solidFill>
                <a:latin typeface="Segoe UI Light"/>
                <a:cs typeface="Segoe UI Light"/>
              </a:rPr>
              <a:t>s</a:t>
            </a:r>
            <a:r>
              <a:rPr sz="2131" spc="-4" baseline="1728" dirty="0">
                <a:solidFill>
                  <a:srgbClr val="FFFFFF"/>
                </a:solidFill>
                <a:latin typeface="Segoe UI Light"/>
                <a:cs typeface="Segoe UI Light"/>
              </a:rPr>
              <a:t>e</a:t>
            </a:r>
            <a:r>
              <a:rPr sz="2131" baseline="1728" dirty="0">
                <a:solidFill>
                  <a:srgbClr val="FFFFFF"/>
                </a:solidFill>
                <a:latin typeface="Segoe UI Light"/>
                <a:cs typeface="Segoe UI Light"/>
              </a:rPr>
              <a:t>s</a:t>
            </a:r>
            <a:endParaRPr sz="1420">
              <a:latin typeface="Segoe UI Light"/>
              <a:cs typeface="Segoe UI Light"/>
            </a:endParaRPr>
          </a:p>
        </p:txBody>
      </p:sp>
      <p:sp>
        <p:nvSpPr>
          <p:cNvPr id="3" name="object 3"/>
          <p:cNvSpPr txBox="1"/>
          <p:nvPr/>
        </p:nvSpPr>
        <p:spPr>
          <a:xfrm>
            <a:off x="4828032" y="3727829"/>
            <a:ext cx="447869" cy="89573"/>
          </a:xfrm>
          <a:prstGeom prst="rect">
            <a:avLst/>
          </a:prstGeom>
        </p:spPr>
        <p:txBody>
          <a:bodyPr wrap="square" lIns="0" tIns="0" rIns="0" bIns="0" rtlCol="0">
            <a:noAutofit/>
          </a:bodyPr>
          <a:lstStyle/>
          <a:p>
            <a:pPr marL="24882">
              <a:lnSpc>
                <a:spcPts val="686"/>
              </a:lnSpc>
              <a:spcBef>
                <a:spcPts val="19"/>
              </a:spcBef>
            </a:pPr>
            <a:endParaRPr sz="686"/>
          </a:p>
        </p:txBody>
      </p:sp>
      <p:sp>
        <p:nvSpPr>
          <p:cNvPr id="2" name="object 2"/>
          <p:cNvSpPr txBox="1"/>
          <p:nvPr/>
        </p:nvSpPr>
        <p:spPr>
          <a:xfrm>
            <a:off x="4828032" y="3548680"/>
            <a:ext cx="447869" cy="80616"/>
          </a:xfrm>
          <a:prstGeom prst="rect">
            <a:avLst/>
          </a:prstGeom>
        </p:spPr>
        <p:txBody>
          <a:bodyPr wrap="square" lIns="0" tIns="0" rIns="0" bIns="0" rtlCol="0">
            <a:noAutofit/>
          </a:bodyPr>
          <a:lstStyle/>
          <a:p>
            <a:pPr marL="24882">
              <a:lnSpc>
                <a:spcPts val="588"/>
              </a:lnSpc>
              <a:spcBef>
                <a:spcPts val="47"/>
              </a:spcBef>
            </a:pPr>
            <a:endParaRPr sz="588"/>
          </a:p>
        </p:txBody>
      </p:sp>
    </p:spTree>
    <p:extLst>
      <p:ext uri="{BB962C8B-B14F-4D97-AF65-F5344CB8AC3E}">
        <p14:creationId xmlns:p14="http://schemas.microsoft.com/office/powerpoint/2010/main" val="321615296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object 199"/>
          <p:cNvSpPr txBox="1"/>
          <p:nvPr/>
        </p:nvSpPr>
        <p:spPr>
          <a:xfrm>
            <a:off x="214977" y="4265272"/>
            <a:ext cx="11752093" cy="2337878"/>
          </a:xfrm>
          <a:prstGeom prst="rect">
            <a:avLst/>
          </a:prstGeom>
        </p:spPr>
        <p:txBody>
          <a:bodyPr wrap="square" lIns="0" tIns="0" rIns="0" bIns="0" rtlCol="0">
            <a:noAutofit/>
          </a:bodyPr>
          <a:lstStyle/>
          <a:p>
            <a:pPr>
              <a:lnSpc>
                <a:spcPts val="882"/>
              </a:lnSpc>
              <a:spcBef>
                <a:spcPts val="17"/>
              </a:spcBef>
            </a:pPr>
            <a:endParaRPr sz="882"/>
          </a:p>
          <a:p>
            <a:pPr marL="5272863" marR="5401353" algn="ctr">
              <a:lnSpc>
                <a:spcPct val="110839"/>
              </a:lnSpc>
              <a:spcBef>
                <a:spcPts val="3918"/>
              </a:spcBef>
            </a:pPr>
            <a:r>
              <a:rPr sz="1812" b="1" spc="-24" dirty="0">
                <a:solidFill>
                  <a:srgbClr val="FFFFFF"/>
                </a:solidFill>
                <a:latin typeface="Segoe UI"/>
                <a:cs typeface="Segoe UI"/>
              </a:rPr>
              <a:t>A</a:t>
            </a:r>
            <a:r>
              <a:rPr sz="1812" b="1" dirty="0">
                <a:solidFill>
                  <a:srgbClr val="FFFFFF"/>
                </a:solidFill>
                <a:latin typeface="Segoe UI"/>
                <a:cs typeface="Segoe UI"/>
              </a:rPr>
              <a:t>PI</a:t>
            </a:r>
            <a:r>
              <a:rPr sz="1812" b="1" spc="10" dirty="0">
                <a:solidFill>
                  <a:srgbClr val="FFFFFF"/>
                </a:solidFill>
                <a:latin typeface="Segoe UI"/>
                <a:cs typeface="Segoe UI"/>
              </a:rPr>
              <a:t> </a:t>
            </a:r>
            <a:r>
              <a:rPr sz="1812" b="1" spc="-24" dirty="0">
                <a:solidFill>
                  <a:srgbClr val="FFFFFF"/>
                </a:solidFill>
                <a:latin typeface="Segoe UI"/>
                <a:cs typeface="Segoe UI"/>
              </a:rPr>
              <a:t>A</a:t>
            </a:r>
            <a:r>
              <a:rPr sz="1812" b="1" dirty="0">
                <a:solidFill>
                  <a:srgbClr val="FFFFFF"/>
                </a:solidFill>
                <a:latin typeface="Segoe UI"/>
                <a:cs typeface="Segoe UI"/>
              </a:rPr>
              <a:t>PPS</a:t>
            </a:r>
            <a:endParaRPr sz="1812">
              <a:latin typeface="Segoe UI"/>
              <a:cs typeface="Segoe UI"/>
            </a:endParaRPr>
          </a:p>
        </p:txBody>
      </p:sp>
      <p:sp>
        <p:nvSpPr>
          <p:cNvPr id="198" name="object 198"/>
          <p:cNvSpPr txBox="1"/>
          <p:nvPr/>
        </p:nvSpPr>
        <p:spPr>
          <a:xfrm>
            <a:off x="214978" y="270276"/>
            <a:ext cx="3915925" cy="3896464"/>
          </a:xfrm>
          <a:prstGeom prst="rect">
            <a:avLst/>
          </a:prstGeom>
        </p:spPr>
        <p:txBody>
          <a:bodyPr wrap="square" lIns="0" tIns="0" rIns="0" bIns="0" rtlCol="0">
            <a:noAutofit/>
          </a:bodyPr>
          <a:lstStyle/>
          <a:p>
            <a:pPr>
              <a:lnSpc>
                <a:spcPts val="637"/>
              </a:lnSpc>
              <a:spcBef>
                <a:spcPts val="44"/>
              </a:spcBef>
            </a:pPr>
            <a:endParaRPr sz="637"/>
          </a:p>
          <a:p>
            <a:pPr algn="r">
              <a:lnSpc>
                <a:spcPct val="110839"/>
              </a:lnSpc>
              <a:spcBef>
                <a:spcPts val="22531"/>
              </a:spcBef>
            </a:pPr>
            <a:r>
              <a:rPr sz="1812" b="1" spc="-9" dirty="0">
                <a:solidFill>
                  <a:srgbClr val="FFFFFF"/>
                </a:solidFill>
                <a:latin typeface="Segoe UI"/>
                <a:cs typeface="Segoe UI"/>
              </a:rPr>
              <a:t>W</a:t>
            </a:r>
            <a:r>
              <a:rPr sz="1812" b="1" spc="9" dirty="0">
                <a:solidFill>
                  <a:srgbClr val="FFFFFF"/>
                </a:solidFill>
                <a:latin typeface="Segoe UI"/>
                <a:cs typeface="Segoe UI"/>
              </a:rPr>
              <a:t>E</a:t>
            </a:r>
            <a:r>
              <a:rPr sz="1812" b="1" dirty="0">
                <a:solidFill>
                  <a:srgbClr val="FFFFFF"/>
                </a:solidFill>
                <a:latin typeface="Segoe UI"/>
                <a:cs typeface="Segoe UI"/>
              </a:rPr>
              <a:t>B</a:t>
            </a:r>
            <a:r>
              <a:rPr sz="1812" b="1" spc="54" dirty="0">
                <a:solidFill>
                  <a:srgbClr val="FFFFFF"/>
                </a:solidFill>
                <a:latin typeface="Segoe UI"/>
                <a:cs typeface="Segoe UI"/>
              </a:rPr>
              <a:t> </a:t>
            </a:r>
            <a:r>
              <a:rPr sz="1812" b="1" spc="-20" dirty="0">
                <a:solidFill>
                  <a:srgbClr val="FFFFFF"/>
                </a:solidFill>
                <a:latin typeface="Segoe UI"/>
                <a:cs typeface="Segoe UI"/>
              </a:rPr>
              <a:t>A</a:t>
            </a:r>
            <a:r>
              <a:rPr sz="1812" b="1" dirty="0">
                <a:solidFill>
                  <a:srgbClr val="FFFFFF"/>
                </a:solidFill>
                <a:latin typeface="Segoe UI"/>
                <a:cs typeface="Segoe UI"/>
              </a:rPr>
              <a:t>P</a:t>
            </a:r>
            <a:endParaRPr sz="1812">
              <a:latin typeface="Segoe UI"/>
              <a:cs typeface="Segoe UI"/>
            </a:endParaRPr>
          </a:p>
        </p:txBody>
      </p:sp>
      <p:sp>
        <p:nvSpPr>
          <p:cNvPr id="197" name="object 197"/>
          <p:cNvSpPr txBox="1"/>
          <p:nvPr/>
        </p:nvSpPr>
        <p:spPr>
          <a:xfrm>
            <a:off x="4130902" y="270276"/>
            <a:ext cx="3904238" cy="3896464"/>
          </a:xfrm>
          <a:prstGeom prst="rect">
            <a:avLst/>
          </a:prstGeom>
        </p:spPr>
        <p:txBody>
          <a:bodyPr wrap="square" lIns="0" tIns="0" rIns="0" bIns="0" rtlCol="0">
            <a:noAutofit/>
          </a:bodyPr>
          <a:lstStyle/>
          <a:p>
            <a:pPr marR="18278">
              <a:lnSpc>
                <a:spcPts val="539"/>
              </a:lnSpc>
              <a:spcBef>
                <a:spcPts val="6"/>
              </a:spcBef>
            </a:pPr>
            <a:endParaRPr sz="539"/>
          </a:p>
          <a:p>
            <a:pPr marL="343616" marR="393390" algn="ctr">
              <a:lnSpc>
                <a:spcPct val="110839"/>
              </a:lnSpc>
            </a:pPr>
            <a:r>
              <a:rPr sz="4800" spc="9" dirty="0">
                <a:solidFill>
                  <a:srgbClr val="FFFFFF"/>
                </a:solidFill>
                <a:latin typeface="Segoe UI Light"/>
                <a:cs typeface="Segoe UI Light"/>
              </a:rPr>
              <a:t>A</a:t>
            </a:r>
            <a:r>
              <a:rPr sz="4800" dirty="0">
                <a:solidFill>
                  <a:srgbClr val="FFFFFF"/>
                </a:solidFill>
                <a:latin typeface="Segoe UI Light"/>
                <a:cs typeface="Segoe UI Light"/>
              </a:rPr>
              <a:t>pp</a:t>
            </a:r>
            <a:r>
              <a:rPr sz="4800" spc="-53" dirty="0">
                <a:solidFill>
                  <a:srgbClr val="FFFFFF"/>
                </a:solidFill>
                <a:latin typeface="Segoe UI Light"/>
                <a:cs typeface="Segoe UI Light"/>
              </a:rPr>
              <a:t> </a:t>
            </a:r>
            <a:r>
              <a:rPr sz="4800" dirty="0">
                <a:solidFill>
                  <a:srgbClr val="FFFFFF"/>
                </a:solidFill>
                <a:latin typeface="Segoe UI Light"/>
                <a:cs typeface="Segoe UI Light"/>
              </a:rPr>
              <a:t>Se</a:t>
            </a:r>
            <a:r>
              <a:rPr sz="4800" spc="234" dirty="0">
                <a:solidFill>
                  <a:srgbClr val="FFFFFF"/>
                </a:solidFill>
                <a:latin typeface="Segoe UI Light"/>
                <a:cs typeface="Segoe UI Light"/>
              </a:rPr>
              <a:t>r</a:t>
            </a:r>
            <a:r>
              <a:rPr sz="4800" dirty="0">
                <a:solidFill>
                  <a:srgbClr val="FFFFFF"/>
                </a:solidFill>
                <a:latin typeface="Segoe UI Light"/>
                <a:cs typeface="Segoe UI Light"/>
              </a:rPr>
              <a:t>v</a:t>
            </a:r>
            <a:r>
              <a:rPr sz="4800" spc="14" dirty="0">
                <a:solidFill>
                  <a:srgbClr val="FFFFFF"/>
                </a:solidFill>
                <a:latin typeface="Segoe UI Light"/>
                <a:cs typeface="Segoe UI Light"/>
              </a:rPr>
              <a:t>i</a:t>
            </a:r>
            <a:r>
              <a:rPr sz="4800" dirty="0">
                <a:solidFill>
                  <a:srgbClr val="FFFFFF"/>
                </a:solidFill>
                <a:latin typeface="Segoe UI Light"/>
                <a:cs typeface="Segoe UI Light"/>
              </a:rPr>
              <a:t>ce</a:t>
            </a:r>
            <a:endParaRPr sz="4800">
              <a:latin typeface="Segoe UI Light"/>
              <a:cs typeface="Segoe UI Light"/>
            </a:endParaRPr>
          </a:p>
          <a:p>
            <a:pPr algn="ctr">
              <a:lnSpc>
                <a:spcPts val="2459"/>
              </a:lnSpc>
              <a:spcBef>
                <a:spcPts val="16284"/>
              </a:spcBef>
            </a:pPr>
            <a:r>
              <a:rPr sz="2718" b="1" baseline="1354" dirty="0">
                <a:solidFill>
                  <a:srgbClr val="FFFFFF"/>
                </a:solidFill>
                <a:latin typeface="Segoe UI"/>
                <a:cs typeface="Segoe UI"/>
              </a:rPr>
              <a:t>S                </a:t>
            </a:r>
            <a:r>
              <a:rPr sz="2718" b="1" spc="206" baseline="1354" dirty="0">
                <a:solidFill>
                  <a:srgbClr val="FFFFFF"/>
                </a:solidFill>
                <a:latin typeface="Segoe UI"/>
                <a:cs typeface="Segoe UI"/>
              </a:rPr>
              <a:t> </a:t>
            </a:r>
            <a:r>
              <a:rPr sz="2718" b="1" spc="-24" baseline="1354" dirty="0">
                <a:solidFill>
                  <a:srgbClr val="FFFFFF"/>
                </a:solidFill>
                <a:latin typeface="Segoe UI"/>
                <a:cs typeface="Segoe UI"/>
              </a:rPr>
              <a:t>L</a:t>
            </a:r>
            <a:r>
              <a:rPr sz="2718" b="1" spc="14" baseline="1354" dirty="0">
                <a:solidFill>
                  <a:srgbClr val="FFFFFF"/>
                </a:solidFill>
                <a:latin typeface="Segoe UI"/>
                <a:cs typeface="Segoe UI"/>
              </a:rPr>
              <a:t>O</a:t>
            </a:r>
            <a:r>
              <a:rPr sz="2718" b="1" spc="-33" baseline="1354" dirty="0">
                <a:solidFill>
                  <a:srgbClr val="FFFFFF"/>
                </a:solidFill>
                <a:latin typeface="Segoe UI"/>
                <a:cs typeface="Segoe UI"/>
              </a:rPr>
              <a:t>G</a:t>
            </a:r>
            <a:r>
              <a:rPr sz="2718" b="1" spc="-19" baseline="1354" dirty="0">
                <a:solidFill>
                  <a:srgbClr val="FFFFFF"/>
                </a:solidFill>
                <a:latin typeface="Segoe UI"/>
                <a:cs typeface="Segoe UI"/>
              </a:rPr>
              <a:t>I</a:t>
            </a:r>
            <a:r>
              <a:rPr sz="2718" b="1" baseline="1354" dirty="0">
                <a:solidFill>
                  <a:srgbClr val="FFFFFF"/>
                </a:solidFill>
                <a:latin typeface="Segoe UI"/>
                <a:cs typeface="Segoe UI"/>
              </a:rPr>
              <a:t>C</a:t>
            </a:r>
            <a:r>
              <a:rPr sz="2718" b="1" spc="101" baseline="1354" dirty="0">
                <a:solidFill>
                  <a:srgbClr val="FFFFFF"/>
                </a:solidFill>
                <a:latin typeface="Segoe UI"/>
                <a:cs typeface="Segoe UI"/>
              </a:rPr>
              <a:t> </a:t>
            </a:r>
            <a:r>
              <a:rPr sz="2718" b="1" spc="-24" baseline="1354" dirty="0">
                <a:solidFill>
                  <a:srgbClr val="FFFFFF"/>
                </a:solidFill>
                <a:latin typeface="Segoe UI"/>
                <a:cs typeface="Segoe UI"/>
              </a:rPr>
              <a:t>A</a:t>
            </a:r>
            <a:r>
              <a:rPr sz="2718" b="1" baseline="1354" dirty="0">
                <a:solidFill>
                  <a:srgbClr val="FFFFFF"/>
                </a:solidFill>
                <a:latin typeface="Segoe UI"/>
                <a:cs typeface="Segoe UI"/>
              </a:rPr>
              <a:t>PPS             </a:t>
            </a:r>
            <a:r>
              <a:rPr sz="2718" b="1" spc="312" baseline="1354" dirty="0">
                <a:solidFill>
                  <a:srgbClr val="FFFFFF"/>
                </a:solidFill>
                <a:latin typeface="Segoe UI"/>
                <a:cs typeface="Segoe UI"/>
              </a:rPr>
              <a:t> </a:t>
            </a:r>
            <a:r>
              <a:rPr sz="1812" b="1" dirty="0">
                <a:solidFill>
                  <a:srgbClr val="FFFFFF"/>
                </a:solidFill>
                <a:latin typeface="Segoe UI"/>
                <a:cs typeface="Segoe UI"/>
              </a:rPr>
              <a:t>MO</a:t>
            </a:r>
            <a:endParaRPr sz="1812">
              <a:latin typeface="Segoe UI"/>
              <a:cs typeface="Segoe UI"/>
            </a:endParaRPr>
          </a:p>
        </p:txBody>
      </p:sp>
      <p:sp>
        <p:nvSpPr>
          <p:cNvPr id="196" name="object 196"/>
          <p:cNvSpPr txBox="1"/>
          <p:nvPr/>
        </p:nvSpPr>
        <p:spPr>
          <a:xfrm>
            <a:off x="8006763" y="270276"/>
            <a:ext cx="3960307" cy="3896464"/>
          </a:xfrm>
          <a:prstGeom prst="rect">
            <a:avLst/>
          </a:prstGeom>
        </p:spPr>
        <p:txBody>
          <a:bodyPr wrap="square" lIns="0" tIns="0" rIns="0" bIns="0" rtlCol="0">
            <a:noAutofit/>
          </a:bodyPr>
          <a:lstStyle/>
          <a:p>
            <a:pPr>
              <a:lnSpc>
                <a:spcPts val="686"/>
              </a:lnSpc>
              <a:spcBef>
                <a:spcPts val="46"/>
              </a:spcBef>
            </a:pPr>
            <a:endParaRPr sz="686"/>
          </a:p>
          <a:p>
            <a:pPr>
              <a:lnSpc>
                <a:spcPct val="110839"/>
              </a:lnSpc>
              <a:spcBef>
                <a:spcPts val="22531"/>
              </a:spcBef>
            </a:pPr>
            <a:r>
              <a:rPr sz="1812" b="1" spc="19" dirty="0">
                <a:solidFill>
                  <a:srgbClr val="FFFFFF"/>
                </a:solidFill>
                <a:latin typeface="Segoe UI"/>
                <a:cs typeface="Segoe UI"/>
              </a:rPr>
              <a:t>B</a:t>
            </a:r>
            <a:r>
              <a:rPr sz="1812" b="1" spc="-19" dirty="0">
                <a:solidFill>
                  <a:srgbClr val="FFFFFF"/>
                </a:solidFill>
                <a:latin typeface="Segoe UI"/>
                <a:cs typeface="Segoe UI"/>
              </a:rPr>
              <a:t>I</a:t>
            </a:r>
            <a:r>
              <a:rPr sz="1812" b="1" spc="-24" dirty="0">
                <a:solidFill>
                  <a:srgbClr val="FFFFFF"/>
                </a:solidFill>
                <a:latin typeface="Segoe UI"/>
                <a:cs typeface="Segoe UI"/>
              </a:rPr>
              <a:t>L</a:t>
            </a:r>
            <a:r>
              <a:rPr sz="1812" b="1" dirty="0">
                <a:solidFill>
                  <a:srgbClr val="FFFFFF"/>
                </a:solidFill>
                <a:latin typeface="Segoe UI"/>
                <a:cs typeface="Segoe UI"/>
              </a:rPr>
              <a:t>E</a:t>
            </a:r>
            <a:r>
              <a:rPr sz="1812" b="1" spc="35" dirty="0">
                <a:solidFill>
                  <a:srgbClr val="FFFFFF"/>
                </a:solidFill>
                <a:latin typeface="Segoe UI"/>
                <a:cs typeface="Segoe UI"/>
              </a:rPr>
              <a:t> </a:t>
            </a:r>
            <a:r>
              <a:rPr sz="1812" b="1" spc="-24" dirty="0">
                <a:solidFill>
                  <a:srgbClr val="FFFFFF"/>
                </a:solidFill>
                <a:latin typeface="Segoe UI"/>
                <a:cs typeface="Segoe UI"/>
              </a:rPr>
              <a:t>A</a:t>
            </a:r>
            <a:r>
              <a:rPr sz="1812" b="1" dirty="0">
                <a:solidFill>
                  <a:srgbClr val="FFFFFF"/>
                </a:solidFill>
                <a:latin typeface="Segoe UI"/>
                <a:cs typeface="Segoe UI"/>
              </a:rPr>
              <a:t>PPS</a:t>
            </a:r>
            <a:endParaRPr sz="1812">
              <a:latin typeface="Segoe UI"/>
              <a:cs typeface="Segoe UI"/>
            </a:endParaRPr>
          </a:p>
        </p:txBody>
      </p:sp>
      <p:sp>
        <p:nvSpPr>
          <p:cNvPr id="195" name="object 195"/>
          <p:cNvSpPr/>
          <p:nvPr/>
        </p:nvSpPr>
        <p:spPr>
          <a:xfrm>
            <a:off x="0" y="1555"/>
            <a:ext cx="0" cy="6852400"/>
          </a:xfrm>
          <a:custGeom>
            <a:avLst/>
            <a:gdLst/>
            <a:ahLst/>
            <a:cxnLst/>
            <a:rect l="l" t="t" r="r" b="b"/>
            <a:pathLst>
              <a:path h="6995158">
                <a:moveTo>
                  <a:pt x="0" y="6995158"/>
                </a:moveTo>
                <a:lnTo>
                  <a:pt x="0" y="0"/>
                </a:lnTo>
                <a:lnTo>
                  <a:pt x="0" y="6995158"/>
                </a:lnTo>
                <a:close/>
              </a:path>
            </a:pathLst>
          </a:custGeom>
          <a:solidFill>
            <a:srgbClr val="00178F"/>
          </a:solidFill>
        </p:spPr>
        <p:txBody>
          <a:bodyPr wrap="square" lIns="0" tIns="0" rIns="0" bIns="0" rtlCol="0">
            <a:noAutofit/>
          </a:bodyPr>
          <a:lstStyle/>
          <a:p>
            <a:endParaRPr sz="1763"/>
          </a:p>
        </p:txBody>
      </p:sp>
      <p:sp>
        <p:nvSpPr>
          <p:cNvPr id="194" name="object 194"/>
          <p:cNvSpPr/>
          <p:nvPr/>
        </p:nvSpPr>
        <p:spPr>
          <a:xfrm>
            <a:off x="0" y="1555"/>
            <a:ext cx="12182047" cy="6852401"/>
          </a:xfrm>
          <a:custGeom>
            <a:avLst/>
            <a:gdLst/>
            <a:ahLst/>
            <a:cxnLst/>
            <a:rect l="l" t="t" r="r" b="b"/>
            <a:pathLst>
              <a:path w="12435840" h="6995159">
                <a:moveTo>
                  <a:pt x="12435840" y="0"/>
                </a:moveTo>
                <a:lnTo>
                  <a:pt x="0" y="0"/>
                </a:lnTo>
                <a:lnTo>
                  <a:pt x="0" y="6995158"/>
                </a:lnTo>
                <a:lnTo>
                  <a:pt x="12435840" y="6995158"/>
                </a:lnTo>
                <a:lnTo>
                  <a:pt x="12435840" y="0"/>
                </a:lnTo>
                <a:close/>
              </a:path>
            </a:pathLst>
          </a:custGeom>
          <a:solidFill>
            <a:schemeClr val="bg2">
              <a:lumMod val="50000"/>
            </a:schemeClr>
          </a:solidFill>
        </p:spPr>
        <p:txBody>
          <a:bodyPr wrap="square" lIns="0" tIns="0" rIns="0" bIns="0" rtlCol="0">
            <a:noAutofit/>
          </a:bodyPr>
          <a:lstStyle/>
          <a:p>
            <a:endParaRPr sz="1763"/>
          </a:p>
        </p:txBody>
      </p:sp>
      <p:sp>
        <p:nvSpPr>
          <p:cNvPr id="43" name="object 43"/>
          <p:cNvSpPr/>
          <p:nvPr/>
        </p:nvSpPr>
        <p:spPr>
          <a:xfrm>
            <a:off x="4075612" y="1604926"/>
            <a:ext cx="89573" cy="2185603"/>
          </a:xfrm>
          <a:custGeom>
            <a:avLst/>
            <a:gdLst/>
            <a:ahLst/>
            <a:cxnLst/>
            <a:rect l="l" t="t" r="r" b="b"/>
            <a:pathLst>
              <a:path w="91439" h="2231136">
                <a:moveTo>
                  <a:pt x="0" y="2231136"/>
                </a:moveTo>
                <a:lnTo>
                  <a:pt x="91439" y="2231136"/>
                </a:lnTo>
                <a:lnTo>
                  <a:pt x="91439" y="0"/>
                </a:lnTo>
                <a:lnTo>
                  <a:pt x="0" y="0"/>
                </a:lnTo>
                <a:lnTo>
                  <a:pt x="0" y="2231136"/>
                </a:lnTo>
                <a:close/>
              </a:path>
            </a:pathLst>
          </a:custGeom>
          <a:solidFill>
            <a:srgbClr val="0071C5"/>
          </a:solidFill>
        </p:spPr>
        <p:txBody>
          <a:bodyPr wrap="square" lIns="0" tIns="0" rIns="0" bIns="0" rtlCol="0">
            <a:noAutofit/>
          </a:bodyPr>
          <a:lstStyle/>
          <a:p>
            <a:endParaRPr sz="1763"/>
          </a:p>
        </p:txBody>
      </p:sp>
      <p:sp>
        <p:nvSpPr>
          <p:cNvPr id="44" name="object 44"/>
          <p:cNvSpPr/>
          <p:nvPr/>
        </p:nvSpPr>
        <p:spPr>
          <a:xfrm>
            <a:off x="3362706" y="2002541"/>
            <a:ext cx="686546" cy="684854"/>
          </a:xfrm>
          <a:custGeom>
            <a:avLst/>
            <a:gdLst/>
            <a:ahLst/>
            <a:cxnLst/>
            <a:rect l="l" t="t" r="r" b="b"/>
            <a:pathLst>
              <a:path w="700849" h="699122">
                <a:moveTo>
                  <a:pt x="573" y="332928"/>
                </a:moveTo>
                <a:lnTo>
                  <a:pt x="0" y="359821"/>
                </a:lnTo>
                <a:lnTo>
                  <a:pt x="1481" y="386747"/>
                </a:lnTo>
                <a:lnTo>
                  <a:pt x="5040" y="413580"/>
                </a:lnTo>
                <a:lnTo>
                  <a:pt x="10703" y="440198"/>
                </a:lnTo>
                <a:lnTo>
                  <a:pt x="18493" y="466475"/>
                </a:lnTo>
                <a:lnTo>
                  <a:pt x="28434" y="492288"/>
                </a:lnTo>
                <a:lnTo>
                  <a:pt x="40550" y="517513"/>
                </a:lnTo>
                <a:lnTo>
                  <a:pt x="47128" y="356499"/>
                </a:lnTo>
                <a:lnTo>
                  <a:pt x="47671" y="333301"/>
                </a:lnTo>
                <a:lnTo>
                  <a:pt x="49996" y="310202"/>
                </a:lnTo>
                <a:lnTo>
                  <a:pt x="54087" y="287303"/>
                </a:lnTo>
                <a:lnTo>
                  <a:pt x="59928" y="264704"/>
                </a:lnTo>
                <a:lnTo>
                  <a:pt x="67502" y="242506"/>
                </a:lnTo>
                <a:lnTo>
                  <a:pt x="76794" y="220807"/>
                </a:lnTo>
                <a:lnTo>
                  <a:pt x="87787" y="199709"/>
                </a:lnTo>
                <a:lnTo>
                  <a:pt x="100466" y="179310"/>
                </a:lnTo>
                <a:lnTo>
                  <a:pt x="114814" y="159712"/>
                </a:lnTo>
                <a:lnTo>
                  <a:pt x="130816" y="141015"/>
                </a:lnTo>
                <a:lnTo>
                  <a:pt x="148455" y="123317"/>
                </a:lnTo>
                <a:lnTo>
                  <a:pt x="167715" y="106720"/>
                </a:lnTo>
                <a:lnTo>
                  <a:pt x="189586" y="91092"/>
                </a:lnTo>
                <a:lnTo>
                  <a:pt x="212441" y="78140"/>
                </a:lnTo>
                <a:lnTo>
                  <a:pt x="236128" y="67713"/>
                </a:lnTo>
                <a:lnTo>
                  <a:pt x="260497" y="59661"/>
                </a:lnTo>
                <a:lnTo>
                  <a:pt x="285396" y="53835"/>
                </a:lnTo>
                <a:lnTo>
                  <a:pt x="310675" y="50084"/>
                </a:lnTo>
                <a:lnTo>
                  <a:pt x="336182" y="48258"/>
                </a:lnTo>
                <a:lnTo>
                  <a:pt x="349646" y="48019"/>
                </a:lnTo>
                <a:lnTo>
                  <a:pt x="363288" y="48300"/>
                </a:lnTo>
                <a:lnTo>
                  <a:pt x="390492" y="50559"/>
                </a:lnTo>
                <a:lnTo>
                  <a:pt x="417456" y="55107"/>
                </a:lnTo>
                <a:lnTo>
                  <a:pt x="444018" y="61977"/>
                </a:lnTo>
                <a:lnTo>
                  <a:pt x="470020" y="71201"/>
                </a:lnTo>
                <a:lnTo>
                  <a:pt x="495298" y="82811"/>
                </a:lnTo>
                <a:lnTo>
                  <a:pt x="519693" y="96838"/>
                </a:lnTo>
                <a:lnTo>
                  <a:pt x="543045" y="113316"/>
                </a:lnTo>
                <a:lnTo>
                  <a:pt x="565191" y="132276"/>
                </a:lnTo>
                <a:lnTo>
                  <a:pt x="585971" y="153749"/>
                </a:lnTo>
                <a:lnTo>
                  <a:pt x="610090" y="185873"/>
                </a:lnTo>
                <a:lnTo>
                  <a:pt x="622470" y="207076"/>
                </a:lnTo>
                <a:lnTo>
                  <a:pt x="632956" y="228935"/>
                </a:lnTo>
                <a:lnTo>
                  <a:pt x="641563" y="251339"/>
                </a:lnTo>
                <a:lnTo>
                  <a:pt x="648308" y="274175"/>
                </a:lnTo>
                <a:lnTo>
                  <a:pt x="653207" y="297331"/>
                </a:lnTo>
                <a:lnTo>
                  <a:pt x="656275" y="320696"/>
                </a:lnTo>
                <a:lnTo>
                  <a:pt x="657529" y="344157"/>
                </a:lnTo>
                <a:lnTo>
                  <a:pt x="656986" y="367602"/>
                </a:lnTo>
                <a:lnTo>
                  <a:pt x="654660" y="390919"/>
                </a:lnTo>
                <a:lnTo>
                  <a:pt x="650568" y="413995"/>
                </a:lnTo>
                <a:lnTo>
                  <a:pt x="644726" y="436720"/>
                </a:lnTo>
                <a:lnTo>
                  <a:pt x="637151" y="458980"/>
                </a:lnTo>
                <a:lnTo>
                  <a:pt x="627858" y="480664"/>
                </a:lnTo>
                <a:lnTo>
                  <a:pt x="616863" y="501660"/>
                </a:lnTo>
                <a:lnTo>
                  <a:pt x="604182" y="521855"/>
                </a:lnTo>
                <a:lnTo>
                  <a:pt x="589832" y="541137"/>
                </a:lnTo>
                <a:lnTo>
                  <a:pt x="573828" y="559395"/>
                </a:lnTo>
                <a:lnTo>
                  <a:pt x="556187" y="576515"/>
                </a:lnTo>
                <a:lnTo>
                  <a:pt x="536925" y="592387"/>
                </a:lnTo>
                <a:lnTo>
                  <a:pt x="515582" y="607769"/>
                </a:lnTo>
                <a:lnTo>
                  <a:pt x="492922" y="621042"/>
                </a:lnTo>
                <a:lnTo>
                  <a:pt x="469217" y="632206"/>
                </a:lnTo>
                <a:lnTo>
                  <a:pt x="444739" y="641261"/>
                </a:lnTo>
                <a:lnTo>
                  <a:pt x="419759" y="648206"/>
                </a:lnTo>
                <a:lnTo>
                  <a:pt x="394549" y="653042"/>
                </a:lnTo>
                <a:lnTo>
                  <a:pt x="369380" y="655768"/>
                </a:lnTo>
                <a:lnTo>
                  <a:pt x="349646" y="656430"/>
                </a:lnTo>
                <a:lnTo>
                  <a:pt x="336005" y="656111"/>
                </a:lnTo>
                <a:lnTo>
                  <a:pt x="308820" y="653566"/>
                </a:lnTo>
                <a:lnTo>
                  <a:pt x="281923" y="648508"/>
                </a:lnTo>
                <a:lnTo>
                  <a:pt x="255509" y="640969"/>
                </a:lnTo>
                <a:lnTo>
                  <a:pt x="229768" y="630979"/>
                </a:lnTo>
                <a:lnTo>
                  <a:pt x="204894" y="618572"/>
                </a:lnTo>
                <a:lnTo>
                  <a:pt x="181080" y="603780"/>
                </a:lnTo>
                <a:lnTo>
                  <a:pt x="158518" y="586634"/>
                </a:lnTo>
                <a:lnTo>
                  <a:pt x="137400" y="567166"/>
                </a:lnTo>
                <a:lnTo>
                  <a:pt x="117920" y="545409"/>
                </a:lnTo>
                <a:lnTo>
                  <a:pt x="94564" y="513286"/>
                </a:lnTo>
                <a:lnTo>
                  <a:pt x="82186" y="492188"/>
                </a:lnTo>
                <a:lnTo>
                  <a:pt x="71701" y="470491"/>
                </a:lnTo>
                <a:lnTo>
                  <a:pt x="63094" y="448293"/>
                </a:lnTo>
                <a:lnTo>
                  <a:pt x="71403" y="565702"/>
                </a:lnTo>
                <a:lnTo>
                  <a:pt x="93352" y="591485"/>
                </a:lnTo>
                <a:lnTo>
                  <a:pt x="117290" y="614417"/>
                </a:lnTo>
                <a:lnTo>
                  <a:pt x="142962" y="634532"/>
                </a:lnTo>
                <a:lnTo>
                  <a:pt x="170112" y="651861"/>
                </a:lnTo>
                <a:lnTo>
                  <a:pt x="198481" y="666435"/>
                </a:lnTo>
                <a:lnTo>
                  <a:pt x="227814" y="678288"/>
                </a:lnTo>
                <a:lnTo>
                  <a:pt x="257853" y="687451"/>
                </a:lnTo>
                <a:lnTo>
                  <a:pt x="288343" y="693956"/>
                </a:lnTo>
                <a:lnTo>
                  <a:pt x="319026" y="697836"/>
                </a:lnTo>
                <a:lnTo>
                  <a:pt x="349646" y="699122"/>
                </a:lnTo>
                <a:lnTo>
                  <a:pt x="362329" y="698917"/>
                </a:lnTo>
                <a:lnTo>
                  <a:pt x="387650" y="697260"/>
                </a:lnTo>
                <a:lnTo>
                  <a:pt x="412832" y="693902"/>
                </a:lnTo>
                <a:lnTo>
                  <a:pt x="437785" y="688797"/>
                </a:lnTo>
                <a:lnTo>
                  <a:pt x="462414" y="681898"/>
                </a:lnTo>
                <a:lnTo>
                  <a:pt x="486627" y="673160"/>
                </a:lnTo>
                <a:lnTo>
                  <a:pt x="510331" y="662536"/>
                </a:lnTo>
                <a:lnTo>
                  <a:pt x="533434" y="649980"/>
                </a:lnTo>
                <a:lnTo>
                  <a:pt x="555843" y="635446"/>
                </a:lnTo>
                <a:lnTo>
                  <a:pt x="586002" y="611394"/>
                </a:lnTo>
                <a:lnTo>
                  <a:pt x="606376" y="591645"/>
                </a:lnTo>
                <a:lnTo>
                  <a:pt x="624799" y="570623"/>
                </a:lnTo>
                <a:lnTo>
                  <a:pt x="641260" y="548453"/>
                </a:lnTo>
                <a:lnTo>
                  <a:pt x="655746" y="525258"/>
                </a:lnTo>
                <a:lnTo>
                  <a:pt x="668245" y="501163"/>
                </a:lnTo>
                <a:lnTo>
                  <a:pt x="678746" y="476291"/>
                </a:lnTo>
                <a:lnTo>
                  <a:pt x="687236" y="450766"/>
                </a:lnTo>
                <a:lnTo>
                  <a:pt x="693704" y="424714"/>
                </a:lnTo>
                <a:lnTo>
                  <a:pt x="698136" y="398256"/>
                </a:lnTo>
                <a:lnTo>
                  <a:pt x="700522" y="371519"/>
                </a:lnTo>
                <a:lnTo>
                  <a:pt x="700849" y="344626"/>
                </a:lnTo>
                <a:lnTo>
                  <a:pt x="699105" y="317700"/>
                </a:lnTo>
                <a:lnTo>
                  <a:pt x="695279" y="290867"/>
                </a:lnTo>
                <a:lnTo>
                  <a:pt x="689358" y="264249"/>
                </a:lnTo>
                <a:lnTo>
                  <a:pt x="681330" y="237972"/>
                </a:lnTo>
                <a:lnTo>
                  <a:pt x="671183" y="212159"/>
                </a:lnTo>
                <a:lnTo>
                  <a:pt x="658905" y="186934"/>
                </a:lnTo>
                <a:lnTo>
                  <a:pt x="644484" y="162422"/>
                </a:lnTo>
                <a:lnTo>
                  <a:pt x="627909" y="138746"/>
                </a:lnTo>
                <a:lnTo>
                  <a:pt x="607402" y="112814"/>
                </a:lnTo>
                <a:lnTo>
                  <a:pt x="584583" y="89477"/>
                </a:lnTo>
                <a:lnTo>
                  <a:pt x="559710" y="68766"/>
                </a:lnTo>
                <a:lnTo>
                  <a:pt x="533040" y="50713"/>
                </a:lnTo>
                <a:lnTo>
                  <a:pt x="504828" y="35350"/>
                </a:lnTo>
                <a:lnTo>
                  <a:pt x="475333" y="22709"/>
                </a:lnTo>
                <a:lnTo>
                  <a:pt x="444810" y="12821"/>
                </a:lnTo>
                <a:lnTo>
                  <a:pt x="413517" y="5719"/>
                </a:lnTo>
                <a:lnTo>
                  <a:pt x="381710" y="1435"/>
                </a:lnTo>
                <a:lnTo>
                  <a:pt x="349646" y="0"/>
                </a:lnTo>
                <a:lnTo>
                  <a:pt x="337058" y="202"/>
                </a:lnTo>
                <a:lnTo>
                  <a:pt x="311928" y="1859"/>
                </a:lnTo>
                <a:lnTo>
                  <a:pt x="286933" y="5258"/>
                </a:lnTo>
                <a:lnTo>
                  <a:pt x="262163" y="10490"/>
                </a:lnTo>
                <a:lnTo>
                  <a:pt x="237710" y="17646"/>
                </a:lnTo>
                <a:lnTo>
                  <a:pt x="213662" y="26814"/>
                </a:lnTo>
                <a:lnTo>
                  <a:pt x="190112" y="38086"/>
                </a:lnTo>
                <a:lnTo>
                  <a:pt x="167147" y="51552"/>
                </a:lnTo>
                <a:lnTo>
                  <a:pt x="144860" y="67301"/>
                </a:lnTo>
                <a:lnTo>
                  <a:pt x="114023" y="93063"/>
                </a:lnTo>
                <a:lnTo>
                  <a:pt x="94226" y="112810"/>
                </a:lnTo>
                <a:lnTo>
                  <a:pt x="76244" y="133830"/>
                </a:lnTo>
                <a:lnTo>
                  <a:pt x="60099" y="155999"/>
                </a:lnTo>
                <a:lnTo>
                  <a:pt x="45816" y="179193"/>
                </a:lnTo>
                <a:lnTo>
                  <a:pt x="33420" y="203288"/>
                </a:lnTo>
                <a:lnTo>
                  <a:pt x="22934" y="228159"/>
                </a:lnTo>
                <a:lnTo>
                  <a:pt x="14382" y="253683"/>
                </a:lnTo>
                <a:lnTo>
                  <a:pt x="7789" y="279735"/>
                </a:lnTo>
                <a:lnTo>
                  <a:pt x="3178" y="306191"/>
                </a:lnTo>
                <a:lnTo>
                  <a:pt x="573" y="332928"/>
                </a:lnTo>
                <a:close/>
              </a:path>
              <a:path w="700849" h="699122">
                <a:moveTo>
                  <a:pt x="56350" y="425695"/>
                </a:moveTo>
                <a:lnTo>
                  <a:pt x="51451" y="402797"/>
                </a:lnTo>
                <a:lnTo>
                  <a:pt x="48383" y="379698"/>
                </a:lnTo>
                <a:lnTo>
                  <a:pt x="47128" y="356499"/>
                </a:lnTo>
                <a:lnTo>
                  <a:pt x="40550" y="517513"/>
                </a:lnTo>
                <a:lnTo>
                  <a:pt x="54865" y="542026"/>
                </a:lnTo>
                <a:lnTo>
                  <a:pt x="71403" y="565702"/>
                </a:lnTo>
                <a:lnTo>
                  <a:pt x="63094" y="448293"/>
                </a:lnTo>
                <a:lnTo>
                  <a:pt x="56350" y="425695"/>
                </a:lnTo>
                <a:close/>
              </a:path>
            </a:pathLst>
          </a:custGeom>
          <a:solidFill>
            <a:srgbClr val="FFFFFF"/>
          </a:solidFill>
        </p:spPr>
        <p:txBody>
          <a:bodyPr wrap="square" lIns="0" tIns="0" rIns="0" bIns="0" rtlCol="0">
            <a:noAutofit/>
          </a:bodyPr>
          <a:lstStyle/>
          <a:p>
            <a:endParaRPr sz="1763"/>
          </a:p>
        </p:txBody>
      </p:sp>
      <p:sp>
        <p:nvSpPr>
          <p:cNvPr id="45" name="object 45"/>
          <p:cNvSpPr/>
          <p:nvPr/>
        </p:nvSpPr>
        <p:spPr>
          <a:xfrm>
            <a:off x="3458862" y="2352817"/>
            <a:ext cx="94353" cy="224790"/>
          </a:xfrm>
          <a:custGeom>
            <a:avLst/>
            <a:gdLst/>
            <a:ahLst/>
            <a:cxnLst/>
            <a:rect l="l" t="t" r="r" b="b"/>
            <a:pathLst>
              <a:path w="96319" h="229473">
                <a:moveTo>
                  <a:pt x="58874" y="220841"/>
                </a:moveTo>
                <a:lnTo>
                  <a:pt x="58974" y="211280"/>
                </a:lnTo>
                <a:lnTo>
                  <a:pt x="59247" y="200876"/>
                </a:lnTo>
                <a:lnTo>
                  <a:pt x="59778" y="189717"/>
                </a:lnTo>
                <a:lnTo>
                  <a:pt x="60654" y="177887"/>
                </a:lnTo>
                <a:lnTo>
                  <a:pt x="61961" y="165473"/>
                </a:lnTo>
                <a:lnTo>
                  <a:pt x="63784" y="152560"/>
                </a:lnTo>
                <a:lnTo>
                  <a:pt x="66211" y="139236"/>
                </a:lnTo>
                <a:lnTo>
                  <a:pt x="69327" y="125585"/>
                </a:lnTo>
                <a:lnTo>
                  <a:pt x="73218" y="111694"/>
                </a:lnTo>
                <a:lnTo>
                  <a:pt x="77970" y="97648"/>
                </a:lnTo>
                <a:lnTo>
                  <a:pt x="83670" y="83534"/>
                </a:lnTo>
                <a:lnTo>
                  <a:pt x="90404" y="69438"/>
                </a:lnTo>
                <a:lnTo>
                  <a:pt x="96319" y="58700"/>
                </a:lnTo>
                <a:lnTo>
                  <a:pt x="86439" y="48477"/>
                </a:lnTo>
                <a:lnTo>
                  <a:pt x="77249" y="38388"/>
                </a:lnTo>
                <a:lnTo>
                  <a:pt x="68619" y="28563"/>
                </a:lnTo>
                <a:lnTo>
                  <a:pt x="60416" y="19132"/>
                </a:lnTo>
                <a:lnTo>
                  <a:pt x="52508" y="10228"/>
                </a:lnTo>
                <a:lnTo>
                  <a:pt x="44764" y="1979"/>
                </a:lnTo>
                <a:lnTo>
                  <a:pt x="42803" y="0"/>
                </a:lnTo>
                <a:lnTo>
                  <a:pt x="37259" y="12701"/>
                </a:lnTo>
                <a:lnTo>
                  <a:pt x="32193" y="25391"/>
                </a:lnTo>
                <a:lnTo>
                  <a:pt x="27579" y="38056"/>
                </a:lnTo>
                <a:lnTo>
                  <a:pt x="23394" y="50686"/>
                </a:lnTo>
                <a:lnTo>
                  <a:pt x="19615" y="63267"/>
                </a:lnTo>
                <a:lnTo>
                  <a:pt x="16216" y="75788"/>
                </a:lnTo>
                <a:lnTo>
                  <a:pt x="13174" y="88238"/>
                </a:lnTo>
                <a:lnTo>
                  <a:pt x="10464" y="100603"/>
                </a:lnTo>
                <a:lnTo>
                  <a:pt x="8063" y="112872"/>
                </a:lnTo>
                <a:lnTo>
                  <a:pt x="5946" y="125033"/>
                </a:lnTo>
                <a:lnTo>
                  <a:pt x="4090" y="137075"/>
                </a:lnTo>
                <a:lnTo>
                  <a:pt x="2470" y="148984"/>
                </a:lnTo>
                <a:lnTo>
                  <a:pt x="1062" y="160748"/>
                </a:lnTo>
                <a:lnTo>
                  <a:pt x="0" y="170771"/>
                </a:lnTo>
                <a:lnTo>
                  <a:pt x="5343" y="170771"/>
                </a:lnTo>
                <a:lnTo>
                  <a:pt x="5343" y="176109"/>
                </a:lnTo>
                <a:lnTo>
                  <a:pt x="10694" y="181443"/>
                </a:lnTo>
                <a:lnTo>
                  <a:pt x="17705" y="190865"/>
                </a:lnTo>
                <a:lnTo>
                  <a:pt x="26327" y="200778"/>
                </a:lnTo>
                <a:lnTo>
                  <a:pt x="35933" y="210557"/>
                </a:lnTo>
                <a:lnTo>
                  <a:pt x="45897" y="219576"/>
                </a:lnTo>
                <a:lnTo>
                  <a:pt x="55592" y="227209"/>
                </a:lnTo>
                <a:lnTo>
                  <a:pt x="58859" y="229473"/>
                </a:lnTo>
                <a:lnTo>
                  <a:pt x="58874" y="220841"/>
                </a:lnTo>
                <a:close/>
              </a:path>
            </a:pathLst>
          </a:custGeom>
          <a:solidFill>
            <a:srgbClr val="FFFFFF"/>
          </a:solidFill>
        </p:spPr>
        <p:txBody>
          <a:bodyPr wrap="square" lIns="0" tIns="0" rIns="0" bIns="0" rtlCol="0">
            <a:noAutofit/>
          </a:bodyPr>
          <a:lstStyle/>
          <a:p>
            <a:endParaRPr sz="1763"/>
          </a:p>
        </p:txBody>
      </p:sp>
      <p:sp>
        <p:nvSpPr>
          <p:cNvPr id="46" name="object 46"/>
          <p:cNvSpPr/>
          <p:nvPr/>
        </p:nvSpPr>
        <p:spPr>
          <a:xfrm>
            <a:off x="3532242" y="2180290"/>
            <a:ext cx="178228" cy="182971"/>
          </a:xfrm>
          <a:custGeom>
            <a:avLst/>
            <a:gdLst/>
            <a:ahLst/>
            <a:cxnLst/>
            <a:rect l="l" t="t" r="r" b="b"/>
            <a:pathLst>
              <a:path w="181941" h="186783">
                <a:moveTo>
                  <a:pt x="424" y="122119"/>
                </a:moveTo>
                <a:lnTo>
                  <a:pt x="5492" y="132901"/>
                </a:lnTo>
                <a:lnTo>
                  <a:pt x="11791" y="143051"/>
                </a:lnTo>
                <a:lnTo>
                  <a:pt x="18896" y="153201"/>
                </a:lnTo>
                <a:lnTo>
                  <a:pt x="26809" y="163351"/>
                </a:lnTo>
                <a:lnTo>
                  <a:pt x="35528" y="173501"/>
                </a:lnTo>
                <a:lnTo>
                  <a:pt x="45053" y="183651"/>
                </a:lnTo>
                <a:lnTo>
                  <a:pt x="48155" y="186783"/>
                </a:lnTo>
                <a:lnTo>
                  <a:pt x="55222" y="177433"/>
                </a:lnTo>
                <a:lnTo>
                  <a:pt x="62488" y="168083"/>
                </a:lnTo>
                <a:lnTo>
                  <a:pt x="70154" y="158733"/>
                </a:lnTo>
                <a:lnTo>
                  <a:pt x="78419" y="149382"/>
                </a:lnTo>
                <a:lnTo>
                  <a:pt x="87483" y="140032"/>
                </a:lnTo>
                <a:lnTo>
                  <a:pt x="97545" y="130682"/>
                </a:lnTo>
                <a:lnTo>
                  <a:pt x="107012" y="122751"/>
                </a:lnTo>
                <a:lnTo>
                  <a:pt x="117345" y="112700"/>
                </a:lnTo>
                <a:lnTo>
                  <a:pt x="127610" y="103181"/>
                </a:lnTo>
                <a:lnTo>
                  <a:pt x="137736" y="94195"/>
                </a:lnTo>
                <a:lnTo>
                  <a:pt x="147657" y="85741"/>
                </a:lnTo>
                <a:lnTo>
                  <a:pt x="157302" y="77819"/>
                </a:lnTo>
                <a:lnTo>
                  <a:pt x="166602" y="70428"/>
                </a:lnTo>
                <a:lnTo>
                  <a:pt x="175490" y="63569"/>
                </a:lnTo>
                <a:lnTo>
                  <a:pt x="181941" y="58700"/>
                </a:lnTo>
                <a:lnTo>
                  <a:pt x="173874" y="48828"/>
                </a:lnTo>
                <a:lnTo>
                  <a:pt x="165249" y="39511"/>
                </a:lnTo>
                <a:lnTo>
                  <a:pt x="156328" y="30490"/>
                </a:lnTo>
                <a:lnTo>
                  <a:pt x="147374" y="21501"/>
                </a:lnTo>
                <a:lnTo>
                  <a:pt x="138649" y="12284"/>
                </a:lnTo>
                <a:lnTo>
                  <a:pt x="130415" y="2578"/>
                </a:lnTo>
                <a:lnTo>
                  <a:pt x="128431" y="0"/>
                </a:lnTo>
                <a:lnTo>
                  <a:pt x="117858" y="5760"/>
                </a:lnTo>
                <a:lnTo>
                  <a:pt x="107643" y="12276"/>
                </a:lnTo>
                <a:lnTo>
                  <a:pt x="97739" y="19502"/>
                </a:lnTo>
                <a:lnTo>
                  <a:pt x="88102" y="27393"/>
                </a:lnTo>
                <a:lnTo>
                  <a:pt x="78686" y="35905"/>
                </a:lnTo>
                <a:lnTo>
                  <a:pt x="69448" y="44994"/>
                </a:lnTo>
                <a:lnTo>
                  <a:pt x="60340" y="54615"/>
                </a:lnTo>
                <a:lnTo>
                  <a:pt x="51320" y="64724"/>
                </a:lnTo>
                <a:lnTo>
                  <a:pt x="42810" y="74713"/>
                </a:lnTo>
                <a:lnTo>
                  <a:pt x="33345" y="84194"/>
                </a:lnTo>
                <a:lnTo>
                  <a:pt x="24126" y="93676"/>
                </a:lnTo>
                <a:lnTo>
                  <a:pt x="15402" y="103157"/>
                </a:lnTo>
                <a:lnTo>
                  <a:pt x="7419" y="112638"/>
                </a:lnTo>
                <a:lnTo>
                  <a:pt x="424" y="122119"/>
                </a:lnTo>
                <a:close/>
              </a:path>
            </a:pathLst>
          </a:custGeom>
          <a:solidFill>
            <a:srgbClr val="FFFFFF"/>
          </a:solidFill>
        </p:spPr>
        <p:txBody>
          <a:bodyPr wrap="square" lIns="0" tIns="0" rIns="0" bIns="0" rtlCol="0">
            <a:noAutofit/>
          </a:bodyPr>
          <a:lstStyle/>
          <a:p>
            <a:endParaRPr sz="1763"/>
          </a:p>
        </p:txBody>
      </p:sp>
      <p:sp>
        <p:nvSpPr>
          <p:cNvPr id="47" name="object 47"/>
          <p:cNvSpPr/>
          <p:nvPr/>
        </p:nvSpPr>
        <p:spPr>
          <a:xfrm>
            <a:off x="3699980" y="2112934"/>
            <a:ext cx="241128" cy="98727"/>
          </a:xfrm>
          <a:custGeom>
            <a:avLst/>
            <a:gdLst/>
            <a:ahLst/>
            <a:cxnLst/>
            <a:rect l="l" t="t" r="r" b="b"/>
            <a:pathLst>
              <a:path w="246152" h="100784">
                <a:moveTo>
                  <a:pt x="38003" y="24365"/>
                </a:moveTo>
                <a:lnTo>
                  <a:pt x="23871" y="30369"/>
                </a:lnTo>
                <a:lnTo>
                  <a:pt x="9577" y="37134"/>
                </a:lnTo>
                <a:lnTo>
                  <a:pt x="0" y="42065"/>
                </a:lnTo>
                <a:lnTo>
                  <a:pt x="8065" y="51937"/>
                </a:lnTo>
                <a:lnTo>
                  <a:pt x="16689" y="61252"/>
                </a:lnTo>
                <a:lnTo>
                  <a:pt x="25608" y="70274"/>
                </a:lnTo>
                <a:lnTo>
                  <a:pt x="34560" y="79263"/>
                </a:lnTo>
                <a:lnTo>
                  <a:pt x="43284" y="88483"/>
                </a:lnTo>
                <a:lnTo>
                  <a:pt x="51518" y="98194"/>
                </a:lnTo>
                <a:lnTo>
                  <a:pt x="53510" y="100784"/>
                </a:lnTo>
                <a:lnTo>
                  <a:pt x="74209" y="90500"/>
                </a:lnTo>
                <a:lnTo>
                  <a:pt x="94084" y="81618"/>
                </a:lnTo>
                <a:lnTo>
                  <a:pt x="113064" y="74036"/>
                </a:lnTo>
                <a:lnTo>
                  <a:pt x="131079" y="67652"/>
                </a:lnTo>
                <a:lnTo>
                  <a:pt x="148056" y="62366"/>
                </a:lnTo>
                <a:lnTo>
                  <a:pt x="163926" y="58073"/>
                </a:lnTo>
                <a:lnTo>
                  <a:pt x="178618" y="54673"/>
                </a:lnTo>
                <a:lnTo>
                  <a:pt x="192061" y="52064"/>
                </a:lnTo>
                <a:lnTo>
                  <a:pt x="204185" y="50143"/>
                </a:lnTo>
                <a:lnTo>
                  <a:pt x="214918" y="48809"/>
                </a:lnTo>
                <a:lnTo>
                  <a:pt x="224189" y="47960"/>
                </a:lnTo>
                <a:lnTo>
                  <a:pt x="231929" y="47493"/>
                </a:lnTo>
                <a:lnTo>
                  <a:pt x="238066" y="47308"/>
                </a:lnTo>
                <a:lnTo>
                  <a:pt x="246152" y="47415"/>
                </a:lnTo>
                <a:lnTo>
                  <a:pt x="238748" y="37377"/>
                </a:lnTo>
                <a:lnTo>
                  <a:pt x="230225" y="27634"/>
                </a:lnTo>
                <a:lnTo>
                  <a:pt x="220883" y="18484"/>
                </a:lnTo>
                <a:lnTo>
                  <a:pt x="211017" y="10223"/>
                </a:lnTo>
                <a:lnTo>
                  <a:pt x="203333" y="4709"/>
                </a:lnTo>
                <a:lnTo>
                  <a:pt x="194381" y="2964"/>
                </a:lnTo>
                <a:lnTo>
                  <a:pt x="184878" y="1593"/>
                </a:lnTo>
                <a:lnTo>
                  <a:pt x="174852" y="623"/>
                </a:lnTo>
                <a:lnTo>
                  <a:pt x="164331" y="83"/>
                </a:lnTo>
                <a:lnTo>
                  <a:pt x="153342" y="0"/>
                </a:lnTo>
                <a:lnTo>
                  <a:pt x="141914" y="401"/>
                </a:lnTo>
                <a:lnTo>
                  <a:pt x="130074" y="1314"/>
                </a:lnTo>
                <a:lnTo>
                  <a:pt x="117850" y="2767"/>
                </a:lnTo>
                <a:lnTo>
                  <a:pt x="105271" y="4787"/>
                </a:lnTo>
                <a:lnTo>
                  <a:pt x="92362" y="7402"/>
                </a:lnTo>
                <a:lnTo>
                  <a:pt x="79154" y="10640"/>
                </a:lnTo>
                <a:lnTo>
                  <a:pt x="65672" y="14528"/>
                </a:lnTo>
                <a:lnTo>
                  <a:pt x="51946" y="19093"/>
                </a:lnTo>
                <a:lnTo>
                  <a:pt x="38003" y="24365"/>
                </a:lnTo>
                <a:close/>
              </a:path>
            </a:pathLst>
          </a:custGeom>
          <a:solidFill>
            <a:srgbClr val="FFFFFF"/>
          </a:solidFill>
        </p:spPr>
        <p:txBody>
          <a:bodyPr wrap="square" lIns="0" tIns="0" rIns="0" bIns="0" rtlCol="0">
            <a:noAutofit/>
          </a:bodyPr>
          <a:lstStyle/>
          <a:p>
            <a:endParaRPr sz="1763"/>
          </a:p>
        </p:txBody>
      </p:sp>
      <p:sp>
        <p:nvSpPr>
          <p:cNvPr id="48" name="object 48"/>
          <p:cNvSpPr/>
          <p:nvPr/>
        </p:nvSpPr>
        <p:spPr>
          <a:xfrm>
            <a:off x="3453412" y="2138456"/>
            <a:ext cx="78830" cy="214361"/>
          </a:xfrm>
          <a:custGeom>
            <a:avLst/>
            <a:gdLst/>
            <a:ahLst/>
            <a:cxnLst/>
            <a:rect l="l" t="t" r="r" b="b"/>
            <a:pathLst>
              <a:path w="80472" h="218827">
                <a:moveTo>
                  <a:pt x="46718" y="216342"/>
                </a:moveTo>
                <a:lnTo>
                  <a:pt x="48366" y="218827"/>
                </a:lnTo>
                <a:lnTo>
                  <a:pt x="54913" y="208455"/>
                </a:lnTo>
                <a:lnTo>
                  <a:pt x="61459" y="197294"/>
                </a:lnTo>
                <a:lnTo>
                  <a:pt x="68005" y="185888"/>
                </a:lnTo>
                <a:lnTo>
                  <a:pt x="74552" y="174784"/>
                </a:lnTo>
                <a:lnTo>
                  <a:pt x="80472" y="165457"/>
                </a:lnTo>
                <a:lnTo>
                  <a:pt x="70675" y="149265"/>
                </a:lnTo>
                <a:lnTo>
                  <a:pt x="62319" y="133478"/>
                </a:lnTo>
                <a:lnTo>
                  <a:pt x="55305" y="118158"/>
                </a:lnTo>
                <a:lnTo>
                  <a:pt x="49531" y="103366"/>
                </a:lnTo>
                <a:lnTo>
                  <a:pt x="44898" y="89167"/>
                </a:lnTo>
                <a:lnTo>
                  <a:pt x="41306" y="75621"/>
                </a:lnTo>
                <a:lnTo>
                  <a:pt x="38655" y="62791"/>
                </a:lnTo>
                <a:lnTo>
                  <a:pt x="36844" y="50739"/>
                </a:lnTo>
                <a:lnTo>
                  <a:pt x="35775" y="39528"/>
                </a:lnTo>
                <a:lnTo>
                  <a:pt x="35346" y="29219"/>
                </a:lnTo>
                <a:lnTo>
                  <a:pt x="35458" y="19876"/>
                </a:lnTo>
                <a:lnTo>
                  <a:pt x="36010" y="11559"/>
                </a:lnTo>
                <a:lnTo>
                  <a:pt x="36904" y="4333"/>
                </a:lnTo>
                <a:lnTo>
                  <a:pt x="37669" y="0"/>
                </a:lnTo>
                <a:lnTo>
                  <a:pt x="29389" y="9141"/>
                </a:lnTo>
                <a:lnTo>
                  <a:pt x="21109" y="19311"/>
                </a:lnTo>
                <a:lnTo>
                  <a:pt x="12832" y="29411"/>
                </a:lnTo>
                <a:lnTo>
                  <a:pt x="5563" y="37356"/>
                </a:lnTo>
                <a:lnTo>
                  <a:pt x="3596" y="46019"/>
                </a:lnTo>
                <a:lnTo>
                  <a:pt x="1982" y="55109"/>
                </a:lnTo>
                <a:lnTo>
                  <a:pt x="796" y="64636"/>
                </a:lnTo>
                <a:lnTo>
                  <a:pt x="110" y="74607"/>
                </a:lnTo>
                <a:lnTo>
                  <a:pt x="0" y="85034"/>
                </a:lnTo>
                <a:lnTo>
                  <a:pt x="537" y="95924"/>
                </a:lnTo>
                <a:lnTo>
                  <a:pt x="1796" y="107288"/>
                </a:lnTo>
                <a:lnTo>
                  <a:pt x="3852" y="119134"/>
                </a:lnTo>
                <a:lnTo>
                  <a:pt x="6777" y="131472"/>
                </a:lnTo>
                <a:lnTo>
                  <a:pt x="10645" y="144310"/>
                </a:lnTo>
                <a:lnTo>
                  <a:pt x="15530" y="157659"/>
                </a:lnTo>
                <a:lnTo>
                  <a:pt x="21507" y="171528"/>
                </a:lnTo>
                <a:lnTo>
                  <a:pt x="28647" y="185925"/>
                </a:lnTo>
                <a:lnTo>
                  <a:pt x="37027" y="200860"/>
                </a:lnTo>
                <a:lnTo>
                  <a:pt x="46718" y="216342"/>
                </a:lnTo>
                <a:close/>
              </a:path>
            </a:pathLst>
          </a:custGeom>
          <a:solidFill>
            <a:srgbClr val="FFFFFF"/>
          </a:solidFill>
        </p:spPr>
        <p:txBody>
          <a:bodyPr wrap="square" lIns="0" tIns="0" rIns="0" bIns="0" rtlCol="0">
            <a:noAutofit/>
          </a:bodyPr>
          <a:lstStyle/>
          <a:p>
            <a:endParaRPr sz="1763"/>
          </a:p>
        </p:txBody>
      </p:sp>
      <p:sp>
        <p:nvSpPr>
          <p:cNvPr id="49" name="object 49"/>
          <p:cNvSpPr/>
          <p:nvPr/>
        </p:nvSpPr>
        <p:spPr>
          <a:xfrm>
            <a:off x="3553215" y="2363262"/>
            <a:ext cx="403621" cy="198661"/>
          </a:xfrm>
          <a:custGeom>
            <a:avLst/>
            <a:gdLst/>
            <a:ahLst/>
            <a:cxnLst/>
            <a:rect l="l" t="t" r="r" b="b"/>
            <a:pathLst>
              <a:path w="412030" h="202800">
                <a:moveTo>
                  <a:pt x="6285" y="33288"/>
                </a:moveTo>
                <a:lnTo>
                  <a:pt x="1310" y="44384"/>
                </a:lnTo>
                <a:lnTo>
                  <a:pt x="0" y="48037"/>
                </a:lnTo>
                <a:lnTo>
                  <a:pt x="8970" y="56467"/>
                </a:lnTo>
                <a:lnTo>
                  <a:pt x="18143" y="64202"/>
                </a:lnTo>
                <a:lnTo>
                  <a:pt x="27725" y="71653"/>
                </a:lnTo>
                <a:lnTo>
                  <a:pt x="37923" y="79228"/>
                </a:lnTo>
                <a:lnTo>
                  <a:pt x="48942" y="87339"/>
                </a:lnTo>
                <a:lnTo>
                  <a:pt x="53492" y="90726"/>
                </a:lnTo>
                <a:lnTo>
                  <a:pt x="71947" y="105266"/>
                </a:lnTo>
                <a:lnTo>
                  <a:pt x="90362" y="118505"/>
                </a:lnTo>
                <a:lnTo>
                  <a:pt x="108696" y="130503"/>
                </a:lnTo>
                <a:lnTo>
                  <a:pt x="126910" y="141320"/>
                </a:lnTo>
                <a:lnTo>
                  <a:pt x="144963" y="151017"/>
                </a:lnTo>
                <a:lnTo>
                  <a:pt x="162816" y="159653"/>
                </a:lnTo>
                <a:lnTo>
                  <a:pt x="180428" y="167288"/>
                </a:lnTo>
                <a:lnTo>
                  <a:pt x="197759" y="173982"/>
                </a:lnTo>
                <a:lnTo>
                  <a:pt x="214769" y="179796"/>
                </a:lnTo>
                <a:lnTo>
                  <a:pt x="231418" y="184789"/>
                </a:lnTo>
                <a:lnTo>
                  <a:pt x="247665" y="189022"/>
                </a:lnTo>
                <a:lnTo>
                  <a:pt x="263471" y="192554"/>
                </a:lnTo>
                <a:lnTo>
                  <a:pt x="278796" y="195446"/>
                </a:lnTo>
                <a:lnTo>
                  <a:pt x="293598" y="197757"/>
                </a:lnTo>
                <a:lnTo>
                  <a:pt x="307839" y="199548"/>
                </a:lnTo>
                <a:lnTo>
                  <a:pt x="321478" y="200879"/>
                </a:lnTo>
                <a:lnTo>
                  <a:pt x="334475" y="201809"/>
                </a:lnTo>
                <a:lnTo>
                  <a:pt x="346789" y="202400"/>
                </a:lnTo>
                <a:lnTo>
                  <a:pt x="358381" y="202710"/>
                </a:lnTo>
                <a:lnTo>
                  <a:pt x="369211" y="202800"/>
                </a:lnTo>
                <a:lnTo>
                  <a:pt x="374090" y="199427"/>
                </a:lnTo>
                <a:lnTo>
                  <a:pt x="381737" y="190785"/>
                </a:lnTo>
                <a:lnTo>
                  <a:pt x="391164" y="179091"/>
                </a:lnTo>
                <a:lnTo>
                  <a:pt x="401380" y="166561"/>
                </a:lnTo>
                <a:lnTo>
                  <a:pt x="411398" y="155412"/>
                </a:lnTo>
                <a:lnTo>
                  <a:pt x="412030" y="154776"/>
                </a:lnTo>
                <a:lnTo>
                  <a:pt x="406460" y="155637"/>
                </a:lnTo>
                <a:lnTo>
                  <a:pt x="399422" y="156541"/>
                </a:lnTo>
                <a:lnTo>
                  <a:pt x="390970" y="157374"/>
                </a:lnTo>
                <a:lnTo>
                  <a:pt x="381162" y="158019"/>
                </a:lnTo>
                <a:lnTo>
                  <a:pt x="370054" y="158359"/>
                </a:lnTo>
                <a:lnTo>
                  <a:pt x="357702" y="158279"/>
                </a:lnTo>
                <a:lnTo>
                  <a:pt x="344161" y="157663"/>
                </a:lnTo>
                <a:lnTo>
                  <a:pt x="329489" y="156395"/>
                </a:lnTo>
                <a:lnTo>
                  <a:pt x="313741" y="154358"/>
                </a:lnTo>
                <a:lnTo>
                  <a:pt x="296974" y="151437"/>
                </a:lnTo>
                <a:lnTo>
                  <a:pt x="279244" y="147515"/>
                </a:lnTo>
                <a:lnTo>
                  <a:pt x="260607" y="142476"/>
                </a:lnTo>
                <a:lnTo>
                  <a:pt x="241119" y="136205"/>
                </a:lnTo>
                <a:lnTo>
                  <a:pt x="220836" y="128584"/>
                </a:lnTo>
                <a:lnTo>
                  <a:pt x="199815" y="119499"/>
                </a:lnTo>
                <a:lnTo>
                  <a:pt x="178112" y="108833"/>
                </a:lnTo>
                <a:lnTo>
                  <a:pt x="155783" y="96470"/>
                </a:lnTo>
                <a:lnTo>
                  <a:pt x="132884" y="82294"/>
                </a:lnTo>
                <a:lnTo>
                  <a:pt x="109472" y="66188"/>
                </a:lnTo>
                <a:lnTo>
                  <a:pt x="85602" y="48037"/>
                </a:lnTo>
                <a:lnTo>
                  <a:pt x="74895" y="40007"/>
                </a:lnTo>
                <a:lnTo>
                  <a:pt x="64337" y="31977"/>
                </a:lnTo>
                <a:lnTo>
                  <a:pt x="54079" y="23946"/>
                </a:lnTo>
                <a:lnTo>
                  <a:pt x="44270" y="15916"/>
                </a:lnTo>
                <a:lnTo>
                  <a:pt x="35061" y="7886"/>
                </a:lnTo>
                <a:lnTo>
                  <a:pt x="26746" y="0"/>
                </a:lnTo>
                <a:lnTo>
                  <a:pt x="19401" y="11096"/>
                </a:lnTo>
                <a:lnTo>
                  <a:pt x="12448" y="22192"/>
                </a:lnTo>
                <a:lnTo>
                  <a:pt x="6285" y="33288"/>
                </a:lnTo>
                <a:close/>
              </a:path>
            </a:pathLst>
          </a:custGeom>
          <a:solidFill>
            <a:srgbClr val="FFFFFF"/>
          </a:solidFill>
        </p:spPr>
        <p:txBody>
          <a:bodyPr wrap="square" lIns="0" tIns="0" rIns="0" bIns="0" rtlCol="0">
            <a:noAutofit/>
          </a:bodyPr>
          <a:lstStyle/>
          <a:p>
            <a:endParaRPr sz="1763"/>
          </a:p>
        </p:txBody>
      </p:sp>
      <p:sp>
        <p:nvSpPr>
          <p:cNvPr id="50" name="object 50"/>
          <p:cNvSpPr/>
          <p:nvPr/>
        </p:nvSpPr>
        <p:spPr>
          <a:xfrm>
            <a:off x="3500791" y="2300537"/>
            <a:ext cx="78624" cy="109783"/>
          </a:xfrm>
          <a:custGeom>
            <a:avLst/>
            <a:gdLst/>
            <a:ahLst/>
            <a:cxnLst/>
            <a:rect l="l" t="t" r="r" b="b"/>
            <a:pathLst>
              <a:path w="80262" h="112070">
                <a:moveTo>
                  <a:pt x="7722" y="61429"/>
                </a:moveTo>
                <a:lnTo>
                  <a:pt x="15576" y="70179"/>
                </a:lnTo>
                <a:lnTo>
                  <a:pt x="23691" y="79488"/>
                </a:lnTo>
                <a:lnTo>
                  <a:pt x="32201" y="89225"/>
                </a:lnTo>
                <a:lnTo>
                  <a:pt x="41235" y="99260"/>
                </a:lnTo>
                <a:lnTo>
                  <a:pt x="50927" y="109461"/>
                </a:lnTo>
                <a:lnTo>
                  <a:pt x="53516" y="112070"/>
                </a:lnTo>
                <a:lnTo>
                  <a:pt x="58012" y="100974"/>
                </a:lnTo>
                <a:lnTo>
                  <a:pt x="63828" y="89878"/>
                </a:lnTo>
                <a:lnTo>
                  <a:pt x="70564" y="78782"/>
                </a:lnTo>
                <a:lnTo>
                  <a:pt x="77824" y="67686"/>
                </a:lnTo>
                <a:lnTo>
                  <a:pt x="80262" y="64032"/>
                </a:lnTo>
                <a:lnTo>
                  <a:pt x="70488" y="53882"/>
                </a:lnTo>
                <a:lnTo>
                  <a:pt x="61520" y="43732"/>
                </a:lnTo>
                <a:lnTo>
                  <a:pt x="53359" y="33582"/>
                </a:lnTo>
                <a:lnTo>
                  <a:pt x="46004" y="23432"/>
                </a:lnTo>
                <a:lnTo>
                  <a:pt x="39456" y="13282"/>
                </a:lnTo>
                <a:lnTo>
                  <a:pt x="33715" y="3132"/>
                </a:lnTo>
                <a:lnTo>
                  <a:pt x="32106" y="0"/>
                </a:lnTo>
                <a:lnTo>
                  <a:pt x="25558" y="10363"/>
                </a:lnTo>
                <a:lnTo>
                  <a:pt x="19011" y="21519"/>
                </a:lnTo>
                <a:lnTo>
                  <a:pt x="12465" y="32925"/>
                </a:lnTo>
                <a:lnTo>
                  <a:pt x="5919" y="44034"/>
                </a:lnTo>
                <a:lnTo>
                  <a:pt x="0" y="53369"/>
                </a:lnTo>
                <a:lnTo>
                  <a:pt x="7722" y="61429"/>
                </a:lnTo>
                <a:close/>
              </a:path>
            </a:pathLst>
          </a:custGeom>
          <a:solidFill>
            <a:srgbClr val="FFFFFF"/>
          </a:solidFill>
        </p:spPr>
        <p:txBody>
          <a:bodyPr wrap="square" lIns="0" tIns="0" rIns="0" bIns="0" rtlCol="0">
            <a:noAutofit/>
          </a:bodyPr>
          <a:lstStyle/>
          <a:p>
            <a:endParaRPr sz="1763"/>
          </a:p>
        </p:txBody>
      </p:sp>
      <p:sp>
        <p:nvSpPr>
          <p:cNvPr id="51" name="object 51"/>
          <p:cNvSpPr/>
          <p:nvPr/>
        </p:nvSpPr>
        <p:spPr>
          <a:xfrm>
            <a:off x="3710471" y="2211662"/>
            <a:ext cx="288293" cy="240474"/>
          </a:xfrm>
          <a:custGeom>
            <a:avLst/>
            <a:gdLst/>
            <a:ahLst/>
            <a:cxnLst/>
            <a:rect l="l" t="t" r="r" b="b"/>
            <a:pathLst>
              <a:path w="294299" h="245484">
                <a:moveTo>
                  <a:pt x="17762" y="41799"/>
                </a:moveTo>
                <a:lnTo>
                  <a:pt x="35678" y="56724"/>
                </a:lnTo>
                <a:lnTo>
                  <a:pt x="53658" y="71407"/>
                </a:lnTo>
                <a:lnTo>
                  <a:pt x="71614" y="85811"/>
                </a:lnTo>
                <a:lnTo>
                  <a:pt x="89458" y="99894"/>
                </a:lnTo>
                <a:lnTo>
                  <a:pt x="107101" y="113617"/>
                </a:lnTo>
                <a:lnTo>
                  <a:pt x="124455" y="126939"/>
                </a:lnTo>
                <a:lnTo>
                  <a:pt x="141433" y="139821"/>
                </a:lnTo>
                <a:lnTo>
                  <a:pt x="157944" y="152223"/>
                </a:lnTo>
                <a:lnTo>
                  <a:pt x="173902" y="164104"/>
                </a:lnTo>
                <a:lnTo>
                  <a:pt x="189218" y="175425"/>
                </a:lnTo>
                <a:lnTo>
                  <a:pt x="203804" y="186145"/>
                </a:lnTo>
                <a:lnTo>
                  <a:pt x="217570" y="196225"/>
                </a:lnTo>
                <a:lnTo>
                  <a:pt x="230429" y="205624"/>
                </a:lnTo>
                <a:lnTo>
                  <a:pt x="242293" y="214302"/>
                </a:lnTo>
                <a:lnTo>
                  <a:pt x="253074" y="222220"/>
                </a:lnTo>
                <a:lnTo>
                  <a:pt x="262682" y="229337"/>
                </a:lnTo>
                <a:lnTo>
                  <a:pt x="271029" y="235613"/>
                </a:lnTo>
                <a:lnTo>
                  <a:pt x="278028" y="241009"/>
                </a:lnTo>
                <a:lnTo>
                  <a:pt x="283590" y="245484"/>
                </a:lnTo>
                <a:lnTo>
                  <a:pt x="290229" y="231803"/>
                </a:lnTo>
                <a:lnTo>
                  <a:pt x="294090" y="220879"/>
                </a:lnTo>
                <a:lnTo>
                  <a:pt x="294299" y="218809"/>
                </a:lnTo>
                <a:lnTo>
                  <a:pt x="288244" y="214407"/>
                </a:lnTo>
                <a:lnTo>
                  <a:pt x="281334" y="209221"/>
                </a:lnTo>
                <a:lnTo>
                  <a:pt x="273597" y="203267"/>
                </a:lnTo>
                <a:lnTo>
                  <a:pt x="265061" y="196561"/>
                </a:lnTo>
                <a:lnTo>
                  <a:pt x="255754" y="189118"/>
                </a:lnTo>
                <a:lnTo>
                  <a:pt x="245705" y="180955"/>
                </a:lnTo>
                <a:lnTo>
                  <a:pt x="234942" y="172088"/>
                </a:lnTo>
                <a:lnTo>
                  <a:pt x="223492" y="162532"/>
                </a:lnTo>
                <a:lnTo>
                  <a:pt x="211384" y="152305"/>
                </a:lnTo>
                <a:lnTo>
                  <a:pt x="198646" y="141420"/>
                </a:lnTo>
                <a:lnTo>
                  <a:pt x="185307" y="129896"/>
                </a:lnTo>
                <a:lnTo>
                  <a:pt x="171393" y="117747"/>
                </a:lnTo>
                <a:lnTo>
                  <a:pt x="156934" y="104990"/>
                </a:lnTo>
                <a:lnTo>
                  <a:pt x="141957" y="91640"/>
                </a:lnTo>
                <a:lnTo>
                  <a:pt x="126490" y="77714"/>
                </a:lnTo>
                <a:lnTo>
                  <a:pt x="110563" y="63228"/>
                </a:lnTo>
                <a:lnTo>
                  <a:pt x="94202" y="48197"/>
                </a:lnTo>
                <a:lnTo>
                  <a:pt x="77436" y="32639"/>
                </a:lnTo>
                <a:lnTo>
                  <a:pt x="60293" y="16567"/>
                </a:lnTo>
                <a:lnTo>
                  <a:pt x="42801" y="0"/>
                </a:lnTo>
                <a:lnTo>
                  <a:pt x="33787" y="4957"/>
                </a:lnTo>
                <a:lnTo>
                  <a:pt x="23244" y="11433"/>
                </a:lnTo>
                <a:lnTo>
                  <a:pt x="11692" y="18920"/>
                </a:lnTo>
                <a:lnTo>
                  <a:pt x="0" y="26675"/>
                </a:lnTo>
                <a:lnTo>
                  <a:pt x="17762" y="41799"/>
                </a:lnTo>
                <a:close/>
              </a:path>
            </a:pathLst>
          </a:custGeom>
          <a:solidFill>
            <a:srgbClr val="FFFFFF"/>
          </a:solidFill>
        </p:spPr>
        <p:txBody>
          <a:bodyPr wrap="square" lIns="0" tIns="0" rIns="0" bIns="0" rtlCol="0">
            <a:noAutofit/>
          </a:bodyPr>
          <a:lstStyle/>
          <a:p>
            <a:endParaRPr sz="1763"/>
          </a:p>
        </p:txBody>
      </p:sp>
      <p:sp>
        <p:nvSpPr>
          <p:cNvPr id="52" name="object 52"/>
          <p:cNvSpPr/>
          <p:nvPr/>
        </p:nvSpPr>
        <p:spPr>
          <a:xfrm>
            <a:off x="3574179" y="2060044"/>
            <a:ext cx="125801" cy="120246"/>
          </a:xfrm>
          <a:custGeom>
            <a:avLst/>
            <a:gdLst/>
            <a:ahLst/>
            <a:cxnLst/>
            <a:rect l="l" t="t" r="r" b="b"/>
            <a:pathLst>
              <a:path w="128422" h="122751">
                <a:moveTo>
                  <a:pt x="19238" y="46207"/>
                </a:moveTo>
                <a:lnTo>
                  <a:pt x="26325" y="55959"/>
                </a:lnTo>
                <a:lnTo>
                  <a:pt x="33791" y="65641"/>
                </a:lnTo>
                <a:lnTo>
                  <a:pt x="41662" y="75302"/>
                </a:lnTo>
                <a:lnTo>
                  <a:pt x="49963" y="84995"/>
                </a:lnTo>
                <a:lnTo>
                  <a:pt x="58721" y="94771"/>
                </a:lnTo>
                <a:lnTo>
                  <a:pt x="67960" y="104680"/>
                </a:lnTo>
                <a:lnTo>
                  <a:pt x="77707" y="114774"/>
                </a:lnTo>
                <a:lnTo>
                  <a:pt x="85620" y="122751"/>
                </a:lnTo>
                <a:lnTo>
                  <a:pt x="94630" y="114771"/>
                </a:lnTo>
                <a:lnTo>
                  <a:pt x="105166" y="107306"/>
                </a:lnTo>
                <a:lnTo>
                  <a:pt x="116714" y="100861"/>
                </a:lnTo>
                <a:lnTo>
                  <a:pt x="128422" y="96057"/>
                </a:lnTo>
                <a:lnTo>
                  <a:pt x="119066" y="86716"/>
                </a:lnTo>
                <a:lnTo>
                  <a:pt x="109992" y="77595"/>
                </a:lnTo>
                <a:lnTo>
                  <a:pt x="101170" y="68601"/>
                </a:lnTo>
                <a:lnTo>
                  <a:pt x="92569" y="59643"/>
                </a:lnTo>
                <a:lnTo>
                  <a:pt x="84156" y="50627"/>
                </a:lnTo>
                <a:lnTo>
                  <a:pt x="75902" y="41462"/>
                </a:lnTo>
                <a:lnTo>
                  <a:pt x="67775" y="32055"/>
                </a:lnTo>
                <a:lnTo>
                  <a:pt x="59745" y="22313"/>
                </a:lnTo>
                <a:lnTo>
                  <a:pt x="51779" y="12144"/>
                </a:lnTo>
                <a:lnTo>
                  <a:pt x="43848" y="1455"/>
                </a:lnTo>
                <a:lnTo>
                  <a:pt x="42801" y="0"/>
                </a:lnTo>
                <a:lnTo>
                  <a:pt x="30436" y="4448"/>
                </a:lnTo>
                <a:lnTo>
                  <a:pt x="19165" y="8900"/>
                </a:lnTo>
                <a:lnTo>
                  <a:pt x="7614" y="13351"/>
                </a:lnTo>
                <a:lnTo>
                  <a:pt x="0" y="16012"/>
                </a:lnTo>
                <a:lnTo>
                  <a:pt x="6101" y="26284"/>
                </a:lnTo>
                <a:lnTo>
                  <a:pt x="12505" y="36332"/>
                </a:lnTo>
                <a:lnTo>
                  <a:pt x="19238" y="46207"/>
                </a:lnTo>
                <a:close/>
              </a:path>
            </a:pathLst>
          </a:custGeom>
          <a:solidFill>
            <a:srgbClr val="FFFFFF"/>
          </a:solidFill>
        </p:spPr>
        <p:txBody>
          <a:bodyPr wrap="square" lIns="0" tIns="0" rIns="0" bIns="0" rtlCol="0">
            <a:noAutofit/>
          </a:bodyPr>
          <a:lstStyle/>
          <a:p>
            <a:endParaRPr sz="1763"/>
          </a:p>
        </p:txBody>
      </p:sp>
      <p:sp>
        <p:nvSpPr>
          <p:cNvPr id="53" name="object 53"/>
          <p:cNvSpPr/>
          <p:nvPr/>
        </p:nvSpPr>
        <p:spPr>
          <a:xfrm>
            <a:off x="3658052" y="2154142"/>
            <a:ext cx="94345" cy="83651"/>
          </a:xfrm>
          <a:custGeom>
            <a:avLst/>
            <a:gdLst/>
            <a:ahLst/>
            <a:cxnLst/>
            <a:rect l="l" t="t" r="r" b="b"/>
            <a:pathLst>
              <a:path w="96311" h="85394">
                <a:moveTo>
                  <a:pt x="0" y="26693"/>
                </a:moveTo>
                <a:lnTo>
                  <a:pt x="8067" y="36566"/>
                </a:lnTo>
                <a:lnTo>
                  <a:pt x="16692" y="45882"/>
                </a:lnTo>
                <a:lnTo>
                  <a:pt x="25612" y="54904"/>
                </a:lnTo>
                <a:lnTo>
                  <a:pt x="34566" y="63893"/>
                </a:lnTo>
                <a:lnTo>
                  <a:pt x="43291" y="73109"/>
                </a:lnTo>
                <a:lnTo>
                  <a:pt x="51526" y="82816"/>
                </a:lnTo>
                <a:lnTo>
                  <a:pt x="53510" y="85394"/>
                </a:lnTo>
                <a:lnTo>
                  <a:pt x="65546" y="77413"/>
                </a:lnTo>
                <a:lnTo>
                  <a:pt x="77076" y="69949"/>
                </a:lnTo>
                <a:lnTo>
                  <a:pt x="87581" y="63509"/>
                </a:lnTo>
                <a:lnTo>
                  <a:pt x="96311" y="58718"/>
                </a:lnTo>
                <a:lnTo>
                  <a:pt x="88246" y="48840"/>
                </a:lnTo>
                <a:lnTo>
                  <a:pt x="79622" y="39520"/>
                </a:lnTo>
                <a:lnTo>
                  <a:pt x="70703" y="30497"/>
                </a:lnTo>
                <a:lnTo>
                  <a:pt x="61751" y="21508"/>
                </a:lnTo>
                <a:lnTo>
                  <a:pt x="53027" y="12292"/>
                </a:lnTo>
                <a:lnTo>
                  <a:pt x="44793" y="2588"/>
                </a:lnTo>
                <a:lnTo>
                  <a:pt x="42801" y="0"/>
                </a:lnTo>
                <a:lnTo>
                  <a:pt x="30760" y="4966"/>
                </a:lnTo>
                <a:lnTo>
                  <a:pt x="19233" y="11446"/>
                </a:lnTo>
                <a:lnTo>
                  <a:pt x="8733" y="18933"/>
                </a:lnTo>
                <a:lnTo>
                  <a:pt x="0" y="26693"/>
                </a:lnTo>
                <a:close/>
              </a:path>
            </a:pathLst>
          </a:custGeom>
          <a:solidFill>
            <a:srgbClr val="FFFFFF"/>
          </a:solidFill>
        </p:spPr>
        <p:txBody>
          <a:bodyPr wrap="square" lIns="0" tIns="0" rIns="0" bIns="0" rtlCol="0">
            <a:noAutofit/>
          </a:bodyPr>
          <a:lstStyle/>
          <a:p>
            <a:endParaRPr sz="1763"/>
          </a:p>
        </p:txBody>
      </p:sp>
      <p:sp>
        <p:nvSpPr>
          <p:cNvPr id="54" name="object 54"/>
          <p:cNvSpPr/>
          <p:nvPr/>
        </p:nvSpPr>
        <p:spPr>
          <a:xfrm>
            <a:off x="3819489" y="2294252"/>
            <a:ext cx="129282" cy="128943"/>
          </a:xfrm>
          <a:custGeom>
            <a:avLst/>
            <a:gdLst/>
            <a:ahLst/>
            <a:cxnLst/>
            <a:rect l="l" t="t" r="r" b="b"/>
            <a:pathLst>
              <a:path w="131975" h="131629">
                <a:moveTo>
                  <a:pt x="27824" y="17079"/>
                </a:moveTo>
                <a:lnTo>
                  <a:pt x="17879" y="24990"/>
                </a:lnTo>
                <a:lnTo>
                  <a:pt x="10076" y="33965"/>
                </a:lnTo>
                <a:lnTo>
                  <a:pt x="4462" y="43811"/>
                </a:lnTo>
                <a:lnTo>
                  <a:pt x="1087" y="54339"/>
                </a:lnTo>
                <a:lnTo>
                  <a:pt x="0" y="65357"/>
                </a:lnTo>
                <a:lnTo>
                  <a:pt x="1247" y="76674"/>
                </a:lnTo>
                <a:lnTo>
                  <a:pt x="4877" y="88099"/>
                </a:lnTo>
                <a:lnTo>
                  <a:pt x="10939" y="99441"/>
                </a:lnTo>
                <a:lnTo>
                  <a:pt x="17133" y="107805"/>
                </a:lnTo>
                <a:lnTo>
                  <a:pt x="25525" y="116510"/>
                </a:lnTo>
                <a:lnTo>
                  <a:pt x="35090" y="123300"/>
                </a:lnTo>
                <a:lnTo>
                  <a:pt x="45603" y="128120"/>
                </a:lnTo>
                <a:lnTo>
                  <a:pt x="56840" y="130915"/>
                </a:lnTo>
                <a:lnTo>
                  <a:pt x="68577" y="131629"/>
                </a:lnTo>
                <a:lnTo>
                  <a:pt x="80590" y="130206"/>
                </a:lnTo>
                <a:lnTo>
                  <a:pt x="92655" y="126590"/>
                </a:lnTo>
                <a:lnTo>
                  <a:pt x="104547" y="120726"/>
                </a:lnTo>
                <a:lnTo>
                  <a:pt x="116831" y="109895"/>
                </a:lnTo>
                <a:lnTo>
                  <a:pt x="123641" y="99837"/>
                </a:lnTo>
                <a:lnTo>
                  <a:pt x="128473" y="88704"/>
                </a:lnTo>
                <a:lnTo>
                  <a:pt x="131270" y="76889"/>
                </a:lnTo>
                <a:lnTo>
                  <a:pt x="131975" y="64785"/>
                </a:lnTo>
                <a:lnTo>
                  <a:pt x="130531" y="52783"/>
                </a:lnTo>
                <a:lnTo>
                  <a:pt x="126882" y="41278"/>
                </a:lnTo>
                <a:lnTo>
                  <a:pt x="120971" y="30660"/>
                </a:lnTo>
                <a:lnTo>
                  <a:pt x="110680" y="17843"/>
                </a:lnTo>
                <a:lnTo>
                  <a:pt x="101230" y="10061"/>
                </a:lnTo>
                <a:lnTo>
                  <a:pt x="90775" y="4462"/>
                </a:lnTo>
                <a:lnTo>
                  <a:pt x="79649" y="1092"/>
                </a:lnTo>
                <a:lnTo>
                  <a:pt x="68186" y="0"/>
                </a:lnTo>
                <a:lnTo>
                  <a:pt x="56721" y="1232"/>
                </a:lnTo>
                <a:lnTo>
                  <a:pt x="45588" y="4836"/>
                </a:lnTo>
                <a:lnTo>
                  <a:pt x="35121" y="10860"/>
                </a:lnTo>
                <a:lnTo>
                  <a:pt x="27824" y="17079"/>
                </a:lnTo>
                <a:close/>
              </a:path>
            </a:pathLst>
          </a:custGeom>
          <a:solidFill>
            <a:srgbClr val="FFFFFF"/>
          </a:solidFill>
        </p:spPr>
        <p:txBody>
          <a:bodyPr wrap="square" lIns="0" tIns="0" rIns="0" bIns="0" rtlCol="0">
            <a:noAutofit/>
          </a:bodyPr>
          <a:lstStyle/>
          <a:p>
            <a:endParaRPr sz="1763"/>
          </a:p>
        </p:txBody>
      </p:sp>
      <p:sp>
        <p:nvSpPr>
          <p:cNvPr id="55" name="object 55"/>
          <p:cNvSpPr/>
          <p:nvPr/>
        </p:nvSpPr>
        <p:spPr>
          <a:xfrm>
            <a:off x="3691168" y="2455141"/>
            <a:ext cx="115939" cy="119530"/>
          </a:xfrm>
          <a:custGeom>
            <a:avLst/>
            <a:gdLst/>
            <a:ahLst/>
            <a:cxnLst/>
            <a:rect l="l" t="t" r="r" b="b"/>
            <a:pathLst>
              <a:path w="118354" h="122020">
                <a:moveTo>
                  <a:pt x="25049" y="12945"/>
                </a:moveTo>
                <a:lnTo>
                  <a:pt x="15732" y="21989"/>
                </a:lnTo>
                <a:lnTo>
                  <a:pt x="8567" y="32297"/>
                </a:lnTo>
                <a:lnTo>
                  <a:pt x="3557" y="43521"/>
                </a:lnTo>
                <a:lnTo>
                  <a:pt x="701" y="55314"/>
                </a:lnTo>
                <a:lnTo>
                  <a:pt x="0" y="67326"/>
                </a:lnTo>
                <a:lnTo>
                  <a:pt x="1453" y="79210"/>
                </a:lnTo>
                <a:lnTo>
                  <a:pt x="5063" y="90618"/>
                </a:lnTo>
                <a:lnTo>
                  <a:pt x="8994" y="98336"/>
                </a:lnTo>
                <a:lnTo>
                  <a:pt x="17786" y="107387"/>
                </a:lnTo>
                <a:lnTo>
                  <a:pt x="27783" y="114344"/>
                </a:lnTo>
                <a:lnTo>
                  <a:pt x="38667" y="119145"/>
                </a:lnTo>
                <a:lnTo>
                  <a:pt x="50116" y="121725"/>
                </a:lnTo>
                <a:lnTo>
                  <a:pt x="61812" y="122020"/>
                </a:lnTo>
                <a:lnTo>
                  <a:pt x="73434" y="119966"/>
                </a:lnTo>
                <a:lnTo>
                  <a:pt x="84662" y="115499"/>
                </a:lnTo>
                <a:lnTo>
                  <a:pt x="94615" y="109007"/>
                </a:lnTo>
                <a:lnTo>
                  <a:pt x="103698" y="100228"/>
                </a:lnTo>
                <a:lnTo>
                  <a:pt x="110678" y="90243"/>
                </a:lnTo>
                <a:lnTo>
                  <a:pt x="115490" y="79373"/>
                </a:lnTo>
                <a:lnTo>
                  <a:pt x="118071" y="67938"/>
                </a:lnTo>
                <a:lnTo>
                  <a:pt x="118354" y="56260"/>
                </a:lnTo>
                <a:lnTo>
                  <a:pt x="116276" y="44659"/>
                </a:lnTo>
                <a:lnTo>
                  <a:pt x="111770" y="33456"/>
                </a:lnTo>
                <a:lnTo>
                  <a:pt x="105306" y="23626"/>
                </a:lnTo>
                <a:lnTo>
                  <a:pt x="97919" y="14199"/>
                </a:lnTo>
                <a:lnTo>
                  <a:pt x="88745" y="7070"/>
                </a:lnTo>
                <a:lnTo>
                  <a:pt x="78223" y="2313"/>
                </a:lnTo>
                <a:lnTo>
                  <a:pt x="66793" y="0"/>
                </a:lnTo>
                <a:lnTo>
                  <a:pt x="54896" y="203"/>
                </a:lnTo>
                <a:lnTo>
                  <a:pt x="42972" y="2997"/>
                </a:lnTo>
                <a:lnTo>
                  <a:pt x="31460" y="8454"/>
                </a:lnTo>
                <a:lnTo>
                  <a:pt x="25049" y="12945"/>
                </a:lnTo>
                <a:close/>
              </a:path>
            </a:pathLst>
          </a:custGeom>
          <a:solidFill>
            <a:srgbClr val="FFFFFF"/>
          </a:solidFill>
        </p:spPr>
        <p:txBody>
          <a:bodyPr wrap="square" lIns="0" tIns="0" rIns="0" bIns="0" rtlCol="0">
            <a:noAutofit/>
          </a:bodyPr>
          <a:lstStyle/>
          <a:p>
            <a:endParaRPr sz="1763"/>
          </a:p>
        </p:txBody>
      </p:sp>
      <p:sp>
        <p:nvSpPr>
          <p:cNvPr id="56" name="object 56"/>
          <p:cNvSpPr/>
          <p:nvPr/>
        </p:nvSpPr>
        <p:spPr>
          <a:xfrm>
            <a:off x="3454395" y="2261041"/>
            <a:ext cx="180332" cy="179865"/>
          </a:xfrm>
          <a:custGeom>
            <a:avLst/>
            <a:gdLst/>
            <a:ahLst/>
            <a:cxnLst/>
            <a:rect l="l" t="t" r="r" b="b"/>
            <a:pathLst>
              <a:path w="184089" h="183612">
                <a:moveTo>
                  <a:pt x="36666" y="18956"/>
                </a:moveTo>
                <a:lnTo>
                  <a:pt x="26668" y="27564"/>
                </a:lnTo>
                <a:lnTo>
                  <a:pt x="18257" y="37132"/>
                </a:lnTo>
                <a:lnTo>
                  <a:pt x="11432" y="47487"/>
                </a:lnTo>
                <a:lnTo>
                  <a:pt x="6194" y="58460"/>
                </a:lnTo>
                <a:lnTo>
                  <a:pt x="2543" y="69879"/>
                </a:lnTo>
                <a:lnTo>
                  <a:pt x="478" y="81573"/>
                </a:lnTo>
                <a:lnTo>
                  <a:pt x="0" y="93372"/>
                </a:lnTo>
                <a:lnTo>
                  <a:pt x="1108" y="105105"/>
                </a:lnTo>
                <a:lnTo>
                  <a:pt x="3802" y="116601"/>
                </a:lnTo>
                <a:lnTo>
                  <a:pt x="8084" y="127688"/>
                </a:lnTo>
                <a:lnTo>
                  <a:pt x="13952" y="138196"/>
                </a:lnTo>
                <a:lnTo>
                  <a:pt x="20607" y="147038"/>
                </a:lnTo>
                <a:lnTo>
                  <a:pt x="27992" y="157000"/>
                </a:lnTo>
                <a:lnTo>
                  <a:pt x="36563" y="165382"/>
                </a:lnTo>
                <a:lnTo>
                  <a:pt x="46149" y="172186"/>
                </a:lnTo>
                <a:lnTo>
                  <a:pt x="56579" y="177410"/>
                </a:lnTo>
                <a:lnTo>
                  <a:pt x="67683" y="181056"/>
                </a:lnTo>
                <a:lnTo>
                  <a:pt x="79290" y="183123"/>
                </a:lnTo>
                <a:lnTo>
                  <a:pt x="91229" y="183612"/>
                </a:lnTo>
                <a:lnTo>
                  <a:pt x="103330" y="182522"/>
                </a:lnTo>
                <a:lnTo>
                  <a:pt x="115422" y="179853"/>
                </a:lnTo>
                <a:lnTo>
                  <a:pt x="127333" y="175607"/>
                </a:lnTo>
                <a:lnTo>
                  <a:pt x="138895" y="169781"/>
                </a:lnTo>
                <a:lnTo>
                  <a:pt x="149044" y="163051"/>
                </a:lnTo>
                <a:lnTo>
                  <a:pt x="157905" y="155677"/>
                </a:lnTo>
                <a:lnTo>
                  <a:pt x="165576" y="147118"/>
                </a:lnTo>
                <a:lnTo>
                  <a:pt x="172001" y="137544"/>
                </a:lnTo>
                <a:lnTo>
                  <a:pt x="177122" y="127126"/>
                </a:lnTo>
                <a:lnTo>
                  <a:pt x="180882" y="116035"/>
                </a:lnTo>
                <a:lnTo>
                  <a:pt x="183224" y="104442"/>
                </a:lnTo>
                <a:lnTo>
                  <a:pt x="184089" y="92518"/>
                </a:lnTo>
                <a:lnTo>
                  <a:pt x="183421" y="80433"/>
                </a:lnTo>
                <a:lnTo>
                  <a:pt x="181164" y="68360"/>
                </a:lnTo>
                <a:lnTo>
                  <a:pt x="177258" y="56468"/>
                </a:lnTo>
                <a:lnTo>
                  <a:pt x="171648" y="44928"/>
                </a:lnTo>
                <a:lnTo>
                  <a:pt x="165080" y="34968"/>
                </a:lnTo>
                <a:lnTo>
                  <a:pt x="156460" y="26136"/>
                </a:lnTo>
                <a:lnTo>
                  <a:pt x="146879" y="18488"/>
                </a:lnTo>
                <a:lnTo>
                  <a:pt x="136510" y="12081"/>
                </a:lnTo>
                <a:lnTo>
                  <a:pt x="125523" y="6972"/>
                </a:lnTo>
                <a:lnTo>
                  <a:pt x="114089" y="3217"/>
                </a:lnTo>
                <a:lnTo>
                  <a:pt x="102379" y="874"/>
                </a:lnTo>
                <a:lnTo>
                  <a:pt x="90562" y="0"/>
                </a:lnTo>
                <a:lnTo>
                  <a:pt x="78811" y="650"/>
                </a:lnTo>
                <a:lnTo>
                  <a:pt x="67296" y="2883"/>
                </a:lnTo>
                <a:lnTo>
                  <a:pt x="56188" y="6754"/>
                </a:lnTo>
                <a:lnTo>
                  <a:pt x="45657" y="12322"/>
                </a:lnTo>
                <a:lnTo>
                  <a:pt x="36666" y="18956"/>
                </a:lnTo>
                <a:close/>
              </a:path>
            </a:pathLst>
          </a:custGeom>
          <a:solidFill>
            <a:srgbClr val="FFFFFF"/>
          </a:solidFill>
        </p:spPr>
        <p:txBody>
          <a:bodyPr wrap="square" lIns="0" tIns="0" rIns="0" bIns="0" rtlCol="0">
            <a:noAutofit/>
          </a:bodyPr>
          <a:lstStyle/>
          <a:p>
            <a:endParaRPr sz="1763"/>
          </a:p>
        </p:txBody>
      </p:sp>
      <p:sp>
        <p:nvSpPr>
          <p:cNvPr id="57" name="object 57"/>
          <p:cNvSpPr/>
          <p:nvPr/>
        </p:nvSpPr>
        <p:spPr>
          <a:xfrm>
            <a:off x="2588685" y="3915934"/>
            <a:ext cx="6870316" cy="349338"/>
          </a:xfrm>
          <a:custGeom>
            <a:avLst/>
            <a:gdLst/>
            <a:ahLst/>
            <a:cxnLst/>
            <a:rect l="l" t="t" r="r" b="b"/>
            <a:pathLst>
              <a:path w="7013448" h="356616">
                <a:moveTo>
                  <a:pt x="0" y="356615"/>
                </a:moveTo>
                <a:lnTo>
                  <a:pt x="7013448" y="356615"/>
                </a:lnTo>
                <a:lnTo>
                  <a:pt x="7013448" y="0"/>
                </a:lnTo>
                <a:lnTo>
                  <a:pt x="0" y="0"/>
                </a:lnTo>
                <a:lnTo>
                  <a:pt x="0" y="356615"/>
                </a:lnTo>
                <a:close/>
              </a:path>
            </a:pathLst>
          </a:custGeom>
          <a:solidFill>
            <a:srgbClr val="0071C5"/>
          </a:solidFill>
        </p:spPr>
        <p:txBody>
          <a:bodyPr wrap="square" lIns="0" tIns="0" rIns="0" bIns="0" rtlCol="0">
            <a:noAutofit/>
          </a:bodyPr>
          <a:lstStyle/>
          <a:p>
            <a:endParaRPr sz="1763"/>
          </a:p>
        </p:txBody>
      </p:sp>
      <p:sp>
        <p:nvSpPr>
          <p:cNvPr id="58" name="object 58"/>
          <p:cNvSpPr/>
          <p:nvPr/>
        </p:nvSpPr>
        <p:spPr>
          <a:xfrm>
            <a:off x="5687940" y="4121952"/>
            <a:ext cx="671804" cy="662847"/>
          </a:xfrm>
          <a:prstGeom prst="rect">
            <a:avLst/>
          </a:prstGeom>
          <a:blipFill>
            <a:blip r:embed="rId2" cstate="print"/>
            <a:stretch>
              <a:fillRect/>
            </a:stretch>
          </a:blipFill>
        </p:spPr>
        <p:txBody>
          <a:bodyPr wrap="square" lIns="0" tIns="0" rIns="0" bIns="0" rtlCol="0">
            <a:noAutofit/>
          </a:bodyPr>
          <a:lstStyle/>
          <a:p>
            <a:endParaRPr sz="1763"/>
          </a:p>
        </p:txBody>
      </p:sp>
      <p:sp>
        <p:nvSpPr>
          <p:cNvPr id="59" name="object 59"/>
          <p:cNvSpPr/>
          <p:nvPr/>
        </p:nvSpPr>
        <p:spPr>
          <a:xfrm>
            <a:off x="214977" y="4265272"/>
            <a:ext cx="11752093" cy="2337878"/>
          </a:xfrm>
          <a:custGeom>
            <a:avLst/>
            <a:gdLst/>
            <a:ahLst/>
            <a:cxnLst/>
            <a:rect l="l" t="t" r="r" b="b"/>
            <a:pathLst>
              <a:path w="11996928" h="2386584">
                <a:moveTo>
                  <a:pt x="0" y="2386584"/>
                </a:moveTo>
                <a:lnTo>
                  <a:pt x="11996928" y="2386584"/>
                </a:lnTo>
                <a:lnTo>
                  <a:pt x="11996928" y="0"/>
                </a:lnTo>
                <a:lnTo>
                  <a:pt x="0" y="0"/>
                </a:lnTo>
                <a:lnTo>
                  <a:pt x="0" y="2386584"/>
                </a:lnTo>
                <a:close/>
              </a:path>
            </a:pathLst>
          </a:custGeom>
          <a:solidFill>
            <a:schemeClr val="bg2">
              <a:lumMod val="50000"/>
            </a:schemeClr>
          </a:solidFill>
        </p:spPr>
        <p:txBody>
          <a:bodyPr wrap="square" lIns="0" tIns="0" rIns="0" bIns="0" rtlCol="0">
            <a:noAutofit/>
          </a:bodyPr>
          <a:lstStyle/>
          <a:p>
            <a:endParaRPr sz="1763"/>
          </a:p>
        </p:txBody>
      </p:sp>
      <p:sp>
        <p:nvSpPr>
          <p:cNvPr id="60" name="object 60"/>
          <p:cNvSpPr/>
          <p:nvPr/>
        </p:nvSpPr>
        <p:spPr>
          <a:xfrm>
            <a:off x="214977" y="270276"/>
            <a:ext cx="3860634" cy="3896464"/>
          </a:xfrm>
          <a:custGeom>
            <a:avLst/>
            <a:gdLst/>
            <a:ahLst/>
            <a:cxnLst/>
            <a:rect l="l" t="t" r="r" b="b"/>
            <a:pathLst>
              <a:path w="3941064" h="3977640">
                <a:moveTo>
                  <a:pt x="0" y="3977640"/>
                </a:moveTo>
                <a:lnTo>
                  <a:pt x="3941064" y="3977640"/>
                </a:lnTo>
                <a:lnTo>
                  <a:pt x="3941064" y="0"/>
                </a:lnTo>
                <a:lnTo>
                  <a:pt x="0" y="0"/>
                </a:lnTo>
                <a:lnTo>
                  <a:pt x="0" y="3977640"/>
                </a:lnTo>
                <a:close/>
              </a:path>
            </a:pathLst>
          </a:custGeom>
          <a:solidFill>
            <a:schemeClr val="bg2">
              <a:lumMod val="50000"/>
            </a:schemeClr>
          </a:solidFill>
        </p:spPr>
        <p:txBody>
          <a:bodyPr wrap="square" lIns="0" tIns="0" rIns="0" bIns="0" rtlCol="0">
            <a:noAutofit/>
          </a:bodyPr>
          <a:lstStyle/>
          <a:p>
            <a:endParaRPr sz="1763"/>
          </a:p>
        </p:txBody>
      </p:sp>
      <p:sp>
        <p:nvSpPr>
          <p:cNvPr id="61" name="object 61"/>
          <p:cNvSpPr/>
          <p:nvPr/>
        </p:nvSpPr>
        <p:spPr>
          <a:xfrm>
            <a:off x="8016863" y="1604926"/>
            <a:ext cx="98530" cy="2185603"/>
          </a:xfrm>
          <a:custGeom>
            <a:avLst/>
            <a:gdLst/>
            <a:ahLst/>
            <a:cxnLst/>
            <a:rect l="l" t="t" r="r" b="b"/>
            <a:pathLst>
              <a:path w="100583" h="2231136">
                <a:moveTo>
                  <a:pt x="0" y="2231136"/>
                </a:moveTo>
                <a:lnTo>
                  <a:pt x="100583" y="2231136"/>
                </a:lnTo>
                <a:lnTo>
                  <a:pt x="100583" y="0"/>
                </a:lnTo>
                <a:lnTo>
                  <a:pt x="0" y="0"/>
                </a:lnTo>
                <a:lnTo>
                  <a:pt x="0" y="2231136"/>
                </a:lnTo>
                <a:close/>
              </a:path>
            </a:pathLst>
          </a:custGeom>
          <a:solidFill>
            <a:srgbClr val="0071C5"/>
          </a:solidFill>
        </p:spPr>
        <p:txBody>
          <a:bodyPr wrap="square" lIns="0" tIns="0" rIns="0" bIns="0" rtlCol="0">
            <a:noAutofit/>
          </a:bodyPr>
          <a:lstStyle/>
          <a:p>
            <a:endParaRPr sz="1763"/>
          </a:p>
        </p:txBody>
      </p:sp>
      <p:sp>
        <p:nvSpPr>
          <p:cNvPr id="62" name="object 62"/>
          <p:cNvSpPr/>
          <p:nvPr/>
        </p:nvSpPr>
        <p:spPr>
          <a:xfrm>
            <a:off x="8349108" y="2300215"/>
            <a:ext cx="97486" cy="174375"/>
          </a:xfrm>
          <a:custGeom>
            <a:avLst/>
            <a:gdLst/>
            <a:ahLst/>
            <a:cxnLst/>
            <a:rect l="l" t="t" r="r" b="b"/>
            <a:pathLst>
              <a:path w="99517" h="178008">
                <a:moveTo>
                  <a:pt x="0" y="178008"/>
                </a:moveTo>
                <a:lnTo>
                  <a:pt x="99517" y="120421"/>
                </a:lnTo>
                <a:lnTo>
                  <a:pt x="99517" y="0"/>
                </a:lnTo>
                <a:lnTo>
                  <a:pt x="0" y="62834"/>
                </a:lnTo>
                <a:lnTo>
                  <a:pt x="0" y="178008"/>
                </a:lnTo>
                <a:close/>
              </a:path>
            </a:pathLst>
          </a:custGeom>
          <a:solidFill>
            <a:srgbClr val="FFFFFF"/>
          </a:solidFill>
        </p:spPr>
        <p:txBody>
          <a:bodyPr wrap="square" lIns="0" tIns="0" rIns="0" bIns="0" rtlCol="0">
            <a:noAutofit/>
          </a:bodyPr>
          <a:lstStyle/>
          <a:p>
            <a:endParaRPr sz="1763"/>
          </a:p>
        </p:txBody>
      </p:sp>
      <p:sp>
        <p:nvSpPr>
          <p:cNvPr id="63" name="object 63"/>
          <p:cNvSpPr/>
          <p:nvPr/>
        </p:nvSpPr>
        <p:spPr>
          <a:xfrm>
            <a:off x="8225975" y="2300215"/>
            <a:ext cx="97488" cy="174375"/>
          </a:xfrm>
          <a:custGeom>
            <a:avLst/>
            <a:gdLst/>
            <a:ahLst/>
            <a:cxnLst/>
            <a:rect l="l" t="t" r="r" b="b"/>
            <a:pathLst>
              <a:path w="99519" h="178008">
                <a:moveTo>
                  <a:pt x="0" y="120421"/>
                </a:moveTo>
                <a:lnTo>
                  <a:pt x="99519" y="178008"/>
                </a:lnTo>
                <a:lnTo>
                  <a:pt x="99519" y="62835"/>
                </a:lnTo>
                <a:lnTo>
                  <a:pt x="0" y="0"/>
                </a:lnTo>
                <a:lnTo>
                  <a:pt x="0" y="120421"/>
                </a:lnTo>
                <a:close/>
              </a:path>
            </a:pathLst>
          </a:custGeom>
          <a:solidFill>
            <a:srgbClr val="FFFFFF"/>
          </a:solidFill>
        </p:spPr>
        <p:txBody>
          <a:bodyPr wrap="square" lIns="0" tIns="0" rIns="0" bIns="0" rtlCol="0">
            <a:noAutofit/>
          </a:bodyPr>
          <a:lstStyle/>
          <a:p>
            <a:endParaRPr sz="1763"/>
          </a:p>
        </p:txBody>
      </p:sp>
      <p:sp>
        <p:nvSpPr>
          <p:cNvPr id="64" name="object 64"/>
          <p:cNvSpPr/>
          <p:nvPr/>
        </p:nvSpPr>
        <p:spPr>
          <a:xfrm>
            <a:off x="8236240" y="2213027"/>
            <a:ext cx="205211" cy="123088"/>
          </a:xfrm>
          <a:custGeom>
            <a:avLst/>
            <a:gdLst/>
            <a:ahLst/>
            <a:cxnLst/>
            <a:rect l="l" t="t" r="r" b="b"/>
            <a:pathLst>
              <a:path w="209486" h="125652">
                <a:moveTo>
                  <a:pt x="99504" y="0"/>
                </a:moveTo>
                <a:lnTo>
                  <a:pt x="0" y="57586"/>
                </a:lnTo>
                <a:lnTo>
                  <a:pt x="99504" y="125652"/>
                </a:lnTo>
                <a:lnTo>
                  <a:pt x="209486" y="57586"/>
                </a:lnTo>
                <a:lnTo>
                  <a:pt x="99504" y="0"/>
                </a:lnTo>
                <a:close/>
              </a:path>
            </a:pathLst>
          </a:custGeom>
          <a:solidFill>
            <a:srgbClr val="FFFFFF"/>
          </a:solidFill>
        </p:spPr>
        <p:txBody>
          <a:bodyPr wrap="square" lIns="0" tIns="0" rIns="0" bIns="0" rtlCol="0">
            <a:noAutofit/>
          </a:bodyPr>
          <a:lstStyle/>
          <a:p>
            <a:endParaRPr sz="1763"/>
          </a:p>
        </p:txBody>
      </p:sp>
      <p:sp>
        <p:nvSpPr>
          <p:cNvPr id="65" name="object 65"/>
          <p:cNvSpPr/>
          <p:nvPr/>
        </p:nvSpPr>
        <p:spPr>
          <a:xfrm>
            <a:off x="8198767" y="2573853"/>
            <a:ext cx="343903" cy="131529"/>
          </a:xfrm>
          <a:custGeom>
            <a:avLst/>
            <a:gdLst/>
            <a:ahLst/>
            <a:cxnLst/>
            <a:rect l="l" t="t" r="r" b="b"/>
            <a:pathLst>
              <a:path w="351068" h="134269">
                <a:moveTo>
                  <a:pt x="50425" y="134269"/>
                </a:moveTo>
                <a:lnTo>
                  <a:pt x="95548" y="134269"/>
                </a:lnTo>
                <a:lnTo>
                  <a:pt x="106329" y="92387"/>
                </a:lnTo>
                <a:lnTo>
                  <a:pt x="89898" y="89427"/>
                </a:lnTo>
                <a:lnTo>
                  <a:pt x="82023" y="86253"/>
                </a:lnTo>
                <a:lnTo>
                  <a:pt x="80151" y="76680"/>
                </a:lnTo>
                <a:lnTo>
                  <a:pt x="84377" y="66750"/>
                </a:lnTo>
                <a:lnTo>
                  <a:pt x="95910" y="59619"/>
                </a:lnTo>
                <a:lnTo>
                  <a:pt x="106329" y="55736"/>
                </a:lnTo>
                <a:lnTo>
                  <a:pt x="184900" y="55736"/>
                </a:lnTo>
                <a:lnTo>
                  <a:pt x="196443" y="63954"/>
                </a:lnTo>
                <a:lnTo>
                  <a:pt x="200600" y="75754"/>
                </a:lnTo>
                <a:lnTo>
                  <a:pt x="200615" y="87150"/>
                </a:lnTo>
                <a:lnTo>
                  <a:pt x="195365" y="92387"/>
                </a:lnTo>
                <a:lnTo>
                  <a:pt x="179668" y="92387"/>
                </a:lnTo>
                <a:lnTo>
                  <a:pt x="171063" y="134269"/>
                </a:lnTo>
                <a:lnTo>
                  <a:pt x="336775" y="134269"/>
                </a:lnTo>
                <a:lnTo>
                  <a:pt x="351068" y="132097"/>
                </a:lnTo>
                <a:lnTo>
                  <a:pt x="336775" y="0"/>
                </a:lnTo>
                <a:lnTo>
                  <a:pt x="336775" y="13853"/>
                </a:lnTo>
                <a:lnTo>
                  <a:pt x="13696" y="13852"/>
                </a:lnTo>
                <a:lnTo>
                  <a:pt x="0" y="134269"/>
                </a:lnTo>
                <a:lnTo>
                  <a:pt x="50425" y="134269"/>
                </a:lnTo>
                <a:close/>
              </a:path>
            </a:pathLst>
          </a:custGeom>
          <a:solidFill>
            <a:srgbClr val="FFFFFF"/>
          </a:solidFill>
        </p:spPr>
        <p:txBody>
          <a:bodyPr wrap="square" lIns="0" tIns="0" rIns="0" bIns="0" rtlCol="0">
            <a:noAutofit/>
          </a:bodyPr>
          <a:lstStyle/>
          <a:p>
            <a:endParaRPr sz="1763"/>
          </a:p>
        </p:txBody>
      </p:sp>
      <p:sp>
        <p:nvSpPr>
          <p:cNvPr id="66" name="object 66"/>
          <p:cNvSpPr/>
          <p:nvPr/>
        </p:nvSpPr>
        <p:spPr>
          <a:xfrm>
            <a:off x="8102847" y="2007875"/>
            <a:ext cx="472002" cy="697507"/>
          </a:xfrm>
          <a:custGeom>
            <a:avLst/>
            <a:gdLst/>
            <a:ahLst/>
            <a:cxnLst/>
            <a:rect l="l" t="t" r="r" b="b"/>
            <a:pathLst>
              <a:path w="481835" h="712038">
                <a:moveTo>
                  <a:pt x="0" y="588349"/>
                </a:moveTo>
                <a:lnTo>
                  <a:pt x="0" y="664919"/>
                </a:lnTo>
                <a:lnTo>
                  <a:pt x="2377" y="679973"/>
                </a:lnTo>
                <a:lnTo>
                  <a:pt x="8826" y="692981"/>
                </a:lnTo>
                <a:lnTo>
                  <a:pt x="18320" y="703174"/>
                </a:lnTo>
                <a:lnTo>
                  <a:pt x="29834" y="709782"/>
                </a:lnTo>
                <a:lnTo>
                  <a:pt x="41895" y="712038"/>
                </a:lnTo>
                <a:lnTo>
                  <a:pt x="97917" y="712038"/>
                </a:lnTo>
                <a:lnTo>
                  <a:pt x="111614" y="591622"/>
                </a:lnTo>
                <a:lnTo>
                  <a:pt x="47134" y="591622"/>
                </a:lnTo>
                <a:lnTo>
                  <a:pt x="47134" y="78543"/>
                </a:lnTo>
                <a:lnTo>
                  <a:pt x="196683" y="78543"/>
                </a:lnTo>
                <a:lnTo>
                  <a:pt x="194328" y="52356"/>
                </a:lnTo>
                <a:lnTo>
                  <a:pt x="146641" y="52356"/>
                </a:lnTo>
                <a:lnTo>
                  <a:pt x="146641" y="41878"/>
                </a:lnTo>
                <a:lnTo>
                  <a:pt x="152842" y="28328"/>
                </a:lnTo>
                <a:lnTo>
                  <a:pt x="166661" y="26187"/>
                </a:lnTo>
                <a:lnTo>
                  <a:pt x="314247" y="26187"/>
                </a:lnTo>
                <a:lnTo>
                  <a:pt x="328291" y="27983"/>
                </a:lnTo>
                <a:lnTo>
                  <a:pt x="335149" y="40554"/>
                </a:lnTo>
                <a:lnTo>
                  <a:pt x="335175" y="52356"/>
                </a:lnTo>
                <a:lnTo>
                  <a:pt x="227070" y="52356"/>
                </a:lnTo>
                <a:lnTo>
                  <a:pt x="236263" y="78543"/>
                </a:lnTo>
                <a:lnTo>
                  <a:pt x="434693" y="78543"/>
                </a:lnTo>
                <a:lnTo>
                  <a:pt x="434693" y="577769"/>
                </a:lnTo>
                <a:lnTo>
                  <a:pt x="448986" y="709867"/>
                </a:lnTo>
                <a:lnTo>
                  <a:pt x="471537" y="694445"/>
                </a:lnTo>
                <a:lnTo>
                  <a:pt x="481696" y="668598"/>
                </a:lnTo>
                <a:lnTo>
                  <a:pt x="481835" y="664919"/>
                </a:lnTo>
                <a:lnTo>
                  <a:pt x="481835" y="52356"/>
                </a:lnTo>
                <a:lnTo>
                  <a:pt x="474403" y="25273"/>
                </a:lnTo>
                <a:lnTo>
                  <a:pt x="455049" y="5544"/>
                </a:lnTo>
                <a:lnTo>
                  <a:pt x="41895" y="0"/>
                </a:lnTo>
                <a:lnTo>
                  <a:pt x="30131" y="2640"/>
                </a:lnTo>
                <a:lnTo>
                  <a:pt x="10028" y="20555"/>
                </a:lnTo>
                <a:lnTo>
                  <a:pt x="173" y="48197"/>
                </a:lnTo>
                <a:lnTo>
                  <a:pt x="0" y="52356"/>
                </a:lnTo>
                <a:lnTo>
                  <a:pt x="0" y="588349"/>
                </a:lnTo>
                <a:close/>
              </a:path>
            </a:pathLst>
          </a:custGeom>
          <a:solidFill>
            <a:srgbClr val="FFFFFF"/>
          </a:solidFill>
        </p:spPr>
        <p:txBody>
          <a:bodyPr wrap="square" lIns="0" tIns="0" rIns="0" bIns="0" rtlCol="0">
            <a:noAutofit/>
          </a:bodyPr>
          <a:lstStyle/>
          <a:p>
            <a:endParaRPr sz="1763"/>
          </a:p>
        </p:txBody>
      </p:sp>
      <p:sp>
        <p:nvSpPr>
          <p:cNvPr id="67" name="object 67"/>
          <p:cNvSpPr/>
          <p:nvPr/>
        </p:nvSpPr>
        <p:spPr>
          <a:xfrm>
            <a:off x="8293209" y="2059164"/>
            <a:ext cx="41078" cy="25653"/>
          </a:xfrm>
          <a:custGeom>
            <a:avLst/>
            <a:gdLst/>
            <a:ahLst/>
            <a:cxnLst/>
            <a:rect l="l" t="t" r="r" b="b"/>
            <a:pathLst>
              <a:path w="41934" h="26187">
                <a:moveTo>
                  <a:pt x="14214" y="0"/>
                </a:moveTo>
                <a:lnTo>
                  <a:pt x="0" y="0"/>
                </a:lnTo>
                <a:lnTo>
                  <a:pt x="2355" y="26187"/>
                </a:lnTo>
                <a:lnTo>
                  <a:pt x="41934" y="26187"/>
                </a:lnTo>
                <a:lnTo>
                  <a:pt x="32742" y="0"/>
                </a:lnTo>
                <a:lnTo>
                  <a:pt x="14214" y="0"/>
                </a:lnTo>
                <a:close/>
              </a:path>
            </a:pathLst>
          </a:custGeom>
          <a:solidFill>
            <a:srgbClr val="FFFFFF"/>
          </a:solidFill>
        </p:spPr>
        <p:txBody>
          <a:bodyPr wrap="square" lIns="0" tIns="0" rIns="0" bIns="0" rtlCol="0">
            <a:noAutofit/>
          </a:bodyPr>
          <a:lstStyle/>
          <a:p>
            <a:endParaRPr sz="1763"/>
          </a:p>
        </p:txBody>
      </p:sp>
      <p:sp>
        <p:nvSpPr>
          <p:cNvPr id="68" name="object 68"/>
          <p:cNvSpPr/>
          <p:nvPr/>
        </p:nvSpPr>
        <p:spPr>
          <a:xfrm>
            <a:off x="8292365" y="2664356"/>
            <a:ext cx="82403" cy="41026"/>
          </a:xfrm>
          <a:custGeom>
            <a:avLst/>
            <a:gdLst/>
            <a:ahLst/>
            <a:cxnLst/>
            <a:rect l="l" t="t" r="r" b="b"/>
            <a:pathLst>
              <a:path w="84120" h="41881">
                <a:moveTo>
                  <a:pt x="52237" y="0"/>
                </a:moveTo>
                <a:lnTo>
                  <a:pt x="10781" y="0"/>
                </a:lnTo>
                <a:lnTo>
                  <a:pt x="0" y="41881"/>
                </a:lnTo>
                <a:lnTo>
                  <a:pt x="75515" y="41881"/>
                </a:lnTo>
                <a:lnTo>
                  <a:pt x="84120" y="0"/>
                </a:lnTo>
                <a:lnTo>
                  <a:pt x="52237" y="0"/>
                </a:lnTo>
                <a:close/>
              </a:path>
            </a:pathLst>
          </a:custGeom>
          <a:solidFill>
            <a:srgbClr val="FFFFFF"/>
          </a:solidFill>
        </p:spPr>
        <p:txBody>
          <a:bodyPr wrap="square" lIns="0" tIns="0" rIns="0" bIns="0" rtlCol="0">
            <a:noAutofit/>
          </a:bodyPr>
          <a:lstStyle/>
          <a:p>
            <a:endParaRPr sz="1763"/>
          </a:p>
        </p:txBody>
      </p:sp>
      <p:sp>
        <p:nvSpPr>
          <p:cNvPr id="69" name="object 69"/>
          <p:cNvSpPr/>
          <p:nvPr/>
        </p:nvSpPr>
        <p:spPr>
          <a:xfrm>
            <a:off x="5738560" y="1999040"/>
            <a:ext cx="692393" cy="685698"/>
          </a:xfrm>
          <a:custGeom>
            <a:avLst/>
            <a:gdLst/>
            <a:ahLst/>
            <a:cxnLst/>
            <a:rect l="l" t="t" r="r" b="b"/>
            <a:pathLst>
              <a:path w="706818" h="699983">
                <a:moveTo>
                  <a:pt x="149816" y="480930"/>
                </a:moveTo>
                <a:lnTo>
                  <a:pt x="140876" y="471996"/>
                </a:lnTo>
                <a:lnTo>
                  <a:pt x="133846" y="464972"/>
                </a:lnTo>
                <a:lnTo>
                  <a:pt x="134102" y="540240"/>
                </a:lnTo>
                <a:lnTo>
                  <a:pt x="152257" y="558379"/>
                </a:lnTo>
                <a:lnTo>
                  <a:pt x="167374" y="573483"/>
                </a:lnTo>
                <a:lnTo>
                  <a:pt x="179732" y="585830"/>
                </a:lnTo>
                <a:lnTo>
                  <a:pt x="189609" y="595698"/>
                </a:lnTo>
                <a:lnTo>
                  <a:pt x="197283" y="603365"/>
                </a:lnTo>
                <a:lnTo>
                  <a:pt x="190399" y="521484"/>
                </a:lnTo>
                <a:lnTo>
                  <a:pt x="174348" y="505444"/>
                </a:lnTo>
                <a:lnTo>
                  <a:pt x="160897" y="492003"/>
                </a:lnTo>
                <a:lnTo>
                  <a:pt x="149816" y="480930"/>
                </a:lnTo>
                <a:close/>
              </a:path>
              <a:path w="706818" h="699983">
                <a:moveTo>
                  <a:pt x="329562" y="699983"/>
                </a:moveTo>
                <a:lnTo>
                  <a:pt x="360334" y="699983"/>
                </a:lnTo>
                <a:lnTo>
                  <a:pt x="337617" y="649983"/>
                </a:lnTo>
                <a:lnTo>
                  <a:pt x="318999" y="649983"/>
                </a:lnTo>
                <a:lnTo>
                  <a:pt x="300568" y="631566"/>
                </a:lnTo>
                <a:lnTo>
                  <a:pt x="329562" y="699983"/>
                </a:lnTo>
                <a:close/>
              </a:path>
              <a:path w="706818" h="699983">
                <a:moveTo>
                  <a:pt x="125099" y="706230"/>
                </a:moveTo>
                <a:lnTo>
                  <a:pt x="137609" y="643733"/>
                </a:lnTo>
                <a:lnTo>
                  <a:pt x="62551" y="568737"/>
                </a:lnTo>
                <a:lnTo>
                  <a:pt x="50039" y="456245"/>
                </a:lnTo>
                <a:lnTo>
                  <a:pt x="37172" y="488384"/>
                </a:lnTo>
                <a:lnTo>
                  <a:pt x="26725" y="514480"/>
                </a:lnTo>
                <a:lnTo>
                  <a:pt x="18445" y="535161"/>
                </a:lnTo>
                <a:lnTo>
                  <a:pt x="12081" y="551058"/>
                </a:lnTo>
                <a:lnTo>
                  <a:pt x="7380" y="562800"/>
                </a:lnTo>
                <a:lnTo>
                  <a:pt x="4091" y="571017"/>
                </a:lnTo>
                <a:lnTo>
                  <a:pt x="1961" y="576337"/>
                </a:lnTo>
                <a:lnTo>
                  <a:pt x="739" y="579390"/>
                </a:lnTo>
                <a:lnTo>
                  <a:pt x="0" y="581236"/>
                </a:lnTo>
                <a:lnTo>
                  <a:pt x="125099" y="706230"/>
                </a:lnTo>
                <a:close/>
              </a:path>
              <a:path w="706818" h="699983">
                <a:moveTo>
                  <a:pt x="481633" y="454292"/>
                </a:moveTo>
                <a:lnTo>
                  <a:pt x="481633" y="437493"/>
                </a:lnTo>
                <a:lnTo>
                  <a:pt x="503433" y="415711"/>
                </a:lnTo>
                <a:lnTo>
                  <a:pt x="516442" y="402713"/>
                </a:lnTo>
                <a:lnTo>
                  <a:pt x="522929" y="396231"/>
                </a:lnTo>
                <a:lnTo>
                  <a:pt x="525416" y="393746"/>
                </a:lnTo>
                <a:lnTo>
                  <a:pt x="542821" y="378514"/>
                </a:lnTo>
                <a:lnTo>
                  <a:pt x="559377" y="362833"/>
                </a:lnTo>
                <a:lnTo>
                  <a:pt x="575078" y="346720"/>
                </a:lnTo>
                <a:lnTo>
                  <a:pt x="575448" y="262504"/>
                </a:lnTo>
                <a:lnTo>
                  <a:pt x="550850" y="236753"/>
                </a:lnTo>
                <a:lnTo>
                  <a:pt x="529532" y="214435"/>
                </a:lnTo>
                <a:lnTo>
                  <a:pt x="511259" y="195306"/>
                </a:lnTo>
                <a:lnTo>
                  <a:pt x="495798" y="179120"/>
                </a:lnTo>
                <a:lnTo>
                  <a:pt x="482913" y="165631"/>
                </a:lnTo>
                <a:lnTo>
                  <a:pt x="472369" y="154593"/>
                </a:lnTo>
                <a:lnTo>
                  <a:pt x="463931" y="145760"/>
                </a:lnTo>
                <a:lnTo>
                  <a:pt x="457366" y="138887"/>
                </a:lnTo>
                <a:lnTo>
                  <a:pt x="452438" y="133727"/>
                </a:lnTo>
                <a:lnTo>
                  <a:pt x="448911" y="130036"/>
                </a:lnTo>
                <a:lnTo>
                  <a:pt x="445127" y="126074"/>
                </a:lnTo>
                <a:lnTo>
                  <a:pt x="444099" y="124998"/>
                </a:lnTo>
                <a:lnTo>
                  <a:pt x="454784" y="117785"/>
                </a:lnTo>
                <a:lnTo>
                  <a:pt x="465694" y="110928"/>
                </a:lnTo>
                <a:lnTo>
                  <a:pt x="464577" y="55679"/>
                </a:lnTo>
                <a:lnTo>
                  <a:pt x="446257" y="66150"/>
                </a:lnTo>
                <a:lnTo>
                  <a:pt x="428256" y="77502"/>
                </a:lnTo>
                <a:lnTo>
                  <a:pt x="410592" y="89731"/>
                </a:lnTo>
                <a:lnTo>
                  <a:pt x="393284" y="102833"/>
                </a:lnTo>
                <a:lnTo>
                  <a:pt x="376352" y="116801"/>
                </a:lnTo>
                <a:lnTo>
                  <a:pt x="359814" y="131632"/>
                </a:lnTo>
                <a:lnTo>
                  <a:pt x="343688" y="147321"/>
                </a:lnTo>
                <a:lnTo>
                  <a:pt x="327994" y="163863"/>
                </a:lnTo>
                <a:lnTo>
                  <a:pt x="312750" y="181253"/>
                </a:lnTo>
                <a:lnTo>
                  <a:pt x="290950" y="203035"/>
                </a:lnTo>
                <a:lnTo>
                  <a:pt x="277941" y="216033"/>
                </a:lnTo>
                <a:lnTo>
                  <a:pt x="271454" y="222515"/>
                </a:lnTo>
                <a:lnTo>
                  <a:pt x="268967" y="225000"/>
                </a:lnTo>
                <a:lnTo>
                  <a:pt x="6255" y="225000"/>
                </a:lnTo>
                <a:lnTo>
                  <a:pt x="6255" y="412497"/>
                </a:lnTo>
                <a:lnTo>
                  <a:pt x="28055" y="434279"/>
                </a:lnTo>
                <a:lnTo>
                  <a:pt x="41064" y="447277"/>
                </a:lnTo>
                <a:lnTo>
                  <a:pt x="47551" y="453759"/>
                </a:lnTo>
                <a:lnTo>
                  <a:pt x="50039" y="456245"/>
                </a:lnTo>
                <a:lnTo>
                  <a:pt x="62551" y="568737"/>
                </a:lnTo>
                <a:lnTo>
                  <a:pt x="62885" y="394071"/>
                </a:lnTo>
                <a:lnTo>
                  <a:pt x="56855" y="388042"/>
                </a:lnTo>
                <a:lnTo>
                  <a:pt x="56294" y="387481"/>
                </a:lnTo>
                <a:lnTo>
                  <a:pt x="56294" y="274991"/>
                </a:lnTo>
                <a:lnTo>
                  <a:pt x="218914" y="274991"/>
                </a:lnTo>
                <a:lnTo>
                  <a:pt x="193685" y="300203"/>
                </a:lnTo>
                <a:lnTo>
                  <a:pt x="171745" y="322127"/>
                </a:lnTo>
                <a:lnTo>
                  <a:pt x="152865" y="340995"/>
                </a:lnTo>
                <a:lnTo>
                  <a:pt x="136815" y="357034"/>
                </a:lnTo>
                <a:lnTo>
                  <a:pt x="123364" y="370476"/>
                </a:lnTo>
                <a:lnTo>
                  <a:pt x="112284" y="381548"/>
                </a:lnTo>
                <a:lnTo>
                  <a:pt x="103344" y="390482"/>
                </a:lnTo>
                <a:lnTo>
                  <a:pt x="96315" y="397506"/>
                </a:lnTo>
                <a:lnTo>
                  <a:pt x="90967" y="402851"/>
                </a:lnTo>
                <a:lnTo>
                  <a:pt x="87070" y="406745"/>
                </a:lnTo>
                <a:lnTo>
                  <a:pt x="84395" y="409418"/>
                </a:lnTo>
                <a:lnTo>
                  <a:pt x="81790" y="412021"/>
                </a:lnTo>
                <a:lnTo>
                  <a:pt x="81314" y="412497"/>
                </a:lnTo>
                <a:lnTo>
                  <a:pt x="84091" y="504173"/>
                </a:lnTo>
                <a:lnTo>
                  <a:pt x="86427" y="497171"/>
                </a:lnTo>
                <a:lnTo>
                  <a:pt x="87378" y="494319"/>
                </a:lnTo>
                <a:lnTo>
                  <a:pt x="87569" y="493748"/>
                </a:lnTo>
                <a:lnTo>
                  <a:pt x="112632" y="518789"/>
                </a:lnTo>
                <a:lnTo>
                  <a:pt x="134102" y="540240"/>
                </a:lnTo>
                <a:lnTo>
                  <a:pt x="133846" y="464972"/>
                </a:lnTo>
                <a:lnTo>
                  <a:pt x="128498" y="459627"/>
                </a:lnTo>
                <a:lnTo>
                  <a:pt x="124601" y="455733"/>
                </a:lnTo>
                <a:lnTo>
                  <a:pt x="121926" y="453059"/>
                </a:lnTo>
                <a:lnTo>
                  <a:pt x="119321" y="450456"/>
                </a:lnTo>
                <a:lnTo>
                  <a:pt x="118844" y="449980"/>
                </a:lnTo>
                <a:lnTo>
                  <a:pt x="350284" y="218757"/>
                </a:lnTo>
                <a:lnTo>
                  <a:pt x="359268" y="207258"/>
                </a:lnTo>
                <a:lnTo>
                  <a:pt x="368250" y="196716"/>
                </a:lnTo>
                <a:lnTo>
                  <a:pt x="377231" y="187132"/>
                </a:lnTo>
                <a:lnTo>
                  <a:pt x="386212" y="178505"/>
                </a:lnTo>
                <a:lnTo>
                  <a:pt x="395193" y="170836"/>
                </a:lnTo>
                <a:lnTo>
                  <a:pt x="404177" y="164124"/>
                </a:lnTo>
                <a:lnTo>
                  <a:pt x="406564" y="162501"/>
                </a:lnTo>
                <a:lnTo>
                  <a:pt x="431797" y="187709"/>
                </a:lnTo>
                <a:lnTo>
                  <a:pt x="453740" y="209631"/>
                </a:lnTo>
                <a:lnTo>
                  <a:pt x="472623" y="228495"/>
                </a:lnTo>
                <a:lnTo>
                  <a:pt x="488675" y="244532"/>
                </a:lnTo>
                <a:lnTo>
                  <a:pt x="502128" y="257972"/>
                </a:lnTo>
                <a:lnTo>
                  <a:pt x="513210" y="269043"/>
                </a:lnTo>
                <a:lnTo>
                  <a:pt x="522151" y="277975"/>
                </a:lnTo>
                <a:lnTo>
                  <a:pt x="529181" y="284998"/>
                </a:lnTo>
                <a:lnTo>
                  <a:pt x="534529" y="290342"/>
                </a:lnTo>
                <a:lnTo>
                  <a:pt x="538427" y="294235"/>
                </a:lnTo>
                <a:lnTo>
                  <a:pt x="541102" y="296908"/>
                </a:lnTo>
                <a:lnTo>
                  <a:pt x="543707" y="299511"/>
                </a:lnTo>
                <a:lnTo>
                  <a:pt x="544184" y="299987"/>
                </a:lnTo>
                <a:lnTo>
                  <a:pt x="537714" y="308963"/>
                </a:lnTo>
                <a:lnTo>
                  <a:pt x="530289" y="317940"/>
                </a:lnTo>
                <a:lnTo>
                  <a:pt x="521910" y="326916"/>
                </a:lnTo>
                <a:lnTo>
                  <a:pt x="512576" y="335893"/>
                </a:lnTo>
                <a:lnTo>
                  <a:pt x="502287" y="344869"/>
                </a:lnTo>
                <a:lnTo>
                  <a:pt x="491044" y="353846"/>
                </a:lnTo>
                <a:lnTo>
                  <a:pt x="487882" y="356242"/>
                </a:lnTo>
                <a:lnTo>
                  <a:pt x="454874" y="389223"/>
                </a:lnTo>
                <a:lnTo>
                  <a:pt x="425163" y="418909"/>
                </a:lnTo>
                <a:lnTo>
                  <a:pt x="398578" y="445473"/>
                </a:lnTo>
                <a:lnTo>
                  <a:pt x="374942" y="469089"/>
                </a:lnTo>
                <a:lnTo>
                  <a:pt x="354084" y="489930"/>
                </a:lnTo>
                <a:lnTo>
                  <a:pt x="335830" y="508170"/>
                </a:lnTo>
                <a:lnTo>
                  <a:pt x="320006" y="523981"/>
                </a:lnTo>
                <a:lnTo>
                  <a:pt x="306438" y="537538"/>
                </a:lnTo>
                <a:lnTo>
                  <a:pt x="294953" y="549013"/>
                </a:lnTo>
                <a:lnTo>
                  <a:pt x="285378" y="558581"/>
                </a:lnTo>
                <a:lnTo>
                  <a:pt x="277538" y="566414"/>
                </a:lnTo>
                <a:lnTo>
                  <a:pt x="271260" y="572687"/>
                </a:lnTo>
                <a:lnTo>
                  <a:pt x="266371" y="577572"/>
                </a:lnTo>
                <a:lnTo>
                  <a:pt x="262697" y="581243"/>
                </a:lnTo>
                <a:lnTo>
                  <a:pt x="260065" y="583873"/>
                </a:lnTo>
                <a:lnTo>
                  <a:pt x="257229" y="586706"/>
                </a:lnTo>
                <a:lnTo>
                  <a:pt x="256448" y="587486"/>
                </a:lnTo>
                <a:lnTo>
                  <a:pt x="231219" y="562275"/>
                </a:lnTo>
                <a:lnTo>
                  <a:pt x="209279" y="540351"/>
                </a:lnTo>
                <a:lnTo>
                  <a:pt x="190399" y="521484"/>
                </a:lnTo>
                <a:lnTo>
                  <a:pt x="197283" y="603365"/>
                </a:lnTo>
                <a:lnTo>
                  <a:pt x="203032" y="609109"/>
                </a:lnTo>
                <a:lnTo>
                  <a:pt x="207133" y="613206"/>
                </a:lnTo>
                <a:lnTo>
                  <a:pt x="209865" y="615936"/>
                </a:lnTo>
                <a:lnTo>
                  <a:pt x="212665" y="618734"/>
                </a:lnTo>
                <a:lnTo>
                  <a:pt x="182010" y="628944"/>
                </a:lnTo>
                <a:lnTo>
                  <a:pt x="161098" y="635910"/>
                </a:lnTo>
                <a:lnTo>
                  <a:pt x="148065" y="640251"/>
                </a:lnTo>
                <a:lnTo>
                  <a:pt x="141049" y="642588"/>
                </a:lnTo>
                <a:lnTo>
                  <a:pt x="138186" y="643541"/>
                </a:lnTo>
                <a:lnTo>
                  <a:pt x="137609" y="643733"/>
                </a:lnTo>
                <a:lnTo>
                  <a:pt x="125099" y="706230"/>
                </a:lnTo>
                <a:lnTo>
                  <a:pt x="157248" y="693382"/>
                </a:lnTo>
                <a:lnTo>
                  <a:pt x="183355" y="682948"/>
                </a:lnTo>
                <a:lnTo>
                  <a:pt x="204050" y="674677"/>
                </a:lnTo>
                <a:lnTo>
                  <a:pt x="219961" y="668318"/>
                </a:lnTo>
                <a:lnTo>
                  <a:pt x="231716" y="663620"/>
                </a:lnTo>
                <a:lnTo>
                  <a:pt x="239946" y="660331"/>
                </a:lnTo>
                <a:lnTo>
                  <a:pt x="245278" y="658200"/>
                </a:lnTo>
                <a:lnTo>
                  <a:pt x="248341" y="656976"/>
                </a:lnTo>
                <a:lnTo>
                  <a:pt x="250200" y="656233"/>
                </a:lnTo>
                <a:lnTo>
                  <a:pt x="271999" y="678016"/>
                </a:lnTo>
                <a:lnTo>
                  <a:pt x="285008" y="691015"/>
                </a:lnTo>
                <a:lnTo>
                  <a:pt x="291495" y="697497"/>
                </a:lnTo>
                <a:lnTo>
                  <a:pt x="293983" y="699983"/>
                </a:lnTo>
                <a:lnTo>
                  <a:pt x="329562" y="699983"/>
                </a:lnTo>
                <a:lnTo>
                  <a:pt x="300568" y="631566"/>
                </a:lnTo>
                <a:lnTo>
                  <a:pt x="294542" y="625545"/>
                </a:lnTo>
                <a:lnTo>
                  <a:pt x="293983" y="624986"/>
                </a:lnTo>
                <a:lnTo>
                  <a:pt x="319214" y="599776"/>
                </a:lnTo>
                <a:lnTo>
                  <a:pt x="341155" y="577853"/>
                </a:lnTo>
                <a:lnTo>
                  <a:pt x="360038" y="558987"/>
                </a:lnTo>
                <a:lnTo>
                  <a:pt x="376090" y="542948"/>
                </a:lnTo>
                <a:lnTo>
                  <a:pt x="389542" y="529508"/>
                </a:lnTo>
                <a:lnTo>
                  <a:pt x="400624" y="518435"/>
                </a:lnTo>
                <a:lnTo>
                  <a:pt x="409565" y="509501"/>
                </a:lnTo>
                <a:lnTo>
                  <a:pt x="416596" y="502477"/>
                </a:lnTo>
                <a:lnTo>
                  <a:pt x="421945" y="497132"/>
                </a:lnTo>
                <a:lnTo>
                  <a:pt x="425843" y="493238"/>
                </a:lnTo>
                <a:lnTo>
                  <a:pt x="428519" y="490564"/>
                </a:lnTo>
                <a:lnTo>
                  <a:pt x="431125" y="487960"/>
                </a:lnTo>
                <a:lnTo>
                  <a:pt x="431602" y="487484"/>
                </a:lnTo>
                <a:lnTo>
                  <a:pt x="431602" y="649983"/>
                </a:lnTo>
                <a:lnTo>
                  <a:pt x="337617" y="649983"/>
                </a:lnTo>
                <a:lnTo>
                  <a:pt x="360334" y="699983"/>
                </a:lnTo>
                <a:lnTo>
                  <a:pt x="481634" y="699983"/>
                </a:lnTo>
                <a:lnTo>
                  <a:pt x="481633" y="454292"/>
                </a:lnTo>
                <a:close/>
              </a:path>
              <a:path w="706818" h="699983">
                <a:moveTo>
                  <a:pt x="81314" y="412497"/>
                </a:moveTo>
                <a:lnTo>
                  <a:pt x="62885" y="394071"/>
                </a:lnTo>
                <a:lnTo>
                  <a:pt x="62551" y="568737"/>
                </a:lnTo>
                <a:lnTo>
                  <a:pt x="72775" y="538090"/>
                </a:lnTo>
                <a:lnTo>
                  <a:pt x="79748" y="517191"/>
                </a:lnTo>
                <a:lnTo>
                  <a:pt x="84091" y="504173"/>
                </a:lnTo>
                <a:lnTo>
                  <a:pt x="81314" y="412497"/>
                </a:lnTo>
                <a:close/>
              </a:path>
              <a:path w="706818" h="699983">
                <a:moveTo>
                  <a:pt x="617064" y="196958"/>
                </a:moveTo>
                <a:lnTo>
                  <a:pt x="611120" y="208498"/>
                </a:lnTo>
                <a:lnTo>
                  <a:pt x="604741" y="219869"/>
                </a:lnTo>
                <a:lnTo>
                  <a:pt x="597919" y="231056"/>
                </a:lnTo>
                <a:lnTo>
                  <a:pt x="590649" y="242048"/>
                </a:lnTo>
                <a:lnTo>
                  <a:pt x="582922" y="252831"/>
                </a:lnTo>
                <a:lnTo>
                  <a:pt x="575448" y="262504"/>
                </a:lnTo>
                <a:lnTo>
                  <a:pt x="575078" y="346720"/>
                </a:lnTo>
                <a:lnTo>
                  <a:pt x="589921" y="330195"/>
                </a:lnTo>
                <a:lnTo>
                  <a:pt x="603901" y="313277"/>
                </a:lnTo>
                <a:lnTo>
                  <a:pt x="617013" y="295983"/>
                </a:lnTo>
                <a:lnTo>
                  <a:pt x="629252" y="278333"/>
                </a:lnTo>
                <a:lnTo>
                  <a:pt x="640614" y="260346"/>
                </a:lnTo>
                <a:lnTo>
                  <a:pt x="651094" y="242040"/>
                </a:lnTo>
                <a:lnTo>
                  <a:pt x="660687" y="223434"/>
                </a:lnTo>
                <a:lnTo>
                  <a:pt x="669388" y="204547"/>
                </a:lnTo>
                <a:lnTo>
                  <a:pt x="677194" y="185397"/>
                </a:lnTo>
                <a:lnTo>
                  <a:pt x="684099" y="166004"/>
                </a:lnTo>
                <a:lnTo>
                  <a:pt x="690098" y="146385"/>
                </a:lnTo>
                <a:lnTo>
                  <a:pt x="695188" y="126560"/>
                </a:lnTo>
                <a:lnTo>
                  <a:pt x="699362" y="106547"/>
                </a:lnTo>
                <a:lnTo>
                  <a:pt x="702617" y="86366"/>
                </a:lnTo>
                <a:lnTo>
                  <a:pt x="704948" y="66034"/>
                </a:lnTo>
                <a:lnTo>
                  <a:pt x="706350" y="45571"/>
                </a:lnTo>
                <a:lnTo>
                  <a:pt x="706818" y="24995"/>
                </a:lnTo>
                <a:lnTo>
                  <a:pt x="706818" y="0"/>
                </a:lnTo>
                <a:lnTo>
                  <a:pt x="681781" y="0"/>
                </a:lnTo>
                <a:lnTo>
                  <a:pt x="661191" y="467"/>
                </a:lnTo>
                <a:lnTo>
                  <a:pt x="640714" y="1868"/>
                </a:lnTo>
                <a:lnTo>
                  <a:pt x="620368" y="4197"/>
                </a:lnTo>
                <a:lnTo>
                  <a:pt x="600172" y="7449"/>
                </a:lnTo>
                <a:lnTo>
                  <a:pt x="580145" y="11620"/>
                </a:lnTo>
                <a:lnTo>
                  <a:pt x="560306" y="16706"/>
                </a:lnTo>
                <a:lnTo>
                  <a:pt x="540672" y="22700"/>
                </a:lnTo>
                <a:lnTo>
                  <a:pt x="521264" y="29599"/>
                </a:lnTo>
                <a:lnTo>
                  <a:pt x="502100" y="37399"/>
                </a:lnTo>
                <a:lnTo>
                  <a:pt x="483198" y="46093"/>
                </a:lnTo>
                <a:lnTo>
                  <a:pt x="464577" y="55679"/>
                </a:lnTo>
                <a:lnTo>
                  <a:pt x="465694" y="110928"/>
                </a:lnTo>
                <a:lnTo>
                  <a:pt x="476815" y="104429"/>
                </a:lnTo>
                <a:lnTo>
                  <a:pt x="488135" y="98287"/>
                </a:lnTo>
                <a:lnTo>
                  <a:pt x="499639" y="92501"/>
                </a:lnTo>
                <a:lnTo>
                  <a:pt x="511313" y="87073"/>
                </a:lnTo>
                <a:lnTo>
                  <a:pt x="523146" y="82001"/>
                </a:lnTo>
                <a:lnTo>
                  <a:pt x="535123" y="77286"/>
                </a:lnTo>
                <a:lnTo>
                  <a:pt x="547230" y="72928"/>
                </a:lnTo>
                <a:lnTo>
                  <a:pt x="559455" y="68927"/>
                </a:lnTo>
                <a:lnTo>
                  <a:pt x="571783" y="65282"/>
                </a:lnTo>
                <a:lnTo>
                  <a:pt x="584202" y="61995"/>
                </a:lnTo>
                <a:lnTo>
                  <a:pt x="596698" y="59064"/>
                </a:lnTo>
                <a:lnTo>
                  <a:pt x="609257" y="56491"/>
                </a:lnTo>
                <a:lnTo>
                  <a:pt x="621866" y="54274"/>
                </a:lnTo>
                <a:lnTo>
                  <a:pt x="634513" y="52414"/>
                </a:lnTo>
                <a:lnTo>
                  <a:pt x="647182" y="50911"/>
                </a:lnTo>
                <a:lnTo>
                  <a:pt x="656765" y="50011"/>
                </a:lnTo>
                <a:lnTo>
                  <a:pt x="655542" y="62566"/>
                </a:lnTo>
                <a:lnTo>
                  <a:pt x="653962" y="75109"/>
                </a:lnTo>
                <a:lnTo>
                  <a:pt x="652018" y="87625"/>
                </a:lnTo>
                <a:lnTo>
                  <a:pt x="649703" y="100103"/>
                </a:lnTo>
                <a:lnTo>
                  <a:pt x="647012" y="112529"/>
                </a:lnTo>
                <a:lnTo>
                  <a:pt x="643936" y="124890"/>
                </a:lnTo>
                <a:lnTo>
                  <a:pt x="640471" y="137173"/>
                </a:lnTo>
                <a:lnTo>
                  <a:pt x="636609" y="149364"/>
                </a:lnTo>
                <a:lnTo>
                  <a:pt x="632344" y="161452"/>
                </a:lnTo>
                <a:lnTo>
                  <a:pt x="627669" y="173422"/>
                </a:lnTo>
                <a:lnTo>
                  <a:pt x="622578" y="185262"/>
                </a:lnTo>
                <a:lnTo>
                  <a:pt x="617064" y="196958"/>
                </a:lnTo>
                <a:close/>
              </a:path>
            </a:pathLst>
          </a:custGeom>
          <a:solidFill>
            <a:srgbClr val="FFFFFF"/>
          </a:solidFill>
        </p:spPr>
        <p:txBody>
          <a:bodyPr wrap="square" lIns="0" tIns="0" rIns="0" bIns="0" rtlCol="0">
            <a:noAutofit/>
          </a:bodyPr>
          <a:lstStyle/>
          <a:p>
            <a:endParaRPr sz="1763"/>
          </a:p>
        </p:txBody>
      </p:sp>
      <p:sp>
        <p:nvSpPr>
          <p:cNvPr id="70" name="object 70"/>
          <p:cNvSpPr/>
          <p:nvPr/>
        </p:nvSpPr>
        <p:spPr>
          <a:xfrm>
            <a:off x="6063312" y="2268420"/>
            <a:ext cx="98041" cy="97961"/>
          </a:xfrm>
          <a:custGeom>
            <a:avLst/>
            <a:gdLst/>
            <a:ahLst/>
            <a:cxnLst/>
            <a:rect l="l" t="t" r="r" b="b"/>
            <a:pathLst>
              <a:path w="100084" h="100002">
                <a:moveTo>
                  <a:pt x="50031" y="100002"/>
                </a:moveTo>
                <a:lnTo>
                  <a:pt x="63361" y="97730"/>
                </a:lnTo>
                <a:lnTo>
                  <a:pt x="75826" y="91492"/>
                </a:lnTo>
                <a:lnTo>
                  <a:pt x="86554" y="82156"/>
                </a:lnTo>
                <a:lnTo>
                  <a:pt x="94677" y="70590"/>
                </a:lnTo>
                <a:lnTo>
                  <a:pt x="99324" y="57661"/>
                </a:lnTo>
                <a:lnTo>
                  <a:pt x="100084" y="50011"/>
                </a:lnTo>
                <a:lnTo>
                  <a:pt x="97809" y="36687"/>
                </a:lnTo>
                <a:lnTo>
                  <a:pt x="91564" y="24234"/>
                </a:lnTo>
                <a:lnTo>
                  <a:pt x="82218" y="13517"/>
                </a:lnTo>
                <a:lnTo>
                  <a:pt x="70641" y="5404"/>
                </a:lnTo>
                <a:lnTo>
                  <a:pt x="57701" y="761"/>
                </a:lnTo>
                <a:lnTo>
                  <a:pt x="50031" y="0"/>
                </a:lnTo>
                <a:lnTo>
                  <a:pt x="36703" y="2272"/>
                </a:lnTo>
                <a:lnTo>
                  <a:pt x="24243" y="8511"/>
                </a:lnTo>
                <a:lnTo>
                  <a:pt x="13520" y="17849"/>
                </a:lnTo>
                <a:lnTo>
                  <a:pt x="5403" y="29420"/>
                </a:lnTo>
                <a:lnTo>
                  <a:pt x="759" y="42356"/>
                </a:lnTo>
                <a:lnTo>
                  <a:pt x="0" y="50011"/>
                </a:lnTo>
                <a:lnTo>
                  <a:pt x="2274" y="63332"/>
                </a:lnTo>
                <a:lnTo>
                  <a:pt x="8520" y="75783"/>
                </a:lnTo>
                <a:lnTo>
                  <a:pt x="17867" y="86499"/>
                </a:lnTo>
                <a:lnTo>
                  <a:pt x="29447" y="94609"/>
                </a:lnTo>
                <a:lnTo>
                  <a:pt x="42390" y="99246"/>
                </a:lnTo>
                <a:lnTo>
                  <a:pt x="50031" y="100002"/>
                </a:lnTo>
                <a:close/>
              </a:path>
            </a:pathLst>
          </a:custGeom>
          <a:solidFill>
            <a:srgbClr val="FFFFFF"/>
          </a:solidFill>
        </p:spPr>
        <p:txBody>
          <a:bodyPr wrap="square" lIns="0" tIns="0" rIns="0" bIns="0" rtlCol="0">
            <a:noAutofit/>
          </a:bodyPr>
          <a:lstStyle/>
          <a:p>
            <a:endParaRPr sz="1763"/>
          </a:p>
        </p:txBody>
      </p:sp>
      <p:sp>
        <p:nvSpPr>
          <p:cNvPr id="71" name="object 71"/>
          <p:cNvSpPr/>
          <p:nvPr/>
        </p:nvSpPr>
        <p:spPr>
          <a:xfrm>
            <a:off x="4165184" y="270276"/>
            <a:ext cx="3851677" cy="3896464"/>
          </a:xfrm>
          <a:custGeom>
            <a:avLst/>
            <a:gdLst/>
            <a:ahLst/>
            <a:cxnLst/>
            <a:rect l="l" t="t" r="r" b="b"/>
            <a:pathLst>
              <a:path w="3931920" h="3977640">
                <a:moveTo>
                  <a:pt x="0" y="3977640"/>
                </a:moveTo>
                <a:lnTo>
                  <a:pt x="3931920" y="3977640"/>
                </a:lnTo>
                <a:lnTo>
                  <a:pt x="3931920" y="0"/>
                </a:lnTo>
                <a:lnTo>
                  <a:pt x="0" y="0"/>
                </a:lnTo>
                <a:lnTo>
                  <a:pt x="0" y="3977640"/>
                </a:lnTo>
                <a:close/>
              </a:path>
            </a:pathLst>
          </a:custGeom>
          <a:solidFill>
            <a:schemeClr val="bg2">
              <a:lumMod val="50000"/>
            </a:schemeClr>
          </a:solidFill>
        </p:spPr>
        <p:txBody>
          <a:bodyPr wrap="square" lIns="0" tIns="0" rIns="0" bIns="0" rtlCol="0">
            <a:noAutofit/>
          </a:bodyPr>
          <a:lstStyle/>
          <a:p>
            <a:endParaRPr sz="1763"/>
          </a:p>
        </p:txBody>
      </p:sp>
      <p:sp>
        <p:nvSpPr>
          <p:cNvPr id="72" name="object 72"/>
          <p:cNvSpPr/>
          <p:nvPr/>
        </p:nvSpPr>
        <p:spPr>
          <a:xfrm>
            <a:off x="8115393" y="270276"/>
            <a:ext cx="3851677" cy="3896464"/>
          </a:xfrm>
          <a:custGeom>
            <a:avLst/>
            <a:gdLst/>
            <a:ahLst/>
            <a:cxnLst/>
            <a:rect l="l" t="t" r="r" b="b"/>
            <a:pathLst>
              <a:path w="3931920" h="3977640">
                <a:moveTo>
                  <a:pt x="0" y="3977640"/>
                </a:moveTo>
                <a:lnTo>
                  <a:pt x="3931920" y="3977640"/>
                </a:lnTo>
                <a:lnTo>
                  <a:pt x="3931920" y="0"/>
                </a:lnTo>
                <a:lnTo>
                  <a:pt x="0" y="0"/>
                </a:lnTo>
                <a:lnTo>
                  <a:pt x="0" y="3977640"/>
                </a:lnTo>
                <a:close/>
              </a:path>
            </a:pathLst>
          </a:custGeom>
          <a:solidFill>
            <a:schemeClr val="bg2">
              <a:lumMod val="50000"/>
            </a:schemeClr>
          </a:solidFill>
        </p:spPr>
        <p:txBody>
          <a:bodyPr wrap="square" lIns="0" tIns="0" rIns="0" bIns="0" rtlCol="0">
            <a:noAutofit/>
          </a:bodyPr>
          <a:lstStyle/>
          <a:p>
            <a:endParaRPr sz="1763"/>
          </a:p>
        </p:txBody>
      </p:sp>
      <p:sp>
        <p:nvSpPr>
          <p:cNvPr id="73" name="object 73"/>
          <p:cNvSpPr/>
          <p:nvPr/>
        </p:nvSpPr>
        <p:spPr>
          <a:xfrm>
            <a:off x="424670" y="426041"/>
            <a:ext cx="686546" cy="684854"/>
          </a:xfrm>
          <a:custGeom>
            <a:avLst/>
            <a:gdLst/>
            <a:ahLst/>
            <a:cxnLst/>
            <a:rect l="l" t="t" r="r" b="b"/>
            <a:pathLst>
              <a:path w="700849" h="699122">
                <a:moveTo>
                  <a:pt x="573" y="332928"/>
                </a:moveTo>
                <a:lnTo>
                  <a:pt x="0" y="359821"/>
                </a:lnTo>
                <a:lnTo>
                  <a:pt x="1481" y="386747"/>
                </a:lnTo>
                <a:lnTo>
                  <a:pt x="5040" y="413580"/>
                </a:lnTo>
                <a:lnTo>
                  <a:pt x="10703" y="440197"/>
                </a:lnTo>
                <a:lnTo>
                  <a:pt x="18493" y="466475"/>
                </a:lnTo>
                <a:lnTo>
                  <a:pt x="28434" y="492288"/>
                </a:lnTo>
                <a:lnTo>
                  <a:pt x="40550" y="517513"/>
                </a:lnTo>
                <a:lnTo>
                  <a:pt x="47128" y="356499"/>
                </a:lnTo>
                <a:lnTo>
                  <a:pt x="47671" y="333301"/>
                </a:lnTo>
                <a:lnTo>
                  <a:pt x="49996" y="310202"/>
                </a:lnTo>
                <a:lnTo>
                  <a:pt x="54087" y="287303"/>
                </a:lnTo>
                <a:lnTo>
                  <a:pt x="59928" y="264704"/>
                </a:lnTo>
                <a:lnTo>
                  <a:pt x="67502" y="242505"/>
                </a:lnTo>
                <a:lnTo>
                  <a:pt x="76794" y="220807"/>
                </a:lnTo>
                <a:lnTo>
                  <a:pt x="87787" y="199708"/>
                </a:lnTo>
                <a:lnTo>
                  <a:pt x="100466" y="179310"/>
                </a:lnTo>
                <a:lnTo>
                  <a:pt x="114814" y="159712"/>
                </a:lnTo>
                <a:lnTo>
                  <a:pt x="130816" y="141014"/>
                </a:lnTo>
                <a:lnTo>
                  <a:pt x="148455" y="123317"/>
                </a:lnTo>
                <a:lnTo>
                  <a:pt x="167715" y="106720"/>
                </a:lnTo>
                <a:lnTo>
                  <a:pt x="189586" y="91092"/>
                </a:lnTo>
                <a:lnTo>
                  <a:pt x="212441" y="78140"/>
                </a:lnTo>
                <a:lnTo>
                  <a:pt x="236128" y="67713"/>
                </a:lnTo>
                <a:lnTo>
                  <a:pt x="260497" y="59661"/>
                </a:lnTo>
                <a:lnTo>
                  <a:pt x="285396" y="53835"/>
                </a:lnTo>
                <a:lnTo>
                  <a:pt x="310675" y="50084"/>
                </a:lnTo>
                <a:lnTo>
                  <a:pt x="336182" y="48258"/>
                </a:lnTo>
                <a:lnTo>
                  <a:pt x="349646" y="48019"/>
                </a:lnTo>
                <a:lnTo>
                  <a:pt x="363288" y="48300"/>
                </a:lnTo>
                <a:lnTo>
                  <a:pt x="390492" y="50559"/>
                </a:lnTo>
                <a:lnTo>
                  <a:pt x="417456" y="55107"/>
                </a:lnTo>
                <a:lnTo>
                  <a:pt x="444018" y="61977"/>
                </a:lnTo>
                <a:lnTo>
                  <a:pt x="470020" y="71201"/>
                </a:lnTo>
                <a:lnTo>
                  <a:pt x="495298" y="82811"/>
                </a:lnTo>
                <a:lnTo>
                  <a:pt x="519693" y="96838"/>
                </a:lnTo>
                <a:lnTo>
                  <a:pt x="543045" y="113316"/>
                </a:lnTo>
                <a:lnTo>
                  <a:pt x="565191" y="132276"/>
                </a:lnTo>
                <a:lnTo>
                  <a:pt x="585971" y="153750"/>
                </a:lnTo>
                <a:lnTo>
                  <a:pt x="610090" y="185873"/>
                </a:lnTo>
                <a:lnTo>
                  <a:pt x="622470" y="207076"/>
                </a:lnTo>
                <a:lnTo>
                  <a:pt x="632956" y="228935"/>
                </a:lnTo>
                <a:lnTo>
                  <a:pt x="641563" y="251339"/>
                </a:lnTo>
                <a:lnTo>
                  <a:pt x="648308" y="274175"/>
                </a:lnTo>
                <a:lnTo>
                  <a:pt x="653207" y="297331"/>
                </a:lnTo>
                <a:lnTo>
                  <a:pt x="656275" y="320696"/>
                </a:lnTo>
                <a:lnTo>
                  <a:pt x="657529" y="344157"/>
                </a:lnTo>
                <a:lnTo>
                  <a:pt x="656986" y="367602"/>
                </a:lnTo>
                <a:lnTo>
                  <a:pt x="654660" y="390919"/>
                </a:lnTo>
                <a:lnTo>
                  <a:pt x="650568" y="413996"/>
                </a:lnTo>
                <a:lnTo>
                  <a:pt x="644726" y="436720"/>
                </a:lnTo>
                <a:lnTo>
                  <a:pt x="637151" y="458981"/>
                </a:lnTo>
                <a:lnTo>
                  <a:pt x="627858" y="480664"/>
                </a:lnTo>
                <a:lnTo>
                  <a:pt x="616863" y="501660"/>
                </a:lnTo>
                <a:lnTo>
                  <a:pt x="604182" y="521855"/>
                </a:lnTo>
                <a:lnTo>
                  <a:pt x="589832" y="541137"/>
                </a:lnTo>
                <a:lnTo>
                  <a:pt x="573828" y="559395"/>
                </a:lnTo>
                <a:lnTo>
                  <a:pt x="556187" y="576515"/>
                </a:lnTo>
                <a:lnTo>
                  <a:pt x="536925" y="592387"/>
                </a:lnTo>
                <a:lnTo>
                  <a:pt x="515582" y="607769"/>
                </a:lnTo>
                <a:lnTo>
                  <a:pt x="492922" y="621042"/>
                </a:lnTo>
                <a:lnTo>
                  <a:pt x="469217" y="632206"/>
                </a:lnTo>
                <a:lnTo>
                  <a:pt x="444739" y="641261"/>
                </a:lnTo>
                <a:lnTo>
                  <a:pt x="419759" y="648206"/>
                </a:lnTo>
                <a:lnTo>
                  <a:pt x="394549" y="653042"/>
                </a:lnTo>
                <a:lnTo>
                  <a:pt x="369380" y="655768"/>
                </a:lnTo>
                <a:lnTo>
                  <a:pt x="349646" y="656430"/>
                </a:lnTo>
                <a:lnTo>
                  <a:pt x="336005" y="656111"/>
                </a:lnTo>
                <a:lnTo>
                  <a:pt x="308820" y="653566"/>
                </a:lnTo>
                <a:lnTo>
                  <a:pt x="281923" y="648508"/>
                </a:lnTo>
                <a:lnTo>
                  <a:pt x="255509" y="640968"/>
                </a:lnTo>
                <a:lnTo>
                  <a:pt x="229768" y="630979"/>
                </a:lnTo>
                <a:lnTo>
                  <a:pt x="204894" y="618572"/>
                </a:lnTo>
                <a:lnTo>
                  <a:pt x="181080" y="603780"/>
                </a:lnTo>
                <a:lnTo>
                  <a:pt x="158518" y="586634"/>
                </a:lnTo>
                <a:lnTo>
                  <a:pt x="137400" y="567166"/>
                </a:lnTo>
                <a:lnTo>
                  <a:pt x="117920" y="545409"/>
                </a:lnTo>
                <a:lnTo>
                  <a:pt x="94564" y="513285"/>
                </a:lnTo>
                <a:lnTo>
                  <a:pt x="82186" y="492188"/>
                </a:lnTo>
                <a:lnTo>
                  <a:pt x="71701" y="470491"/>
                </a:lnTo>
                <a:lnTo>
                  <a:pt x="63094" y="448293"/>
                </a:lnTo>
                <a:lnTo>
                  <a:pt x="71403" y="565702"/>
                </a:lnTo>
                <a:lnTo>
                  <a:pt x="93352" y="591485"/>
                </a:lnTo>
                <a:lnTo>
                  <a:pt x="117290" y="614417"/>
                </a:lnTo>
                <a:lnTo>
                  <a:pt x="142962" y="634532"/>
                </a:lnTo>
                <a:lnTo>
                  <a:pt x="170112" y="651860"/>
                </a:lnTo>
                <a:lnTo>
                  <a:pt x="198481" y="666435"/>
                </a:lnTo>
                <a:lnTo>
                  <a:pt x="227814" y="678288"/>
                </a:lnTo>
                <a:lnTo>
                  <a:pt x="257853" y="687451"/>
                </a:lnTo>
                <a:lnTo>
                  <a:pt x="288343" y="693956"/>
                </a:lnTo>
                <a:lnTo>
                  <a:pt x="319026" y="697836"/>
                </a:lnTo>
                <a:lnTo>
                  <a:pt x="349646" y="699122"/>
                </a:lnTo>
                <a:lnTo>
                  <a:pt x="362329" y="698917"/>
                </a:lnTo>
                <a:lnTo>
                  <a:pt x="387650" y="697260"/>
                </a:lnTo>
                <a:lnTo>
                  <a:pt x="412832" y="693902"/>
                </a:lnTo>
                <a:lnTo>
                  <a:pt x="437785" y="688797"/>
                </a:lnTo>
                <a:lnTo>
                  <a:pt x="462414" y="681898"/>
                </a:lnTo>
                <a:lnTo>
                  <a:pt x="486627" y="673160"/>
                </a:lnTo>
                <a:lnTo>
                  <a:pt x="510331" y="662536"/>
                </a:lnTo>
                <a:lnTo>
                  <a:pt x="533434" y="649980"/>
                </a:lnTo>
                <a:lnTo>
                  <a:pt x="555843" y="635446"/>
                </a:lnTo>
                <a:lnTo>
                  <a:pt x="586002" y="611394"/>
                </a:lnTo>
                <a:lnTo>
                  <a:pt x="606376" y="591645"/>
                </a:lnTo>
                <a:lnTo>
                  <a:pt x="624799" y="570624"/>
                </a:lnTo>
                <a:lnTo>
                  <a:pt x="641260" y="548453"/>
                </a:lnTo>
                <a:lnTo>
                  <a:pt x="655746" y="525258"/>
                </a:lnTo>
                <a:lnTo>
                  <a:pt x="668245" y="501163"/>
                </a:lnTo>
                <a:lnTo>
                  <a:pt x="678746" y="476291"/>
                </a:lnTo>
                <a:lnTo>
                  <a:pt x="687236" y="450766"/>
                </a:lnTo>
                <a:lnTo>
                  <a:pt x="693704" y="424714"/>
                </a:lnTo>
                <a:lnTo>
                  <a:pt x="698136" y="398257"/>
                </a:lnTo>
                <a:lnTo>
                  <a:pt x="700522" y="371519"/>
                </a:lnTo>
                <a:lnTo>
                  <a:pt x="700849" y="344626"/>
                </a:lnTo>
                <a:lnTo>
                  <a:pt x="699105" y="317700"/>
                </a:lnTo>
                <a:lnTo>
                  <a:pt x="695279" y="290867"/>
                </a:lnTo>
                <a:lnTo>
                  <a:pt x="689358" y="264250"/>
                </a:lnTo>
                <a:lnTo>
                  <a:pt x="681330" y="237972"/>
                </a:lnTo>
                <a:lnTo>
                  <a:pt x="671183" y="212159"/>
                </a:lnTo>
                <a:lnTo>
                  <a:pt x="658905" y="186934"/>
                </a:lnTo>
                <a:lnTo>
                  <a:pt x="644484" y="162422"/>
                </a:lnTo>
                <a:lnTo>
                  <a:pt x="627909" y="138746"/>
                </a:lnTo>
                <a:lnTo>
                  <a:pt x="607402" y="112814"/>
                </a:lnTo>
                <a:lnTo>
                  <a:pt x="584583" y="89477"/>
                </a:lnTo>
                <a:lnTo>
                  <a:pt x="559710" y="68766"/>
                </a:lnTo>
                <a:lnTo>
                  <a:pt x="533040" y="50713"/>
                </a:lnTo>
                <a:lnTo>
                  <a:pt x="504828" y="35350"/>
                </a:lnTo>
                <a:lnTo>
                  <a:pt x="475333" y="22709"/>
                </a:lnTo>
                <a:lnTo>
                  <a:pt x="444810" y="12821"/>
                </a:lnTo>
                <a:lnTo>
                  <a:pt x="413517" y="5719"/>
                </a:lnTo>
                <a:lnTo>
                  <a:pt x="381710" y="1435"/>
                </a:lnTo>
                <a:lnTo>
                  <a:pt x="349646" y="0"/>
                </a:lnTo>
                <a:lnTo>
                  <a:pt x="337058" y="202"/>
                </a:lnTo>
                <a:lnTo>
                  <a:pt x="311928" y="1859"/>
                </a:lnTo>
                <a:lnTo>
                  <a:pt x="286933" y="5258"/>
                </a:lnTo>
                <a:lnTo>
                  <a:pt x="262163" y="10490"/>
                </a:lnTo>
                <a:lnTo>
                  <a:pt x="237710" y="17646"/>
                </a:lnTo>
                <a:lnTo>
                  <a:pt x="213662" y="26814"/>
                </a:lnTo>
                <a:lnTo>
                  <a:pt x="190112" y="38086"/>
                </a:lnTo>
                <a:lnTo>
                  <a:pt x="167147" y="51551"/>
                </a:lnTo>
                <a:lnTo>
                  <a:pt x="144860" y="67301"/>
                </a:lnTo>
                <a:lnTo>
                  <a:pt x="114023" y="93063"/>
                </a:lnTo>
                <a:lnTo>
                  <a:pt x="94226" y="112810"/>
                </a:lnTo>
                <a:lnTo>
                  <a:pt x="76244" y="133830"/>
                </a:lnTo>
                <a:lnTo>
                  <a:pt x="60099" y="155999"/>
                </a:lnTo>
                <a:lnTo>
                  <a:pt x="45816" y="179193"/>
                </a:lnTo>
                <a:lnTo>
                  <a:pt x="33420" y="203287"/>
                </a:lnTo>
                <a:lnTo>
                  <a:pt x="22934" y="228159"/>
                </a:lnTo>
                <a:lnTo>
                  <a:pt x="14382" y="253682"/>
                </a:lnTo>
                <a:lnTo>
                  <a:pt x="7789" y="279735"/>
                </a:lnTo>
                <a:lnTo>
                  <a:pt x="3178" y="306191"/>
                </a:lnTo>
                <a:lnTo>
                  <a:pt x="573" y="332928"/>
                </a:lnTo>
                <a:close/>
              </a:path>
              <a:path w="700849" h="699122">
                <a:moveTo>
                  <a:pt x="56350" y="425695"/>
                </a:moveTo>
                <a:lnTo>
                  <a:pt x="51451" y="402796"/>
                </a:lnTo>
                <a:lnTo>
                  <a:pt x="48383" y="379698"/>
                </a:lnTo>
                <a:lnTo>
                  <a:pt x="47128" y="356499"/>
                </a:lnTo>
                <a:lnTo>
                  <a:pt x="40550" y="517513"/>
                </a:lnTo>
                <a:lnTo>
                  <a:pt x="54865" y="542026"/>
                </a:lnTo>
                <a:lnTo>
                  <a:pt x="71403" y="565702"/>
                </a:lnTo>
                <a:lnTo>
                  <a:pt x="63094" y="448293"/>
                </a:lnTo>
                <a:lnTo>
                  <a:pt x="56350" y="425695"/>
                </a:lnTo>
                <a:close/>
              </a:path>
            </a:pathLst>
          </a:custGeom>
          <a:solidFill>
            <a:srgbClr val="FFFFFF"/>
          </a:solidFill>
        </p:spPr>
        <p:txBody>
          <a:bodyPr wrap="square" lIns="0" tIns="0" rIns="0" bIns="0" rtlCol="0">
            <a:noAutofit/>
          </a:bodyPr>
          <a:lstStyle/>
          <a:p>
            <a:endParaRPr sz="1763"/>
          </a:p>
        </p:txBody>
      </p:sp>
      <p:sp>
        <p:nvSpPr>
          <p:cNvPr id="74" name="object 74"/>
          <p:cNvSpPr/>
          <p:nvPr/>
        </p:nvSpPr>
        <p:spPr>
          <a:xfrm>
            <a:off x="520826" y="776317"/>
            <a:ext cx="94353" cy="224790"/>
          </a:xfrm>
          <a:custGeom>
            <a:avLst/>
            <a:gdLst/>
            <a:ahLst/>
            <a:cxnLst/>
            <a:rect l="l" t="t" r="r" b="b"/>
            <a:pathLst>
              <a:path w="96319" h="229473">
                <a:moveTo>
                  <a:pt x="58874" y="220841"/>
                </a:moveTo>
                <a:lnTo>
                  <a:pt x="58974" y="211280"/>
                </a:lnTo>
                <a:lnTo>
                  <a:pt x="59247" y="200876"/>
                </a:lnTo>
                <a:lnTo>
                  <a:pt x="59778" y="189717"/>
                </a:lnTo>
                <a:lnTo>
                  <a:pt x="60654" y="177887"/>
                </a:lnTo>
                <a:lnTo>
                  <a:pt x="61961" y="165473"/>
                </a:lnTo>
                <a:lnTo>
                  <a:pt x="63784" y="152561"/>
                </a:lnTo>
                <a:lnTo>
                  <a:pt x="66211" y="139236"/>
                </a:lnTo>
                <a:lnTo>
                  <a:pt x="69327" y="125585"/>
                </a:lnTo>
                <a:lnTo>
                  <a:pt x="73218" y="111694"/>
                </a:lnTo>
                <a:lnTo>
                  <a:pt x="77970" y="97648"/>
                </a:lnTo>
                <a:lnTo>
                  <a:pt x="83670" y="83534"/>
                </a:lnTo>
                <a:lnTo>
                  <a:pt x="90404" y="69438"/>
                </a:lnTo>
                <a:lnTo>
                  <a:pt x="96319" y="58700"/>
                </a:lnTo>
                <a:lnTo>
                  <a:pt x="86439" y="48477"/>
                </a:lnTo>
                <a:lnTo>
                  <a:pt x="77249" y="38388"/>
                </a:lnTo>
                <a:lnTo>
                  <a:pt x="68619" y="28563"/>
                </a:lnTo>
                <a:lnTo>
                  <a:pt x="60416" y="19132"/>
                </a:lnTo>
                <a:lnTo>
                  <a:pt x="52508" y="10228"/>
                </a:lnTo>
                <a:lnTo>
                  <a:pt x="44764" y="1979"/>
                </a:lnTo>
                <a:lnTo>
                  <a:pt x="42803" y="0"/>
                </a:lnTo>
                <a:lnTo>
                  <a:pt x="37259" y="12701"/>
                </a:lnTo>
                <a:lnTo>
                  <a:pt x="32193" y="25391"/>
                </a:lnTo>
                <a:lnTo>
                  <a:pt x="27579" y="38056"/>
                </a:lnTo>
                <a:lnTo>
                  <a:pt x="23394" y="50686"/>
                </a:lnTo>
                <a:lnTo>
                  <a:pt x="19615" y="63267"/>
                </a:lnTo>
                <a:lnTo>
                  <a:pt x="16216" y="75788"/>
                </a:lnTo>
                <a:lnTo>
                  <a:pt x="13174" y="88238"/>
                </a:lnTo>
                <a:lnTo>
                  <a:pt x="10464" y="100603"/>
                </a:lnTo>
                <a:lnTo>
                  <a:pt x="8063" y="112872"/>
                </a:lnTo>
                <a:lnTo>
                  <a:pt x="5946" y="125033"/>
                </a:lnTo>
                <a:lnTo>
                  <a:pt x="4090" y="137075"/>
                </a:lnTo>
                <a:lnTo>
                  <a:pt x="2470" y="148984"/>
                </a:lnTo>
                <a:lnTo>
                  <a:pt x="1062" y="160748"/>
                </a:lnTo>
                <a:lnTo>
                  <a:pt x="0" y="170771"/>
                </a:lnTo>
                <a:lnTo>
                  <a:pt x="5343" y="170771"/>
                </a:lnTo>
                <a:lnTo>
                  <a:pt x="5343" y="176109"/>
                </a:lnTo>
                <a:lnTo>
                  <a:pt x="10694" y="181443"/>
                </a:lnTo>
                <a:lnTo>
                  <a:pt x="17705" y="190865"/>
                </a:lnTo>
                <a:lnTo>
                  <a:pt x="26327" y="200778"/>
                </a:lnTo>
                <a:lnTo>
                  <a:pt x="35933" y="210557"/>
                </a:lnTo>
                <a:lnTo>
                  <a:pt x="45897" y="219576"/>
                </a:lnTo>
                <a:lnTo>
                  <a:pt x="55592" y="227209"/>
                </a:lnTo>
                <a:lnTo>
                  <a:pt x="58859" y="229473"/>
                </a:lnTo>
                <a:lnTo>
                  <a:pt x="58874" y="220841"/>
                </a:lnTo>
                <a:close/>
              </a:path>
            </a:pathLst>
          </a:custGeom>
          <a:solidFill>
            <a:srgbClr val="FFFFFF"/>
          </a:solidFill>
        </p:spPr>
        <p:txBody>
          <a:bodyPr wrap="square" lIns="0" tIns="0" rIns="0" bIns="0" rtlCol="0">
            <a:noAutofit/>
          </a:bodyPr>
          <a:lstStyle/>
          <a:p>
            <a:endParaRPr sz="1763"/>
          </a:p>
        </p:txBody>
      </p:sp>
      <p:sp>
        <p:nvSpPr>
          <p:cNvPr id="75" name="object 75"/>
          <p:cNvSpPr/>
          <p:nvPr/>
        </p:nvSpPr>
        <p:spPr>
          <a:xfrm>
            <a:off x="594207" y="603791"/>
            <a:ext cx="178228" cy="182971"/>
          </a:xfrm>
          <a:custGeom>
            <a:avLst/>
            <a:gdLst/>
            <a:ahLst/>
            <a:cxnLst/>
            <a:rect l="l" t="t" r="r" b="b"/>
            <a:pathLst>
              <a:path w="181941" h="186783">
                <a:moveTo>
                  <a:pt x="424" y="122119"/>
                </a:moveTo>
                <a:lnTo>
                  <a:pt x="5492" y="132901"/>
                </a:lnTo>
                <a:lnTo>
                  <a:pt x="11791" y="143051"/>
                </a:lnTo>
                <a:lnTo>
                  <a:pt x="18896" y="153201"/>
                </a:lnTo>
                <a:lnTo>
                  <a:pt x="26809" y="163351"/>
                </a:lnTo>
                <a:lnTo>
                  <a:pt x="35528" y="173501"/>
                </a:lnTo>
                <a:lnTo>
                  <a:pt x="45053" y="183651"/>
                </a:lnTo>
                <a:lnTo>
                  <a:pt x="48155" y="186783"/>
                </a:lnTo>
                <a:lnTo>
                  <a:pt x="55222" y="177433"/>
                </a:lnTo>
                <a:lnTo>
                  <a:pt x="62488" y="168083"/>
                </a:lnTo>
                <a:lnTo>
                  <a:pt x="70154" y="158733"/>
                </a:lnTo>
                <a:lnTo>
                  <a:pt x="78419" y="149382"/>
                </a:lnTo>
                <a:lnTo>
                  <a:pt x="87483" y="140032"/>
                </a:lnTo>
                <a:lnTo>
                  <a:pt x="97545" y="130682"/>
                </a:lnTo>
                <a:lnTo>
                  <a:pt x="107012" y="122751"/>
                </a:lnTo>
                <a:lnTo>
                  <a:pt x="117345" y="112700"/>
                </a:lnTo>
                <a:lnTo>
                  <a:pt x="127610" y="103181"/>
                </a:lnTo>
                <a:lnTo>
                  <a:pt x="137736" y="94195"/>
                </a:lnTo>
                <a:lnTo>
                  <a:pt x="147657" y="85741"/>
                </a:lnTo>
                <a:lnTo>
                  <a:pt x="157302" y="77819"/>
                </a:lnTo>
                <a:lnTo>
                  <a:pt x="166602" y="70428"/>
                </a:lnTo>
                <a:lnTo>
                  <a:pt x="175490" y="63569"/>
                </a:lnTo>
                <a:lnTo>
                  <a:pt x="181941" y="58700"/>
                </a:lnTo>
                <a:lnTo>
                  <a:pt x="173874" y="48828"/>
                </a:lnTo>
                <a:lnTo>
                  <a:pt x="165249" y="39511"/>
                </a:lnTo>
                <a:lnTo>
                  <a:pt x="156328" y="30490"/>
                </a:lnTo>
                <a:lnTo>
                  <a:pt x="147374" y="21501"/>
                </a:lnTo>
                <a:lnTo>
                  <a:pt x="138649" y="12284"/>
                </a:lnTo>
                <a:lnTo>
                  <a:pt x="130415" y="2578"/>
                </a:lnTo>
                <a:lnTo>
                  <a:pt x="128431" y="0"/>
                </a:lnTo>
                <a:lnTo>
                  <a:pt x="117858" y="5760"/>
                </a:lnTo>
                <a:lnTo>
                  <a:pt x="107643" y="12276"/>
                </a:lnTo>
                <a:lnTo>
                  <a:pt x="97739" y="19502"/>
                </a:lnTo>
                <a:lnTo>
                  <a:pt x="88102" y="27393"/>
                </a:lnTo>
                <a:lnTo>
                  <a:pt x="78686" y="35905"/>
                </a:lnTo>
                <a:lnTo>
                  <a:pt x="69448" y="44994"/>
                </a:lnTo>
                <a:lnTo>
                  <a:pt x="60340" y="54615"/>
                </a:lnTo>
                <a:lnTo>
                  <a:pt x="51320" y="64724"/>
                </a:lnTo>
                <a:lnTo>
                  <a:pt x="42810" y="74713"/>
                </a:lnTo>
                <a:lnTo>
                  <a:pt x="33345" y="84194"/>
                </a:lnTo>
                <a:lnTo>
                  <a:pt x="24126" y="93676"/>
                </a:lnTo>
                <a:lnTo>
                  <a:pt x="15402" y="103157"/>
                </a:lnTo>
                <a:lnTo>
                  <a:pt x="7419" y="112638"/>
                </a:lnTo>
                <a:lnTo>
                  <a:pt x="424" y="122119"/>
                </a:lnTo>
                <a:close/>
              </a:path>
            </a:pathLst>
          </a:custGeom>
          <a:solidFill>
            <a:srgbClr val="FFFFFF"/>
          </a:solidFill>
        </p:spPr>
        <p:txBody>
          <a:bodyPr wrap="square" lIns="0" tIns="0" rIns="0" bIns="0" rtlCol="0">
            <a:noAutofit/>
          </a:bodyPr>
          <a:lstStyle/>
          <a:p>
            <a:endParaRPr sz="1763"/>
          </a:p>
        </p:txBody>
      </p:sp>
      <p:sp>
        <p:nvSpPr>
          <p:cNvPr id="76" name="object 76"/>
          <p:cNvSpPr/>
          <p:nvPr/>
        </p:nvSpPr>
        <p:spPr>
          <a:xfrm>
            <a:off x="761944" y="536434"/>
            <a:ext cx="241128" cy="98727"/>
          </a:xfrm>
          <a:custGeom>
            <a:avLst/>
            <a:gdLst/>
            <a:ahLst/>
            <a:cxnLst/>
            <a:rect l="l" t="t" r="r" b="b"/>
            <a:pathLst>
              <a:path w="246152" h="100784">
                <a:moveTo>
                  <a:pt x="38003" y="24365"/>
                </a:moveTo>
                <a:lnTo>
                  <a:pt x="23871" y="30369"/>
                </a:lnTo>
                <a:lnTo>
                  <a:pt x="9577" y="37134"/>
                </a:lnTo>
                <a:lnTo>
                  <a:pt x="0" y="42065"/>
                </a:lnTo>
                <a:lnTo>
                  <a:pt x="8065" y="51937"/>
                </a:lnTo>
                <a:lnTo>
                  <a:pt x="16689" y="61252"/>
                </a:lnTo>
                <a:lnTo>
                  <a:pt x="25608" y="70274"/>
                </a:lnTo>
                <a:lnTo>
                  <a:pt x="34560" y="79263"/>
                </a:lnTo>
                <a:lnTo>
                  <a:pt x="43284" y="88483"/>
                </a:lnTo>
                <a:lnTo>
                  <a:pt x="51518" y="98194"/>
                </a:lnTo>
                <a:lnTo>
                  <a:pt x="53510" y="100784"/>
                </a:lnTo>
                <a:lnTo>
                  <a:pt x="74209" y="90500"/>
                </a:lnTo>
                <a:lnTo>
                  <a:pt x="94084" y="81618"/>
                </a:lnTo>
                <a:lnTo>
                  <a:pt x="113064" y="74036"/>
                </a:lnTo>
                <a:lnTo>
                  <a:pt x="131079" y="67652"/>
                </a:lnTo>
                <a:lnTo>
                  <a:pt x="148056" y="62366"/>
                </a:lnTo>
                <a:lnTo>
                  <a:pt x="163926" y="58073"/>
                </a:lnTo>
                <a:lnTo>
                  <a:pt x="178618" y="54673"/>
                </a:lnTo>
                <a:lnTo>
                  <a:pt x="192061" y="52064"/>
                </a:lnTo>
                <a:lnTo>
                  <a:pt x="204185" y="50143"/>
                </a:lnTo>
                <a:lnTo>
                  <a:pt x="214918" y="48809"/>
                </a:lnTo>
                <a:lnTo>
                  <a:pt x="224189" y="47960"/>
                </a:lnTo>
                <a:lnTo>
                  <a:pt x="231929" y="47493"/>
                </a:lnTo>
                <a:lnTo>
                  <a:pt x="238066" y="47308"/>
                </a:lnTo>
                <a:lnTo>
                  <a:pt x="246152" y="47415"/>
                </a:lnTo>
                <a:lnTo>
                  <a:pt x="238748" y="37377"/>
                </a:lnTo>
                <a:lnTo>
                  <a:pt x="230225" y="27634"/>
                </a:lnTo>
                <a:lnTo>
                  <a:pt x="220883" y="18484"/>
                </a:lnTo>
                <a:lnTo>
                  <a:pt x="211017" y="10223"/>
                </a:lnTo>
                <a:lnTo>
                  <a:pt x="203333" y="4709"/>
                </a:lnTo>
                <a:lnTo>
                  <a:pt x="194381" y="2964"/>
                </a:lnTo>
                <a:lnTo>
                  <a:pt x="184878" y="1593"/>
                </a:lnTo>
                <a:lnTo>
                  <a:pt x="174852" y="623"/>
                </a:lnTo>
                <a:lnTo>
                  <a:pt x="164331" y="83"/>
                </a:lnTo>
                <a:lnTo>
                  <a:pt x="153342" y="0"/>
                </a:lnTo>
                <a:lnTo>
                  <a:pt x="141914" y="401"/>
                </a:lnTo>
                <a:lnTo>
                  <a:pt x="130074" y="1314"/>
                </a:lnTo>
                <a:lnTo>
                  <a:pt x="117850" y="2766"/>
                </a:lnTo>
                <a:lnTo>
                  <a:pt x="105271" y="4787"/>
                </a:lnTo>
                <a:lnTo>
                  <a:pt x="92362" y="7402"/>
                </a:lnTo>
                <a:lnTo>
                  <a:pt x="79154" y="10640"/>
                </a:lnTo>
                <a:lnTo>
                  <a:pt x="65672" y="14528"/>
                </a:lnTo>
                <a:lnTo>
                  <a:pt x="51946" y="19093"/>
                </a:lnTo>
                <a:lnTo>
                  <a:pt x="38003" y="24365"/>
                </a:lnTo>
                <a:close/>
              </a:path>
            </a:pathLst>
          </a:custGeom>
          <a:solidFill>
            <a:srgbClr val="FFFFFF"/>
          </a:solidFill>
        </p:spPr>
        <p:txBody>
          <a:bodyPr wrap="square" lIns="0" tIns="0" rIns="0" bIns="0" rtlCol="0">
            <a:noAutofit/>
          </a:bodyPr>
          <a:lstStyle/>
          <a:p>
            <a:endParaRPr sz="1763"/>
          </a:p>
        </p:txBody>
      </p:sp>
      <p:sp>
        <p:nvSpPr>
          <p:cNvPr id="77" name="object 77"/>
          <p:cNvSpPr/>
          <p:nvPr/>
        </p:nvSpPr>
        <p:spPr>
          <a:xfrm>
            <a:off x="515376" y="561956"/>
            <a:ext cx="78830" cy="214361"/>
          </a:xfrm>
          <a:custGeom>
            <a:avLst/>
            <a:gdLst/>
            <a:ahLst/>
            <a:cxnLst/>
            <a:rect l="l" t="t" r="r" b="b"/>
            <a:pathLst>
              <a:path w="80472" h="218827">
                <a:moveTo>
                  <a:pt x="46718" y="216342"/>
                </a:moveTo>
                <a:lnTo>
                  <a:pt x="48366" y="218827"/>
                </a:lnTo>
                <a:lnTo>
                  <a:pt x="54913" y="208455"/>
                </a:lnTo>
                <a:lnTo>
                  <a:pt x="61459" y="197294"/>
                </a:lnTo>
                <a:lnTo>
                  <a:pt x="68005" y="185888"/>
                </a:lnTo>
                <a:lnTo>
                  <a:pt x="74552" y="174784"/>
                </a:lnTo>
                <a:lnTo>
                  <a:pt x="80472" y="165457"/>
                </a:lnTo>
                <a:lnTo>
                  <a:pt x="70675" y="149265"/>
                </a:lnTo>
                <a:lnTo>
                  <a:pt x="62319" y="133478"/>
                </a:lnTo>
                <a:lnTo>
                  <a:pt x="55305" y="118158"/>
                </a:lnTo>
                <a:lnTo>
                  <a:pt x="49531" y="103366"/>
                </a:lnTo>
                <a:lnTo>
                  <a:pt x="44898" y="89167"/>
                </a:lnTo>
                <a:lnTo>
                  <a:pt x="41306" y="75621"/>
                </a:lnTo>
                <a:lnTo>
                  <a:pt x="38655" y="62791"/>
                </a:lnTo>
                <a:lnTo>
                  <a:pt x="36844" y="50739"/>
                </a:lnTo>
                <a:lnTo>
                  <a:pt x="35775" y="39528"/>
                </a:lnTo>
                <a:lnTo>
                  <a:pt x="35346" y="29219"/>
                </a:lnTo>
                <a:lnTo>
                  <a:pt x="35458" y="19876"/>
                </a:lnTo>
                <a:lnTo>
                  <a:pt x="36010" y="11559"/>
                </a:lnTo>
                <a:lnTo>
                  <a:pt x="36904" y="4333"/>
                </a:lnTo>
                <a:lnTo>
                  <a:pt x="37669" y="0"/>
                </a:lnTo>
                <a:lnTo>
                  <a:pt x="29389" y="9141"/>
                </a:lnTo>
                <a:lnTo>
                  <a:pt x="21109" y="19311"/>
                </a:lnTo>
                <a:lnTo>
                  <a:pt x="12832" y="29411"/>
                </a:lnTo>
                <a:lnTo>
                  <a:pt x="5563" y="37356"/>
                </a:lnTo>
                <a:lnTo>
                  <a:pt x="3596" y="46019"/>
                </a:lnTo>
                <a:lnTo>
                  <a:pt x="1982" y="55109"/>
                </a:lnTo>
                <a:lnTo>
                  <a:pt x="796" y="64636"/>
                </a:lnTo>
                <a:lnTo>
                  <a:pt x="110" y="74607"/>
                </a:lnTo>
                <a:lnTo>
                  <a:pt x="0" y="85034"/>
                </a:lnTo>
                <a:lnTo>
                  <a:pt x="537" y="95924"/>
                </a:lnTo>
                <a:lnTo>
                  <a:pt x="1796" y="107288"/>
                </a:lnTo>
                <a:lnTo>
                  <a:pt x="3852" y="119134"/>
                </a:lnTo>
                <a:lnTo>
                  <a:pt x="6777" y="131472"/>
                </a:lnTo>
                <a:lnTo>
                  <a:pt x="10645" y="144310"/>
                </a:lnTo>
                <a:lnTo>
                  <a:pt x="15530" y="157659"/>
                </a:lnTo>
                <a:lnTo>
                  <a:pt x="21507" y="171528"/>
                </a:lnTo>
                <a:lnTo>
                  <a:pt x="28647" y="185925"/>
                </a:lnTo>
                <a:lnTo>
                  <a:pt x="37027" y="200860"/>
                </a:lnTo>
                <a:lnTo>
                  <a:pt x="46718" y="216342"/>
                </a:lnTo>
                <a:close/>
              </a:path>
            </a:pathLst>
          </a:custGeom>
          <a:solidFill>
            <a:srgbClr val="FFFFFF"/>
          </a:solidFill>
        </p:spPr>
        <p:txBody>
          <a:bodyPr wrap="square" lIns="0" tIns="0" rIns="0" bIns="0" rtlCol="0">
            <a:noAutofit/>
          </a:bodyPr>
          <a:lstStyle/>
          <a:p>
            <a:endParaRPr sz="1763"/>
          </a:p>
        </p:txBody>
      </p:sp>
      <p:sp>
        <p:nvSpPr>
          <p:cNvPr id="78" name="object 78"/>
          <p:cNvSpPr/>
          <p:nvPr/>
        </p:nvSpPr>
        <p:spPr>
          <a:xfrm>
            <a:off x="615179" y="786762"/>
            <a:ext cx="403621" cy="198661"/>
          </a:xfrm>
          <a:custGeom>
            <a:avLst/>
            <a:gdLst/>
            <a:ahLst/>
            <a:cxnLst/>
            <a:rect l="l" t="t" r="r" b="b"/>
            <a:pathLst>
              <a:path w="412030" h="202800">
                <a:moveTo>
                  <a:pt x="6285" y="33288"/>
                </a:moveTo>
                <a:lnTo>
                  <a:pt x="1310" y="44384"/>
                </a:lnTo>
                <a:lnTo>
                  <a:pt x="0" y="48037"/>
                </a:lnTo>
                <a:lnTo>
                  <a:pt x="8970" y="56467"/>
                </a:lnTo>
                <a:lnTo>
                  <a:pt x="18143" y="64202"/>
                </a:lnTo>
                <a:lnTo>
                  <a:pt x="27725" y="71653"/>
                </a:lnTo>
                <a:lnTo>
                  <a:pt x="37923" y="79228"/>
                </a:lnTo>
                <a:lnTo>
                  <a:pt x="48942" y="87339"/>
                </a:lnTo>
                <a:lnTo>
                  <a:pt x="53492" y="90726"/>
                </a:lnTo>
                <a:lnTo>
                  <a:pt x="71947" y="105266"/>
                </a:lnTo>
                <a:lnTo>
                  <a:pt x="90362" y="118505"/>
                </a:lnTo>
                <a:lnTo>
                  <a:pt x="108696" y="130503"/>
                </a:lnTo>
                <a:lnTo>
                  <a:pt x="126910" y="141320"/>
                </a:lnTo>
                <a:lnTo>
                  <a:pt x="144963" y="151017"/>
                </a:lnTo>
                <a:lnTo>
                  <a:pt x="162816" y="159653"/>
                </a:lnTo>
                <a:lnTo>
                  <a:pt x="180428" y="167288"/>
                </a:lnTo>
                <a:lnTo>
                  <a:pt x="197759" y="173982"/>
                </a:lnTo>
                <a:lnTo>
                  <a:pt x="214769" y="179796"/>
                </a:lnTo>
                <a:lnTo>
                  <a:pt x="231418" y="184789"/>
                </a:lnTo>
                <a:lnTo>
                  <a:pt x="247665" y="189022"/>
                </a:lnTo>
                <a:lnTo>
                  <a:pt x="263471" y="192554"/>
                </a:lnTo>
                <a:lnTo>
                  <a:pt x="278796" y="195446"/>
                </a:lnTo>
                <a:lnTo>
                  <a:pt x="293598" y="197757"/>
                </a:lnTo>
                <a:lnTo>
                  <a:pt x="307839" y="199548"/>
                </a:lnTo>
                <a:lnTo>
                  <a:pt x="321478" y="200879"/>
                </a:lnTo>
                <a:lnTo>
                  <a:pt x="334475" y="201809"/>
                </a:lnTo>
                <a:lnTo>
                  <a:pt x="346789" y="202400"/>
                </a:lnTo>
                <a:lnTo>
                  <a:pt x="358381" y="202710"/>
                </a:lnTo>
                <a:lnTo>
                  <a:pt x="369211" y="202800"/>
                </a:lnTo>
                <a:lnTo>
                  <a:pt x="374090" y="199427"/>
                </a:lnTo>
                <a:lnTo>
                  <a:pt x="381737" y="190785"/>
                </a:lnTo>
                <a:lnTo>
                  <a:pt x="391164" y="179091"/>
                </a:lnTo>
                <a:lnTo>
                  <a:pt x="401380" y="166561"/>
                </a:lnTo>
                <a:lnTo>
                  <a:pt x="411398" y="155412"/>
                </a:lnTo>
                <a:lnTo>
                  <a:pt x="412030" y="154776"/>
                </a:lnTo>
                <a:lnTo>
                  <a:pt x="406460" y="155637"/>
                </a:lnTo>
                <a:lnTo>
                  <a:pt x="399422" y="156542"/>
                </a:lnTo>
                <a:lnTo>
                  <a:pt x="390970" y="157374"/>
                </a:lnTo>
                <a:lnTo>
                  <a:pt x="381162" y="158019"/>
                </a:lnTo>
                <a:lnTo>
                  <a:pt x="370054" y="158359"/>
                </a:lnTo>
                <a:lnTo>
                  <a:pt x="357702" y="158279"/>
                </a:lnTo>
                <a:lnTo>
                  <a:pt x="344161" y="157663"/>
                </a:lnTo>
                <a:lnTo>
                  <a:pt x="329489" y="156395"/>
                </a:lnTo>
                <a:lnTo>
                  <a:pt x="313741" y="154358"/>
                </a:lnTo>
                <a:lnTo>
                  <a:pt x="296974" y="151437"/>
                </a:lnTo>
                <a:lnTo>
                  <a:pt x="279244" y="147515"/>
                </a:lnTo>
                <a:lnTo>
                  <a:pt x="260607" y="142476"/>
                </a:lnTo>
                <a:lnTo>
                  <a:pt x="241119" y="136205"/>
                </a:lnTo>
                <a:lnTo>
                  <a:pt x="220836" y="128585"/>
                </a:lnTo>
                <a:lnTo>
                  <a:pt x="199815" y="119499"/>
                </a:lnTo>
                <a:lnTo>
                  <a:pt x="178112" y="108833"/>
                </a:lnTo>
                <a:lnTo>
                  <a:pt x="155783" y="96470"/>
                </a:lnTo>
                <a:lnTo>
                  <a:pt x="132884" y="82294"/>
                </a:lnTo>
                <a:lnTo>
                  <a:pt x="109472" y="66188"/>
                </a:lnTo>
                <a:lnTo>
                  <a:pt x="85602" y="48037"/>
                </a:lnTo>
                <a:lnTo>
                  <a:pt x="74895" y="40007"/>
                </a:lnTo>
                <a:lnTo>
                  <a:pt x="64337" y="31977"/>
                </a:lnTo>
                <a:lnTo>
                  <a:pt x="54079" y="23946"/>
                </a:lnTo>
                <a:lnTo>
                  <a:pt x="44270" y="15916"/>
                </a:lnTo>
                <a:lnTo>
                  <a:pt x="35061" y="7886"/>
                </a:lnTo>
                <a:lnTo>
                  <a:pt x="26746" y="0"/>
                </a:lnTo>
                <a:lnTo>
                  <a:pt x="19401" y="11096"/>
                </a:lnTo>
                <a:lnTo>
                  <a:pt x="12448" y="22192"/>
                </a:lnTo>
                <a:lnTo>
                  <a:pt x="6285" y="33288"/>
                </a:lnTo>
                <a:close/>
              </a:path>
            </a:pathLst>
          </a:custGeom>
          <a:solidFill>
            <a:srgbClr val="FFFFFF"/>
          </a:solidFill>
        </p:spPr>
        <p:txBody>
          <a:bodyPr wrap="square" lIns="0" tIns="0" rIns="0" bIns="0" rtlCol="0">
            <a:noAutofit/>
          </a:bodyPr>
          <a:lstStyle/>
          <a:p>
            <a:endParaRPr sz="1763"/>
          </a:p>
        </p:txBody>
      </p:sp>
      <p:sp>
        <p:nvSpPr>
          <p:cNvPr id="79" name="object 79"/>
          <p:cNvSpPr/>
          <p:nvPr/>
        </p:nvSpPr>
        <p:spPr>
          <a:xfrm>
            <a:off x="562755" y="724036"/>
            <a:ext cx="78624" cy="109783"/>
          </a:xfrm>
          <a:custGeom>
            <a:avLst/>
            <a:gdLst/>
            <a:ahLst/>
            <a:cxnLst/>
            <a:rect l="l" t="t" r="r" b="b"/>
            <a:pathLst>
              <a:path w="80262" h="112070">
                <a:moveTo>
                  <a:pt x="7722" y="61429"/>
                </a:moveTo>
                <a:lnTo>
                  <a:pt x="15576" y="70179"/>
                </a:lnTo>
                <a:lnTo>
                  <a:pt x="23691" y="79488"/>
                </a:lnTo>
                <a:lnTo>
                  <a:pt x="32201" y="89225"/>
                </a:lnTo>
                <a:lnTo>
                  <a:pt x="41235" y="99260"/>
                </a:lnTo>
                <a:lnTo>
                  <a:pt x="50927" y="109461"/>
                </a:lnTo>
                <a:lnTo>
                  <a:pt x="53516" y="112070"/>
                </a:lnTo>
                <a:lnTo>
                  <a:pt x="58012" y="100974"/>
                </a:lnTo>
                <a:lnTo>
                  <a:pt x="63828" y="89878"/>
                </a:lnTo>
                <a:lnTo>
                  <a:pt x="70564" y="78782"/>
                </a:lnTo>
                <a:lnTo>
                  <a:pt x="77824" y="67686"/>
                </a:lnTo>
                <a:lnTo>
                  <a:pt x="80262" y="64032"/>
                </a:lnTo>
                <a:lnTo>
                  <a:pt x="70488" y="53882"/>
                </a:lnTo>
                <a:lnTo>
                  <a:pt x="61520" y="43732"/>
                </a:lnTo>
                <a:lnTo>
                  <a:pt x="53359" y="33582"/>
                </a:lnTo>
                <a:lnTo>
                  <a:pt x="46004" y="23432"/>
                </a:lnTo>
                <a:lnTo>
                  <a:pt x="39456" y="13282"/>
                </a:lnTo>
                <a:lnTo>
                  <a:pt x="33715" y="3132"/>
                </a:lnTo>
                <a:lnTo>
                  <a:pt x="32106" y="0"/>
                </a:lnTo>
                <a:lnTo>
                  <a:pt x="25558" y="10363"/>
                </a:lnTo>
                <a:lnTo>
                  <a:pt x="19011" y="21519"/>
                </a:lnTo>
                <a:lnTo>
                  <a:pt x="12465" y="32925"/>
                </a:lnTo>
                <a:lnTo>
                  <a:pt x="5919" y="44034"/>
                </a:lnTo>
                <a:lnTo>
                  <a:pt x="0" y="53369"/>
                </a:lnTo>
                <a:lnTo>
                  <a:pt x="7722" y="61429"/>
                </a:lnTo>
                <a:close/>
              </a:path>
            </a:pathLst>
          </a:custGeom>
          <a:solidFill>
            <a:srgbClr val="FFFFFF"/>
          </a:solidFill>
        </p:spPr>
        <p:txBody>
          <a:bodyPr wrap="square" lIns="0" tIns="0" rIns="0" bIns="0" rtlCol="0">
            <a:noAutofit/>
          </a:bodyPr>
          <a:lstStyle/>
          <a:p>
            <a:endParaRPr sz="1763"/>
          </a:p>
        </p:txBody>
      </p:sp>
      <p:sp>
        <p:nvSpPr>
          <p:cNvPr id="80" name="object 80"/>
          <p:cNvSpPr/>
          <p:nvPr/>
        </p:nvSpPr>
        <p:spPr>
          <a:xfrm>
            <a:off x="772435" y="635162"/>
            <a:ext cx="288293" cy="240474"/>
          </a:xfrm>
          <a:custGeom>
            <a:avLst/>
            <a:gdLst/>
            <a:ahLst/>
            <a:cxnLst/>
            <a:rect l="l" t="t" r="r" b="b"/>
            <a:pathLst>
              <a:path w="294299" h="245484">
                <a:moveTo>
                  <a:pt x="17762" y="41799"/>
                </a:moveTo>
                <a:lnTo>
                  <a:pt x="35678" y="56724"/>
                </a:lnTo>
                <a:lnTo>
                  <a:pt x="53658" y="71407"/>
                </a:lnTo>
                <a:lnTo>
                  <a:pt x="71614" y="85811"/>
                </a:lnTo>
                <a:lnTo>
                  <a:pt x="89458" y="99894"/>
                </a:lnTo>
                <a:lnTo>
                  <a:pt x="107101" y="113617"/>
                </a:lnTo>
                <a:lnTo>
                  <a:pt x="124455" y="126939"/>
                </a:lnTo>
                <a:lnTo>
                  <a:pt x="141433" y="139821"/>
                </a:lnTo>
                <a:lnTo>
                  <a:pt x="157944" y="152223"/>
                </a:lnTo>
                <a:lnTo>
                  <a:pt x="173902" y="164104"/>
                </a:lnTo>
                <a:lnTo>
                  <a:pt x="189218" y="175425"/>
                </a:lnTo>
                <a:lnTo>
                  <a:pt x="203804" y="186145"/>
                </a:lnTo>
                <a:lnTo>
                  <a:pt x="217570" y="196225"/>
                </a:lnTo>
                <a:lnTo>
                  <a:pt x="230429" y="205624"/>
                </a:lnTo>
                <a:lnTo>
                  <a:pt x="242293" y="214302"/>
                </a:lnTo>
                <a:lnTo>
                  <a:pt x="253074" y="222220"/>
                </a:lnTo>
                <a:lnTo>
                  <a:pt x="262682" y="229337"/>
                </a:lnTo>
                <a:lnTo>
                  <a:pt x="271029" y="235614"/>
                </a:lnTo>
                <a:lnTo>
                  <a:pt x="278028" y="241009"/>
                </a:lnTo>
                <a:lnTo>
                  <a:pt x="283590" y="245484"/>
                </a:lnTo>
                <a:lnTo>
                  <a:pt x="290229" y="231804"/>
                </a:lnTo>
                <a:lnTo>
                  <a:pt x="294090" y="220879"/>
                </a:lnTo>
                <a:lnTo>
                  <a:pt x="294299" y="218809"/>
                </a:lnTo>
                <a:lnTo>
                  <a:pt x="288244" y="214407"/>
                </a:lnTo>
                <a:lnTo>
                  <a:pt x="281334" y="209221"/>
                </a:lnTo>
                <a:lnTo>
                  <a:pt x="273597" y="203267"/>
                </a:lnTo>
                <a:lnTo>
                  <a:pt x="265061" y="196561"/>
                </a:lnTo>
                <a:lnTo>
                  <a:pt x="255754" y="189118"/>
                </a:lnTo>
                <a:lnTo>
                  <a:pt x="245705" y="180955"/>
                </a:lnTo>
                <a:lnTo>
                  <a:pt x="234942" y="172088"/>
                </a:lnTo>
                <a:lnTo>
                  <a:pt x="223492" y="162533"/>
                </a:lnTo>
                <a:lnTo>
                  <a:pt x="211384" y="152305"/>
                </a:lnTo>
                <a:lnTo>
                  <a:pt x="198646" y="141420"/>
                </a:lnTo>
                <a:lnTo>
                  <a:pt x="185307" y="129896"/>
                </a:lnTo>
                <a:lnTo>
                  <a:pt x="171393" y="117747"/>
                </a:lnTo>
                <a:lnTo>
                  <a:pt x="156934" y="104990"/>
                </a:lnTo>
                <a:lnTo>
                  <a:pt x="141957" y="91640"/>
                </a:lnTo>
                <a:lnTo>
                  <a:pt x="126490" y="77714"/>
                </a:lnTo>
                <a:lnTo>
                  <a:pt x="110563" y="63228"/>
                </a:lnTo>
                <a:lnTo>
                  <a:pt x="94202" y="48198"/>
                </a:lnTo>
                <a:lnTo>
                  <a:pt x="77436" y="32639"/>
                </a:lnTo>
                <a:lnTo>
                  <a:pt x="60293" y="16567"/>
                </a:lnTo>
                <a:lnTo>
                  <a:pt x="42801" y="0"/>
                </a:lnTo>
                <a:lnTo>
                  <a:pt x="33787" y="4957"/>
                </a:lnTo>
                <a:lnTo>
                  <a:pt x="23244" y="11433"/>
                </a:lnTo>
                <a:lnTo>
                  <a:pt x="11692" y="18920"/>
                </a:lnTo>
                <a:lnTo>
                  <a:pt x="0" y="26675"/>
                </a:lnTo>
                <a:lnTo>
                  <a:pt x="17762" y="41799"/>
                </a:lnTo>
                <a:close/>
              </a:path>
            </a:pathLst>
          </a:custGeom>
          <a:solidFill>
            <a:srgbClr val="FFFFFF"/>
          </a:solidFill>
        </p:spPr>
        <p:txBody>
          <a:bodyPr wrap="square" lIns="0" tIns="0" rIns="0" bIns="0" rtlCol="0">
            <a:noAutofit/>
          </a:bodyPr>
          <a:lstStyle/>
          <a:p>
            <a:endParaRPr sz="1763"/>
          </a:p>
        </p:txBody>
      </p:sp>
      <p:sp>
        <p:nvSpPr>
          <p:cNvPr id="81" name="object 81"/>
          <p:cNvSpPr/>
          <p:nvPr/>
        </p:nvSpPr>
        <p:spPr>
          <a:xfrm>
            <a:off x="636143" y="483544"/>
            <a:ext cx="125801" cy="120246"/>
          </a:xfrm>
          <a:custGeom>
            <a:avLst/>
            <a:gdLst/>
            <a:ahLst/>
            <a:cxnLst/>
            <a:rect l="l" t="t" r="r" b="b"/>
            <a:pathLst>
              <a:path w="128422" h="122751">
                <a:moveTo>
                  <a:pt x="19238" y="46207"/>
                </a:moveTo>
                <a:lnTo>
                  <a:pt x="26325" y="55959"/>
                </a:lnTo>
                <a:lnTo>
                  <a:pt x="33791" y="65641"/>
                </a:lnTo>
                <a:lnTo>
                  <a:pt x="41662" y="75302"/>
                </a:lnTo>
                <a:lnTo>
                  <a:pt x="49963" y="84995"/>
                </a:lnTo>
                <a:lnTo>
                  <a:pt x="58721" y="94771"/>
                </a:lnTo>
                <a:lnTo>
                  <a:pt x="67960" y="104680"/>
                </a:lnTo>
                <a:lnTo>
                  <a:pt x="77707" y="114774"/>
                </a:lnTo>
                <a:lnTo>
                  <a:pt x="85620" y="122751"/>
                </a:lnTo>
                <a:lnTo>
                  <a:pt x="94630" y="114771"/>
                </a:lnTo>
                <a:lnTo>
                  <a:pt x="105166" y="107306"/>
                </a:lnTo>
                <a:lnTo>
                  <a:pt x="116714" y="100861"/>
                </a:lnTo>
                <a:lnTo>
                  <a:pt x="128422" y="96057"/>
                </a:lnTo>
                <a:lnTo>
                  <a:pt x="119066" y="86716"/>
                </a:lnTo>
                <a:lnTo>
                  <a:pt x="109992" y="77595"/>
                </a:lnTo>
                <a:lnTo>
                  <a:pt x="101170" y="68601"/>
                </a:lnTo>
                <a:lnTo>
                  <a:pt x="92569" y="59643"/>
                </a:lnTo>
                <a:lnTo>
                  <a:pt x="84156" y="50627"/>
                </a:lnTo>
                <a:lnTo>
                  <a:pt x="75902" y="41462"/>
                </a:lnTo>
                <a:lnTo>
                  <a:pt x="67775" y="32055"/>
                </a:lnTo>
                <a:lnTo>
                  <a:pt x="59745" y="22313"/>
                </a:lnTo>
                <a:lnTo>
                  <a:pt x="51779" y="12144"/>
                </a:lnTo>
                <a:lnTo>
                  <a:pt x="43848" y="1455"/>
                </a:lnTo>
                <a:lnTo>
                  <a:pt x="42801" y="0"/>
                </a:lnTo>
                <a:lnTo>
                  <a:pt x="30436" y="4448"/>
                </a:lnTo>
                <a:lnTo>
                  <a:pt x="19165" y="8900"/>
                </a:lnTo>
                <a:lnTo>
                  <a:pt x="7614" y="13351"/>
                </a:lnTo>
                <a:lnTo>
                  <a:pt x="0" y="16012"/>
                </a:lnTo>
                <a:lnTo>
                  <a:pt x="6101" y="26284"/>
                </a:lnTo>
                <a:lnTo>
                  <a:pt x="12505" y="36332"/>
                </a:lnTo>
                <a:lnTo>
                  <a:pt x="19238" y="46207"/>
                </a:lnTo>
                <a:close/>
              </a:path>
            </a:pathLst>
          </a:custGeom>
          <a:solidFill>
            <a:srgbClr val="FFFFFF"/>
          </a:solidFill>
        </p:spPr>
        <p:txBody>
          <a:bodyPr wrap="square" lIns="0" tIns="0" rIns="0" bIns="0" rtlCol="0">
            <a:noAutofit/>
          </a:bodyPr>
          <a:lstStyle/>
          <a:p>
            <a:endParaRPr sz="1763"/>
          </a:p>
        </p:txBody>
      </p:sp>
      <p:sp>
        <p:nvSpPr>
          <p:cNvPr id="82" name="object 82"/>
          <p:cNvSpPr/>
          <p:nvPr/>
        </p:nvSpPr>
        <p:spPr>
          <a:xfrm>
            <a:off x="720017" y="577641"/>
            <a:ext cx="94345" cy="83651"/>
          </a:xfrm>
          <a:custGeom>
            <a:avLst/>
            <a:gdLst/>
            <a:ahLst/>
            <a:cxnLst/>
            <a:rect l="l" t="t" r="r" b="b"/>
            <a:pathLst>
              <a:path w="96311" h="85394">
                <a:moveTo>
                  <a:pt x="0" y="26693"/>
                </a:moveTo>
                <a:lnTo>
                  <a:pt x="8067" y="36566"/>
                </a:lnTo>
                <a:lnTo>
                  <a:pt x="16692" y="45882"/>
                </a:lnTo>
                <a:lnTo>
                  <a:pt x="25612" y="54904"/>
                </a:lnTo>
                <a:lnTo>
                  <a:pt x="34566" y="63893"/>
                </a:lnTo>
                <a:lnTo>
                  <a:pt x="43291" y="73109"/>
                </a:lnTo>
                <a:lnTo>
                  <a:pt x="51526" y="82816"/>
                </a:lnTo>
                <a:lnTo>
                  <a:pt x="53510" y="85394"/>
                </a:lnTo>
                <a:lnTo>
                  <a:pt x="65546" y="77413"/>
                </a:lnTo>
                <a:lnTo>
                  <a:pt x="77076" y="69949"/>
                </a:lnTo>
                <a:lnTo>
                  <a:pt x="87581" y="63509"/>
                </a:lnTo>
                <a:lnTo>
                  <a:pt x="96311" y="58718"/>
                </a:lnTo>
                <a:lnTo>
                  <a:pt x="88246" y="48840"/>
                </a:lnTo>
                <a:lnTo>
                  <a:pt x="79622" y="39520"/>
                </a:lnTo>
                <a:lnTo>
                  <a:pt x="70703" y="30497"/>
                </a:lnTo>
                <a:lnTo>
                  <a:pt x="61751" y="21508"/>
                </a:lnTo>
                <a:lnTo>
                  <a:pt x="53027" y="12292"/>
                </a:lnTo>
                <a:lnTo>
                  <a:pt x="44793" y="2588"/>
                </a:lnTo>
                <a:lnTo>
                  <a:pt x="42801" y="0"/>
                </a:lnTo>
                <a:lnTo>
                  <a:pt x="30760" y="4966"/>
                </a:lnTo>
                <a:lnTo>
                  <a:pt x="19233" y="11446"/>
                </a:lnTo>
                <a:lnTo>
                  <a:pt x="8733" y="18933"/>
                </a:lnTo>
                <a:lnTo>
                  <a:pt x="0" y="26693"/>
                </a:lnTo>
                <a:close/>
              </a:path>
            </a:pathLst>
          </a:custGeom>
          <a:solidFill>
            <a:srgbClr val="FFFFFF"/>
          </a:solidFill>
        </p:spPr>
        <p:txBody>
          <a:bodyPr wrap="square" lIns="0" tIns="0" rIns="0" bIns="0" rtlCol="0">
            <a:noAutofit/>
          </a:bodyPr>
          <a:lstStyle/>
          <a:p>
            <a:endParaRPr sz="1763"/>
          </a:p>
        </p:txBody>
      </p:sp>
      <p:sp>
        <p:nvSpPr>
          <p:cNvPr id="83" name="object 83"/>
          <p:cNvSpPr/>
          <p:nvPr/>
        </p:nvSpPr>
        <p:spPr>
          <a:xfrm>
            <a:off x="881453" y="717752"/>
            <a:ext cx="129282" cy="128943"/>
          </a:xfrm>
          <a:custGeom>
            <a:avLst/>
            <a:gdLst/>
            <a:ahLst/>
            <a:cxnLst/>
            <a:rect l="l" t="t" r="r" b="b"/>
            <a:pathLst>
              <a:path w="131975" h="131629">
                <a:moveTo>
                  <a:pt x="27824" y="17079"/>
                </a:moveTo>
                <a:lnTo>
                  <a:pt x="17879" y="24990"/>
                </a:lnTo>
                <a:lnTo>
                  <a:pt x="10076" y="33964"/>
                </a:lnTo>
                <a:lnTo>
                  <a:pt x="4462" y="43811"/>
                </a:lnTo>
                <a:lnTo>
                  <a:pt x="1087" y="54339"/>
                </a:lnTo>
                <a:lnTo>
                  <a:pt x="0" y="65357"/>
                </a:lnTo>
                <a:lnTo>
                  <a:pt x="1247" y="76674"/>
                </a:lnTo>
                <a:lnTo>
                  <a:pt x="4877" y="88099"/>
                </a:lnTo>
                <a:lnTo>
                  <a:pt x="10939" y="99441"/>
                </a:lnTo>
                <a:lnTo>
                  <a:pt x="17133" y="107805"/>
                </a:lnTo>
                <a:lnTo>
                  <a:pt x="25525" y="116510"/>
                </a:lnTo>
                <a:lnTo>
                  <a:pt x="35090" y="123300"/>
                </a:lnTo>
                <a:lnTo>
                  <a:pt x="45603" y="128120"/>
                </a:lnTo>
                <a:lnTo>
                  <a:pt x="56840" y="130915"/>
                </a:lnTo>
                <a:lnTo>
                  <a:pt x="68577" y="131629"/>
                </a:lnTo>
                <a:lnTo>
                  <a:pt x="80590" y="130206"/>
                </a:lnTo>
                <a:lnTo>
                  <a:pt x="92655" y="126590"/>
                </a:lnTo>
                <a:lnTo>
                  <a:pt x="104547" y="120726"/>
                </a:lnTo>
                <a:lnTo>
                  <a:pt x="116831" y="109895"/>
                </a:lnTo>
                <a:lnTo>
                  <a:pt x="123641" y="99837"/>
                </a:lnTo>
                <a:lnTo>
                  <a:pt x="128473" y="88704"/>
                </a:lnTo>
                <a:lnTo>
                  <a:pt x="131270" y="76889"/>
                </a:lnTo>
                <a:lnTo>
                  <a:pt x="131975" y="64785"/>
                </a:lnTo>
                <a:lnTo>
                  <a:pt x="130531" y="52783"/>
                </a:lnTo>
                <a:lnTo>
                  <a:pt x="126882" y="41278"/>
                </a:lnTo>
                <a:lnTo>
                  <a:pt x="120971" y="30660"/>
                </a:lnTo>
                <a:lnTo>
                  <a:pt x="110680" y="17843"/>
                </a:lnTo>
                <a:lnTo>
                  <a:pt x="101230" y="10061"/>
                </a:lnTo>
                <a:lnTo>
                  <a:pt x="90775" y="4462"/>
                </a:lnTo>
                <a:lnTo>
                  <a:pt x="79649" y="1092"/>
                </a:lnTo>
                <a:lnTo>
                  <a:pt x="68186" y="0"/>
                </a:lnTo>
                <a:lnTo>
                  <a:pt x="56721" y="1232"/>
                </a:lnTo>
                <a:lnTo>
                  <a:pt x="45588" y="4836"/>
                </a:lnTo>
                <a:lnTo>
                  <a:pt x="35121" y="10860"/>
                </a:lnTo>
                <a:lnTo>
                  <a:pt x="27824" y="17079"/>
                </a:lnTo>
                <a:close/>
              </a:path>
            </a:pathLst>
          </a:custGeom>
          <a:solidFill>
            <a:srgbClr val="FFFFFF"/>
          </a:solidFill>
        </p:spPr>
        <p:txBody>
          <a:bodyPr wrap="square" lIns="0" tIns="0" rIns="0" bIns="0" rtlCol="0">
            <a:noAutofit/>
          </a:bodyPr>
          <a:lstStyle/>
          <a:p>
            <a:endParaRPr sz="1763"/>
          </a:p>
        </p:txBody>
      </p:sp>
      <p:sp>
        <p:nvSpPr>
          <p:cNvPr id="84" name="object 84"/>
          <p:cNvSpPr/>
          <p:nvPr/>
        </p:nvSpPr>
        <p:spPr>
          <a:xfrm>
            <a:off x="753133" y="878640"/>
            <a:ext cx="115939" cy="119530"/>
          </a:xfrm>
          <a:custGeom>
            <a:avLst/>
            <a:gdLst/>
            <a:ahLst/>
            <a:cxnLst/>
            <a:rect l="l" t="t" r="r" b="b"/>
            <a:pathLst>
              <a:path w="118354" h="122020">
                <a:moveTo>
                  <a:pt x="25049" y="12945"/>
                </a:moveTo>
                <a:lnTo>
                  <a:pt x="15732" y="21989"/>
                </a:lnTo>
                <a:lnTo>
                  <a:pt x="8567" y="32297"/>
                </a:lnTo>
                <a:lnTo>
                  <a:pt x="3557" y="43521"/>
                </a:lnTo>
                <a:lnTo>
                  <a:pt x="701" y="55314"/>
                </a:lnTo>
                <a:lnTo>
                  <a:pt x="0" y="67326"/>
                </a:lnTo>
                <a:lnTo>
                  <a:pt x="1453" y="79210"/>
                </a:lnTo>
                <a:lnTo>
                  <a:pt x="5063" y="90618"/>
                </a:lnTo>
                <a:lnTo>
                  <a:pt x="8994" y="98336"/>
                </a:lnTo>
                <a:lnTo>
                  <a:pt x="17786" y="107387"/>
                </a:lnTo>
                <a:lnTo>
                  <a:pt x="27783" y="114344"/>
                </a:lnTo>
                <a:lnTo>
                  <a:pt x="38667" y="119145"/>
                </a:lnTo>
                <a:lnTo>
                  <a:pt x="50116" y="121725"/>
                </a:lnTo>
                <a:lnTo>
                  <a:pt x="61812" y="122020"/>
                </a:lnTo>
                <a:lnTo>
                  <a:pt x="73434" y="119966"/>
                </a:lnTo>
                <a:lnTo>
                  <a:pt x="84662" y="115499"/>
                </a:lnTo>
                <a:lnTo>
                  <a:pt x="94615" y="109007"/>
                </a:lnTo>
                <a:lnTo>
                  <a:pt x="103698" y="100228"/>
                </a:lnTo>
                <a:lnTo>
                  <a:pt x="110678" y="90243"/>
                </a:lnTo>
                <a:lnTo>
                  <a:pt x="115490" y="79373"/>
                </a:lnTo>
                <a:lnTo>
                  <a:pt x="118071" y="67938"/>
                </a:lnTo>
                <a:lnTo>
                  <a:pt x="118354" y="56260"/>
                </a:lnTo>
                <a:lnTo>
                  <a:pt x="116276" y="44659"/>
                </a:lnTo>
                <a:lnTo>
                  <a:pt x="111770" y="33456"/>
                </a:lnTo>
                <a:lnTo>
                  <a:pt x="105306" y="23626"/>
                </a:lnTo>
                <a:lnTo>
                  <a:pt x="97919" y="14199"/>
                </a:lnTo>
                <a:lnTo>
                  <a:pt x="88745" y="7070"/>
                </a:lnTo>
                <a:lnTo>
                  <a:pt x="78223" y="2313"/>
                </a:lnTo>
                <a:lnTo>
                  <a:pt x="66793" y="0"/>
                </a:lnTo>
                <a:lnTo>
                  <a:pt x="54896" y="203"/>
                </a:lnTo>
                <a:lnTo>
                  <a:pt x="42972" y="2997"/>
                </a:lnTo>
                <a:lnTo>
                  <a:pt x="31460" y="8454"/>
                </a:lnTo>
                <a:lnTo>
                  <a:pt x="25049" y="12945"/>
                </a:lnTo>
                <a:close/>
              </a:path>
            </a:pathLst>
          </a:custGeom>
          <a:solidFill>
            <a:srgbClr val="FFFFFF"/>
          </a:solidFill>
        </p:spPr>
        <p:txBody>
          <a:bodyPr wrap="square" lIns="0" tIns="0" rIns="0" bIns="0" rtlCol="0">
            <a:noAutofit/>
          </a:bodyPr>
          <a:lstStyle/>
          <a:p>
            <a:endParaRPr sz="1763"/>
          </a:p>
        </p:txBody>
      </p:sp>
      <p:sp>
        <p:nvSpPr>
          <p:cNvPr id="85" name="object 85"/>
          <p:cNvSpPr/>
          <p:nvPr/>
        </p:nvSpPr>
        <p:spPr>
          <a:xfrm>
            <a:off x="516359" y="684541"/>
            <a:ext cx="180332" cy="179865"/>
          </a:xfrm>
          <a:custGeom>
            <a:avLst/>
            <a:gdLst/>
            <a:ahLst/>
            <a:cxnLst/>
            <a:rect l="l" t="t" r="r" b="b"/>
            <a:pathLst>
              <a:path w="184089" h="183612">
                <a:moveTo>
                  <a:pt x="36666" y="18956"/>
                </a:moveTo>
                <a:lnTo>
                  <a:pt x="26668" y="27564"/>
                </a:lnTo>
                <a:lnTo>
                  <a:pt x="18257" y="37132"/>
                </a:lnTo>
                <a:lnTo>
                  <a:pt x="11432" y="47487"/>
                </a:lnTo>
                <a:lnTo>
                  <a:pt x="6194" y="58460"/>
                </a:lnTo>
                <a:lnTo>
                  <a:pt x="2543" y="69879"/>
                </a:lnTo>
                <a:lnTo>
                  <a:pt x="478" y="81573"/>
                </a:lnTo>
                <a:lnTo>
                  <a:pt x="0" y="93372"/>
                </a:lnTo>
                <a:lnTo>
                  <a:pt x="1108" y="105105"/>
                </a:lnTo>
                <a:lnTo>
                  <a:pt x="3802" y="116601"/>
                </a:lnTo>
                <a:lnTo>
                  <a:pt x="8084" y="127688"/>
                </a:lnTo>
                <a:lnTo>
                  <a:pt x="13952" y="138196"/>
                </a:lnTo>
                <a:lnTo>
                  <a:pt x="20607" y="147038"/>
                </a:lnTo>
                <a:lnTo>
                  <a:pt x="27992" y="157000"/>
                </a:lnTo>
                <a:lnTo>
                  <a:pt x="36563" y="165382"/>
                </a:lnTo>
                <a:lnTo>
                  <a:pt x="46149" y="172186"/>
                </a:lnTo>
                <a:lnTo>
                  <a:pt x="56579" y="177410"/>
                </a:lnTo>
                <a:lnTo>
                  <a:pt x="67683" y="181056"/>
                </a:lnTo>
                <a:lnTo>
                  <a:pt x="79290" y="183123"/>
                </a:lnTo>
                <a:lnTo>
                  <a:pt x="91229" y="183612"/>
                </a:lnTo>
                <a:lnTo>
                  <a:pt x="103330" y="182522"/>
                </a:lnTo>
                <a:lnTo>
                  <a:pt x="115422" y="179854"/>
                </a:lnTo>
                <a:lnTo>
                  <a:pt x="127333" y="175607"/>
                </a:lnTo>
                <a:lnTo>
                  <a:pt x="138895" y="169781"/>
                </a:lnTo>
                <a:lnTo>
                  <a:pt x="149044" y="163051"/>
                </a:lnTo>
                <a:lnTo>
                  <a:pt x="157905" y="155677"/>
                </a:lnTo>
                <a:lnTo>
                  <a:pt x="165576" y="147118"/>
                </a:lnTo>
                <a:lnTo>
                  <a:pt x="172001" y="137544"/>
                </a:lnTo>
                <a:lnTo>
                  <a:pt x="177122" y="127126"/>
                </a:lnTo>
                <a:lnTo>
                  <a:pt x="180882" y="116035"/>
                </a:lnTo>
                <a:lnTo>
                  <a:pt x="183224" y="104442"/>
                </a:lnTo>
                <a:lnTo>
                  <a:pt x="184089" y="92518"/>
                </a:lnTo>
                <a:lnTo>
                  <a:pt x="183421" y="80433"/>
                </a:lnTo>
                <a:lnTo>
                  <a:pt x="181164" y="68360"/>
                </a:lnTo>
                <a:lnTo>
                  <a:pt x="177258" y="56468"/>
                </a:lnTo>
                <a:lnTo>
                  <a:pt x="171648" y="44928"/>
                </a:lnTo>
                <a:lnTo>
                  <a:pt x="165080" y="34968"/>
                </a:lnTo>
                <a:lnTo>
                  <a:pt x="156460" y="26136"/>
                </a:lnTo>
                <a:lnTo>
                  <a:pt x="146879" y="18488"/>
                </a:lnTo>
                <a:lnTo>
                  <a:pt x="136510" y="12081"/>
                </a:lnTo>
                <a:lnTo>
                  <a:pt x="125523" y="6972"/>
                </a:lnTo>
                <a:lnTo>
                  <a:pt x="114089" y="3217"/>
                </a:lnTo>
                <a:lnTo>
                  <a:pt x="102379" y="874"/>
                </a:lnTo>
                <a:lnTo>
                  <a:pt x="90562" y="0"/>
                </a:lnTo>
                <a:lnTo>
                  <a:pt x="78811" y="650"/>
                </a:lnTo>
                <a:lnTo>
                  <a:pt x="67296" y="2883"/>
                </a:lnTo>
                <a:lnTo>
                  <a:pt x="56188" y="6754"/>
                </a:lnTo>
                <a:lnTo>
                  <a:pt x="45657" y="12322"/>
                </a:lnTo>
                <a:lnTo>
                  <a:pt x="36666" y="18956"/>
                </a:lnTo>
                <a:close/>
              </a:path>
            </a:pathLst>
          </a:custGeom>
          <a:solidFill>
            <a:srgbClr val="FFFFFF"/>
          </a:solidFill>
        </p:spPr>
        <p:txBody>
          <a:bodyPr wrap="square" lIns="0" tIns="0" rIns="0" bIns="0" rtlCol="0">
            <a:noAutofit/>
          </a:bodyPr>
          <a:lstStyle/>
          <a:p>
            <a:endParaRPr sz="1763"/>
          </a:p>
        </p:txBody>
      </p:sp>
      <p:sp>
        <p:nvSpPr>
          <p:cNvPr id="86" name="object 86"/>
          <p:cNvSpPr/>
          <p:nvPr/>
        </p:nvSpPr>
        <p:spPr>
          <a:xfrm>
            <a:off x="4439667" y="422541"/>
            <a:ext cx="683738" cy="683169"/>
          </a:xfrm>
          <a:custGeom>
            <a:avLst/>
            <a:gdLst/>
            <a:ahLst/>
            <a:cxnLst/>
            <a:rect l="l" t="t" r="r" b="b"/>
            <a:pathLst>
              <a:path w="697983" h="697402">
                <a:moveTo>
                  <a:pt x="123535" y="697402"/>
                </a:moveTo>
                <a:lnTo>
                  <a:pt x="155645" y="684570"/>
                </a:lnTo>
                <a:lnTo>
                  <a:pt x="181644" y="674179"/>
                </a:lnTo>
                <a:lnTo>
                  <a:pt x="202178" y="665972"/>
                </a:lnTo>
                <a:lnTo>
                  <a:pt x="217892" y="659692"/>
                </a:lnTo>
                <a:lnTo>
                  <a:pt x="229431" y="655081"/>
                </a:lnTo>
                <a:lnTo>
                  <a:pt x="237439" y="651880"/>
                </a:lnTo>
                <a:lnTo>
                  <a:pt x="242561" y="649833"/>
                </a:lnTo>
                <a:lnTo>
                  <a:pt x="245442" y="648682"/>
                </a:lnTo>
                <a:lnTo>
                  <a:pt x="247072" y="648030"/>
                </a:lnTo>
                <a:lnTo>
                  <a:pt x="268811" y="669752"/>
                </a:lnTo>
                <a:lnTo>
                  <a:pt x="281677" y="682609"/>
                </a:lnTo>
                <a:lnTo>
                  <a:pt x="287998" y="688924"/>
                </a:lnTo>
                <a:lnTo>
                  <a:pt x="290308" y="691233"/>
                </a:lnTo>
                <a:lnTo>
                  <a:pt x="325856" y="691233"/>
                </a:lnTo>
                <a:lnTo>
                  <a:pt x="296673" y="623534"/>
                </a:lnTo>
                <a:lnTo>
                  <a:pt x="290809" y="617674"/>
                </a:lnTo>
                <a:lnTo>
                  <a:pt x="290308" y="617173"/>
                </a:lnTo>
                <a:lnTo>
                  <a:pt x="315518" y="591985"/>
                </a:lnTo>
                <a:lnTo>
                  <a:pt x="337399" y="570122"/>
                </a:lnTo>
                <a:lnTo>
                  <a:pt x="356189" y="551349"/>
                </a:lnTo>
                <a:lnTo>
                  <a:pt x="372121" y="535430"/>
                </a:lnTo>
                <a:lnTo>
                  <a:pt x="385433" y="522130"/>
                </a:lnTo>
                <a:lnTo>
                  <a:pt x="396358" y="511213"/>
                </a:lnTo>
                <a:lnTo>
                  <a:pt x="405134" y="502445"/>
                </a:lnTo>
                <a:lnTo>
                  <a:pt x="411995" y="495590"/>
                </a:lnTo>
                <a:lnTo>
                  <a:pt x="417177" y="490412"/>
                </a:lnTo>
                <a:lnTo>
                  <a:pt x="420916" y="486676"/>
                </a:lnTo>
                <a:lnTo>
                  <a:pt x="425007" y="482589"/>
                </a:lnTo>
                <a:lnTo>
                  <a:pt x="426207" y="481390"/>
                </a:lnTo>
                <a:lnTo>
                  <a:pt x="426207" y="641859"/>
                </a:lnTo>
                <a:lnTo>
                  <a:pt x="332828" y="641858"/>
                </a:lnTo>
                <a:lnTo>
                  <a:pt x="356540" y="691233"/>
                </a:lnTo>
                <a:lnTo>
                  <a:pt x="475613" y="691233"/>
                </a:lnTo>
                <a:lnTo>
                  <a:pt x="475613" y="432024"/>
                </a:lnTo>
                <a:lnTo>
                  <a:pt x="497352" y="410303"/>
                </a:lnTo>
                <a:lnTo>
                  <a:pt x="510219" y="397447"/>
                </a:lnTo>
                <a:lnTo>
                  <a:pt x="516539" y="391132"/>
                </a:lnTo>
                <a:lnTo>
                  <a:pt x="518849" y="388824"/>
                </a:lnTo>
                <a:lnTo>
                  <a:pt x="536036" y="373783"/>
                </a:lnTo>
                <a:lnTo>
                  <a:pt x="552385" y="358297"/>
                </a:lnTo>
                <a:lnTo>
                  <a:pt x="567890" y="342386"/>
                </a:lnTo>
                <a:lnTo>
                  <a:pt x="568255" y="259223"/>
                </a:lnTo>
                <a:lnTo>
                  <a:pt x="543678" y="233493"/>
                </a:lnTo>
                <a:lnTo>
                  <a:pt x="522420" y="211239"/>
                </a:lnTo>
                <a:lnTo>
                  <a:pt x="504240" y="192206"/>
                </a:lnTo>
                <a:lnTo>
                  <a:pt x="488897" y="176145"/>
                </a:lnTo>
                <a:lnTo>
                  <a:pt x="476151" y="162801"/>
                </a:lnTo>
                <a:lnTo>
                  <a:pt x="465761" y="151924"/>
                </a:lnTo>
                <a:lnTo>
                  <a:pt x="457487" y="143262"/>
                </a:lnTo>
                <a:lnTo>
                  <a:pt x="451087" y="136562"/>
                </a:lnTo>
                <a:lnTo>
                  <a:pt x="446320" y="131572"/>
                </a:lnTo>
                <a:lnTo>
                  <a:pt x="442946" y="128040"/>
                </a:lnTo>
                <a:lnTo>
                  <a:pt x="439415" y="124343"/>
                </a:lnTo>
                <a:lnTo>
                  <a:pt x="438548" y="123435"/>
                </a:lnTo>
                <a:lnTo>
                  <a:pt x="449234" y="116224"/>
                </a:lnTo>
                <a:lnTo>
                  <a:pt x="460149" y="109375"/>
                </a:lnTo>
                <a:lnTo>
                  <a:pt x="471276" y="102887"/>
                </a:lnTo>
                <a:lnTo>
                  <a:pt x="482604" y="96760"/>
                </a:lnTo>
                <a:lnTo>
                  <a:pt x="494118" y="90995"/>
                </a:lnTo>
                <a:lnTo>
                  <a:pt x="505804" y="85591"/>
                </a:lnTo>
                <a:lnTo>
                  <a:pt x="517649" y="80549"/>
                </a:lnTo>
                <a:lnTo>
                  <a:pt x="529639" y="75868"/>
                </a:lnTo>
                <a:lnTo>
                  <a:pt x="541759" y="71548"/>
                </a:lnTo>
                <a:lnTo>
                  <a:pt x="553997" y="67590"/>
                </a:lnTo>
                <a:lnTo>
                  <a:pt x="566339" y="63993"/>
                </a:lnTo>
                <a:lnTo>
                  <a:pt x="578769" y="60758"/>
                </a:lnTo>
                <a:lnTo>
                  <a:pt x="591276" y="57883"/>
                </a:lnTo>
                <a:lnTo>
                  <a:pt x="603845" y="55371"/>
                </a:lnTo>
                <a:lnTo>
                  <a:pt x="616462" y="53219"/>
                </a:lnTo>
                <a:lnTo>
                  <a:pt x="629114" y="51430"/>
                </a:lnTo>
                <a:lnTo>
                  <a:pt x="641786" y="50001"/>
                </a:lnTo>
                <a:lnTo>
                  <a:pt x="648556" y="49386"/>
                </a:lnTo>
                <a:lnTo>
                  <a:pt x="647331" y="61941"/>
                </a:lnTo>
                <a:lnTo>
                  <a:pt x="645744" y="74483"/>
                </a:lnTo>
                <a:lnTo>
                  <a:pt x="643788" y="86999"/>
                </a:lnTo>
                <a:lnTo>
                  <a:pt x="641457" y="99474"/>
                </a:lnTo>
                <a:lnTo>
                  <a:pt x="638743" y="111897"/>
                </a:lnTo>
                <a:lnTo>
                  <a:pt x="635641" y="124253"/>
                </a:lnTo>
                <a:lnTo>
                  <a:pt x="632143" y="136529"/>
                </a:lnTo>
                <a:lnTo>
                  <a:pt x="628243" y="148711"/>
                </a:lnTo>
                <a:lnTo>
                  <a:pt x="623934" y="160786"/>
                </a:lnTo>
                <a:lnTo>
                  <a:pt x="619210" y="172742"/>
                </a:lnTo>
                <a:lnTo>
                  <a:pt x="614063" y="184563"/>
                </a:lnTo>
                <a:lnTo>
                  <a:pt x="608486" y="196237"/>
                </a:lnTo>
                <a:lnTo>
                  <a:pt x="602475" y="207751"/>
                </a:lnTo>
                <a:lnTo>
                  <a:pt x="596020" y="219091"/>
                </a:lnTo>
                <a:lnTo>
                  <a:pt x="589116" y="230244"/>
                </a:lnTo>
                <a:lnTo>
                  <a:pt x="582547" y="326068"/>
                </a:lnTo>
                <a:lnTo>
                  <a:pt x="596352" y="309361"/>
                </a:lnTo>
                <a:lnTo>
                  <a:pt x="609300" y="292283"/>
                </a:lnTo>
                <a:lnTo>
                  <a:pt x="621386" y="274854"/>
                </a:lnTo>
                <a:lnTo>
                  <a:pt x="632606" y="257092"/>
                </a:lnTo>
                <a:lnTo>
                  <a:pt x="642955" y="239015"/>
                </a:lnTo>
                <a:lnTo>
                  <a:pt x="652428" y="220641"/>
                </a:lnTo>
                <a:lnTo>
                  <a:pt x="661021" y="201990"/>
                </a:lnTo>
                <a:lnTo>
                  <a:pt x="668729" y="183080"/>
                </a:lnTo>
                <a:lnTo>
                  <a:pt x="675548" y="163929"/>
                </a:lnTo>
                <a:lnTo>
                  <a:pt x="681472" y="144555"/>
                </a:lnTo>
                <a:lnTo>
                  <a:pt x="686498" y="124978"/>
                </a:lnTo>
                <a:lnTo>
                  <a:pt x="690620" y="105215"/>
                </a:lnTo>
                <a:lnTo>
                  <a:pt x="693835" y="85286"/>
                </a:lnTo>
                <a:lnTo>
                  <a:pt x="696136" y="65209"/>
                </a:lnTo>
                <a:lnTo>
                  <a:pt x="697521" y="45001"/>
                </a:lnTo>
                <a:lnTo>
                  <a:pt x="697983" y="24682"/>
                </a:lnTo>
                <a:lnTo>
                  <a:pt x="697983" y="0"/>
                </a:lnTo>
                <a:lnTo>
                  <a:pt x="673259" y="0"/>
                </a:lnTo>
                <a:lnTo>
                  <a:pt x="652927" y="462"/>
                </a:lnTo>
                <a:lnTo>
                  <a:pt x="632706" y="1845"/>
                </a:lnTo>
                <a:lnTo>
                  <a:pt x="612614" y="4145"/>
                </a:lnTo>
                <a:lnTo>
                  <a:pt x="592670" y="7356"/>
                </a:lnTo>
                <a:lnTo>
                  <a:pt x="572894" y="11475"/>
                </a:lnTo>
                <a:lnTo>
                  <a:pt x="553302" y="16497"/>
                </a:lnTo>
                <a:lnTo>
                  <a:pt x="533914" y="22416"/>
                </a:lnTo>
                <a:lnTo>
                  <a:pt x="514749" y="29229"/>
                </a:lnTo>
                <a:lnTo>
                  <a:pt x="495824" y="36931"/>
                </a:lnTo>
                <a:lnTo>
                  <a:pt x="477158" y="45517"/>
                </a:lnTo>
                <a:lnTo>
                  <a:pt x="458770" y="54982"/>
                </a:lnTo>
                <a:lnTo>
                  <a:pt x="440679" y="65323"/>
                </a:lnTo>
                <a:lnTo>
                  <a:pt x="422903" y="76533"/>
                </a:lnTo>
                <a:lnTo>
                  <a:pt x="405459" y="88610"/>
                </a:lnTo>
                <a:lnTo>
                  <a:pt x="388368" y="101547"/>
                </a:lnTo>
                <a:lnTo>
                  <a:pt x="371648" y="115341"/>
                </a:lnTo>
                <a:lnTo>
                  <a:pt x="355316" y="129986"/>
                </a:lnTo>
                <a:lnTo>
                  <a:pt x="345906" y="216022"/>
                </a:lnTo>
                <a:lnTo>
                  <a:pt x="354890" y="204529"/>
                </a:lnTo>
                <a:lnTo>
                  <a:pt x="363872" y="194006"/>
                </a:lnTo>
                <a:lnTo>
                  <a:pt x="372852" y="184452"/>
                </a:lnTo>
                <a:lnTo>
                  <a:pt x="381833" y="175867"/>
                </a:lnTo>
                <a:lnTo>
                  <a:pt x="390815" y="168253"/>
                </a:lnTo>
                <a:lnTo>
                  <a:pt x="399798" y="161607"/>
                </a:lnTo>
                <a:lnTo>
                  <a:pt x="401483" y="160470"/>
                </a:lnTo>
                <a:lnTo>
                  <a:pt x="426694" y="185656"/>
                </a:lnTo>
                <a:lnTo>
                  <a:pt x="448576" y="207518"/>
                </a:lnTo>
                <a:lnTo>
                  <a:pt x="467367" y="226290"/>
                </a:lnTo>
                <a:lnTo>
                  <a:pt x="483299" y="242207"/>
                </a:lnTo>
                <a:lnTo>
                  <a:pt x="496611" y="255506"/>
                </a:lnTo>
                <a:lnTo>
                  <a:pt x="507537" y="266421"/>
                </a:lnTo>
                <a:lnTo>
                  <a:pt x="516312" y="275188"/>
                </a:lnTo>
                <a:lnTo>
                  <a:pt x="523173" y="282042"/>
                </a:lnTo>
                <a:lnTo>
                  <a:pt x="528354" y="287219"/>
                </a:lnTo>
                <a:lnTo>
                  <a:pt x="532093" y="290953"/>
                </a:lnTo>
                <a:lnTo>
                  <a:pt x="536182" y="295039"/>
                </a:lnTo>
                <a:lnTo>
                  <a:pt x="530905" y="305213"/>
                </a:lnTo>
                <a:lnTo>
                  <a:pt x="523463" y="314190"/>
                </a:lnTo>
                <a:lnTo>
                  <a:pt x="515053" y="323166"/>
                </a:lnTo>
                <a:lnTo>
                  <a:pt x="505677" y="332143"/>
                </a:lnTo>
                <a:lnTo>
                  <a:pt x="495334" y="341120"/>
                </a:lnTo>
                <a:lnTo>
                  <a:pt x="484025" y="350096"/>
                </a:lnTo>
                <a:lnTo>
                  <a:pt x="481784" y="351789"/>
                </a:lnTo>
                <a:lnTo>
                  <a:pt x="449188" y="384358"/>
                </a:lnTo>
                <a:lnTo>
                  <a:pt x="419849" y="413673"/>
                </a:lnTo>
                <a:lnTo>
                  <a:pt x="393595" y="439905"/>
                </a:lnTo>
                <a:lnTo>
                  <a:pt x="370256" y="463226"/>
                </a:lnTo>
                <a:lnTo>
                  <a:pt x="349658" y="483806"/>
                </a:lnTo>
                <a:lnTo>
                  <a:pt x="331632" y="501817"/>
                </a:lnTo>
                <a:lnTo>
                  <a:pt x="316006" y="517431"/>
                </a:lnTo>
                <a:lnTo>
                  <a:pt x="302608" y="530818"/>
                </a:lnTo>
                <a:lnTo>
                  <a:pt x="291266" y="542150"/>
                </a:lnTo>
                <a:lnTo>
                  <a:pt x="281810" y="551598"/>
                </a:lnTo>
                <a:lnTo>
                  <a:pt x="274069" y="559334"/>
                </a:lnTo>
                <a:lnTo>
                  <a:pt x="267869" y="565528"/>
                </a:lnTo>
                <a:lnTo>
                  <a:pt x="263041" y="570352"/>
                </a:lnTo>
                <a:lnTo>
                  <a:pt x="259413" y="573977"/>
                </a:lnTo>
                <a:lnTo>
                  <a:pt x="256814" y="576575"/>
                </a:lnTo>
                <a:lnTo>
                  <a:pt x="254014" y="579372"/>
                </a:lnTo>
                <a:lnTo>
                  <a:pt x="253243" y="580143"/>
                </a:lnTo>
                <a:lnTo>
                  <a:pt x="228035" y="554953"/>
                </a:lnTo>
                <a:lnTo>
                  <a:pt x="206155" y="533088"/>
                </a:lnTo>
                <a:lnTo>
                  <a:pt x="187367" y="514314"/>
                </a:lnTo>
                <a:lnTo>
                  <a:pt x="171436" y="498394"/>
                </a:lnTo>
                <a:lnTo>
                  <a:pt x="158126" y="485093"/>
                </a:lnTo>
                <a:lnTo>
                  <a:pt x="147201" y="474177"/>
                </a:lnTo>
                <a:lnTo>
                  <a:pt x="138427" y="465408"/>
                </a:lnTo>
                <a:lnTo>
                  <a:pt x="150974" y="552018"/>
                </a:lnTo>
                <a:lnTo>
                  <a:pt x="165963" y="566995"/>
                </a:lnTo>
                <a:lnTo>
                  <a:pt x="178173" y="579193"/>
                </a:lnTo>
                <a:lnTo>
                  <a:pt x="187888" y="588900"/>
                </a:lnTo>
                <a:lnTo>
                  <a:pt x="195393" y="596398"/>
                </a:lnTo>
                <a:lnTo>
                  <a:pt x="200973" y="601974"/>
                </a:lnTo>
                <a:lnTo>
                  <a:pt x="204914" y="605911"/>
                </a:lnTo>
                <a:lnTo>
                  <a:pt x="207501" y="608496"/>
                </a:lnTo>
                <a:lnTo>
                  <a:pt x="210007" y="610999"/>
                </a:lnTo>
                <a:lnTo>
                  <a:pt x="179417" y="621188"/>
                </a:lnTo>
                <a:lnTo>
                  <a:pt x="158670" y="628099"/>
                </a:lnTo>
                <a:lnTo>
                  <a:pt x="145854" y="632367"/>
                </a:lnTo>
                <a:lnTo>
                  <a:pt x="139060" y="634631"/>
                </a:lnTo>
                <a:lnTo>
                  <a:pt x="136375" y="635525"/>
                </a:lnTo>
                <a:lnTo>
                  <a:pt x="135889" y="635687"/>
                </a:lnTo>
                <a:lnTo>
                  <a:pt x="61769" y="561627"/>
                </a:lnTo>
                <a:lnTo>
                  <a:pt x="49413" y="450541"/>
                </a:lnTo>
                <a:lnTo>
                  <a:pt x="36563" y="482641"/>
                </a:lnTo>
                <a:lnTo>
                  <a:pt x="26159" y="508629"/>
                </a:lnTo>
                <a:lnTo>
                  <a:pt x="17943" y="529150"/>
                </a:lnTo>
                <a:lnTo>
                  <a:pt x="11658" y="544850"/>
                </a:lnTo>
                <a:lnTo>
                  <a:pt x="7044" y="556375"/>
                </a:lnTo>
                <a:lnTo>
                  <a:pt x="3843" y="564370"/>
                </a:lnTo>
                <a:lnTo>
                  <a:pt x="1797" y="569481"/>
                </a:lnTo>
                <a:lnTo>
                  <a:pt x="648" y="572352"/>
                </a:lnTo>
                <a:lnTo>
                  <a:pt x="0" y="573971"/>
                </a:lnTo>
                <a:lnTo>
                  <a:pt x="123535" y="697402"/>
                </a:lnTo>
                <a:close/>
              </a:path>
              <a:path w="697983" h="697402">
                <a:moveTo>
                  <a:pt x="71972" y="531046"/>
                </a:moveTo>
                <a:lnTo>
                  <a:pt x="78889" y="510312"/>
                </a:lnTo>
                <a:lnTo>
                  <a:pt x="83160" y="497511"/>
                </a:lnTo>
                <a:lnTo>
                  <a:pt x="85422" y="490731"/>
                </a:lnTo>
                <a:lnTo>
                  <a:pt x="86314" y="488057"/>
                </a:lnTo>
                <a:lnTo>
                  <a:pt x="86474" y="487576"/>
                </a:lnTo>
                <a:lnTo>
                  <a:pt x="111514" y="512594"/>
                </a:lnTo>
                <a:lnTo>
                  <a:pt x="132919" y="533980"/>
                </a:lnTo>
                <a:lnTo>
                  <a:pt x="150974" y="552018"/>
                </a:lnTo>
                <a:lnTo>
                  <a:pt x="138427" y="465408"/>
                </a:lnTo>
                <a:lnTo>
                  <a:pt x="131567" y="458553"/>
                </a:lnTo>
                <a:lnTo>
                  <a:pt x="126385" y="453375"/>
                </a:lnTo>
                <a:lnTo>
                  <a:pt x="122647" y="449640"/>
                </a:lnTo>
                <a:lnTo>
                  <a:pt x="118558" y="445554"/>
                </a:lnTo>
                <a:lnTo>
                  <a:pt x="117359" y="444355"/>
                </a:lnTo>
                <a:lnTo>
                  <a:pt x="345906" y="216022"/>
                </a:lnTo>
                <a:lnTo>
                  <a:pt x="355316" y="129986"/>
                </a:lnTo>
                <a:lnTo>
                  <a:pt x="339392" y="145479"/>
                </a:lnTo>
                <a:lnTo>
                  <a:pt x="323894" y="161814"/>
                </a:lnTo>
                <a:lnTo>
                  <a:pt x="308840" y="178987"/>
                </a:lnTo>
                <a:lnTo>
                  <a:pt x="287101" y="200709"/>
                </a:lnTo>
                <a:lnTo>
                  <a:pt x="274235" y="213564"/>
                </a:lnTo>
                <a:lnTo>
                  <a:pt x="267915" y="219879"/>
                </a:lnTo>
                <a:lnTo>
                  <a:pt x="265605" y="222188"/>
                </a:lnTo>
                <a:lnTo>
                  <a:pt x="6177" y="222187"/>
                </a:lnTo>
                <a:lnTo>
                  <a:pt x="6177" y="407341"/>
                </a:lnTo>
                <a:lnTo>
                  <a:pt x="27916" y="429062"/>
                </a:lnTo>
                <a:lnTo>
                  <a:pt x="40783" y="441918"/>
                </a:lnTo>
                <a:lnTo>
                  <a:pt x="47103" y="448233"/>
                </a:lnTo>
                <a:lnTo>
                  <a:pt x="49413" y="450541"/>
                </a:lnTo>
                <a:lnTo>
                  <a:pt x="61769" y="561627"/>
                </a:lnTo>
                <a:lnTo>
                  <a:pt x="61962" y="389008"/>
                </a:lnTo>
                <a:lnTo>
                  <a:pt x="56093" y="383140"/>
                </a:lnTo>
                <a:lnTo>
                  <a:pt x="55590" y="382637"/>
                </a:lnTo>
                <a:lnTo>
                  <a:pt x="55590" y="271553"/>
                </a:lnTo>
                <a:lnTo>
                  <a:pt x="216177" y="271553"/>
                </a:lnTo>
                <a:lnTo>
                  <a:pt x="190970" y="296744"/>
                </a:lnTo>
                <a:lnTo>
                  <a:pt x="169090" y="318608"/>
                </a:lnTo>
                <a:lnTo>
                  <a:pt x="150303" y="337383"/>
                </a:lnTo>
                <a:lnTo>
                  <a:pt x="134372" y="353303"/>
                </a:lnTo>
                <a:lnTo>
                  <a:pt x="121063" y="366603"/>
                </a:lnTo>
                <a:lnTo>
                  <a:pt x="110139" y="377520"/>
                </a:lnTo>
                <a:lnTo>
                  <a:pt x="101364" y="386288"/>
                </a:lnTo>
                <a:lnTo>
                  <a:pt x="94505" y="393143"/>
                </a:lnTo>
                <a:lnTo>
                  <a:pt x="89323" y="398321"/>
                </a:lnTo>
                <a:lnTo>
                  <a:pt x="85585" y="402056"/>
                </a:lnTo>
                <a:lnTo>
                  <a:pt x="81497" y="406142"/>
                </a:lnTo>
                <a:lnTo>
                  <a:pt x="80297" y="407341"/>
                </a:lnTo>
                <a:lnTo>
                  <a:pt x="71972" y="531046"/>
                </a:lnTo>
                <a:close/>
              </a:path>
              <a:path w="697983" h="697402">
                <a:moveTo>
                  <a:pt x="61962" y="389008"/>
                </a:moveTo>
                <a:lnTo>
                  <a:pt x="61769" y="561627"/>
                </a:lnTo>
                <a:lnTo>
                  <a:pt x="71972" y="531046"/>
                </a:lnTo>
                <a:lnTo>
                  <a:pt x="80297" y="407341"/>
                </a:lnTo>
                <a:lnTo>
                  <a:pt x="61962" y="389008"/>
                </a:lnTo>
                <a:close/>
              </a:path>
              <a:path w="697983" h="697402">
                <a:moveTo>
                  <a:pt x="582547" y="326068"/>
                </a:moveTo>
                <a:lnTo>
                  <a:pt x="589116" y="230244"/>
                </a:lnTo>
                <a:lnTo>
                  <a:pt x="581757" y="241196"/>
                </a:lnTo>
                <a:lnTo>
                  <a:pt x="573935" y="251934"/>
                </a:lnTo>
                <a:lnTo>
                  <a:pt x="568255" y="259223"/>
                </a:lnTo>
                <a:lnTo>
                  <a:pt x="567890" y="342386"/>
                </a:lnTo>
                <a:lnTo>
                  <a:pt x="582547" y="326068"/>
                </a:lnTo>
                <a:close/>
              </a:path>
              <a:path w="697983" h="697402">
                <a:moveTo>
                  <a:pt x="325856" y="691233"/>
                </a:moveTo>
                <a:lnTo>
                  <a:pt x="356540" y="691233"/>
                </a:lnTo>
                <a:lnTo>
                  <a:pt x="332828" y="641858"/>
                </a:lnTo>
                <a:lnTo>
                  <a:pt x="315011" y="641858"/>
                </a:lnTo>
                <a:lnTo>
                  <a:pt x="296673" y="623534"/>
                </a:lnTo>
                <a:lnTo>
                  <a:pt x="325856" y="691233"/>
                </a:lnTo>
                <a:close/>
              </a:path>
            </a:pathLst>
          </a:custGeom>
          <a:solidFill>
            <a:srgbClr val="FFFFFF"/>
          </a:solidFill>
        </p:spPr>
        <p:txBody>
          <a:bodyPr wrap="square" lIns="0" tIns="0" rIns="0" bIns="0" rtlCol="0">
            <a:noAutofit/>
          </a:bodyPr>
          <a:lstStyle/>
          <a:p>
            <a:endParaRPr sz="1763"/>
          </a:p>
        </p:txBody>
      </p:sp>
      <p:sp>
        <p:nvSpPr>
          <p:cNvPr id="87" name="object 87"/>
          <p:cNvSpPr/>
          <p:nvPr/>
        </p:nvSpPr>
        <p:spPr>
          <a:xfrm>
            <a:off x="4760359" y="688552"/>
            <a:ext cx="96816" cy="96737"/>
          </a:xfrm>
          <a:custGeom>
            <a:avLst/>
            <a:gdLst/>
            <a:ahLst/>
            <a:cxnLst/>
            <a:rect l="l" t="t" r="r" b="b"/>
            <a:pathLst>
              <a:path w="98833" h="98752">
                <a:moveTo>
                  <a:pt x="49406" y="98752"/>
                </a:moveTo>
                <a:lnTo>
                  <a:pt x="62732" y="96453"/>
                </a:lnTo>
                <a:lnTo>
                  <a:pt x="75171" y="90149"/>
                </a:lnTo>
                <a:lnTo>
                  <a:pt x="85829" y="80730"/>
                </a:lnTo>
                <a:lnTo>
                  <a:pt x="93815" y="69086"/>
                </a:lnTo>
                <a:lnTo>
                  <a:pt x="98237" y="56106"/>
                </a:lnTo>
                <a:lnTo>
                  <a:pt x="98833" y="49386"/>
                </a:lnTo>
                <a:lnTo>
                  <a:pt x="96531" y="36066"/>
                </a:lnTo>
                <a:lnTo>
                  <a:pt x="90220" y="23638"/>
                </a:lnTo>
                <a:lnTo>
                  <a:pt x="80791" y="12992"/>
                </a:lnTo>
                <a:lnTo>
                  <a:pt x="69136" y="5015"/>
                </a:lnTo>
                <a:lnTo>
                  <a:pt x="56146" y="597"/>
                </a:lnTo>
                <a:lnTo>
                  <a:pt x="49406" y="0"/>
                </a:lnTo>
                <a:lnTo>
                  <a:pt x="36081" y="2299"/>
                </a:lnTo>
                <a:lnTo>
                  <a:pt x="23647" y="8604"/>
                </a:lnTo>
                <a:lnTo>
                  <a:pt x="12994" y="18025"/>
                </a:lnTo>
                <a:lnTo>
                  <a:pt x="5013" y="29674"/>
                </a:lnTo>
                <a:lnTo>
                  <a:pt x="595" y="42661"/>
                </a:lnTo>
                <a:lnTo>
                  <a:pt x="0" y="49386"/>
                </a:lnTo>
                <a:lnTo>
                  <a:pt x="2301" y="62703"/>
                </a:lnTo>
                <a:lnTo>
                  <a:pt x="8613" y="75129"/>
                </a:lnTo>
                <a:lnTo>
                  <a:pt x="18043" y="85774"/>
                </a:lnTo>
                <a:lnTo>
                  <a:pt x="29701" y="93748"/>
                </a:lnTo>
                <a:lnTo>
                  <a:pt x="42694" y="98160"/>
                </a:lnTo>
                <a:lnTo>
                  <a:pt x="49406" y="98752"/>
                </a:lnTo>
                <a:close/>
              </a:path>
            </a:pathLst>
          </a:custGeom>
          <a:solidFill>
            <a:srgbClr val="FFFFFF"/>
          </a:solidFill>
        </p:spPr>
        <p:txBody>
          <a:bodyPr wrap="square" lIns="0" tIns="0" rIns="0" bIns="0" rtlCol="0">
            <a:noAutofit/>
          </a:bodyPr>
          <a:lstStyle/>
          <a:p>
            <a:endParaRPr sz="1763"/>
          </a:p>
        </p:txBody>
      </p:sp>
      <p:sp>
        <p:nvSpPr>
          <p:cNvPr id="88" name="object 88"/>
          <p:cNvSpPr/>
          <p:nvPr/>
        </p:nvSpPr>
        <p:spPr>
          <a:xfrm>
            <a:off x="8577617" y="714758"/>
            <a:ext cx="99258" cy="174375"/>
          </a:xfrm>
          <a:custGeom>
            <a:avLst/>
            <a:gdLst/>
            <a:ahLst/>
            <a:cxnLst/>
            <a:rect l="l" t="t" r="r" b="b"/>
            <a:pathLst>
              <a:path w="101326" h="178008">
                <a:moveTo>
                  <a:pt x="0" y="178008"/>
                </a:moveTo>
                <a:lnTo>
                  <a:pt x="101326" y="120421"/>
                </a:lnTo>
                <a:lnTo>
                  <a:pt x="101326" y="0"/>
                </a:lnTo>
                <a:lnTo>
                  <a:pt x="0" y="62834"/>
                </a:lnTo>
                <a:lnTo>
                  <a:pt x="0" y="178008"/>
                </a:lnTo>
                <a:close/>
              </a:path>
            </a:pathLst>
          </a:custGeom>
          <a:solidFill>
            <a:srgbClr val="FFFFFF"/>
          </a:solidFill>
        </p:spPr>
        <p:txBody>
          <a:bodyPr wrap="square" lIns="0" tIns="0" rIns="0" bIns="0" rtlCol="0">
            <a:noAutofit/>
          </a:bodyPr>
          <a:lstStyle/>
          <a:p>
            <a:endParaRPr sz="1763"/>
          </a:p>
        </p:txBody>
      </p:sp>
      <p:sp>
        <p:nvSpPr>
          <p:cNvPr id="89" name="object 89"/>
          <p:cNvSpPr/>
          <p:nvPr/>
        </p:nvSpPr>
        <p:spPr>
          <a:xfrm>
            <a:off x="8452246" y="714758"/>
            <a:ext cx="99260" cy="174375"/>
          </a:xfrm>
          <a:custGeom>
            <a:avLst/>
            <a:gdLst/>
            <a:ahLst/>
            <a:cxnLst/>
            <a:rect l="l" t="t" r="r" b="b"/>
            <a:pathLst>
              <a:path w="101328" h="178008">
                <a:moveTo>
                  <a:pt x="0" y="120421"/>
                </a:moveTo>
                <a:lnTo>
                  <a:pt x="101328" y="178008"/>
                </a:lnTo>
                <a:lnTo>
                  <a:pt x="101328" y="62835"/>
                </a:lnTo>
                <a:lnTo>
                  <a:pt x="0" y="0"/>
                </a:lnTo>
                <a:lnTo>
                  <a:pt x="0" y="120421"/>
                </a:lnTo>
                <a:close/>
              </a:path>
            </a:pathLst>
          </a:custGeom>
          <a:solidFill>
            <a:srgbClr val="FFFFFF"/>
          </a:solidFill>
        </p:spPr>
        <p:txBody>
          <a:bodyPr wrap="square" lIns="0" tIns="0" rIns="0" bIns="0" rtlCol="0">
            <a:noAutofit/>
          </a:bodyPr>
          <a:lstStyle/>
          <a:p>
            <a:endParaRPr sz="1763"/>
          </a:p>
        </p:txBody>
      </p:sp>
      <p:sp>
        <p:nvSpPr>
          <p:cNvPr id="90" name="object 90"/>
          <p:cNvSpPr/>
          <p:nvPr/>
        </p:nvSpPr>
        <p:spPr>
          <a:xfrm>
            <a:off x="8462697" y="627570"/>
            <a:ext cx="208942" cy="123088"/>
          </a:xfrm>
          <a:custGeom>
            <a:avLst/>
            <a:gdLst/>
            <a:ahLst/>
            <a:cxnLst/>
            <a:rect l="l" t="t" r="r" b="b"/>
            <a:pathLst>
              <a:path w="213295" h="125652">
                <a:moveTo>
                  <a:pt x="101314" y="0"/>
                </a:moveTo>
                <a:lnTo>
                  <a:pt x="0" y="57586"/>
                </a:lnTo>
                <a:lnTo>
                  <a:pt x="101314" y="125652"/>
                </a:lnTo>
                <a:lnTo>
                  <a:pt x="213295" y="57587"/>
                </a:lnTo>
                <a:lnTo>
                  <a:pt x="101314" y="0"/>
                </a:lnTo>
                <a:close/>
              </a:path>
            </a:pathLst>
          </a:custGeom>
          <a:solidFill>
            <a:srgbClr val="FFFFFF"/>
          </a:solidFill>
        </p:spPr>
        <p:txBody>
          <a:bodyPr wrap="square" lIns="0" tIns="0" rIns="0" bIns="0" rtlCol="0">
            <a:noAutofit/>
          </a:bodyPr>
          <a:lstStyle/>
          <a:p>
            <a:endParaRPr sz="1763"/>
          </a:p>
        </p:txBody>
      </p:sp>
      <p:sp>
        <p:nvSpPr>
          <p:cNvPr id="91" name="object 91"/>
          <p:cNvSpPr/>
          <p:nvPr/>
        </p:nvSpPr>
        <p:spPr>
          <a:xfrm>
            <a:off x="8424543" y="988396"/>
            <a:ext cx="350035" cy="131529"/>
          </a:xfrm>
          <a:custGeom>
            <a:avLst/>
            <a:gdLst/>
            <a:ahLst/>
            <a:cxnLst/>
            <a:rect l="l" t="t" r="r" b="b"/>
            <a:pathLst>
              <a:path w="357327" h="134269">
                <a:moveTo>
                  <a:pt x="51342" y="134269"/>
                </a:moveTo>
                <a:lnTo>
                  <a:pt x="97285" y="134269"/>
                </a:lnTo>
                <a:lnTo>
                  <a:pt x="108263" y="92387"/>
                </a:lnTo>
                <a:lnTo>
                  <a:pt x="91641" y="89443"/>
                </a:lnTo>
                <a:lnTo>
                  <a:pt x="83597" y="86357"/>
                </a:lnTo>
                <a:lnTo>
                  <a:pt x="81608" y="76680"/>
                </a:lnTo>
                <a:lnTo>
                  <a:pt x="85820" y="66841"/>
                </a:lnTo>
                <a:lnTo>
                  <a:pt x="97328" y="59758"/>
                </a:lnTo>
                <a:lnTo>
                  <a:pt x="108263" y="55736"/>
                </a:lnTo>
                <a:lnTo>
                  <a:pt x="188262" y="55736"/>
                </a:lnTo>
                <a:lnTo>
                  <a:pt x="199962" y="63892"/>
                </a:lnTo>
                <a:lnTo>
                  <a:pt x="204241" y="75561"/>
                </a:lnTo>
                <a:lnTo>
                  <a:pt x="204262" y="87150"/>
                </a:lnTo>
                <a:lnTo>
                  <a:pt x="198917" y="92387"/>
                </a:lnTo>
                <a:lnTo>
                  <a:pt x="182935" y="92387"/>
                </a:lnTo>
                <a:lnTo>
                  <a:pt x="174173" y="134269"/>
                </a:lnTo>
                <a:lnTo>
                  <a:pt x="342898" y="134269"/>
                </a:lnTo>
                <a:lnTo>
                  <a:pt x="357327" y="132136"/>
                </a:lnTo>
                <a:lnTo>
                  <a:pt x="342898" y="0"/>
                </a:lnTo>
                <a:lnTo>
                  <a:pt x="342898" y="13853"/>
                </a:lnTo>
                <a:lnTo>
                  <a:pt x="13945" y="13852"/>
                </a:lnTo>
                <a:lnTo>
                  <a:pt x="0" y="134269"/>
                </a:lnTo>
                <a:lnTo>
                  <a:pt x="51342" y="134269"/>
                </a:lnTo>
                <a:close/>
              </a:path>
            </a:pathLst>
          </a:custGeom>
          <a:solidFill>
            <a:srgbClr val="FFFFFF"/>
          </a:solidFill>
        </p:spPr>
        <p:txBody>
          <a:bodyPr wrap="square" lIns="0" tIns="0" rIns="0" bIns="0" rtlCol="0">
            <a:noAutofit/>
          </a:bodyPr>
          <a:lstStyle/>
          <a:p>
            <a:endParaRPr sz="1763"/>
          </a:p>
        </p:txBody>
      </p:sp>
      <p:sp>
        <p:nvSpPr>
          <p:cNvPr id="92" name="object 92"/>
          <p:cNvSpPr/>
          <p:nvPr/>
        </p:nvSpPr>
        <p:spPr>
          <a:xfrm>
            <a:off x="8326879" y="422417"/>
            <a:ext cx="480584" cy="697507"/>
          </a:xfrm>
          <a:custGeom>
            <a:avLst/>
            <a:gdLst/>
            <a:ahLst/>
            <a:cxnLst/>
            <a:rect l="l" t="t" r="r" b="b"/>
            <a:pathLst>
              <a:path w="490596" h="712038">
                <a:moveTo>
                  <a:pt x="0" y="588349"/>
                </a:moveTo>
                <a:lnTo>
                  <a:pt x="0" y="664919"/>
                </a:lnTo>
                <a:lnTo>
                  <a:pt x="2383" y="679859"/>
                </a:lnTo>
                <a:lnTo>
                  <a:pt x="8854" y="692793"/>
                </a:lnTo>
                <a:lnTo>
                  <a:pt x="18393" y="702968"/>
                </a:lnTo>
                <a:lnTo>
                  <a:pt x="29980" y="709634"/>
                </a:lnTo>
                <a:lnTo>
                  <a:pt x="42656" y="712038"/>
                </a:lnTo>
                <a:lnTo>
                  <a:pt x="99698" y="712038"/>
                </a:lnTo>
                <a:lnTo>
                  <a:pt x="113643" y="591622"/>
                </a:lnTo>
                <a:lnTo>
                  <a:pt x="47991" y="591622"/>
                </a:lnTo>
                <a:lnTo>
                  <a:pt x="47991" y="78543"/>
                </a:lnTo>
                <a:lnTo>
                  <a:pt x="200259" y="78543"/>
                </a:lnTo>
                <a:lnTo>
                  <a:pt x="198990" y="52356"/>
                </a:lnTo>
                <a:lnTo>
                  <a:pt x="149307" y="52356"/>
                </a:lnTo>
                <a:lnTo>
                  <a:pt x="149307" y="41878"/>
                </a:lnTo>
                <a:lnTo>
                  <a:pt x="155489" y="28399"/>
                </a:lnTo>
                <a:lnTo>
                  <a:pt x="169333" y="26188"/>
                </a:lnTo>
                <a:lnTo>
                  <a:pt x="319960" y="26187"/>
                </a:lnTo>
                <a:lnTo>
                  <a:pt x="334122" y="27921"/>
                </a:lnTo>
                <a:lnTo>
                  <a:pt x="341219" y="40062"/>
                </a:lnTo>
                <a:lnTo>
                  <a:pt x="341269" y="52356"/>
                </a:lnTo>
                <a:lnTo>
                  <a:pt x="232345" y="52356"/>
                </a:lnTo>
                <a:lnTo>
                  <a:pt x="240558" y="78543"/>
                </a:lnTo>
                <a:lnTo>
                  <a:pt x="442596" y="78544"/>
                </a:lnTo>
                <a:lnTo>
                  <a:pt x="442596" y="577769"/>
                </a:lnTo>
                <a:lnTo>
                  <a:pt x="457025" y="709905"/>
                </a:lnTo>
                <a:lnTo>
                  <a:pt x="479871" y="694737"/>
                </a:lnTo>
                <a:lnTo>
                  <a:pt x="490398" y="669261"/>
                </a:lnTo>
                <a:lnTo>
                  <a:pt x="490596" y="664920"/>
                </a:lnTo>
                <a:lnTo>
                  <a:pt x="490596" y="52357"/>
                </a:lnTo>
                <a:lnTo>
                  <a:pt x="483145" y="25474"/>
                </a:lnTo>
                <a:lnTo>
                  <a:pt x="463715" y="5767"/>
                </a:lnTo>
                <a:lnTo>
                  <a:pt x="42656" y="0"/>
                </a:lnTo>
                <a:lnTo>
                  <a:pt x="30762" y="2603"/>
                </a:lnTo>
                <a:lnTo>
                  <a:pt x="10385" y="20298"/>
                </a:lnTo>
                <a:lnTo>
                  <a:pt x="223" y="47672"/>
                </a:lnTo>
                <a:lnTo>
                  <a:pt x="0" y="52356"/>
                </a:lnTo>
                <a:lnTo>
                  <a:pt x="0" y="588349"/>
                </a:lnTo>
                <a:close/>
              </a:path>
            </a:pathLst>
          </a:custGeom>
          <a:solidFill>
            <a:srgbClr val="FFFFFF"/>
          </a:solidFill>
        </p:spPr>
        <p:txBody>
          <a:bodyPr wrap="square" lIns="0" tIns="0" rIns="0" bIns="0" rtlCol="0">
            <a:noAutofit/>
          </a:bodyPr>
          <a:lstStyle/>
          <a:p>
            <a:endParaRPr sz="1763"/>
          </a:p>
        </p:txBody>
      </p:sp>
      <p:sp>
        <p:nvSpPr>
          <p:cNvPr id="93" name="object 93"/>
          <p:cNvSpPr/>
          <p:nvPr/>
        </p:nvSpPr>
        <p:spPr>
          <a:xfrm>
            <a:off x="8521808" y="473706"/>
            <a:ext cx="40720" cy="25653"/>
          </a:xfrm>
          <a:custGeom>
            <a:avLst/>
            <a:gdLst/>
            <a:ahLst/>
            <a:cxnLst/>
            <a:rect l="l" t="t" r="r" b="b"/>
            <a:pathLst>
              <a:path w="41568" h="26187">
                <a:moveTo>
                  <a:pt x="14539" y="0"/>
                </a:moveTo>
                <a:lnTo>
                  <a:pt x="0" y="0"/>
                </a:lnTo>
                <a:lnTo>
                  <a:pt x="1269" y="26187"/>
                </a:lnTo>
                <a:lnTo>
                  <a:pt x="41568" y="26187"/>
                </a:lnTo>
                <a:lnTo>
                  <a:pt x="33354" y="0"/>
                </a:lnTo>
                <a:lnTo>
                  <a:pt x="14539" y="0"/>
                </a:lnTo>
                <a:close/>
              </a:path>
            </a:pathLst>
          </a:custGeom>
          <a:solidFill>
            <a:srgbClr val="FFFFFF"/>
          </a:solidFill>
        </p:spPr>
        <p:txBody>
          <a:bodyPr wrap="square" lIns="0" tIns="0" rIns="0" bIns="0" rtlCol="0">
            <a:noAutofit/>
          </a:bodyPr>
          <a:lstStyle/>
          <a:p>
            <a:endParaRPr sz="1763"/>
          </a:p>
        </p:txBody>
      </p:sp>
      <p:sp>
        <p:nvSpPr>
          <p:cNvPr id="94" name="object 94"/>
          <p:cNvSpPr/>
          <p:nvPr/>
        </p:nvSpPr>
        <p:spPr>
          <a:xfrm>
            <a:off x="8519842" y="1078898"/>
            <a:ext cx="83902" cy="41026"/>
          </a:xfrm>
          <a:custGeom>
            <a:avLst/>
            <a:gdLst/>
            <a:ahLst/>
            <a:cxnLst/>
            <a:rect l="l" t="t" r="r" b="b"/>
            <a:pathLst>
              <a:path w="85650" h="41881">
                <a:moveTo>
                  <a:pt x="53662" y="0"/>
                </a:moveTo>
                <a:lnTo>
                  <a:pt x="10977" y="0"/>
                </a:lnTo>
                <a:lnTo>
                  <a:pt x="0" y="41881"/>
                </a:lnTo>
                <a:lnTo>
                  <a:pt x="76888" y="41881"/>
                </a:lnTo>
                <a:lnTo>
                  <a:pt x="85650" y="0"/>
                </a:lnTo>
                <a:lnTo>
                  <a:pt x="53662" y="0"/>
                </a:lnTo>
                <a:close/>
              </a:path>
            </a:pathLst>
          </a:custGeom>
          <a:solidFill>
            <a:srgbClr val="FFFFFF"/>
          </a:solidFill>
        </p:spPr>
        <p:txBody>
          <a:bodyPr wrap="square" lIns="0" tIns="0" rIns="0" bIns="0" rtlCol="0">
            <a:noAutofit/>
          </a:bodyPr>
          <a:lstStyle/>
          <a:p>
            <a:endParaRPr sz="1763"/>
          </a:p>
        </p:txBody>
      </p:sp>
      <p:sp>
        <p:nvSpPr>
          <p:cNvPr id="95" name="object 95"/>
          <p:cNvSpPr/>
          <p:nvPr/>
        </p:nvSpPr>
        <p:spPr>
          <a:xfrm>
            <a:off x="483699" y="4489207"/>
            <a:ext cx="815122" cy="815121"/>
          </a:xfrm>
          <a:prstGeom prst="rect">
            <a:avLst/>
          </a:prstGeom>
          <a:blipFill>
            <a:blip r:embed="rId2" cstate="print"/>
            <a:stretch>
              <a:fillRect/>
            </a:stretch>
          </a:blipFill>
        </p:spPr>
        <p:txBody>
          <a:bodyPr wrap="square" lIns="0" tIns="0" rIns="0" bIns="0" rtlCol="0">
            <a:noAutofit/>
          </a:bodyPr>
          <a:lstStyle/>
          <a:p>
            <a:endParaRPr sz="1763"/>
          </a:p>
        </p:txBody>
      </p:sp>
      <p:sp>
        <p:nvSpPr>
          <p:cNvPr id="96" name="object 96"/>
          <p:cNvSpPr/>
          <p:nvPr/>
        </p:nvSpPr>
        <p:spPr>
          <a:xfrm>
            <a:off x="5571494" y="4946032"/>
            <a:ext cx="1110716" cy="1101759"/>
          </a:xfrm>
          <a:custGeom>
            <a:avLst/>
            <a:gdLst/>
            <a:ahLst/>
            <a:cxnLst/>
            <a:rect l="l" t="t" r="r" b="b"/>
            <a:pathLst>
              <a:path w="1133855" h="1124712">
                <a:moveTo>
                  <a:pt x="0" y="1124712"/>
                </a:moveTo>
                <a:lnTo>
                  <a:pt x="1133856" y="1124712"/>
                </a:lnTo>
                <a:lnTo>
                  <a:pt x="1133856" y="0"/>
                </a:lnTo>
                <a:lnTo>
                  <a:pt x="0" y="0"/>
                </a:lnTo>
                <a:lnTo>
                  <a:pt x="0" y="1124712"/>
                </a:lnTo>
                <a:close/>
              </a:path>
            </a:pathLst>
          </a:custGeom>
          <a:solidFill>
            <a:srgbClr val="FF0000"/>
          </a:solidFill>
        </p:spPr>
        <p:txBody>
          <a:bodyPr wrap="square" lIns="0" tIns="0" rIns="0" bIns="0" rtlCol="0">
            <a:noAutofit/>
          </a:bodyPr>
          <a:lstStyle/>
          <a:p>
            <a:endParaRPr sz="1763"/>
          </a:p>
        </p:txBody>
      </p:sp>
      <p:sp>
        <p:nvSpPr>
          <p:cNvPr id="97" name="object 97"/>
          <p:cNvSpPr/>
          <p:nvPr/>
        </p:nvSpPr>
        <p:spPr>
          <a:xfrm>
            <a:off x="5795429" y="5178926"/>
            <a:ext cx="653889" cy="644931"/>
          </a:xfrm>
          <a:prstGeom prst="rect">
            <a:avLst/>
          </a:prstGeom>
          <a:blipFill>
            <a:blip r:embed="rId3" cstate="print"/>
            <a:stretch>
              <a:fillRect/>
            </a:stretch>
          </a:blipFill>
        </p:spPr>
        <p:txBody>
          <a:bodyPr wrap="square" lIns="0" tIns="0" rIns="0" bIns="0" rtlCol="0">
            <a:noAutofit/>
          </a:bodyPr>
          <a:lstStyle/>
          <a:p>
            <a:endParaRPr sz="1763"/>
          </a:p>
        </p:txBody>
      </p:sp>
      <p:sp>
        <p:nvSpPr>
          <p:cNvPr id="98" name="object 98"/>
          <p:cNvSpPr/>
          <p:nvPr/>
        </p:nvSpPr>
        <p:spPr>
          <a:xfrm>
            <a:off x="6834487" y="4946032"/>
            <a:ext cx="1110715" cy="1101759"/>
          </a:xfrm>
          <a:custGeom>
            <a:avLst/>
            <a:gdLst/>
            <a:ahLst/>
            <a:cxnLst/>
            <a:rect l="l" t="t" r="r" b="b"/>
            <a:pathLst>
              <a:path w="1133855" h="1124712">
                <a:moveTo>
                  <a:pt x="0" y="1124712"/>
                </a:moveTo>
                <a:lnTo>
                  <a:pt x="1133855" y="1124712"/>
                </a:lnTo>
                <a:lnTo>
                  <a:pt x="1133855" y="0"/>
                </a:lnTo>
                <a:lnTo>
                  <a:pt x="0" y="0"/>
                </a:lnTo>
                <a:lnTo>
                  <a:pt x="0" y="1124712"/>
                </a:lnTo>
                <a:close/>
              </a:path>
            </a:pathLst>
          </a:custGeom>
          <a:solidFill>
            <a:srgbClr val="FF6600"/>
          </a:solidFill>
        </p:spPr>
        <p:txBody>
          <a:bodyPr wrap="square" lIns="0" tIns="0" rIns="0" bIns="0" rtlCol="0">
            <a:noAutofit/>
          </a:bodyPr>
          <a:lstStyle/>
          <a:p>
            <a:endParaRPr sz="1763"/>
          </a:p>
        </p:txBody>
      </p:sp>
      <p:sp>
        <p:nvSpPr>
          <p:cNvPr id="99" name="object 99"/>
          <p:cNvSpPr/>
          <p:nvPr/>
        </p:nvSpPr>
        <p:spPr>
          <a:xfrm>
            <a:off x="6933018" y="5071437"/>
            <a:ext cx="833037" cy="824079"/>
          </a:xfrm>
          <a:prstGeom prst="rect">
            <a:avLst/>
          </a:prstGeom>
          <a:blipFill>
            <a:blip r:embed="rId4" cstate="print"/>
            <a:stretch>
              <a:fillRect/>
            </a:stretch>
          </a:blipFill>
        </p:spPr>
        <p:txBody>
          <a:bodyPr wrap="square" lIns="0" tIns="0" rIns="0" bIns="0" rtlCol="0">
            <a:noAutofit/>
          </a:bodyPr>
          <a:lstStyle/>
          <a:p>
            <a:endParaRPr sz="1763"/>
          </a:p>
        </p:txBody>
      </p:sp>
      <p:sp>
        <p:nvSpPr>
          <p:cNvPr id="100" name="object 100"/>
          <p:cNvSpPr/>
          <p:nvPr/>
        </p:nvSpPr>
        <p:spPr>
          <a:xfrm>
            <a:off x="8061650" y="4946032"/>
            <a:ext cx="1110715" cy="1101759"/>
          </a:xfrm>
          <a:custGeom>
            <a:avLst/>
            <a:gdLst/>
            <a:ahLst/>
            <a:cxnLst/>
            <a:rect l="l" t="t" r="r" b="b"/>
            <a:pathLst>
              <a:path w="1133855" h="1124712">
                <a:moveTo>
                  <a:pt x="0" y="1124712"/>
                </a:moveTo>
                <a:lnTo>
                  <a:pt x="1133855" y="1124712"/>
                </a:lnTo>
                <a:lnTo>
                  <a:pt x="1133855" y="0"/>
                </a:lnTo>
                <a:lnTo>
                  <a:pt x="0" y="0"/>
                </a:lnTo>
                <a:lnTo>
                  <a:pt x="0" y="1124712"/>
                </a:lnTo>
                <a:close/>
              </a:path>
            </a:pathLst>
          </a:custGeom>
          <a:solidFill>
            <a:srgbClr val="001F5F"/>
          </a:solidFill>
        </p:spPr>
        <p:txBody>
          <a:bodyPr wrap="square" lIns="0" tIns="0" rIns="0" bIns="0" rtlCol="0">
            <a:noAutofit/>
          </a:bodyPr>
          <a:lstStyle/>
          <a:p>
            <a:endParaRPr sz="1763"/>
          </a:p>
        </p:txBody>
      </p:sp>
      <p:sp>
        <p:nvSpPr>
          <p:cNvPr id="101" name="object 101"/>
          <p:cNvSpPr/>
          <p:nvPr/>
        </p:nvSpPr>
        <p:spPr>
          <a:xfrm>
            <a:off x="8213924" y="5107266"/>
            <a:ext cx="824080" cy="824079"/>
          </a:xfrm>
          <a:prstGeom prst="rect">
            <a:avLst/>
          </a:prstGeom>
          <a:blipFill>
            <a:blip r:embed="rId5" cstate="print"/>
            <a:stretch>
              <a:fillRect/>
            </a:stretch>
          </a:blipFill>
        </p:spPr>
        <p:txBody>
          <a:bodyPr wrap="square" lIns="0" tIns="0" rIns="0" bIns="0" rtlCol="0">
            <a:noAutofit/>
          </a:bodyPr>
          <a:lstStyle/>
          <a:p>
            <a:endParaRPr sz="1763"/>
          </a:p>
        </p:txBody>
      </p:sp>
      <p:sp>
        <p:nvSpPr>
          <p:cNvPr id="102" name="object 102"/>
          <p:cNvSpPr/>
          <p:nvPr/>
        </p:nvSpPr>
        <p:spPr>
          <a:xfrm>
            <a:off x="9306726" y="4946032"/>
            <a:ext cx="1110715" cy="1101759"/>
          </a:xfrm>
          <a:custGeom>
            <a:avLst/>
            <a:gdLst/>
            <a:ahLst/>
            <a:cxnLst/>
            <a:rect l="l" t="t" r="r" b="b"/>
            <a:pathLst>
              <a:path w="1133855" h="1124712">
                <a:moveTo>
                  <a:pt x="0" y="1124712"/>
                </a:moveTo>
                <a:lnTo>
                  <a:pt x="1133855" y="1124712"/>
                </a:lnTo>
                <a:lnTo>
                  <a:pt x="1133855" y="0"/>
                </a:lnTo>
                <a:lnTo>
                  <a:pt x="0" y="0"/>
                </a:lnTo>
                <a:lnTo>
                  <a:pt x="0" y="1124712"/>
                </a:lnTo>
                <a:close/>
              </a:path>
            </a:pathLst>
          </a:custGeom>
          <a:solidFill>
            <a:srgbClr val="92D050"/>
          </a:solidFill>
        </p:spPr>
        <p:txBody>
          <a:bodyPr wrap="square" lIns="0" tIns="0" rIns="0" bIns="0" rtlCol="0">
            <a:noAutofit/>
          </a:bodyPr>
          <a:lstStyle/>
          <a:p>
            <a:endParaRPr sz="1763"/>
          </a:p>
        </p:txBody>
      </p:sp>
      <p:sp>
        <p:nvSpPr>
          <p:cNvPr id="103" name="object 103"/>
          <p:cNvSpPr/>
          <p:nvPr/>
        </p:nvSpPr>
        <p:spPr>
          <a:xfrm>
            <a:off x="10024934" y="5543938"/>
            <a:ext cx="15317" cy="36005"/>
          </a:xfrm>
          <a:prstGeom prst="rect">
            <a:avLst/>
          </a:prstGeom>
          <a:blipFill>
            <a:blip r:embed="rId6" cstate="print"/>
            <a:stretch>
              <a:fillRect/>
            </a:stretch>
          </a:blipFill>
        </p:spPr>
        <p:txBody>
          <a:bodyPr wrap="square" lIns="0" tIns="0" rIns="0" bIns="0" rtlCol="0">
            <a:noAutofit/>
          </a:bodyPr>
          <a:lstStyle/>
          <a:p>
            <a:endParaRPr sz="1763"/>
          </a:p>
        </p:txBody>
      </p:sp>
      <p:sp>
        <p:nvSpPr>
          <p:cNvPr id="104" name="object 104"/>
          <p:cNvSpPr/>
          <p:nvPr/>
        </p:nvSpPr>
        <p:spPr>
          <a:xfrm>
            <a:off x="9870170" y="5415177"/>
            <a:ext cx="87086" cy="166583"/>
          </a:xfrm>
          <a:prstGeom prst="rect">
            <a:avLst/>
          </a:prstGeom>
          <a:blipFill>
            <a:blip r:embed="rId7" cstate="print"/>
            <a:stretch>
              <a:fillRect/>
            </a:stretch>
          </a:blipFill>
        </p:spPr>
        <p:txBody>
          <a:bodyPr wrap="square" lIns="0" tIns="0" rIns="0" bIns="0" rtlCol="0">
            <a:noAutofit/>
          </a:bodyPr>
          <a:lstStyle/>
          <a:p>
            <a:endParaRPr sz="1763"/>
          </a:p>
        </p:txBody>
      </p:sp>
      <p:sp>
        <p:nvSpPr>
          <p:cNvPr id="105" name="object 105"/>
          <p:cNvSpPr/>
          <p:nvPr/>
        </p:nvSpPr>
        <p:spPr>
          <a:xfrm>
            <a:off x="9771639" y="5415177"/>
            <a:ext cx="87086" cy="166583"/>
          </a:xfrm>
          <a:prstGeom prst="rect">
            <a:avLst/>
          </a:prstGeom>
          <a:blipFill>
            <a:blip r:embed="rId8" cstate="print"/>
            <a:stretch>
              <a:fillRect/>
            </a:stretch>
          </a:blipFill>
        </p:spPr>
        <p:txBody>
          <a:bodyPr wrap="square" lIns="0" tIns="0" rIns="0" bIns="0" rtlCol="0">
            <a:noAutofit/>
          </a:bodyPr>
          <a:lstStyle/>
          <a:p>
            <a:endParaRPr sz="1763"/>
          </a:p>
        </p:txBody>
      </p:sp>
      <p:sp>
        <p:nvSpPr>
          <p:cNvPr id="106" name="object 106"/>
          <p:cNvSpPr/>
          <p:nvPr/>
        </p:nvSpPr>
        <p:spPr>
          <a:xfrm>
            <a:off x="9630685" y="5393031"/>
            <a:ext cx="120302" cy="185741"/>
          </a:xfrm>
          <a:prstGeom prst="rect">
            <a:avLst/>
          </a:prstGeom>
          <a:blipFill>
            <a:blip r:embed="rId9" cstate="print"/>
            <a:stretch>
              <a:fillRect/>
            </a:stretch>
          </a:blipFill>
        </p:spPr>
        <p:txBody>
          <a:bodyPr wrap="square" lIns="0" tIns="0" rIns="0" bIns="0" rtlCol="0">
            <a:noAutofit/>
          </a:bodyPr>
          <a:lstStyle/>
          <a:p>
            <a:endParaRPr sz="1763"/>
          </a:p>
        </p:txBody>
      </p:sp>
      <p:sp>
        <p:nvSpPr>
          <p:cNvPr id="107" name="object 107"/>
          <p:cNvSpPr/>
          <p:nvPr/>
        </p:nvSpPr>
        <p:spPr>
          <a:xfrm>
            <a:off x="9980023" y="5450260"/>
            <a:ext cx="130379" cy="186139"/>
          </a:xfrm>
          <a:prstGeom prst="rect">
            <a:avLst/>
          </a:prstGeom>
          <a:blipFill>
            <a:blip r:embed="rId10" cstate="print"/>
            <a:stretch>
              <a:fillRect/>
            </a:stretch>
          </a:blipFill>
        </p:spPr>
        <p:txBody>
          <a:bodyPr wrap="square" lIns="0" tIns="0" rIns="0" bIns="0" rtlCol="0">
            <a:noAutofit/>
          </a:bodyPr>
          <a:lstStyle/>
          <a:p>
            <a:endParaRPr sz="1763"/>
          </a:p>
        </p:txBody>
      </p:sp>
      <p:sp>
        <p:nvSpPr>
          <p:cNvPr id="108" name="object 108"/>
          <p:cNvSpPr/>
          <p:nvPr/>
        </p:nvSpPr>
        <p:spPr>
          <a:xfrm>
            <a:off x="10551803" y="4946032"/>
            <a:ext cx="1110715" cy="1101759"/>
          </a:xfrm>
          <a:custGeom>
            <a:avLst/>
            <a:gdLst/>
            <a:ahLst/>
            <a:cxnLst/>
            <a:rect l="l" t="t" r="r" b="b"/>
            <a:pathLst>
              <a:path w="1133855" h="1124712">
                <a:moveTo>
                  <a:pt x="0" y="1124712"/>
                </a:moveTo>
                <a:lnTo>
                  <a:pt x="1133855" y="1124712"/>
                </a:lnTo>
                <a:lnTo>
                  <a:pt x="1133855" y="0"/>
                </a:lnTo>
                <a:lnTo>
                  <a:pt x="0" y="0"/>
                </a:lnTo>
                <a:lnTo>
                  <a:pt x="0" y="1124712"/>
                </a:lnTo>
                <a:close/>
              </a:path>
            </a:pathLst>
          </a:custGeom>
          <a:solidFill>
            <a:srgbClr val="C00000"/>
          </a:solidFill>
        </p:spPr>
        <p:txBody>
          <a:bodyPr wrap="square" lIns="0" tIns="0" rIns="0" bIns="0" rtlCol="0">
            <a:noAutofit/>
          </a:bodyPr>
          <a:lstStyle/>
          <a:p>
            <a:endParaRPr sz="1763"/>
          </a:p>
        </p:txBody>
      </p:sp>
      <p:sp>
        <p:nvSpPr>
          <p:cNvPr id="109" name="object 109"/>
          <p:cNvSpPr/>
          <p:nvPr/>
        </p:nvSpPr>
        <p:spPr>
          <a:xfrm>
            <a:off x="10888949" y="5400122"/>
            <a:ext cx="444759" cy="202288"/>
          </a:xfrm>
          <a:prstGeom prst="rect">
            <a:avLst/>
          </a:prstGeom>
          <a:blipFill>
            <a:blip r:embed="rId11" cstate="print"/>
            <a:stretch>
              <a:fillRect/>
            </a:stretch>
          </a:blipFill>
        </p:spPr>
        <p:txBody>
          <a:bodyPr wrap="square" lIns="0" tIns="0" rIns="0" bIns="0" rtlCol="0">
            <a:noAutofit/>
          </a:bodyPr>
          <a:lstStyle/>
          <a:p>
            <a:endParaRPr sz="1763"/>
          </a:p>
        </p:txBody>
      </p:sp>
      <p:sp>
        <p:nvSpPr>
          <p:cNvPr id="110" name="object 110"/>
          <p:cNvSpPr/>
          <p:nvPr/>
        </p:nvSpPr>
        <p:spPr>
          <a:xfrm>
            <a:off x="10888949" y="5400122"/>
            <a:ext cx="444759" cy="202288"/>
          </a:xfrm>
          <a:prstGeom prst="rect">
            <a:avLst/>
          </a:prstGeom>
          <a:blipFill>
            <a:blip r:embed="rId11" cstate="print"/>
            <a:stretch>
              <a:fillRect/>
            </a:stretch>
          </a:blipFill>
        </p:spPr>
        <p:txBody>
          <a:bodyPr wrap="square" lIns="0" tIns="0" rIns="0" bIns="0" rtlCol="0">
            <a:noAutofit/>
          </a:bodyPr>
          <a:lstStyle/>
          <a:p>
            <a:endParaRPr sz="1763"/>
          </a:p>
        </p:txBody>
      </p:sp>
      <p:sp>
        <p:nvSpPr>
          <p:cNvPr id="111" name="object 111"/>
          <p:cNvSpPr/>
          <p:nvPr/>
        </p:nvSpPr>
        <p:spPr>
          <a:xfrm>
            <a:off x="10888949" y="5400122"/>
            <a:ext cx="444759" cy="202288"/>
          </a:xfrm>
          <a:prstGeom prst="rect">
            <a:avLst/>
          </a:prstGeom>
          <a:blipFill>
            <a:blip r:embed="rId11" cstate="print"/>
            <a:stretch>
              <a:fillRect/>
            </a:stretch>
          </a:blipFill>
        </p:spPr>
        <p:txBody>
          <a:bodyPr wrap="square" lIns="0" tIns="0" rIns="0" bIns="0" rtlCol="0">
            <a:noAutofit/>
          </a:bodyPr>
          <a:lstStyle/>
          <a:p>
            <a:endParaRPr sz="1763"/>
          </a:p>
        </p:txBody>
      </p:sp>
      <p:sp>
        <p:nvSpPr>
          <p:cNvPr id="112" name="object 112"/>
          <p:cNvSpPr/>
          <p:nvPr/>
        </p:nvSpPr>
        <p:spPr>
          <a:xfrm>
            <a:off x="10888949" y="5400122"/>
            <a:ext cx="444759" cy="202288"/>
          </a:xfrm>
          <a:prstGeom prst="rect">
            <a:avLst/>
          </a:prstGeom>
          <a:blipFill>
            <a:blip r:embed="rId11" cstate="print"/>
            <a:stretch>
              <a:fillRect/>
            </a:stretch>
          </a:blipFill>
        </p:spPr>
        <p:txBody>
          <a:bodyPr wrap="square" lIns="0" tIns="0" rIns="0" bIns="0" rtlCol="0">
            <a:noAutofit/>
          </a:bodyPr>
          <a:lstStyle/>
          <a:p>
            <a:endParaRPr sz="1763"/>
          </a:p>
        </p:txBody>
      </p:sp>
      <p:sp>
        <p:nvSpPr>
          <p:cNvPr id="113" name="object 113"/>
          <p:cNvSpPr/>
          <p:nvPr/>
        </p:nvSpPr>
        <p:spPr>
          <a:xfrm>
            <a:off x="682779" y="1658645"/>
            <a:ext cx="1208265" cy="889794"/>
          </a:xfrm>
          <a:custGeom>
            <a:avLst/>
            <a:gdLst/>
            <a:ahLst/>
            <a:cxnLst/>
            <a:rect l="l" t="t" r="r" b="b"/>
            <a:pathLst>
              <a:path w="1233437" h="908331">
                <a:moveTo>
                  <a:pt x="236249" y="0"/>
                </a:moveTo>
                <a:lnTo>
                  <a:pt x="46505" y="0"/>
                </a:lnTo>
                <a:lnTo>
                  <a:pt x="5990" y="12444"/>
                </a:lnTo>
                <a:lnTo>
                  <a:pt x="0" y="861593"/>
                </a:lnTo>
                <a:lnTo>
                  <a:pt x="1059" y="880671"/>
                </a:lnTo>
                <a:lnTo>
                  <a:pt x="42375" y="908297"/>
                </a:lnTo>
                <a:lnTo>
                  <a:pt x="1186962" y="908331"/>
                </a:lnTo>
                <a:lnTo>
                  <a:pt x="1205949" y="907266"/>
                </a:lnTo>
                <a:lnTo>
                  <a:pt x="1233403" y="865710"/>
                </a:lnTo>
                <a:lnTo>
                  <a:pt x="1233437" y="46705"/>
                </a:lnTo>
                <a:lnTo>
                  <a:pt x="1232379" y="27619"/>
                </a:lnTo>
                <a:lnTo>
                  <a:pt x="1191022" y="33"/>
                </a:lnTo>
                <a:lnTo>
                  <a:pt x="236249" y="0"/>
                </a:lnTo>
                <a:close/>
              </a:path>
            </a:pathLst>
          </a:custGeom>
          <a:solidFill>
            <a:srgbClr val="CCCCCC"/>
          </a:solidFill>
        </p:spPr>
        <p:txBody>
          <a:bodyPr wrap="square" lIns="0" tIns="0" rIns="0" bIns="0" rtlCol="0">
            <a:noAutofit/>
          </a:bodyPr>
          <a:lstStyle/>
          <a:p>
            <a:endParaRPr sz="1763"/>
          </a:p>
        </p:txBody>
      </p:sp>
      <p:sp>
        <p:nvSpPr>
          <p:cNvPr id="114" name="object 114"/>
          <p:cNvSpPr/>
          <p:nvPr/>
        </p:nvSpPr>
        <p:spPr>
          <a:xfrm>
            <a:off x="712494" y="1825860"/>
            <a:ext cx="1148857" cy="680777"/>
          </a:xfrm>
          <a:custGeom>
            <a:avLst/>
            <a:gdLst/>
            <a:ahLst/>
            <a:cxnLst/>
            <a:rect l="l" t="t" r="r" b="b"/>
            <a:pathLst>
              <a:path w="1172792" h="694960">
                <a:moveTo>
                  <a:pt x="0" y="694959"/>
                </a:moveTo>
                <a:lnTo>
                  <a:pt x="1172792" y="694960"/>
                </a:lnTo>
                <a:lnTo>
                  <a:pt x="1172792" y="0"/>
                </a:lnTo>
                <a:lnTo>
                  <a:pt x="0" y="0"/>
                </a:lnTo>
                <a:lnTo>
                  <a:pt x="0" y="694959"/>
                </a:lnTo>
                <a:close/>
              </a:path>
            </a:pathLst>
          </a:custGeom>
          <a:solidFill>
            <a:srgbClr val="00AF50"/>
          </a:solidFill>
        </p:spPr>
        <p:txBody>
          <a:bodyPr wrap="square" lIns="0" tIns="0" rIns="0" bIns="0" rtlCol="0">
            <a:noAutofit/>
          </a:bodyPr>
          <a:lstStyle/>
          <a:p>
            <a:endParaRPr sz="1763"/>
          </a:p>
        </p:txBody>
      </p:sp>
      <p:sp>
        <p:nvSpPr>
          <p:cNvPr id="115" name="object 115"/>
          <p:cNvSpPr/>
          <p:nvPr/>
        </p:nvSpPr>
        <p:spPr>
          <a:xfrm>
            <a:off x="714468" y="1682495"/>
            <a:ext cx="120829" cy="119453"/>
          </a:xfrm>
          <a:custGeom>
            <a:avLst/>
            <a:gdLst/>
            <a:ahLst/>
            <a:cxnLst/>
            <a:rect l="l" t="t" r="r" b="b"/>
            <a:pathLst>
              <a:path w="123346" h="121942">
                <a:moveTo>
                  <a:pt x="123346" y="60971"/>
                </a:moveTo>
                <a:lnTo>
                  <a:pt x="122278" y="49490"/>
                </a:lnTo>
                <a:lnTo>
                  <a:pt x="117965" y="35836"/>
                </a:lnTo>
                <a:lnTo>
                  <a:pt x="110779" y="23875"/>
                </a:lnTo>
                <a:lnTo>
                  <a:pt x="101190" y="13958"/>
                </a:lnTo>
                <a:lnTo>
                  <a:pt x="89665" y="6438"/>
                </a:lnTo>
                <a:lnTo>
                  <a:pt x="76673" y="1668"/>
                </a:lnTo>
                <a:lnTo>
                  <a:pt x="62683" y="0"/>
                </a:lnTo>
                <a:lnTo>
                  <a:pt x="49770" y="1271"/>
                </a:lnTo>
                <a:lnTo>
                  <a:pt x="36267" y="5565"/>
                </a:lnTo>
                <a:lnTo>
                  <a:pt x="24301" y="12568"/>
                </a:lnTo>
                <a:lnTo>
                  <a:pt x="14283" y="21946"/>
                </a:lnTo>
                <a:lnTo>
                  <a:pt x="6620" y="33362"/>
                </a:lnTo>
                <a:lnTo>
                  <a:pt x="1723" y="46482"/>
                </a:lnTo>
                <a:lnTo>
                  <a:pt x="0" y="60970"/>
                </a:lnTo>
                <a:lnTo>
                  <a:pt x="1357" y="73862"/>
                </a:lnTo>
                <a:lnTo>
                  <a:pt x="5911" y="87156"/>
                </a:lnTo>
                <a:lnTo>
                  <a:pt x="13278" y="98785"/>
                </a:lnTo>
                <a:lnTo>
                  <a:pt x="23047" y="108413"/>
                </a:lnTo>
                <a:lnTo>
                  <a:pt x="34811" y="115705"/>
                </a:lnTo>
                <a:lnTo>
                  <a:pt x="48159" y="120327"/>
                </a:lnTo>
                <a:lnTo>
                  <a:pt x="62683" y="121942"/>
                </a:lnTo>
                <a:lnTo>
                  <a:pt x="73559" y="120938"/>
                </a:lnTo>
                <a:lnTo>
                  <a:pt x="86819" y="116843"/>
                </a:lnTo>
                <a:lnTo>
                  <a:pt x="98719" y="109919"/>
                </a:lnTo>
                <a:lnTo>
                  <a:pt x="108791" y="100516"/>
                </a:lnTo>
                <a:lnTo>
                  <a:pt x="116565" y="88990"/>
                </a:lnTo>
                <a:lnTo>
                  <a:pt x="121573" y="75690"/>
                </a:lnTo>
                <a:lnTo>
                  <a:pt x="123346" y="60971"/>
                </a:lnTo>
                <a:close/>
              </a:path>
            </a:pathLst>
          </a:custGeom>
          <a:solidFill>
            <a:srgbClr val="25A9DF"/>
          </a:solidFill>
        </p:spPr>
        <p:txBody>
          <a:bodyPr wrap="square" lIns="0" tIns="0" rIns="0" bIns="0" rtlCol="0">
            <a:noAutofit/>
          </a:bodyPr>
          <a:lstStyle/>
          <a:p>
            <a:endParaRPr sz="1763"/>
          </a:p>
        </p:txBody>
      </p:sp>
      <p:sp>
        <p:nvSpPr>
          <p:cNvPr id="116" name="object 116"/>
          <p:cNvSpPr/>
          <p:nvPr/>
        </p:nvSpPr>
        <p:spPr>
          <a:xfrm>
            <a:off x="740224" y="1716356"/>
            <a:ext cx="71307" cy="51731"/>
          </a:xfrm>
          <a:custGeom>
            <a:avLst/>
            <a:gdLst/>
            <a:ahLst/>
            <a:cxnLst/>
            <a:rect l="l" t="t" r="r" b="b"/>
            <a:pathLst>
              <a:path w="72793" h="52809">
                <a:moveTo>
                  <a:pt x="24264" y="20300"/>
                </a:moveTo>
                <a:lnTo>
                  <a:pt x="44485" y="0"/>
                </a:lnTo>
                <a:lnTo>
                  <a:pt x="28311" y="0"/>
                </a:lnTo>
                <a:lnTo>
                  <a:pt x="0" y="26404"/>
                </a:lnTo>
                <a:lnTo>
                  <a:pt x="28311" y="52809"/>
                </a:lnTo>
                <a:lnTo>
                  <a:pt x="44485" y="52809"/>
                </a:lnTo>
                <a:lnTo>
                  <a:pt x="24264" y="32508"/>
                </a:lnTo>
                <a:lnTo>
                  <a:pt x="72793" y="32508"/>
                </a:lnTo>
                <a:lnTo>
                  <a:pt x="72793" y="20300"/>
                </a:lnTo>
                <a:lnTo>
                  <a:pt x="24264" y="20300"/>
                </a:lnTo>
                <a:close/>
              </a:path>
            </a:pathLst>
          </a:custGeom>
          <a:solidFill>
            <a:srgbClr val="7BC9F0"/>
          </a:solidFill>
        </p:spPr>
        <p:txBody>
          <a:bodyPr wrap="square" lIns="0" tIns="0" rIns="0" bIns="0" rtlCol="0">
            <a:noAutofit/>
          </a:bodyPr>
          <a:lstStyle/>
          <a:p>
            <a:endParaRPr sz="1763"/>
          </a:p>
        </p:txBody>
      </p:sp>
      <p:sp>
        <p:nvSpPr>
          <p:cNvPr id="117" name="object 117"/>
          <p:cNvSpPr/>
          <p:nvPr/>
        </p:nvSpPr>
        <p:spPr>
          <a:xfrm>
            <a:off x="857093" y="1740218"/>
            <a:ext cx="1006261" cy="0"/>
          </a:xfrm>
          <a:custGeom>
            <a:avLst/>
            <a:gdLst/>
            <a:ahLst/>
            <a:cxnLst/>
            <a:rect l="l" t="t" r="r" b="b"/>
            <a:pathLst>
              <a:path w="1027225">
                <a:moveTo>
                  <a:pt x="0" y="0"/>
                </a:moveTo>
                <a:lnTo>
                  <a:pt x="1027225" y="0"/>
                </a:lnTo>
              </a:path>
            </a:pathLst>
          </a:custGeom>
          <a:ln w="58169">
            <a:solidFill>
              <a:srgbClr val="FFFFFF"/>
            </a:solidFill>
          </a:ln>
        </p:spPr>
        <p:txBody>
          <a:bodyPr wrap="square" lIns="0" tIns="0" rIns="0" bIns="0" rtlCol="0">
            <a:noAutofit/>
          </a:bodyPr>
          <a:lstStyle/>
          <a:p>
            <a:endParaRPr sz="1763"/>
          </a:p>
        </p:txBody>
      </p:sp>
      <p:sp>
        <p:nvSpPr>
          <p:cNvPr id="118" name="object 118"/>
          <p:cNvSpPr/>
          <p:nvPr/>
        </p:nvSpPr>
        <p:spPr>
          <a:xfrm>
            <a:off x="993765" y="2030871"/>
            <a:ext cx="584343" cy="256757"/>
          </a:xfrm>
          <a:custGeom>
            <a:avLst/>
            <a:gdLst/>
            <a:ahLst/>
            <a:cxnLst/>
            <a:rect l="l" t="t" r="r" b="b"/>
            <a:pathLst>
              <a:path w="596517" h="262106">
                <a:moveTo>
                  <a:pt x="442279" y="73158"/>
                </a:moveTo>
                <a:lnTo>
                  <a:pt x="436755" y="73158"/>
                </a:lnTo>
                <a:lnTo>
                  <a:pt x="412688" y="49621"/>
                </a:lnTo>
                <a:lnTo>
                  <a:pt x="394432" y="31766"/>
                </a:lnTo>
                <a:lnTo>
                  <a:pt x="381183" y="18808"/>
                </a:lnTo>
                <a:lnTo>
                  <a:pt x="372138" y="9962"/>
                </a:lnTo>
                <a:lnTo>
                  <a:pt x="366495" y="4444"/>
                </a:lnTo>
                <a:lnTo>
                  <a:pt x="363452" y="1467"/>
                </a:lnTo>
                <a:lnTo>
                  <a:pt x="361951" y="0"/>
                </a:lnTo>
                <a:lnTo>
                  <a:pt x="347797" y="36575"/>
                </a:lnTo>
                <a:lnTo>
                  <a:pt x="384206" y="73158"/>
                </a:lnTo>
                <a:lnTo>
                  <a:pt x="260846" y="73158"/>
                </a:lnTo>
                <a:lnTo>
                  <a:pt x="260846" y="111764"/>
                </a:lnTo>
                <a:lnTo>
                  <a:pt x="521720" y="111764"/>
                </a:lnTo>
                <a:lnTo>
                  <a:pt x="535608" y="116445"/>
                </a:lnTo>
                <a:lnTo>
                  <a:pt x="541809" y="128015"/>
                </a:lnTo>
                <a:lnTo>
                  <a:pt x="541920" y="130055"/>
                </a:lnTo>
                <a:lnTo>
                  <a:pt x="541920" y="186952"/>
                </a:lnTo>
                <a:lnTo>
                  <a:pt x="519672" y="186952"/>
                </a:lnTo>
                <a:lnTo>
                  <a:pt x="513613" y="174661"/>
                </a:lnTo>
                <a:lnTo>
                  <a:pt x="505160" y="164207"/>
                </a:lnTo>
                <a:lnTo>
                  <a:pt x="494673" y="156040"/>
                </a:lnTo>
                <a:lnTo>
                  <a:pt x="482508" y="150612"/>
                </a:lnTo>
                <a:lnTo>
                  <a:pt x="469021" y="148373"/>
                </a:lnTo>
                <a:lnTo>
                  <a:pt x="467124" y="148340"/>
                </a:lnTo>
                <a:lnTo>
                  <a:pt x="479846" y="192147"/>
                </a:lnTo>
                <a:lnTo>
                  <a:pt x="485272" y="204807"/>
                </a:lnTo>
                <a:lnTo>
                  <a:pt x="485277" y="205243"/>
                </a:lnTo>
                <a:lnTo>
                  <a:pt x="480128" y="218055"/>
                </a:lnTo>
                <a:lnTo>
                  <a:pt x="467558" y="223530"/>
                </a:lnTo>
                <a:lnTo>
                  <a:pt x="467124" y="223535"/>
                </a:lnTo>
                <a:lnTo>
                  <a:pt x="480762" y="260366"/>
                </a:lnTo>
                <a:lnTo>
                  <a:pt x="493127" y="255342"/>
                </a:lnTo>
                <a:lnTo>
                  <a:pt x="503861" y="247519"/>
                </a:lnTo>
                <a:lnTo>
                  <a:pt x="512608" y="237347"/>
                </a:lnTo>
                <a:lnTo>
                  <a:pt x="519011" y="225276"/>
                </a:lnTo>
                <a:lnTo>
                  <a:pt x="519672" y="223535"/>
                </a:lnTo>
                <a:lnTo>
                  <a:pt x="596517" y="223535"/>
                </a:lnTo>
                <a:lnTo>
                  <a:pt x="596517" y="186952"/>
                </a:lnTo>
                <a:lnTo>
                  <a:pt x="578295" y="186952"/>
                </a:lnTo>
                <a:lnTo>
                  <a:pt x="578295" y="130055"/>
                </a:lnTo>
                <a:lnTo>
                  <a:pt x="576538" y="115974"/>
                </a:lnTo>
                <a:lnTo>
                  <a:pt x="571523" y="103037"/>
                </a:lnTo>
                <a:lnTo>
                  <a:pt x="563632" y="91775"/>
                </a:lnTo>
                <a:lnTo>
                  <a:pt x="553249" y="82720"/>
                </a:lnTo>
                <a:lnTo>
                  <a:pt x="540757" y="76403"/>
                </a:lnTo>
                <a:lnTo>
                  <a:pt x="526539" y="73356"/>
                </a:lnTo>
                <a:lnTo>
                  <a:pt x="521720" y="73158"/>
                </a:lnTo>
                <a:lnTo>
                  <a:pt x="442279" y="73158"/>
                </a:lnTo>
                <a:close/>
              </a:path>
              <a:path w="596517" h="262106">
                <a:moveTo>
                  <a:pt x="129514" y="262106"/>
                </a:moveTo>
                <a:lnTo>
                  <a:pt x="118702" y="218352"/>
                </a:lnTo>
                <a:lnTo>
                  <a:pt x="113245" y="205719"/>
                </a:lnTo>
                <a:lnTo>
                  <a:pt x="113239" y="205243"/>
                </a:lnTo>
                <a:lnTo>
                  <a:pt x="118393" y="192445"/>
                </a:lnTo>
                <a:lnTo>
                  <a:pt x="130966" y="186958"/>
                </a:lnTo>
                <a:lnTo>
                  <a:pt x="131440" y="186952"/>
                </a:lnTo>
                <a:lnTo>
                  <a:pt x="144173" y="192136"/>
                </a:lnTo>
                <a:lnTo>
                  <a:pt x="131440" y="148339"/>
                </a:lnTo>
                <a:lnTo>
                  <a:pt x="117786" y="150113"/>
                </a:lnTo>
                <a:lnTo>
                  <a:pt x="105409" y="155134"/>
                </a:lnTo>
                <a:lnTo>
                  <a:pt x="94668" y="162953"/>
                </a:lnTo>
                <a:lnTo>
                  <a:pt x="85922" y="173118"/>
                </a:lnTo>
                <a:lnTo>
                  <a:pt x="79528" y="185180"/>
                </a:lnTo>
                <a:lnTo>
                  <a:pt x="78857" y="186952"/>
                </a:lnTo>
                <a:lnTo>
                  <a:pt x="84901" y="235821"/>
                </a:lnTo>
                <a:lnTo>
                  <a:pt x="93347" y="246271"/>
                </a:lnTo>
                <a:lnTo>
                  <a:pt x="103837" y="254435"/>
                </a:lnTo>
                <a:lnTo>
                  <a:pt x="116012" y="259863"/>
                </a:lnTo>
                <a:lnTo>
                  <a:pt x="129514" y="262106"/>
                </a:lnTo>
                <a:close/>
              </a:path>
              <a:path w="596517" h="262106">
                <a:moveTo>
                  <a:pt x="326847" y="223535"/>
                </a:moveTo>
                <a:lnTo>
                  <a:pt x="414507" y="223535"/>
                </a:lnTo>
                <a:lnTo>
                  <a:pt x="420562" y="235816"/>
                </a:lnTo>
                <a:lnTo>
                  <a:pt x="429008" y="246263"/>
                </a:lnTo>
                <a:lnTo>
                  <a:pt x="439493" y="254426"/>
                </a:lnTo>
                <a:lnTo>
                  <a:pt x="451663" y="259857"/>
                </a:lnTo>
                <a:lnTo>
                  <a:pt x="465166" y="262105"/>
                </a:lnTo>
                <a:lnTo>
                  <a:pt x="467124" y="262141"/>
                </a:lnTo>
                <a:lnTo>
                  <a:pt x="480762" y="260366"/>
                </a:lnTo>
                <a:lnTo>
                  <a:pt x="467124" y="223535"/>
                </a:lnTo>
                <a:lnTo>
                  <a:pt x="454361" y="218358"/>
                </a:lnTo>
                <a:lnTo>
                  <a:pt x="448909" y="205736"/>
                </a:lnTo>
                <a:lnTo>
                  <a:pt x="448902" y="205243"/>
                </a:lnTo>
                <a:lnTo>
                  <a:pt x="454041" y="192450"/>
                </a:lnTo>
                <a:lnTo>
                  <a:pt x="466631" y="186959"/>
                </a:lnTo>
                <a:lnTo>
                  <a:pt x="467124" y="186952"/>
                </a:lnTo>
                <a:lnTo>
                  <a:pt x="479846" y="192147"/>
                </a:lnTo>
                <a:lnTo>
                  <a:pt x="467124" y="148340"/>
                </a:lnTo>
                <a:lnTo>
                  <a:pt x="453465" y="150112"/>
                </a:lnTo>
                <a:lnTo>
                  <a:pt x="441089" y="155129"/>
                </a:lnTo>
                <a:lnTo>
                  <a:pt x="430350" y="162941"/>
                </a:lnTo>
                <a:lnTo>
                  <a:pt x="421600" y="173099"/>
                </a:lnTo>
                <a:lnTo>
                  <a:pt x="415192" y="185153"/>
                </a:lnTo>
                <a:lnTo>
                  <a:pt x="414507" y="186952"/>
                </a:lnTo>
                <a:lnTo>
                  <a:pt x="260846" y="186952"/>
                </a:lnTo>
                <a:lnTo>
                  <a:pt x="260846" y="36575"/>
                </a:lnTo>
                <a:lnTo>
                  <a:pt x="347797" y="36575"/>
                </a:lnTo>
                <a:lnTo>
                  <a:pt x="361951" y="0"/>
                </a:lnTo>
                <a:lnTo>
                  <a:pt x="230190" y="0"/>
                </a:lnTo>
                <a:lnTo>
                  <a:pt x="224451" y="36575"/>
                </a:lnTo>
                <a:lnTo>
                  <a:pt x="224451" y="73158"/>
                </a:lnTo>
                <a:lnTo>
                  <a:pt x="157721" y="73158"/>
                </a:lnTo>
                <a:lnTo>
                  <a:pt x="194123" y="36575"/>
                </a:lnTo>
                <a:lnTo>
                  <a:pt x="179962" y="0"/>
                </a:lnTo>
                <a:lnTo>
                  <a:pt x="155821" y="23623"/>
                </a:lnTo>
                <a:lnTo>
                  <a:pt x="137354" y="41693"/>
                </a:lnTo>
                <a:lnTo>
                  <a:pt x="123800" y="54956"/>
                </a:lnTo>
                <a:lnTo>
                  <a:pt x="114400" y="64154"/>
                </a:lnTo>
                <a:lnTo>
                  <a:pt x="108394" y="70031"/>
                </a:lnTo>
                <a:lnTo>
                  <a:pt x="105022" y="73331"/>
                </a:lnTo>
                <a:lnTo>
                  <a:pt x="103523" y="74798"/>
                </a:lnTo>
                <a:lnTo>
                  <a:pt x="103125" y="75188"/>
                </a:lnTo>
                <a:lnTo>
                  <a:pt x="89371" y="77495"/>
                </a:lnTo>
                <a:lnTo>
                  <a:pt x="76292" y="81848"/>
                </a:lnTo>
                <a:lnTo>
                  <a:pt x="64075" y="88074"/>
                </a:lnTo>
                <a:lnTo>
                  <a:pt x="52904" y="95997"/>
                </a:lnTo>
                <a:lnTo>
                  <a:pt x="42964" y="105445"/>
                </a:lnTo>
                <a:lnTo>
                  <a:pt x="34440" y="116245"/>
                </a:lnTo>
                <a:lnTo>
                  <a:pt x="27517" y="128222"/>
                </a:lnTo>
                <a:lnTo>
                  <a:pt x="22380" y="141203"/>
                </a:lnTo>
                <a:lnTo>
                  <a:pt x="19214" y="155015"/>
                </a:lnTo>
                <a:lnTo>
                  <a:pt x="18200" y="168668"/>
                </a:lnTo>
                <a:lnTo>
                  <a:pt x="18200" y="186952"/>
                </a:lnTo>
                <a:lnTo>
                  <a:pt x="0" y="186952"/>
                </a:lnTo>
                <a:lnTo>
                  <a:pt x="0" y="223535"/>
                </a:lnTo>
                <a:lnTo>
                  <a:pt x="78857" y="223535"/>
                </a:lnTo>
                <a:lnTo>
                  <a:pt x="84901" y="235821"/>
                </a:lnTo>
                <a:lnTo>
                  <a:pt x="78857" y="186952"/>
                </a:lnTo>
                <a:lnTo>
                  <a:pt x="56616" y="186952"/>
                </a:lnTo>
                <a:lnTo>
                  <a:pt x="56616" y="168668"/>
                </a:lnTo>
                <a:lnTo>
                  <a:pt x="58374" y="153910"/>
                </a:lnTo>
                <a:lnTo>
                  <a:pt x="63392" y="140759"/>
                </a:lnTo>
                <a:lnTo>
                  <a:pt x="71285" y="129601"/>
                </a:lnTo>
                <a:lnTo>
                  <a:pt x="81670" y="120823"/>
                </a:lnTo>
                <a:lnTo>
                  <a:pt x="94161" y="114811"/>
                </a:lnTo>
                <a:lnTo>
                  <a:pt x="108375" y="111950"/>
                </a:lnTo>
                <a:lnTo>
                  <a:pt x="113239" y="111764"/>
                </a:lnTo>
                <a:lnTo>
                  <a:pt x="224451" y="111764"/>
                </a:lnTo>
                <a:lnTo>
                  <a:pt x="224451" y="186952"/>
                </a:lnTo>
                <a:lnTo>
                  <a:pt x="184009" y="186952"/>
                </a:lnTo>
                <a:lnTo>
                  <a:pt x="177965" y="174664"/>
                </a:lnTo>
                <a:lnTo>
                  <a:pt x="169519" y="164211"/>
                </a:lnTo>
                <a:lnTo>
                  <a:pt x="159030" y="156045"/>
                </a:lnTo>
                <a:lnTo>
                  <a:pt x="146857" y="150616"/>
                </a:lnTo>
                <a:lnTo>
                  <a:pt x="133357" y="148373"/>
                </a:lnTo>
                <a:lnTo>
                  <a:pt x="131440" y="148339"/>
                </a:lnTo>
                <a:lnTo>
                  <a:pt x="144173" y="192136"/>
                </a:lnTo>
                <a:lnTo>
                  <a:pt x="149628" y="204773"/>
                </a:lnTo>
                <a:lnTo>
                  <a:pt x="149634" y="205243"/>
                </a:lnTo>
                <a:lnTo>
                  <a:pt x="144478" y="218044"/>
                </a:lnTo>
                <a:lnTo>
                  <a:pt x="131907" y="223529"/>
                </a:lnTo>
                <a:lnTo>
                  <a:pt x="131440" y="223535"/>
                </a:lnTo>
                <a:lnTo>
                  <a:pt x="118702" y="218352"/>
                </a:lnTo>
                <a:lnTo>
                  <a:pt x="129514" y="262106"/>
                </a:lnTo>
                <a:lnTo>
                  <a:pt x="131440" y="262141"/>
                </a:lnTo>
                <a:lnTo>
                  <a:pt x="145093" y="260367"/>
                </a:lnTo>
                <a:lnTo>
                  <a:pt x="157468" y="255345"/>
                </a:lnTo>
                <a:lnTo>
                  <a:pt x="168207" y="247525"/>
                </a:lnTo>
                <a:lnTo>
                  <a:pt x="176952" y="237358"/>
                </a:lnTo>
                <a:lnTo>
                  <a:pt x="183343" y="225292"/>
                </a:lnTo>
                <a:lnTo>
                  <a:pt x="184009" y="223535"/>
                </a:lnTo>
                <a:lnTo>
                  <a:pt x="326847" y="223535"/>
                </a:lnTo>
                <a:close/>
              </a:path>
              <a:path w="596517" h="262106">
                <a:moveTo>
                  <a:pt x="194123" y="36575"/>
                </a:moveTo>
                <a:lnTo>
                  <a:pt x="224451" y="36575"/>
                </a:lnTo>
                <a:lnTo>
                  <a:pt x="230190" y="0"/>
                </a:lnTo>
                <a:lnTo>
                  <a:pt x="179962" y="0"/>
                </a:lnTo>
                <a:lnTo>
                  <a:pt x="194123" y="36575"/>
                </a:lnTo>
                <a:close/>
              </a:path>
            </a:pathLst>
          </a:custGeom>
          <a:solidFill>
            <a:srgbClr val="FFFFFF"/>
          </a:solidFill>
        </p:spPr>
        <p:txBody>
          <a:bodyPr wrap="square" lIns="0" tIns="0" rIns="0" bIns="0" rtlCol="0">
            <a:noAutofit/>
          </a:bodyPr>
          <a:lstStyle/>
          <a:p>
            <a:endParaRPr sz="1763"/>
          </a:p>
        </p:txBody>
      </p:sp>
      <p:sp>
        <p:nvSpPr>
          <p:cNvPr id="119" name="object 119"/>
          <p:cNvSpPr/>
          <p:nvPr/>
        </p:nvSpPr>
        <p:spPr>
          <a:xfrm>
            <a:off x="2501389" y="1660939"/>
            <a:ext cx="1211430" cy="877637"/>
          </a:xfrm>
          <a:custGeom>
            <a:avLst/>
            <a:gdLst/>
            <a:ahLst/>
            <a:cxnLst/>
            <a:rect l="l" t="t" r="r" b="b"/>
            <a:pathLst>
              <a:path w="1236668" h="895921">
                <a:moveTo>
                  <a:pt x="0" y="438292"/>
                </a:moveTo>
                <a:lnTo>
                  <a:pt x="0" y="849858"/>
                </a:lnTo>
                <a:lnTo>
                  <a:pt x="12129" y="889732"/>
                </a:lnTo>
                <a:lnTo>
                  <a:pt x="1190057" y="895921"/>
                </a:lnTo>
                <a:lnTo>
                  <a:pt x="1208710" y="894749"/>
                </a:lnTo>
                <a:lnTo>
                  <a:pt x="1236640" y="853205"/>
                </a:lnTo>
                <a:lnTo>
                  <a:pt x="1236668" y="46018"/>
                </a:lnTo>
                <a:lnTo>
                  <a:pt x="1235478" y="26719"/>
                </a:lnTo>
                <a:lnTo>
                  <a:pt x="1193392" y="20"/>
                </a:lnTo>
                <a:lnTo>
                  <a:pt x="46581" y="0"/>
                </a:lnTo>
                <a:lnTo>
                  <a:pt x="27035" y="965"/>
                </a:lnTo>
                <a:lnTo>
                  <a:pt x="19" y="42560"/>
                </a:lnTo>
                <a:lnTo>
                  <a:pt x="0" y="438292"/>
                </a:lnTo>
                <a:close/>
              </a:path>
            </a:pathLst>
          </a:custGeom>
          <a:solidFill>
            <a:srgbClr val="CCCCCC"/>
          </a:solidFill>
        </p:spPr>
        <p:txBody>
          <a:bodyPr wrap="square" lIns="0" tIns="0" rIns="0" bIns="0" rtlCol="0">
            <a:noAutofit/>
          </a:bodyPr>
          <a:lstStyle/>
          <a:p>
            <a:endParaRPr sz="1763"/>
          </a:p>
        </p:txBody>
      </p:sp>
      <p:sp>
        <p:nvSpPr>
          <p:cNvPr id="120" name="object 120"/>
          <p:cNvSpPr/>
          <p:nvPr/>
        </p:nvSpPr>
        <p:spPr>
          <a:xfrm>
            <a:off x="2531056" y="1825627"/>
            <a:ext cx="1152111" cy="672340"/>
          </a:xfrm>
          <a:custGeom>
            <a:avLst/>
            <a:gdLst/>
            <a:ahLst/>
            <a:cxnLst/>
            <a:rect l="l" t="t" r="r" b="b"/>
            <a:pathLst>
              <a:path w="1176113" h="686347">
                <a:moveTo>
                  <a:pt x="0" y="686347"/>
                </a:moveTo>
                <a:lnTo>
                  <a:pt x="1176113" y="686347"/>
                </a:lnTo>
                <a:lnTo>
                  <a:pt x="1176113" y="0"/>
                </a:lnTo>
                <a:lnTo>
                  <a:pt x="0" y="0"/>
                </a:lnTo>
                <a:lnTo>
                  <a:pt x="0" y="686347"/>
                </a:lnTo>
                <a:close/>
              </a:path>
            </a:pathLst>
          </a:custGeom>
          <a:solidFill>
            <a:srgbClr val="6F2F9F"/>
          </a:solidFill>
        </p:spPr>
        <p:txBody>
          <a:bodyPr wrap="square" lIns="0" tIns="0" rIns="0" bIns="0" rtlCol="0">
            <a:noAutofit/>
          </a:bodyPr>
          <a:lstStyle/>
          <a:p>
            <a:endParaRPr sz="1763"/>
          </a:p>
        </p:txBody>
      </p:sp>
      <p:sp>
        <p:nvSpPr>
          <p:cNvPr id="121" name="object 121"/>
          <p:cNvSpPr/>
          <p:nvPr/>
        </p:nvSpPr>
        <p:spPr>
          <a:xfrm>
            <a:off x="2533331" y="1683478"/>
            <a:ext cx="120914" cy="119580"/>
          </a:xfrm>
          <a:custGeom>
            <a:avLst/>
            <a:gdLst/>
            <a:ahLst/>
            <a:cxnLst/>
            <a:rect l="l" t="t" r="r" b="b"/>
            <a:pathLst>
              <a:path w="123433" h="122071">
                <a:moveTo>
                  <a:pt x="123433" y="59854"/>
                </a:moveTo>
                <a:lnTo>
                  <a:pt x="122535" y="49889"/>
                </a:lnTo>
                <a:lnTo>
                  <a:pt x="118398" y="36567"/>
                </a:lnTo>
                <a:lnTo>
                  <a:pt x="111321" y="24633"/>
                </a:lnTo>
                <a:lnTo>
                  <a:pt x="101768" y="14547"/>
                </a:lnTo>
                <a:lnTo>
                  <a:pt x="90200" y="6773"/>
                </a:lnTo>
                <a:lnTo>
                  <a:pt x="77083" y="1770"/>
                </a:lnTo>
                <a:lnTo>
                  <a:pt x="62878" y="0"/>
                </a:lnTo>
                <a:lnTo>
                  <a:pt x="50420" y="1198"/>
                </a:lnTo>
                <a:lnTo>
                  <a:pt x="36655" y="5537"/>
                </a:lnTo>
                <a:lnTo>
                  <a:pt x="24509" y="12632"/>
                </a:lnTo>
                <a:lnTo>
                  <a:pt x="14377" y="22046"/>
                </a:lnTo>
                <a:lnTo>
                  <a:pt x="6652" y="33344"/>
                </a:lnTo>
                <a:lnTo>
                  <a:pt x="1728" y="46092"/>
                </a:lnTo>
                <a:lnTo>
                  <a:pt x="0" y="59854"/>
                </a:lnTo>
                <a:lnTo>
                  <a:pt x="1554" y="73777"/>
                </a:lnTo>
                <a:lnTo>
                  <a:pt x="6203" y="87005"/>
                </a:lnTo>
                <a:lnTo>
                  <a:pt x="13577" y="98650"/>
                </a:lnTo>
                <a:lnTo>
                  <a:pt x="23304" y="108346"/>
                </a:lnTo>
                <a:lnTo>
                  <a:pt x="35012" y="115726"/>
                </a:lnTo>
                <a:lnTo>
                  <a:pt x="48327" y="120424"/>
                </a:lnTo>
                <a:lnTo>
                  <a:pt x="62878" y="122071"/>
                </a:lnTo>
                <a:lnTo>
                  <a:pt x="74594" y="120868"/>
                </a:lnTo>
                <a:lnTo>
                  <a:pt x="87696" y="116491"/>
                </a:lnTo>
                <a:lnTo>
                  <a:pt x="99396" y="109280"/>
                </a:lnTo>
                <a:lnTo>
                  <a:pt x="109256" y="99623"/>
                </a:lnTo>
                <a:lnTo>
                  <a:pt x="116841" y="87907"/>
                </a:lnTo>
                <a:lnTo>
                  <a:pt x="121712" y="74522"/>
                </a:lnTo>
                <a:lnTo>
                  <a:pt x="123433" y="59854"/>
                </a:lnTo>
                <a:close/>
              </a:path>
            </a:pathLst>
          </a:custGeom>
          <a:solidFill>
            <a:srgbClr val="25A9DF"/>
          </a:solidFill>
        </p:spPr>
        <p:txBody>
          <a:bodyPr wrap="square" lIns="0" tIns="0" rIns="0" bIns="0" rtlCol="0">
            <a:noAutofit/>
          </a:bodyPr>
          <a:lstStyle/>
          <a:p>
            <a:endParaRPr sz="1763"/>
          </a:p>
        </p:txBody>
      </p:sp>
      <p:sp>
        <p:nvSpPr>
          <p:cNvPr id="122" name="object 122"/>
          <p:cNvSpPr/>
          <p:nvPr/>
        </p:nvSpPr>
        <p:spPr>
          <a:xfrm>
            <a:off x="2558431" y="1717363"/>
            <a:ext cx="70728" cy="51855"/>
          </a:xfrm>
          <a:custGeom>
            <a:avLst/>
            <a:gdLst/>
            <a:ahLst/>
            <a:cxnLst/>
            <a:rect l="l" t="t" r="r" b="b"/>
            <a:pathLst>
              <a:path w="72202" h="52935">
                <a:moveTo>
                  <a:pt x="25615" y="20676"/>
                </a:moveTo>
                <a:lnTo>
                  <a:pt x="46578" y="0"/>
                </a:lnTo>
                <a:lnTo>
                  <a:pt x="27949" y="0"/>
                </a:lnTo>
                <a:lnTo>
                  <a:pt x="0" y="27595"/>
                </a:lnTo>
                <a:lnTo>
                  <a:pt x="27949" y="52935"/>
                </a:lnTo>
                <a:lnTo>
                  <a:pt x="46578" y="52935"/>
                </a:lnTo>
                <a:lnTo>
                  <a:pt x="25615" y="32181"/>
                </a:lnTo>
                <a:lnTo>
                  <a:pt x="72202" y="32181"/>
                </a:lnTo>
                <a:lnTo>
                  <a:pt x="72202" y="20676"/>
                </a:lnTo>
                <a:lnTo>
                  <a:pt x="25615" y="20676"/>
                </a:lnTo>
                <a:close/>
              </a:path>
            </a:pathLst>
          </a:custGeom>
          <a:solidFill>
            <a:srgbClr val="7BC9F0"/>
          </a:solidFill>
        </p:spPr>
        <p:txBody>
          <a:bodyPr wrap="square" lIns="0" tIns="0" rIns="0" bIns="0" rtlCol="0">
            <a:noAutofit/>
          </a:bodyPr>
          <a:lstStyle/>
          <a:p>
            <a:endParaRPr sz="1763"/>
          </a:p>
        </p:txBody>
      </p:sp>
      <p:sp>
        <p:nvSpPr>
          <p:cNvPr id="123" name="object 123"/>
          <p:cNvSpPr/>
          <p:nvPr/>
        </p:nvSpPr>
        <p:spPr>
          <a:xfrm>
            <a:off x="2672501" y="1739860"/>
            <a:ext cx="1012976" cy="0"/>
          </a:xfrm>
          <a:custGeom>
            <a:avLst/>
            <a:gdLst/>
            <a:ahLst/>
            <a:cxnLst/>
            <a:rect l="l" t="t" r="r" b="b"/>
            <a:pathLst>
              <a:path w="1034080">
                <a:moveTo>
                  <a:pt x="0" y="0"/>
                </a:moveTo>
                <a:lnTo>
                  <a:pt x="1034080" y="0"/>
                </a:lnTo>
              </a:path>
            </a:pathLst>
          </a:custGeom>
          <a:ln w="56546">
            <a:solidFill>
              <a:srgbClr val="FFFFFF"/>
            </a:solidFill>
          </a:ln>
        </p:spPr>
        <p:txBody>
          <a:bodyPr wrap="square" lIns="0" tIns="0" rIns="0" bIns="0" rtlCol="0">
            <a:noAutofit/>
          </a:bodyPr>
          <a:lstStyle/>
          <a:p>
            <a:endParaRPr sz="1763"/>
          </a:p>
        </p:txBody>
      </p:sp>
      <p:sp>
        <p:nvSpPr>
          <p:cNvPr id="124" name="object 124"/>
          <p:cNvSpPr/>
          <p:nvPr/>
        </p:nvSpPr>
        <p:spPr>
          <a:xfrm>
            <a:off x="2966800" y="2008371"/>
            <a:ext cx="321686" cy="304584"/>
          </a:xfrm>
          <a:custGeom>
            <a:avLst/>
            <a:gdLst/>
            <a:ahLst/>
            <a:cxnLst/>
            <a:rect l="l" t="t" r="r" b="b"/>
            <a:pathLst>
              <a:path w="328388" h="310930">
                <a:moveTo>
                  <a:pt x="25616" y="0"/>
                </a:moveTo>
                <a:lnTo>
                  <a:pt x="25616" y="78315"/>
                </a:lnTo>
                <a:lnTo>
                  <a:pt x="25616" y="25340"/>
                </a:lnTo>
                <a:lnTo>
                  <a:pt x="314397" y="25340"/>
                </a:lnTo>
                <a:lnTo>
                  <a:pt x="25616" y="0"/>
                </a:lnTo>
                <a:close/>
              </a:path>
              <a:path w="328388" h="310930">
                <a:moveTo>
                  <a:pt x="314397" y="285597"/>
                </a:moveTo>
                <a:lnTo>
                  <a:pt x="25616" y="285597"/>
                </a:lnTo>
                <a:lnTo>
                  <a:pt x="314397" y="310930"/>
                </a:lnTo>
                <a:lnTo>
                  <a:pt x="328388" y="310930"/>
                </a:lnTo>
                <a:lnTo>
                  <a:pt x="314397" y="103648"/>
                </a:lnTo>
                <a:lnTo>
                  <a:pt x="314397" y="285597"/>
                </a:lnTo>
                <a:close/>
              </a:path>
              <a:path w="328388" h="310930">
                <a:moveTo>
                  <a:pt x="13975" y="310930"/>
                </a:moveTo>
                <a:lnTo>
                  <a:pt x="314397" y="310930"/>
                </a:lnTo>
                <a:lnTo>
                  <a:pt x="25616" y="285597"/>
                </a:lnTo>
                <a:lnTo>
                  <a:pt x="25616" y="103648"/>
                </a:lnTo>
                <a:lnTo>
                  <a:pt x="314397" y="103648"/>
                </a:lnTo>
                <a:lnTo>
                  <a:pt x="328388" y="310930"/>
                </a:lnTo>
                <a:lnTo>
                  <a:pt x="340021" y="310930"/>
                </a:lnTo>
                <a:lnTo>
                  <a:pt x="340021" y="0"/>
                </a:lnTo>
                <a:lnTo>
                  <a:pt x="25616" y="0"/>
                </a:lnTo>
                <a:lnTo>
                  <a:pt x="314397" y="25340"/>
                </a:lnTo>
                <a:lnTo>
                  <a:pt x="314397" y="78315"/>
                </a:lnTo>
                <a:lnTo>
                  <a:pt x="25616" y="78315"/>
                </a:lnTo>
                <a:lnTo>
                  <a:pt x="25616" y="0"/>
                </a:lnTo>
                <a:lnTo>
                  <a:pt x="0" y="0"/>
                </a:lnTo>
                <a:lnTo>
                  <a:pt x="0" y="310930"/>
                </a:lnTo>
                <a:lnTo>
                  <a:pt x="13975" y="310930"/>
                </a:lnTo>
                <a:close/>
              </a:path>
            </a:pathLst>
          </a:custGeom>
          <a:solidFill>
            <a:srgbClr val="FFFFFF"/>
          </a:solidFill>
        </p:spPr>
        <p:txBody>
          <a:bodyPr wrap="square" lIns="0" tIns="0" rIns="0" bIns="0" rtlCol="0">
            <a:noAutofit/>
          </a:bodyPr>
          <a:lstStyle/>
          <a:p>
            <a:endParaRPr sz="1763"/>
          </a:p>
        </p:txBody>
      </p:sp>
      <p:sp>
        <p:nvSpPr>
          <p:cNvPr id="125" name="object 125"/>
          <p:cNvSpPr/>
          <p:nvPr/>
        </p:nvSpPr>
        <p:spPr>
          <a:xfrm>
            <a:off x="2966800" y="2008371"/>
            <a:ext cx="333082" cy="304584"/>
          </a:xfrm>
          <a:custGeom>
            <a:avLst/>
            <a:gdLst/>
            <a:ahLst/>
            <a:cxnLst/>
            <a:rect l="l" t="t" r="r" b="b"/>
            <a:pathLst>
              <a:path w="340021" h="310930">
                <a:moveTo>
                  <a:pt x="0" y="310930"/>
                </a:moveTo>
                <a:lnTo>
                  <a:pt x="340021" y="310930"/>
                </a:lnTo>
                <a:lnTo>
                  <a:pt x="340021" y="0"/>
                </a:lnTo>
                <a:lnTo>
                  <a:pt x="0" y="0"/>
                </a:lnTo>
                <a:lnTo>
                  <a:pt x="0" y="310930"/>
                </a:lnTo>
                <a:close/>
              </a:path>
            </a:pathLst>
          </a:custGeom>
          <a:solidFill>
            <a:srgbClr val="FFFFFF"/>
          </a:solidFill>
        </p:spPr>
        <p:txBody>
          <a:bodyPr wrap="square" lIns="0" tIns="0" rIns="0" bIns="0" rtlCol="0">
            <a:noAutofit/>
          </a:bodyPr>
          <a:lstStyle/>
          <a:p>
            <a:endParaRPr sz="1763"/>
          </a:p>
        </p:txBody>
      </p:sp>
      <p:sp>
        <p:nvSpPr>
          <p:cNvPr id="126" name="object 126"/>
          <p:cNvSpPr/>
          <p:nvPr/>
        </p:nvSpPr>
        <p:spPr>
          <a:xfrm>
            <a:off x="2991894" y="2109904"/>
            <a:ext cx="282888" cy="178235"/>
          </a:xfrm>
          <a:custGeom>
            <a:avLst/>
            <a:gdLst/>
            <a:ahLst/>
            <a:cxnLst/>
            <a:rect l="l" t="t" r="r" b="b"/>
            <a:pathLst>
              <a:path w="288781" h="181948">
                <a:moveTo>
                  <a:pt x="0" y="181948"/>
                </a:moveTo>
                <a:lnTo>
                  <a:pt x="288781" y="181948"/>
                </a:lnTo>
                <a:lnTo>
                  <a:pt x="288781" y="0"/>
                </a:lnTo>
                <a:lnTo>
                  <a:pt x="0" y="0"/>
                </a:lnTo>
                <a:lnTo>
                  <a:pt x="0" y="181948"/>
                </a:lnTo>
                <a:close/>
              </a:path>
            </a:pathLst>
          </a:custGeom>
          <a:solidFill>
            <a:srgbClr val="FFFFFF"/>
          </a:solidFill>
        </p:spPr>
        <p:txBody>
          <a:bodyPr wrap="square" lIns="0" tIns="0" rIns="0" bIns="0" rtlCol="0">
            <a:noAutofit/>
          </a:bodyPr>
          <a:lstStyle/>
          <a:p>
            <a:endParaRPr sz="1763"/>
          </a:p>
        </p:txBody>
      </p:sp>
      <p:sp>
        <p:nvSpPr>
          <p:cNvPr id="127" name="object 127"/>
          <p:cNvSpPr/>
          <p:nvPr/>
        </p:nvSpPr>
        <p:spPr>
          <a:xfrm>
            <a:off x="2991894" y="2059142"/>
            <a:ext cx="282888" cy="0"/>
          </a:xfrm>
          <a:custGeom>
            <a:avLst/>
            <a:gdLst/>
            <a:ahLst/>
            <a:cxnLst/>
            <a:rect l="l" t="t" r="r" b="b"/>
            <a:pathLst>
              <a:path w="288781">
                <a:moveTo>
                  <a:pt x="0" y="0"/>
                </a:moveTo>
                <a:lnTo>
                  <a:pt x="288781" y="0"/>
                </a:lnTo>
              </a:path>
            </a:pathLst>
          </a:custGeom>
          <a:ln w="54244">
            <a:solidFill>
              <a:srgbClr val="FFFFFF"/>
            </a:solidFill>
          </a:ln>
        </p:spPr>
        <p:txBody>
          <a:bodyPr wrap="square" lIns="0" tIns="0" rIns="0" bIns="0" rtlCol="0">
            <a:noAutofit/>
          </a:bodyPr>
          <a:lstStyle/>
          <a:p>
            <a:endParaRPr sz="1763"/>
          </a:p>
        </p:txBody>
      </p:sp>
      <p:sp>
        <p:nvSpPr>
          <p:cNvPr id="128" name="object 128"/>
          <p:cNvSpPr/>
          <p:nvPr/>
        </p:nvSpPr>
        <p:spPr>
          <a:xfrm>
            <a:off x="3121942" y="2249786"/>
            <a:ext cx="25095" cy="0"/>
          </a:xfrm>
          <a:custGeom>
            <a:avLst/>
            <a:gdLst/>
            <a:ahLst/>
            <a:cxnLst/>
            <a:rect l="l" t="t" r="r" b="b"/>
            <a:pathLst>
              <a:path w="25618">
                <a:moveTo>
                  <a:pt x="0" y="0"/>
                </a:moveTo>
                <a:lnTo>
                  <a:pt x="25618" y="0"/>
                </a:lnTo>
              </a:path>
            </a:pathLst>
          </a:custGeom>
          <a:ln w="28909">
            <a:solidFill>
              <a:srgbClr val="FFFFFF"/>
            </a:solidFill>
          </a:ln>
        </p:spPr>
        <p:txBody>
          <a:bodyPr wrap="square" lIns="0" tIns="0" rIns="0" bIns="0" rtlCol="0">
            <a:noAutofit/>
          </a:bodyPr>
          <a:lstStyle/>
          <a:p>
            <a:endParaRPr sz="1763"/>
          </a:p>
        </p:txBody>
      </p:sp>
      <p:sp>
        <p:nvSpPr>
          <p:cNvPr id="129" name="object 129"/>
          <p:cNvSpPr/>
          <p:nvPr/>
        </p:nvSpPr>
        <p:spPr>
          <a:xfrm>
            <a:off x="3044367" y="2249786"/>
            <a:ext cx="25095" cy="0"/>
          </a:xfrm>
          <a:custGeom>
            <a:avLst/>
            <a:gdLst/>
            <a:ahLst/>
            <a:cxnLst/>
            <a:rect l="l" t="t" r="r" b="b"/>
            <a:pathLst>
              <a:path w="25618">
                <a:moveTo>
                  <a:pt x="0" y="0"/>
                </a:moveTo>
                <a:lnTo>
                  <a:pt x="25618" y="0"/>
                </a:lnTo>
              </a:path>
            </a:pathLst>
          </a:custGeom>
          <a:ln w="28909">
            <a:solidFill>
              <a:srgbClr val="FFFFFF"/>
            </a:solidFill>
          </a:ln>
        </p:spPr>
        <p:txBody>
          <a:bodyPr wrap="square" lIns="0" tIns="0" rIns="0" bIns="0" rtlCol="0">
            <a:noAutofit/>
          </a:bodyPr>
          <a:lstStyle/>
          <a:p>
            <a:endParaRPr sz="1763"/>
          </a:p>
        </p:txBody>
      </p:sp>
      <p:sp>
        <p:nvSpPr>
          <p:cNvPr id="130" name="object 130"/>
          <p:cNvSpPr/>
          <p:nvPr/>
        </p:nvSpPr>
        <p:spPr>
          <a:xfrm>
            <a:off x="3197222" y="2199021"/>
            <a:ext cx="27374" cy="0"/>
          </a:xfrm>
          <a:custGeom>
            <a:avLst/>
            <a:gdLst/>
            <a:ahLst/>
            <a:cxnLst/>
            <a:rect l="l" t="t" r="r" b="b"/>
            <a:pathLst>
              <a:path w="27944">
                <a:moveTo>
                  <a:pt x="0" y="0"/>
                </a:moveTo>
                <a:lnTo>
                  <a:pt x="27944" y="0"/>
                </a:lnTo>
              </a:path>
            </a:pathLst>
          </a:custGeom>
          <a:ln w="26605">
            <a:solidFill>
              <a:srgbClr val="FFFFFF"/>
            </a:solidFill>
          </a:ln>
        </p:spPr>
        <p:txBody>
          <a:bodyPr wrap="square" lIns="0" tIns="0" rIns="0" bIns="0" rtlCol="0">
            <a:noAutofit/>
          </a:bodyPr>
          <a:lstStyle/>
          <a:p>
            <a:endParaRPr sz="1763"/>
          </a:p>
        </p:txBody>
      </p:sp>
      <p:sp>
        <p:nvSpPr>
          <p:cNvPr id="131" name="object 131"/>
          <p:cNvSpPr/>
          <p:nvPr/>
        </p:nvSpPr>
        <p:spPr>
          <a:xfrm>
            <a:off x="3121942" y="2199021"/>
            <a:ext cx="25095" cy="0"/>
          </a:xfrm>
          <a:custGeom>
            <a:avLst/>
            <a:gdLst/>
            <a:ahLst/>
            <a:cxnLst/>
            <a:rect l="l" t="t" r="r" b="b"/>
            <a:pathLst>
              <a:path w="25618">
                <a:moveTo>
                  <a:pt x="0" y="0"/>
                </a:moveTo>
                <a:lnTo>
                  <a:pt x="25618" y="0"/>
                </a:lnTo>
              </a:path>
            </a:pathLst>
          </a:custGeom>
          <a:ln w="26605">
            <a:solidFill>
              <a:srgbClr val="FFFFFF"/>
            </a:solidFill>
          </a:ln>
        </p:spPr>
        <p:txBody>
          <a:bodyPr wrap="square" lIns="0" tIns="0" rIns="0" bIns="0" rtlCol="0">
            <a:noAutofit/>
          </a:bodyPr>
          <a:lstStyle/>
          <a:p>
            <a:endParaRPr sz="1763"/>
          </a:p>
        </p:txBody>
      </p:sp>
      <p:sp>
        <p:nvSpPr>
          <p:cNvPr id="132" name="object 132"/>
          <p:cNvSpPr/>
          <p:nvPr/>
        </p:nvSpPr>
        <p:spPr>
          <a:xfrm>
            <a:off x="3044367" y="2199021"/>
            <a:ext cx="25095" cy="0"/>
          </a:xfrm>
          <a:custGeom>
            <a:avLst/>
            <a:gdLst/>
            <a:ahLst/>
            <a:cxnLst/>
            <a:rect l="l" t="t" r="r" b="b"/>
            <a:pathLst>
              <a:path w="25618">
                <a:moveTo>
                  <a:pt x="0" y="0"/>
                </a:moveTo>
                <a:lnTo>
                  <a:pt x="25618" y="0"/>
                </a:lnTo>
              </a:path>
            </a:pathLst>
          </a:custGeom>
          <a:ln w="26605">
            <a:solidFill>
              <a:srgbClr val="FFFFFF"/>
            </a:solidFill>
          </a:ln>
        </p:spPr>
        <p:txBody>
          <a:bodyPr wrap="square" lIns="0" tIns="0" rIns="0" bIns="0" rtlCol="0">
            <a:noAutofit/>
          </a:bodyPr>
          <a:lstStyle/>
          <a:p>
            <a:endParaRPr sz="1763"/>
          </a:p>
        </p:txBody>
      </p:sp>
      <p:sp>
        <p:nvSpPr>
          <p:cNvPr id="133" name="object 133"/>
          <p:cNvSpPr/>
          <p:nvPr/>
        </p:nvSpPr>
        <p:spPr>
          <a:xfrm>
            <a:off x="3197222" y="2148261"/>
            <a:ext cx="27374" cy="0"/>
          </a:xfrm>
          <a:custGeom>
            <a:avLst/>
            <a:gdLst/>
            <a:ahLst/>
            <a:cxnLst/>
            <a:rect l="l" t="t" r="r" b="b"/>
            <a:pathLst>
              <a:path w="27944">
                <a:moveTo>
                  <a:pt x="0" y="0"/>
                </a:moveTo>
                <a:lnTo>
                  <a:pt x="27944" y="0"/>
                </a:lnTo>
              </a:path>
            </a:pathLst>
          </a:custGeom>
          <a:ln w="28907">
            <a:solidFill>
              <a:srgbClr val="FFFFFF"/>
            </a:solidFill>
          </a:ln>
        </p:spPr>
        <p:txBody>
          <a:bodyPr wrap="square" lIns="0" tIns="0" rIns="0" bIns="0" rtlCol="0">
            <a:noAutofit/>
          </a:bodyPr>
          <a:lstStyle/>
          <a:p>
            <a:endParaRPr sz="1763"/>
          </a:p>
        </p:txBody>
      </p:sp>
      <p:sp>
        <p:nvSpPr>
          <p:cNvPr id="134" name="object 134"/>
          <p:cNvSpPr/>
          <p:nvPr/>
        </p:nvSpPr>
        <p:spPr>
          <a:xfrm>
            <a:off x="3121942" y="2148261"/>
            <a:ext cx="25095" cy="0"/>
          </a:xfrm>
          <a:custGeom>
            <a:avLst/>
            <a:gdLst/>
            <a:ahLst/>
            <a:cxnLst/>
            <a:rect l="l" t="t" r="r" b="b"/>
            <a:pathLst>
              <a:path w="25618">
                <a:moveTo>
                  <a:pt x="0" y="0"/>
                </a:moveTo>
                <a:lnTo>
                  <a:pt x="25618" y="0"/>
                </a:lnTo>
              </a:path>
            </a:pathLst>
          </a:custGeom>
          <a:ln w="28907">
            <a:solidFill>
              <a:srgbClr val="FFFFFF"/>
            </a:solidFill>
          </a:ln>
        </p:spPr>
        <p:txBody>
          <a:bodyPr wrap="square" lIns="0" tIns="0" rIns="0" bIns="0" rtlCol="0">
            <a:noAutofit/>
          </a:bodyPr>
          <a:lstStyle/>
          <a:p>
            <a:endParaRPr sz="1763"/>
          </a:p>
        </p:txBody>
      </p:sp>
      <p:sp>
        <p:nvSpPr>
          <p:cNvPr id="135" name="object 135"/>
          <p:cNvSpPr/>
          <p:nvPr/>
        </p:nvSpPr>
        <p:spPr>
          <a:xfrm>
            <a:off x="9455332" y="1620498"/>
            <a:ext cx="142209" cy="17066"/>
          </a:xfrm>
          <a:custGeom>
            <a:avLst/>
            <a:gdLst/>
            <a:ahLst/>
            <a:cxnLst/>
            <a:rect l="l" t="t" r="r" b="b"/>
            <a:pathLst>
              <a:path w="145172" h="17422">
                <a:moveTo>
                  <a:pt x="10018" y="0"/>
                </a:moveTo>
                <a:lnTo>
                  <a:pt x="5009" y="0"/>
                </a:lnTo>
                <a:lnTo>
                  <a:pt x="0" y="4965"/>
                </a:lnTo>
                <a:lnTo>
                  <a:pt x="0" y="12456"/>
                </a:lnTo>
                <a:lnTo>
                  <a:pt x="5009" y="17422"/>
                </a:lnTo>
                <a:lnTo>
                  <a:pt x="140163" y="17422"/>
                </a:lnTo>
                <a:lnTo>
                  <a:pt x="145172" y="12456"/>
                </a:lnTo>
                <a:lnTo>
                  <a:pt x="145172" y="4965"/>
                </a:lnTo>
                <a:lnTo>
                  <a:pt x="140163" y="0"/>
                </a:lnTo>
                <a:lnTo>
                  <a:pt x="10018" y="0"/>
                </a:lnTo>
                <a:close/>
              </a:path>
            </a:pathLst>
          </a:custGeom>
          <a:solidFill>
            <a:srgbClr val="666666"/>
          </a:solidFill>
        </p:spPr>
        <p:txBody>
          <a:bodyPr wrap="square" lIns="0" tIns="0" rIns="0" bIns="0" rtlCol="0">
            <a:noAutofit/>
          </a:bodyPr>
          <a:lstStyle/>
          <a:p>
            <a:endParaRPr sz="1763"/>
          </a:p>
        </p:txBody>
      </p:sp>
      <p:sp>
        <p:nvSpPr>
          <p:cNvPr id="136" name="object 136"/>
          <p:cNvSpPr/>
          <p:nvPr/>
        </p:nvSpPr>
        <p:spPr>
          <a:xfrm>
            <a:off x="9342556" y="1625364"/>
            <a:ext cx="1306834" cy="879435"/>
          </a:xfrm>
          <a:custGeom>
            <a:avLst/>
            <a:gdLst/>
            <a:ahLst/>
            <a:cxnLst/>
            <a:rect l="l" t="t" r="r" b="b"/>
            <a:pathLst>
              <a:path w="1334060" h="897757">
                <a:moveTo>
                  <a:pt x="1334060" y="615918"/>
                </a:moveTo>
                <a:lnTo>
                  <a:pt x="1334059" y="81347"/>
                </a:lnTo>
                <a:lnTo>
                  <a:pt x="1327038" y="32879"/>
                </a:lnTo>
                <a:lnTo>
                  <a:pt x="1289110" y="3168"/>
                </a:lnTo>
                <a:lnTo>
                  <a:pt x="1253896" y="0"/>
                </a:lnTo>
                <a:lnTo>
                  <a:pt x="78964" y="22"/>
                </a:lnTo>
                <a:lnTo>
                  <a:pt x="31951" y="8112"/>
                </a:lnTo>
                <a:lnTo>
                  <a:pt x="3084" y="47342"/>
                </a:lnTo>
                <a:lnTo>
                  <a:pt x="0" y="82280"/>
                </a:lnTo>
                <a:lnTo>
                  <a:pt x="1" y="818846"/>
                </a:lnTo>
                <a:lnTo>
                  <a:pt x="7662" y="866691"/>
                </a:lnTo>
                <a:lnTo>
                  <a:pt x="47080" y="894898"/>
                </a:lnTo>
                <a:lnTo>
                  <a:pt x="1253896" y="897757"/>
                </a:lnTo>
                <a:lnTo>
                  <a:pt x="1271642" y="897185"/>
                </a:lnTo>
                <a:lnTo>
                  <a:pt x="1312592" y="885366"/>
                </a:lnTo>
                <a:lnTo>
                  <a:pt x="1333357" y="837293"/>
                </a:lnTo>
                <a:lnTo>
                  <a:pt x="1334060" y="817952"/>
                </a:lnTo>
                <a:lnTo>
                  <a:pt x="1334060" y="615918"/>
                </a:lnTo>
                <a:close/>
              </a:path>
            </a:pathLst>
          </a:custGeom>
          <a:solidFill>
            <a:srgbClr val="999999"/>
          </a:solidFill>
        </p:spPr>
        <p:txBody>
          <a:bodyPr wrap="square" lIns="0" tIns="0" rIns="0" bIns="0" rtlCol="0">
            <a:noAutofit/>
          </a:bodyPr>
          <a:lstStyle/>
          <a:p>
            <a:endParaRPr sz="1763"/>
          </a:p>
        </p:txBody>
      </p:sp>
      <p:sp>
        <p:nvSpPr>
          <p:cNvPr id="137" name="object 137"/>
          <p:cNvSpPr/>
          <p:nvPr/>
        </p:nvSpPr>
        <p:spPr>
          <a:xfrm>
            <a:off x="9347460" y="1632701"/>
            <a:ext cx="1296964" cy="867209"/>
          </a:xfrm>
          <a:custGeom>
            <a:avLst/>
            <a:gdLst/>
            <a:ahLst/>
            <a:cxnLst/>
            <a:rect l="l" t="t" r="r" b="b"/>
            <a:pathLst>
              <a:path w="1323984" h="885276">
                <a:moveTo>
                  <a:pt x="1744" y="47311"/>
                </a:moveTo>
                <a:lnTo>
                  <a:pt x="176" y="64946"/>
                </a:lnTo>
                <a:lnTo>
                  <a:pt x="0" y="74790"/>
                </a:lnTo>
                <a:lnTo>
                  <a:pt x="0" y="810461"/>
                </a:lnTo>
                <a:lnTo>
                  <a:pt x="7672" y="858427"/>
                </a:lnTo>
                <a:lnTo>
                  <a:pt x="49799" y="883737"/>
                </a:lnTo>
                <a:lnTo>
                  <a:pt x="1248889" y="885276"/>
                </a:lnTo>
                <a:lnTo>
                  <a:pt x="1268612" y="884580"/>
                </a:lnTo>
                <a:lnTo>
                  <a:pt x="1307549" y="871673"/>
                </a:lnTo>
                <a:lnTo>
                  <a:pt x="1322690" y="836051"/>
                </a:lnTo>
                <a:lnTo>
                  <a:pt x="1323984" y="74790"/>
                </a:lnTo>
                <a:lnTo>
                  <a:pt x="1323288" y="55146"/>
                </a:lnTo>
                <a:lnTo>
                  <a:pt x="1310349" y="16365"/>
                </a:lnTo>
                <a:lnTo>
                  <a:pt x="1274579" y="1287"/>
                </a:lnTo>
                <a:lnTo>
                  <a:pt x="77587" y="0"/>
                </a:lnTo>
                <a:lnTo>
                  <a:pt x="58081" y="669"/>
                </a:lnTo>
                <a:lnTo>
                  <a:pt x="18382" y="13083"/>
                </a:lnTo>
                <a:lnTo>
                  <a:pt x="1744" y="47311"/>
                </a:lnTo>
                <a:close/>
              </a:path>
            </a:pathLst>
          </a:custGeom>
          <a:solidFill>
            <a:srgbClr val="000000"/>
          </a:solidFill>
        </p:spPr>
        <p:txBody>
          <a:bodyPr wrap="square" lIns="0" tIns="0" rIns="0" bIns="0" rtlCol="0">
            <a:noAutofit/>
          </a:bodyPr>
          <a:lstStyle/>
          <a:p>
            <a:endParaRPr sz="1763"/>
          </a:p>
        </p:txBody>
      </p:sp>
      <p:sp>
        <p:nvSpPr>
          <p:cNvPr id="138" name="object 138"/>
          <p:cNvSpPr/>
          <p:nvPr/>
        </p:nvSpPr>
        <p:spPr>
          <a:xfrm>
            <a:off x="10453196" y="1661970"/>
            <a:ext cx="73562" cy="803743"/>
          </a:xfrm>
          <a:custGeom>
            <a:avLst/>
            <a:gdLst/>
            <a:ahLst/>
            <a:cxnLst/>
            <a:rect l="l" t="t" r="r" b="b"/>
            <a:pathLst>
              <a:path w="75095" h="820488">
                <a:moveTo>
                  <a:pt x="75095" y="0"/>
                </a:moveTo>
                <a:lnTo>
                  <a:pt x="0" y="64866"/>
                </a:lnTo>
                <a:lnTo>
                  <a:pt x="0" y="753152"/>
                </a:lnTo>
                <a:lnTo>
                  <a:pt x="75095" y="820488"/>
                </a:lnTo>
                <a:lnTo>
                  <a:pt x="75095" y="0"/>
                </a:lnTo>
                <a:close/>
              </a:path>
            </a:pathLst>
          </a:custGeom>
          <a:solidFill>
            <a:srgbClr val="CCCCCC"/>
          </a:solidFill>
        </p:spPr>
        <p:txBody>
          <a:bodyPr wrap="square" lIns="0" tIns="0" rIns="0" bIns="0" rtlCol="0">
            <a:noAutofit/>
          </a:bodyPr>
          <a:lstStyle/>
          <a:p>
            <a:endParaRPr sz="1763"/>
          </a:p>
        </p:txBody>
      </p:sp>
      <p:sp>
        <p:nvSpPr>
          <p:cNvPr id="139" name="object 139"/>
          <p:cNvSpPr/>
          <p:nvPr/>
        </p:nvSpPr>
        <p:spPr>
          <a:xfrm>
            <a:off x="9570575" y="2294705"/>
            <a:ext cx="75995" cy="78177"/>
          </a:xfrm>
          <a:custGeom>
            <a:avLst/>
            <a:gdLst/>
            <a:ahLst/>
            <a:cxnLst/>
            <a:rect l="l" t="t" r="r" b="b"/>
            <a:pathLst>
              <a:path w="77578" h="79806">
                <a:moveTo>
                  <a:pt x="65068" y="0"/>
                </a:moveTo>
                <a:lnTo>
                  <a:pt x="5000" y="0"/>
                </a:lnTo>
                <a:lnTo>
                  <a:pt x="0" y="4991"/>
                </a:lnTo>
                <a:lnTo>
                  <a:pt x="0" y="72323"/>
                </a:lnTo>
                <a:lnTo>
                  <a:pt x="5000" y="79806"/>
                </a:lnTo>
                <a:lnTo>
                  <a:pt x="72578" y="79806"/>
                </a:lnTo>
                <a:lnTo>
                  <a:pt x="77578" y="72324"/>
                </a:lnTo>
                <a:lnTo>
                  <a:pt x="77578" y="4991"/>
                </a:lnTo>
                <a:lnTo>
                  <a:pt x="72578" y="0"/>
                </a:lnTo>
                <a:lnTo>
                  <a:pt x="65068" y="0"/>
                </a:lnTo>
                <a:close/>
              </a:path>
            </a:pathLst>
          </a:custGeom>
          <a:solidFill>
            <a:srgbClr val="61EC53"/>
          </a:solidFill>
        </p:spPr>
        <p:txBody>
          <a:bodyPr wrap="square" lIns="0" tIns="0" rIns="0" bIns="0" rtlCol="0">
            <a:noAutofit/>
          </a:bodyPr>
          <a:lstStyle/>
          <a:p>
            <a:endParaRPr sz="1763"/>
          </a:p>
        </p:txBody>
      </p:sp>
      <p:sp>
        <p:nvSpPr>
          <p:cNvPr id="140" name="object 140"/>
          <p:cNvSpPr/>
          <p:nvPr/>
        </p:nvSpPr>
        <p:spPr>
          <a:xfrm>
            <a:off x="9570575" y="2113928"/>
            <a:ext cx="75995" cy="78177"/>
          </a:xfrm>
          <a:custGeom>
            <a:avLst/>
            <a:gdLst/>
            <a:ahLst/>
            <a:cxnLst/>
            <a:rect l="l" t="t" r="r" b="b"/>
            <a:pathLst>
              <a:path w="77578" h="79806">
                <a:moveTo>
                  <a:pt x="65068" y="0"/>
                </a:moveTo>
                <a:lnTo>
                  <a:pt x="5000" y="0"/>
                </a:lnTo>
                <a:lnTo>
                  <a:pt x="0" y="7482"/>
                </a:lnTo>
                <a:lnTo>
                  <a:pt x="0" y="72323"/>
                </a:lnTo>
                <a:lnTo>
                  <a:pt x="5000" y="79806"/>
                </a:lnTo>
                <a:lnTo>
                  <a:pt x="72578" y="79806"/>
                </a:lnTo>
                <a:lnTo>
                  <a:pt x="77578" y="72324"/>
                </a:lnTo>
                <a:lnTo>
                  <a:pt x="77578" y="7482"/>
                </a:lnTo>
                <a:lnTo>
                  <a:pt x="72578" y="0"/>
                </a:lnTo>
                <a:lnTo>
                  <a:pt x="65068" y="0"/>
                </a:lnTo>
                <a:close/>
              </a:path>
            </a:pathLst>
          </a:custGeom>
          <a:solidFill>
            <a:srgbClr val="FFB800"/>
          </a:solidFill>
        </p:spPr>
        <p:txBody>
          <a:bodyPr wrap="square" lIns="0" tIns="0" rIns="0" bIns="0" rtlCol="0">
            <a:noAutofit/>
          </a:bodyPr>
          <a:lstStyle/>
          <a:p>
            <a:endParaRPr sz="1763"/>
          </a:p>
        </p:txBody>
      </p:sp>
      <p:sp>
        <p:nvSpPr>
          <p:cNvPr id="141" name="object 141"/>
          <p:cNvSpPr/>
          <p:nvPr/>
        </p:nvSpPr>
        <p:spPr>
          <a:xfrm>
            <a:off x="9570575" y="1935601"/>
            <a:ext cx="75995" cy="75728"/>
          </a:xfrm>
          <a:custGeom>
            <a:avLst/>
            <a:gdLst/>
            <a:ahLst/>
            <a:cxnLst/>
            <a:rect l="l" t="t" r="r" b="b"/>
            <a:pathLst>
              <a:path w="77578" h="77306">
                <a:moveTo>
                  <a:pt x="65068" y="0"/>
                </a:moveTo>
                <a:lnTo>
                  <a:pt x="5000" y="0"/>
                </a:lnTo>
                <a:lnTo>
                  <a:pt x="0" y="4982"/>
                </a:lnTo>
                <a:lnTo>
                  <a:pt x="0" y="72315"/>
                </a:lnTo>
                <a:lnTo>
                  <a:pt x="5000" y="77306"/>
                </a:lnTo>
                <a:lnTo>
                  <a:pt x="72578" y="77306"/>
                </a:lnTo>
                <a:lnTo>
                  <a:pt x="77578" y="72315"/>
                </a:lnTo>
                <a:lnTo>
                  <a:pt x="77578" y="4982"/>
                </a:lnTo>
                <a:lnTo>
                  <a:pt x="72578" y="0"/>
                </a:lnTo>
                <a:lnTo>
                  <a:pt x="65068" y="0"/>
                </a:lnTo>
                <a:close/>
              </a:path>
            </a:pathLst>
          </a:custGeom>
          <a:solidFill>
            <a:srgbClr val="FFFFFF"/>
          </a:solidFill>
        </p:spPr>
        <p:txBody>
          <a:bodyPr wrap="square" lIns="0" tIns="0" rIns="0" bIns="0" rtlCol="0">
            <a:noAutofit/>
          </a:bodyPr>
          <a:lstStyle/>
          <a:p>
            <a:endParaRPr sz="1763"/>
          </a:p>
        </p:txBody>
      </p:sp>
      <p:sp>
        <p:nvSpPr>
          <p:cNvPr id="142" name="object 142"/>
          <p:cNvSpPr/>
          <p:nvPr/>
        </p:nvSpPr>
        <p:spPr>
          <a:xfrm>
            <a:off x="9570575" y="1754824"/>
            <a:ext cx="75995" cy="75728"/>
          </a:xfrm>
          <a:custGeom>
            <a:avLst/>
            <a:gdLst/>
            <a:ahLst/>
            <a:cxnLst/>
            <a:rect l="l" t="t" r="r" b="b"/>
            <a:pathLst>
              <a:path w="77578" h="77306">
                <a:moveTo>
                  <a:pt x="65068" y="0"/>
                </a:moveTo>
                <a:lnTo>
                  <a:pt x="5000" y="0"/>
                </a:lnTo>
                <a:lnTo>
                  <a:pt x="0" y="4982"/>
                </a:lnTo>
                <a:lnTo>
                  <a:pt x="0" y="72315"/>
                </a:lnTo>
                <a:lnTo>
                  <a:pt x="5000" y="77306"/>
                </a:lnTo>
                <a:lnTo>
                  <a:pt x="72578" y="77306"/>
                </a:lnTo>
                <a:lnTo>
                  <a:pt x="77578" y="72315"/>
                </a:lnTo>
                <a:lnTo>
                  <a:pt x="77578" y="4982"/>
                </a:lnTo>
                <a:lnTo>
                  <a:pt x="72578" y="0"/>
                </a:lnTo>
                <a:lnTo>
                  <a:pt x="65068" y="0"/>
                </a:lnTo>
                <a:close/>
              </a:path>
            </a:pathLst>
          </a:custGeom>
          <a:solidFill>
            <a:srgbClr val="6CC2E9"/>
          </a:solidFill>
        </p:spPr>
        <p:txBody>
          <a:bodyPr wrap="square" lIns="0" tIns="0" rIns="0" bIns="0" rtlCol="0">
            <a:noAutofit/>
          </a:bodyPr>
          <a:lstStyle/>
          <a:p>
            <a:endParaRPr sz="1763"/>
          </a:p>
        </p:txBody>
      </p:sp>
      <p:sp>
        <p:nvSpPr>
          <p:cNvPr id="143" name="object 143"/>
          <p:cNvSpPr/>
          <p:nvPr/>
        </p:nvSpPr>
        <p:spPr>
          <a:xfrm>
            <a:off x="9732389" y="2294705"/>
            <a:ext cx="78460" cy="78177"/>
          </a:xfrm>
          <a:custGeom>
            <a:avLst/>
            <a:gdLst/>
            <a:ahLst/>
            <a:cxnLst/>
            <a:rect l="l" t="t" r="r" b="b"/>
            <a:pathLst>
              <a:path w="80095" h="79806">
                <a:moveTo>
                  <a:pt x="65076" y="0"/>
                </a:moveTo>
                <a:lnTo>
                  <a:pt x="7509" y="0"/>
                </a:lnTo>
                <a:lnTo>
                  <a:pt x="0" y="4991"/>
                </a:lnTo>
                <a:lnTo>
                  <a:pt x="0" y="72323"/>
                </a:lnTo>
                <a:lnTo>
                  <a:pt x="7509" y="79806"/>
                </a:lnTo>
                <a:lnTo>
                  <a:pt x="72586" y="79806"/>
                </a:lnTo>
                <a:lnTo>
                  <a:pt x="80095" y="72324"/>
                </a:lnTo>
                <a:lnTo>
                  <a:pt x="80095" y="4991"/>
                </a:lnTo>
                <a:lnTo>
                  <a:pt x="72586" y="0"/>
                </a:lnTo>
                <a:lnTo>
                  <a:pt x="65076" y="0"/>
                </a:lnTo>
                <a:close/>
              </a:path>
            </a:pathLst>
          </a:custGeom>
          <a:solidFill>
            <a:srgbClr val="F471D0"/>
          </a:solidFill>
        </p:spPr>
        <p:txBody>
          <a:bodyPr wrap="square" lIns="0" tIns="0" rIns="0" bIns="0" rtlCol="0">
            <a:noAutofit/>
          </a:bodyPr>
          <a:lstStyle/>
          <a:p>
            <a:endParaRPr sz="1763"/>
          </a:p>
        </p:txBody>
      </p:sp>
      <p:sp>
        <p:nvSpPr>
          <p:cNvPr id="144" name="object 144"/>
          <p:cNvSpPr/>
          <p:nvPr/>
        </p:nvSpPr>
        <p:spPr>
          <a:xfrm>
            <a:off x="9732389" y="2113928"/>
            <a:ext cx="78460" cy="78177"/>
          </a:xfrm>
          <a:custGeom>
            <a:avLst/>
            <a:gdLst/>
            <a:ahLst/>
            <a:cxnLst/>
            <a:rect l="l" t="t" r="r" b="b"/>
            <a:pathLst>
              <a:path w="80095" h="79806">
                <a:moveTo>
                  <a:pt x="65076" y="0"/>
                </a:moveTo>
                <a:lnTo>
                  <a:pt x="7509" y="0"/>
                </a:lnTo>
                <a:lnTo>
                  <a:pt x="0" y="7482"/>
                </a:lnTo>
                <a:lnTo>
                  <a:pt x="0" y="72323"/>
                </a:lnTo>
                <a:lnTo>
                  <a:pt x="7509" y="79806"/>
                </a:lnTo>
                <a:lnTo>
                  <a:pt x="72586" y="79806"/>
                </a:lnTo>
                <a:lnTo>
                  <a:pt x="80095" y="72324"/>
                </a:lnTo>
                <a:lnTo>
                  <a:pt x="80095" y="7482"/>
                </a:lnTo>
                <a:lnTo>
                  <a:pt x="72586" y="0"/>
                </a:lnTo>
                <a:lnTo>
                  <a:pt x="65076" y="0"/>
                </a:lnTo>
                <a:close/>
              </a:path>
            </a:pathLst>
          </a:custGeom>
          <a:solidFill>
            <a:srgbClr val="DD5800"/>
          </a:solidFill>
        </p:spPr>
        <p:txBody>
          <a:bodyPr wrap="square" lIns="0" tIns="0" rIns="0" bIns="0" rtlCol="0">
            <a:noAutofit/>
          </a:bodyPr>
          <a:lstStyle/>
          <a:p>
            <a:endParaRPr sz="1763"/>
          </a:p>
        </p:txBody>
      </p:sp>
      <p:sp>
        <p:nvSpPr>
          <p:cNvPr id="145" name="object 145"/>
          <p:cNvSpPr/>
          <p:nvPr/>
        </p:nvSpPr>
        <p:spPr>
          <a:xfrm>
            <a:off x="9732389" y="1935601"/>
            <a:ext cx="78460" cy="75728"/>
          </a:xfrm>
          <a:custGeom>
            <a:avLst/>
            <a:gdLst/>
            <a:ahLst/>
            <a:cxnLst/>
            <a:rect l="l" t="t" r="r" b="b"/>
            <a:pathLst>
              <a:path w="80095" h="77306">
                <a:moveTo>
                  <a:pt x="65076" y="0"/>
                </a:moveTo>
                <a:lnTo>
                  <a:pt x="7509" y="0"/>
                </a:lnTo>
                <a:lnTo>
                  <a:pt x="0" y="4982"/>
                </a:lnTo>
                <a:lnTo>
                  <a:pt x="0" y="72315"/>
                </a:lnTo>
                <a:lnTo>
                  <a:pt x="7509" y="77306"/>
                </a:lnTo>
                <a:lnTo>
                  <a:pt x="72586" y="77306"/>
                </a:lnTo>
                <a:lnTo>
                  <a:pt x="80095" y="72315"/>
                </a:lnTo>
                <a:lnTo>
                  <a:pt x="80095" y="4982"/>
                </a:lnTo>
                <a:lnTo>
                  <a:pt x="72586" y="0"/>
                </a:lnTo>
                <a:lnTo>
                  <a:pt x="65076" y="0"/>
                </a:lnTo>
                <a:close/>
              </a:path>
            </a:pathLst>
          </a:custGeom>
          <a:solidFill>
            <a:srgbClr val="009E48"/>
          </a:solidFill>
        </p:spPr>
        <p:txBody>
          <a:bodyPr wrap="square" lIns="0" tIns="0" rIns="0" bIns="0" rtlCol="0">
            <a:noAutofit/>
          </a:bodyPr>
          <a:lstStyle/>
          <a:p>
            <a:endParaRPr sz="1763"/>
          </a:p>
        </p:txBody>
      </p:sp>
      <p:sp>
        <p:nvSpPr>
          <p:cNvPr id="146" name="object 146"/>
          <p:cNvSpPr/>
          <p:nvPr/>
        </p:nvSpPr>
        <p:spPr>
          <a:xfrm>
            <a:off x="9732389" y="1754824"/>
            <a:ext cx="78460" cy="75728"/>
          </a:xfrm>
          <a:custGeom>
            <a:avLst/>
            <a:gdLst/>
            <a:ahLst/>
            <a:cxnLst/>
            <a:rect l="l" t="t" r="r" b="b"/>
            <a:pathLst>
              <a:path w="80095" h="77306">
                <a:moveTo>
                  <a:pt x="65076" y="0"/>
                </a:moveTo>
                <a:lnTo>
                  <a:pt x="7509" y="0"/>
                </a:lnTo>
                <a:lnTo>
                  <a:pt x="0" y="4982"/>
                </a:lnTo>
                <a:lnTo>
                  <a:pt x="0" y="72315"/>
                </a:lnTo>
                <a:lnTo>
                  <a:pt x="7509" y="77306"/>
                </a:lnTo>
                <a:lnTo>
                  <a:pt x="72586" y="77306"/>
                </a:lnTo>
                <a:lnTo>
                  <a:pt x="80095" y="72315"/>
                </a:lnTo>
                <a:lnTo>
                  <a:pt x="80095" y="4982"/>
                </a:lnTo>
                <a:lnTo>
                  <a:pt x="72586" y="0"/>
                </a:lnTo>
                <a:lnTo>
                  <a:pt x="65076" y="0"/>
                </a:lnTo>
                <a:close/>
              </a:path>
            </a:pathLst>
          </a:custGeom>
          <a:solidFill>
            <a:srgbClr val="008271"/>
          </a:solidFill>
        </p:spPr>
        <p:txBody>
          <a:bodyPr wrap="square" lIns="0" tIns="0" rIns="0" bIns="0" rtlCol="0">
            <a:noAutofit/>
          </a:bodyPr>
          <a:lstStyle/>
          <a:p>
            <a:endParaRPr sz="1763"/>
          </a:p>
        </p:txBody>
      </p:sp>
      <p:sp>
        <p:nvSpPr>
          <p:cNvPr id="147" name="object 147"/>
          <p:cNvSpPr/>
          <p:nvPr/>
        </p:nvSpPr>
        <p:spPr>
          <a:xfrm>
            <a:off x="9896651" y="2294705"/>
            <a:ext cx="76011" cy="78177"/>
          </a:xfrm>
          <a:custGeom>
            <a:avLst/>
            <a:gdLst/>
            <a:ahLst/>
            <a:cxnLst/>
            <a:rect l="l" t="t" r="r" b="b"/>
            <a:pathLst>
              <a:path w="77595" h="79806">
                <a:moveTo>
                  <a:pt x="65085" y="0"/>
                </a:moveTo>
                <a:lnTo>
                  <a:pt x="5017" y="0"/>
                </a:lnTo>
                <a:lnTo>
                  <a:pt x="0" y="4991"/>
                </a:lnTo>
                <a:lnTo>
                  <a:pt x="0" y="72323"/>
                </a:lnTo>
                <a:lnTo>
                  <a:pt x="5017" y="79806"/>
                </a:lnTo>
                <a:lnTo>
                  <a:pt x="72594" y="79806"/>
                </a:lnTo>
                <a:lnTo>
                  <a:pt x="77595" y="72324"/>
                </a:lnTo>
                <a:lnTo>
                  <a:pt x="77595" y="4991"/>
                </a:lnTo>
                <a:lnTo>
                  <a:pt x="72594" y="0"/>
                </a:lnTo>
                <a:lnTo>
                  <a:pt x="65085" y="0"/>
                </a:lnTo>
                <a:close/>
              </a:path>
            </a:pathLst>
          </a:custGeom>
          <a:solidFill>
            <a:srgbClr val="0071C5"/>
          </a:solidFill>
        </p:spPr>
        <p:txBody>
          <a:bodyPr wrap="square" lIns="0" tIns="0" rIns="0" bIns="0" rtlCol="0">
            <a:noAutofit/>
          </a:bodyPr>
          <a:lstStyle/>
          <a:p>
            <a:endParaRPr sz="1763"/>
          </a:p>
        </p:txBody>
      </p:sp>
      <p:sp>
        <p:nvSpPr>
          <p:cNvPr id="148" name="object 148"/>
          <p:cNvSpPr/>
          <p:nvPr/>
        </p:nvSpPr>
        <p:spPr>
          <a:xfrm>
            <a:off x="9896651" y="2113928"/>
            <a:ext cx="76011" cy="78177"/>
          </a:xfrm>
          <a:custGeom>
            <a:avLst/>
            <a:gdLst/>
            <a:ahLst/>
            <a:cxnLst/>
            <a:rect l="l" t="t" r="r" b="b"/>
            <a:pathLst>
              <a:path w="77595" h="79806">
                <a:moveTo>
                  <a:pt x="65085" y="0"/>
                </a:moveTo>
                <a:lnTo>
                  <a:pt x="5017" y="0"/>
                </a:lnTo>
                <a:lnTo>
                  <a:pt x="0" y="7482"/>
                </a:lnTo>
                <a:lnTo>
                  <a:pt x="0" y="72323"/>
                </a:lnTo>
                <a:lnTo>
                  <a:pt x="5017" y="79806"/>
                </a:lnTo>
                <a:lnTo>
                  <a:pt x="72594" y="79806"/>
                </a:lnTo>
                <a:lnTo>
                  <a:pt x="77595" y="72324"/>
                </a:lnTo>
                <a:lnTo>
                  <a:pt x="77595" y="7482"/>
                </a:lnTo>
                <a:lnTo>
                  <a:pt x="72594" y="0"/>
                </a:lnTo>
                <a:lnTo>
                  <a:pt x="65085" y="0"/>
                </a:lnTo>
                <a:close/>
              </a:path>
            </a:pathLst>
          </a:custGeom>
          <a:solidFill>
            <a:srgbClr val="B4009E"/>
          </a:solidFill>
        </p:spPr>
        <p:txBody>
          <a:bodyPr wrap="square" lIns="0" tIns="0" rIns="0" bIns="0" rtlCol="0">
            <a:noAutofit/>
          </a:bodyPr>
          <a:lstStyle/>
          <a:p>
            <a:endParaRPr sz="1763"/>
          </a:p>
        </p:txBody>
      </p:sp>
      <p:sp>
        <p:nvSpPr>
          <p:cNvPr id="149" name="object 149"/>
          <p:cNvSpPr/>
          <p:nvPr/>
        </p:nvSpPr>
        <p:spPr>
          <a:xfrm>
            <a:off x="9896651" y="1935601"/>
            <a:ext cx="76011" cy="75728"/>
          </a:xfrm>
          <a:custGeom>
            <a:avLst/>
            <a:gdLst/>
            <a:ahLst/>
            <a:cxnLst/>
            <a:rect l="l" t="t" r="r" b="b"/>
            <a:pathLst>
              <a:path w="77595" h="77306">
                <a:moveTo>
                  <a:pt x="65085" y="0"/>
                </a:moveTo>
                <a:lnTo>
                  <a:pt x="5017" y="0"/>
                </a:lnTo>
                <a:lnTo>
                  <a:pt x="0" y="4982"/>
                </a:lnTo>
                <a:lnTo>
                  <a:pt x="0" y="72315"/>
                </a:lnTo>
                <a:lnTo>
                  <a:pt x="5017" y="77306"/>
                </a:lnTo>
                <a:lnTo>
                  <a:pt x="72594" y="77306"/>
                </a:lnTo>
                <a:lnTo>
                  <a:pt x="77595" y="72315"/>
                </a:lnTo>
                <a:lnTo>
                  <a:pt x="77595" y="4982"/>
                </a:lnTo>
                <a:lnTo>
                  <a:pt x="72594" y="0"/>
                </a:lnTo>
                <a:lnTo>
                  <a:pt x="65085" y="0"/>
                </a:lnTo>
                <a:close/>
              </a:path>
            </a:pathLst>
          </a:custGeom>
          <a:solidFill>
            <a:srgbClr val="00B193"/>
          </a:solidFill>
        </p:spPr>
        <p:txBody>
          <a:bodyPr wrap="square" lIns="0" tIns="0" rIns="0" bIns="0" rtlCol="0">
            <a:noAutofit/>
          </a:bodyPr>
          <a:lstStyle/>
          <a:p>
            <a:endParaRPr sz="1763"/>
          </a:p>
        </p:txBody>
      </p:sp>
      <p:sp>
        <p:nvSpPr>
          <p:cNvPr id="150" name="object 150"/>
          <p:cNvSpPr/>
          <p:nvPr/>
        </p:nvSpPr>
        <p:spPr>
          <a:xfrm>
            <a:off x="9896651" y="1754824"/>
            <a:ext cx="76011" cy="75728"/>
          </a:xfrm>
          <a:custGeom>
            <a:avLst/>
            <a:gdLst/>
            <a:ahLst/>
            <a:cxnLst/>
            <a:rect l="l" t="t" r="r" b="b"/>
            <a:pathLst>
              <a:path w="77595" h="77306">
                <a:moveTo>
                  <a:pt x="65085" y="0"/>
                </a:moveTo>
                <a:lnTo>
                  <a:pt x="5017" y="0"/>
                </a:lnTo>
                <a:lnTo>
                  <a:pt x="0" y="4982"/>
                </a:lnTo>
                <a:lnTo>
                  <a:pt x="0" y="72315"/>
                </a:lnTo>
                <a:lnTo>
                  <a:pt x="5017" y="77306"/>
                </a:lnTo>
                <a:lnTo>
                  <a:pt x="72594" y="77306"/>
                </a:lnTo>
                <a:lnTo>
                  <a:pt x="77595" y="72315"/>
                </a:lnTo>
                <a:lnTo>
                  <a:pt x="77595" y="4982"/>
                </a:lnTo>
                <a:lnTo>
                  <a:pt x="72594" y="0"/>
                </a:lnTo>
                <a:lnTo>
                  <a:pt x="65085" y="0"/>
                </a:lnTo>
                <a:close/>
              </a:path>
            </a:pathLst>
          </a:custGeom>
          <a:solidFill>
            <a:srgbClr val="DC3B00"/>
          </a:solidFill>
        </p:spPr>
        <p:txBody>
          <a:bodyPr wrap="square" lIns="0" tIns="0" rIns="0" bIns="0" rtlCol="0">
            <a:noAutofit/>
          </a:bodyPr>
          <a:lstStyle/>
          <a:p>
            <a:endParaRPr sz="1763"/>
          </a:p>
        </p:txBody>
      </p:sp>
      <p:sp>
        <p:nvSpPr>
          <p:cNvPr id="151" name="object 151"/>
          <p:cNvSpPr/>
          <p:nvPr/>
        </p:nvSpPr>
        <p:spPr>
          <a:xfrm>
            <a:off x="10058472" y="2294705"/>
            <a:ext cx="78460" cy="78177"/>
          </a:xfrm>
          <a:custGeom>
            <a:avLst/>
            <a:gdLst/>
            <a:ahLst/>
            <a:cxnLst/>
            <a:rect l="l" t="t" r="r" b="b"/>
            <a:pathLst>
              <a:path w="80095" h="79806">
                <a:moveTo>
                  <a:pt x="65076" y="0"/>
                </a:moveTo>
                <a:lnTo>
                  <a:pt x="7509" y="0"/>
                </a:lnTo>
                <a:lnTo>
                  <a:pt x="0" y="4991"/>
                </a:lnTo>
                <a:lnTo>
                  <a:pt x="0" y="72323"/>
                </a:lnTo>
                <a:lnTo>
                  <a:pt x="7509" y="79806"/>
                </a:lnTo>
                <a:lnTo>
                  <a:pt x="72586" y="79806"/>
                </a:lnTo>
                <a:lnTo>
                  <a:pt x="80095" y="72324"/>
                </a:lnTo>
                <a:lnTo>
                  <a:pt x="80095" y="4991"/>
                </a:lnTo>
                <a:lnTo>
                  <a:pt x="72586" y="0"/>
                </a:lnTo>
                <a:lnTo>
                  <a:pt x="65076" y="0"/>
                </a:lnTo>
                <a:close/>
              </a:path>
            </a:pathLst>
          </a:custGeom>
          <a:solidFill>
            <a:srgbClr val="E81122"/>
          </a:solidFill>
        </p:spPr>
        <p:txBody>
          <a:bodyPr wrap="square" lIns="0" tIns="0" rIns="0" bIns="0" rtlCol="0">
            <a:noAutofit/>
          </a:bodyPr>
          <a:lstStyle/>
          <a:p>
            <a:endParaRPr sz="1763"/>
          </a:p>
        </p:txBody>
      </p:sp>
      <p:sp>
        <p:nvSpPr>
          <p:cNvPr id="152" name="object 152"/>
          <p:cNvSpPr/>
          <p:nvPr/>
        </p:nvSpPr>
        <p:spPr>
          <a:xfrm>
            <a:off x="10058472" y="2113928"/>
            <a:ext cx="78460" cy="78177"/>
          </a:xfrm>
          <a:custGeom>
            <a:avLst/>
            <a:gdLst/>
            <a:ahLst/>
            <a:cxnLst/>
            <a:rect l="l" t="t" r="r" b="b"/>
            <a:pathLst>
              <a:path w="80095" h="79806">
                <a:moveTo>
                  <a:pt x="65076" y="0"/>
                </a:moveTo>
                <a:lnTo>
                  <a:pt x="7509" y="0"/>
                </a:lnTo>
                <a:lnTo>
                  <a:pt x="0" y="7482"/>
                </a:lnTo>
                <a:lnTo>
                  <a:pt x="0" y="72323"/>
                </a:lnTo>
                <a:lnTo>
                  <a:pt x="7509" y="79806"/>
                </a:lnTo>
                <a:lnTo>
                  <a:pt x="72586" y="79806"/>
                </a:lnTo>
                <a:lnTo>
                  <a:pt x="80095" y="72324"/>
                </a:lnTo>
                <a:lnTo>
                  <a:pt x="80095" y="7482"/>
                </a:lnTo>
                <a:lnTo>
                  <a:pt x="72586" y="0"/>
                </a:lnTo>
                <a:lnTo>
                  <a:pt x="65076" y="0"/>
                </a:lnTo>
                <a:close/>
              </a:path>
            </a:pathLst>
          </a:custGeom>
          <a:solidFill>
            <a:srgbClr val="FF8B00"/>
          </a:solidFill>
        </p:spPr>
        <p:txBody>
          <a:bodyPr wrap="square" lIns="0" tIns="0" rIns="0" bIns="0" rtlCol="0">
            <a:noAutofit/>
          </a:bodyPr>
          <a:lstStyle/>
          <a:p>
            <a:endParaRPr sz="1763"/>
          </a:p>
        </p:txBody>
      </p:sp>
      <p:sp>
        <p:nvSpPr>
          <p:cNvPr id="153" name="object 153"/>
          <p:cNvSpPr/>
          <p:nvPr/>
        </p:nvSpPr>
        <p:spPr>
          <a:xfrm>
            <a:off x="10058472" y="1935601"/>
            <a:ext cx="78460" cy="75728"/>
          </a:xfrm>
          <a:custGeom>
            <a:avLst/>
            <a:gdLst/>
            <a:ahLst/>
            <a:cxnLst/>
            <a:rect l="l" t="t" r="r" b="b"/>
            <a:pathLst>
              <a:path w="80095" h="77306">
                <a:moveTo>
                  <a:pt x="65076" y="0"/>
                </a:moveTo>
                <a:lnTo>
                  <a:pt x="7509" y="0"/>
                </a:lnTo>
                <a:lnTo>
                  <a:pt x="0" y="4982"/>
                </a:lnTo>
                <a:lnTo>
                  <a:pt x="0" y="72315"/>
                </a:lnTo>
                <a:lnTo>
                  <a:pt x="7509" y="77306"/>
                </a:lnTo>
                <a:lnTo>
                  <a:pt x="72586" y="77306"/>
                </a:lnTo>
                <a:lnTo>
                  <a:pt x="80095" y="72315"/>
                </a:lnTo>
                <a:lnTo>
                  <a:pt x="80095" y="4982"/>
                </a:lnTo>
                <a:lnTo>
                  <a:pt x="72586" y="0"/>
                </a:lnTo>
                <a:lnTo>
                  <a:pt x="65076" y="0"/>
                </a:lnTo>
                <a:close/>
              </a:path>
            </a:pathLst>
          </a:custGeom>
          <a:solidFill>
            <a:srgbClr val="B9131A"/>
          </a:solidFill>
        </p:spPr>
        <p:txBody>
          <a:bodyPr wrap="square" lIns="0" tIns="0" rIns="0" bIns="0" rtlCol="0">
            <a:noAutofit/>
          </a:bodyPr>
          <a:lstStyle/>
          <a:p>
            <a:endParaRPr sz="1763"/>
          </a:p>
        </p:txBody>
      </p:sp>
      <p:sp>
        <p:nvSpPr>
          <p:cNvPr id="154" name="object 154"/>
          <p:cNvSpPr/>
          <p:nvPr/>
        </p:nvSpPr>
        <p:spPr>
          <a:xfrm>
            <a:off x="10058472" y="1754824"/>
            <a:ext cx="78460" cy="75728"/>
          </a:xfrm>
          <a:custGeom>
            <a:avLst/>
            <a:gdLst/>
            <a:ahLst/>
            <a:cxnLst/>
            <a:rect l="l" t="t" r="r" b="b"/>
            <a:pathLst>
              <a:path w="80095" h="77306">
                <a:moveTo>
                  <a:pt x="65076" y="0"/>
                </a:moveTo>
                <a:lnTo>
                  <a:pt x="7509" y="0"/>
                </a:lnTo>
                <a:lnTo>
                  <a:pt x="0" y="4982"/>
                </a:lnTo>
                <a:lnTo>
                  <a:pt x="0" y="72315"/>
                </a:lnTo>
                <a:lnTo>
                  <a:pt x="7509" y="77306"/>
                </a:lnTo>
                <a:lnTo>
                  <a:pt x="72586" y="77306"/>
                </a:lnTo>
                <a:lnTo>
                  <a:pt x="80095" y="72315"/>
                </a:lnTo>
                <a:lnTo>
                  <a:pt x="80095" y="4982"/>
                </a:lnTo>
                <a:lnTo>
                  <a:pt x="72586" y="0"/>
                </a:lnTo>
                <a:lnTo>
                  <a:pt x="65076" y="0"/>
                </a:lnTo>
                <a:close/>
              </a:path>
            </a:pathLst>
          </a:custGeom>
          <a:solidFill>
            <a:srgbClr val="7EB900"/>
          </a:solidFill>
        </p:spPr>
        <p:txBody>
          <a:bodyPr wrap="square" lIns="0" tIns="0" rIns="0" bIns="0" rtlCol="0">
            <a:noAutofit/>
          </a:bodyPr>
          <a:lstStyle/>
          <a:p>
            <a:endParaRPr sz="1763"/>
          </a:p>
        </p:txBody>
      </p:sp>
      <p:sp>
        <p:nvSpPr>
          <p:cNvPr id="155" name="object 155"/>
          <p:cNvSpPr/>
          <p:nvPr/>
        </p:nvSpPr>
        <p:spPr>
          <a:xfrm>
            <a:off x="10360021" y="2094388"/>
            <a:ext cx="17211" cy="17100"/>
          </a:xfrm>
          <a:custGeom>
            <a:avLst/>
            <a:gdLst/>
            <a:ahLst/>
            <a:cxnLst/>
            <a:rect l="l" t="t" r="r" b="b"/>
            <a:pathLst>
              <a:path w="17570" h="17456">
                <a:moveTo>
                  <a:pt x="7517" y="0"/>
                </a:moveTo>
                <a:lnTo>
                  <a:pt x="5068" y="0"/>
                </a:lnTo>
                <a:lnTo>
                  <a:pt x="0" y="4991"/>
                </a:lnTo>
                <a:lnTo>
                  <a:pt x="0" y="14964"/>
                </a:lnTo>
                <a:lnTo>
                  <a:pt x="5068" y="17456"/>
                </a:lnTo>
                <a:lnTo>
                  <a:pt x="12501" y="17456"/>
                </a:lnTo>
                <a:lnTo>
                  <a:pt x="17570" y="14964"/>
                </a:lnTo>
                <a:lnTo>
                  <a:pt x="17570" y="4991"/>
                </a:lnTo>
                <a:lnTo>
                  <a:pt x="12501" y="0"/>
                </a:lnTo>
                <a:lnTo>
                  <a:pt x="7517" y="0"/>
                </a:lnTo>
                <a:close/>
              </a:path>
            </a:pathLst>
          </a:custGeom>
          <a:solidFill>
            <a:srgbClr val="FFFFFF"/>
          </a:solidFill>
        </p:spPr>
        <p:txBody>
          <a:bodyPr wrap="square" lIns="0" tIns="0" rIns="0" bIns="0" rtlCol="0">
            <a:noAutofit/>
          </a:bodyPr>
          <a:lstStyle/>
          <a:p>
            <a:endParaRPr sz="1763"/>
          </a:p>
        </p:txBody>
      </p:sp>
      <p:sp>
        <p:nvSpPr>
          <p:cNvPr id="156" name="object 156"/>
          <p:cNvSpPr/>
          <p:nvPr/>
        </p:nvSpPr>
        <p:spPr>
          <a:xfrm>
            <a:off x="10360021" y="2069958"/>
            <a:ext cx="17211" cy="17100"/>
          </a:xfrm>
          <a:custGeom>
            <a:avLst/>
            <a:gdLst/>
            <a:ahLst/>
            <a:cxnLst/>
            <a:rect l="l" t="t" r="r" b="b"/>
            <a:pathLst>
              <a:path w="17570" h="17456">
                <a:moveTo>
                  <a:pt x="7517" y="0"/>
                </a:moveTo>
                <a:lnTo>
                  <a:pt x="5068" y="0"/>
                </a:lnTo>
                <a:lnTo>
                  <a:pt x="0" y="4982"/>
                </a:lnTo>
                <a:lnTo>
                  <a:pt x="0" y="12465"/>
                </a:lnTo>
                <a:lnTo>
                  <a:pt x="5068" y="17456"/>
                </a:lnTo>
                <a:lnTo>
                  <a:pt x="12501" y="17456"/>
                </a:lnTo>
                <a:lnTo>
                  <a:pt x="17570" y="12465"/>
                </a:lnTo>
                <a:lnTo>
                  <a:pt x="17570" y="4982"/>
                </a:lnTo>
                <a:lnTo>
                  <a:pt x="12501" y="0"/>
                </a:lnTo>
                <a:lnTo>
                  <a:pt x="7517" y="0"/>
                </a:lnTo>
                <a:close/>
              </a:path>
            </a:pathLst>
          </a:custGeom>
          <a:solidFill>
            <a:srgbClr val="CCCCCC"/>
          </a:solidFill>
        </p:spPr>
        <p:txBody>
          <a:bodyPr wrap="square" lIns="0" tIns="0" rIns="0" bIns="0" rtlCol="0">
            <a:noAutofit/>
          </a:bodyPr>
          <a:lstStyle/>
          <a:p>
            <a:endParaRPr sz="1763"/>
          </a:p>
        </p:txBody>
      </p:sp>
      <p:sp>
        <p:nvSpPr>
          <p:cNvPr id="157" name="object 157"/>
          <p:cNvSpPr/>
          <p:nvPr/>
        </p:nvSpPr>
        <p:spPr>
          <a:xfrm>
            <a:off x="10360021" y="2045529"/>
            <a:ext cx="17211" cy="17100"/>
          </a:xfrm>
          <a:custGeom>
            <a:avLst/>
            <a:gdLst/>
            <a:ahLst/>
            <a:cxnLst/>
            <a:rect l="l" t="t" r="r" b="b"/>
            <a:pathLst>
              <a:path w="17570" h="17456">
                <a:moveTo>
                  <a:pt x="7517" y="0"/>
                </a:moveTo>
                <a:lnTo>
                  <a:pt x="5068" y="0"/>
                </a:lnTo>
                <a:lnTo>
                  <a:pt x="0" y="2491"/>
                </a:lnTo>
                <a:lnTo>
                  <a:pt x="0" y="12473"/>
                </a:lnTo>
                <a:lnTo>
                  <a:pt x="5068" y="17456"/>
                </a:lnTo>
                <a:lnTo>
                  <a:pt x="12501" y="17456"/>
                </a:lnTo>
                <a:lnTo>
                  <a:pt x="17570" y="12473"/>
                </a:lnTo>
                <a:lnTo>
                  <a:pt x="17570" y="2491"/>
                </a:lnTo>
                <a:lnTo>
                  <a:pt x="12501" y="0"/>
                </a:lnTo>
                <a:lnTo>
                  <a:pt x="7517" y="0"/>
                </a:lnTo>
                <a:close/>
              </a:path>
            </a:pathLst>
          </a:custGeom>
          <a:solidFill>
            <a:srgbClr val="CCCCCC"/>
          </a:solidFill>
        </p:spPr>
        <p:txBody>
          <a:bodyPr wrap="square" lIns="0" tIns="0" rIns="0" bIns="0" rtlCol="0">
            <a:noAutofit/>
          </a:bodyPr>
          <a:lstStyle/>
          <a:p>
            <a:endParaRPr sz="1763"/>
          </a:p>
        </p:txBody>
      </p:sp>
      <p:sp>
        <p:nvSpPr>
          <p:cNvPr id="158" name="object 158"/>
          <p:cNvSpPr/>
          <p:nvPr/>
        </p:nvSpPr>
        <p:spPr>
          <a:xfrm>
            <a:off x="10360021" y="2021099"/>
            <a:ext cx="17211" cy="17100"/>
          </a:xfrm>
          <a:custGeom>
            <a:avLst/>
            <a:gdLst/>
            <a:ahLst/>
            <a:cxnLst/>
            <a:rect l="l" t="t" r="r" b="b"/>
            <a:pathLst>
              <a:path w="17570" h="17456">
                <a:moveTo>
                  <a:pt x="7517" y="0"/>
                </a:moveTo>
                <a:lnTo>
                  <a:pt x="5068" y="0"/>
                </a:lnTo>
                <a:lnTo>
                  <a:pt x="0" y="2491"/>
                </a:lnTo>
                <a:lnTo>
                  <a:pt x="0" y="12473"/>
                </a:lnTo>
                <a:lnTo>
                  <a:pt x="5068" y="17456"/>
                </a:lnTo>
                <a:lnTo>
                  <a:pt x="12501" y="17456"/>
                </a:lnTo>
                <a:lnTo>
                  <a:pt x="17570" y="12473"/>
                </a:lnTo>
                <a:lnTo>
                  <a:pt x="17570" y="2491"/>
                </a:lnTo>
                <a:lnTo>
                  <a:pt x="12501" y="0"/>
                </a:lnTo>
                <a:lnTo>
                  <a:pt x="7517" y="0"/>
                </a:lnTo>
                <a:close/>
              </a:path>
            </a:pathLst>
          </a:custGeom>
          <a:solidFill>
            <a:srgbClr val="CCCCCC"/>
          </a:solidFill>
        </p:spPr>
        <p:txBody>
          <a:bodyPr wrap="square" lIns="0" tIns="0" rIns="0" bIns="0" rtlCol="0">
            <a:noAutofit/>
          </a:bodyPr>
          <a:lstStyle/>
          <a:p>
            <a:endParaRPr sz="1763"/>
          </a:p>
        </p:txBody>
      </p:sp>
      <p:sp>
        <p:nvSpPr>
          <p:cNvPr id="159" name="object 159"/>
          <p:cNvSpPr/>
          <p:nvPr/>
        </p:nvSpPr>
        <p:spPr>
          <a:xfrm>
            <a:off x="10561099" y="2030870"/>
            <a:ext cx="53951" cy="51299"/>
          </a:xfrm>
          <a:custGeom>
            <a:avLst/>
            <a:gdLst/>
            <a:ahLst/>
            <a:cxnLst/>
            <a:rect l="l" t="t" r="r" b="b"/>
            <a:pathLst>
              <a:path w="55075" h="52368">
                <a:moveTo>
                  <a:pt x="27537" y="52368"/>
                </a:moveTo>
                <a:lnTo>
                  <a:pt x="40726" y="49534"/>
                </a:lnTo>
                <a:lnTo>
                  <a:pt x="51089" y="40831"/>
                </a:lnTo>
                <a:lnTo>
                  <a:pt x="55075" y="27438"/>
                </a:lnTo>
                <a:lnTo>
                  <a:pt x="55060" y="26547"/>
                </a:lnTo>
                <a:lnTo>
                  <a:pt x="50984" y="13191"/>
                </a:lnTo>
                <a:lnTo>
                  <a:pt x="41115" y="3645"/>
                </a:lnTo>
                <a:lnTo>
                  <a:pt x="27537" y="0"/>
                </a:lnTo>
                <a:lnTo>
                  <a:pt x="26642" y="14"/>
                </a:lnTo>
                <a:lnTo>
                  <a:pt x="13231" y="4079"/>
                </a:lnTo>
                <a:lnTo>
                  <a:pt x="3655" y="13917"/>
                </a:lnTo>
                <a:lnTo>
                  <a:pt x="0" y="27438"/>
                </a:lnTo>
                <a:lnTo>
                  <a:pt x="3435" y="39973"/>
                </a:lnTo>
                <a:lnTo>
                  <a:pt x="13402" y="49070"/>
                </a:lnTo>
                <a:lnTo>
                  <a:pt x="27537" y="52368"/>
                </a:lnTo>
                <a:close/>
              </a:path>
            </a:pathLst>
          </a:custGeom>
          <a:solidFill>
            <a:srgbClr val="221F1F"/>
          </a:solidFill>
        </p:spPr>
        <p:txBody>
          <a:bodyPr wrap="square" lIns="0" tIns="0" rIns="0" bIns="0" rtlCol="0">
            <a:noAutofit/>
          </a:bodyPr>
          <a:lstStyle/>
          <a:p>
            <a:endParaRPr sz="1763"/>
          </a:p>
        </p:txBody>
      </p:sp>
      <p:sp>
        <p:nvSpPr>
          <p:cNvPr id="160" name="object 160"/>
          <p:cNvSpPr/>
          <p:nvPr/>
        </p:nvSpPr>
        <p:spPr>
          <a:xfrm>
            <a:off x="10573345" y="2030870"/>
            <a:ext cx="41704" cy="48858"/>
          </a:xfrm>
          <a:custGeom>
            <a:avLst/>
            <a:gdLst/>
            <a:ahLst/>
            <a:cxnLst/>
            <a:rect l="l" t="t" r="r" b="b"/>
            <a:pathLst>
              <a:path w="42573" h="49876">
                <a:moveTo>
                  <a:pt x="42573" y="27438"/>
                </a:moveTo>
                <a:lnTo>
                  <a:pt x="38918" y="13917"/>
                </a:lnTo>
                <a:lnTo>
                  <a:pt x="29342" y="4079"/>
                </a:lnTo>
                <a:lnTo>
                  <a:pt x="15930" y="14"/>
                </a:lnTo>
                <a:lnTo>
                  <a:pt x="10052" y="0"/>
                </a:lnTo>
                <a:lnTo>
                  <a:pt x="2534" y="2499"/>
                </a:lnTo>
                <a:lnTo>
                  <a:pt x="0" y="4991"/>
                </a:lnTo>
                <a:lnTo>
                  <a:pt x="15505" y="30263"/>
                </a:lnTo>
                <a:lnTo>
                  <a:pt x="23717" y="43650"/>
                </a:lnTo>
                <a:lnTo>
                  <a:pt x="26955" y="48928"/>
                </a:lnTo>
                <a:lnTo>
                  <a:pt x="27537" y="49876"/>
                </a:lnTo>
                <a:lnTo>
                  <a:pt x="38330" y="41188"/>
                </a:lnTo>
                <a:lnTo>
                  <a:pt x="42519" y="29195"/>
                </a:lnTo>
                <a:lnTo>
                  <a:pt x="42573" y="27438"/>
                </a:lnTo>
                <a:close/>
              </a:path>
            </a:pathLst>
          </a:custGeom>
          <a:solidFill>
            <a:srgbClr val="283135"/>
          </a:solidFill>
        </p:spPr>
        <p:txBody>
          <a:bodyPr wrap="square" lIns="0" tIns="0" rIns="0" bIns="0" rtlCol="0">
            <a:noAutofit/>
          </a:bodyPr>
          <a:lstStyle/>
          <a:p>
            <a:endParaRPr sz="1763"/>
          </a:p>
        </p:txBody>
      </p:sp>
      <p:sp>
        <p:nvSpPr>
          <p:cNvPr id="161" name="object 161"/>
          <p:cNvSpPr/>
          <p:nvPr/>
        </p:nvSpPr>
        <p:spPr>
          <a:xfrm>
            <a:off x="9406301" y="2050419"/>
            <a:ext cx="19614" cy="19540"/>
          </a:xfrm>
          <a:custGeom>
            <a:avLst/>
            <a:gdLst/>
            <a:ahLst/>
            <a:cxnLst/>
            <a:rect l="l" t="t" r="r" b="b"/>
            <a:pathLst>
              <a:path w="20023" h="19947">
                <a:moveTo>
                  <a:pt x="10014" y="0"/>
                </a:moveTo>
                <a:lnTo>
                  <a:pt x="2503" y="0"/>
                </a:lnTo>
                <a:lnTo>
                  <a:pt x="0" y="4982"/>
                </a:lnTo>
                <a:lnTo>
                  <a:pt x="0" y="17456"/>
                </a:lnTo>
                <a:lnTo>
                  <a:pt x="2503" y="19947"/>
                </a:lnTo>
                <a:lnTo>
                  <a:pt x="15017" y="19947"/>
                </a:lnTo>
                <a:lnTo>
                  <a:pt x="20023" y="17456"/>
                </a:lnTo>
                <a:lnTo>
                  <a:pt x="20023" y="4982"/>
                </a:lnTo>
                <a:lnTo>
                  <a:pt x="15017" y="0"/>
                </a:lnTo>
                <a:lnTo>
                  <a:pt x="10014" y="0"/>
                </a:lnTo>
                <a:close/>
              </a:path>
            </a:pathLst>
          </a:custGeom>
          <a:solidFill>
            <a:srgbClr val="221F1F"/>
          </a:solidFill>
        </p:spPr>
        <p:txBody>
          <a:bodyPr wrap="square" lIns="0" tIns="0" rIns="0" bIns="0" rtlCol="0">
            <a:noAutofit/>
          </a:bodyPr>
          <a:lstStyle/>
          <a:p>
            <a:endParaRPr sz="1763"/>
          </a:p>
        </p:txBody>
      </p:sp>
      <p:sp>
        <p:nvSpPr>
          <p:cNvPr id="162" name="object 162"/>
          <p:cNvSpPr/>
          <p:nvPr/>
        </p:nvSpPr>
        <p:spPr>
          <a:xfrm>
            <a:off x="9406300" y="2057748"/>
            <a:ext cx="9810" cy="12211"/>
          </a:xfrm>
          <a:custGeom>
            <a:avLst/>
            <a:gdLst/>
            <a:ahLst/>
            <a:cxnLst/>
            <a:rect l="l" t="t" r="r" b="b"/>
            <a:pathLst>
              <a:path w="10014" h="12465">
                <a:moveTo>
                  <a:pt x="10014" y="12465"/>
                </a:moveTo>
                <a:lnTo>
                  <a:pt x="10014" y="12465"/>
                </a:lnTo>
              </a:path>
              <a:path w="10014" h="12465">
                <a:moveTo>
                  <a:pt x="10014" y="12465"/>
                </a:moveTo>
                <a:lnTo>
                  <a:pt x="10014" y="12465"/>
                </a:lnTo>
              </a:path>
              <a:path w="10014" h="12465">
                <a:moveTo>
                  <a:pt x="10014" y="12465"/>
                </a:moveTo>
                <a:lnTo>
                  <a:pt x="10014" y="12465"/>
                </a:lnTo>
              </a:path>
              <a:path w="10014" h="12465">
                <a:moveTo>
                  <a:pt x="10014" y="12465"/>
                </a:moveTo>
                <a:lnTo>
                  <a:pt x="10014" y="12465"/>
                </a:lnTo>
              </a:path>
              <a:path w="10014" h="12465">
                <a:moveTo>
                  <a:pt x="0" y="2491"/>
                </a:moveTo>
                <a:lnTo>
                  <a:pt x="0" y="2491"/>
                </a:lnTo>
              </a:path>
              <a:path w="10014" h="12465">
                <a:moveTo>
                  <a:pt x="0" y="2491"/>
                </a:moveTo>
                <a:lnTo>
                  <a:pt x="0" y="2491"/>
                </a:lnTo>
              </a:path>
              <a:path w="10014" h="12465">
                <a:moveTo>
                  <a:pt x="0" y="2491"/>
                </a:moveTo>
                <a:lnTo>
                  <a:pt x="0" y="2491"/>
                </a:lnTo>
              </a:path>
              <a:path w="10014" h="12465">
                <a:moveTo>
                  <a:pt x="0" y="2491"/>
                </a:moveTo>
                <a:lnTo>
                  <a:pt x="0" y="2491"/>
                </a:lnTo>
              </a:path>
              <a:path w="10014" h="12465">
                <a:moveTo>
                  <a:pt x="0" y="2491"/>
                </a:moveTo>
                <a:lnTo>
                  <a:pt x="0" y="2491"/>
                </a:lnTo>
              </a:path>
              <a:path w="10014" h="12465">
                <a:moveTo>
                  <a:pt x="0" y="2491"/>
                </a:moveTo>
                <a:lnTo>
                  <a:pt x="0" y="2491"/>
                </a:lnTo>
              </a:path>
              <a:path w="10014" h="12465">
                <a:moveTo>
                  <a:pt x="0" y="2491"/>
                </a:moveTo>
                <a:lnTo>
                  <a:pt x="0" y="2491"/>
                </a:lnTo>
              </a:path>
              <a:path w="10014" h="12465">
                <a:moveTo>
                  <a:pt x="0" y="2491"/>
                </a:moveTo>
                <a:lnTo>
                  <a:pt x="0" y="2491"/>
                </a:lnTo>
              </a:path>
              <a:path w="10014" h="12465">
                <a:moveTo>
                  <a:pt x="0" y="2491"/>
                </a:moveTo>
                <a:lnTo>
                  <a:pt x="0" y="2491"/>
                </a:lnTo>
              </a:path>
              <a:path w="10014" h="12465">
                <a:moveTo>
                  <a:pt x="0" y="0"/>
                </a:moveTo>
                <a:lnTo>
                  <a:pt x="0" y="2491"/>
                </a:lnTo>
                <a:lnTo>
                  <a:pt x="0" y="0"/>
                </a:lnTo>
                <a:close/>
              </a:path>
              <a:path w="10014" h="12465">
                <a:moveTo>
                  <a:pt x="0" y="0"/>
                </a:moveTo>
                <a:lnTo>
                  <a:pt x="0" y="0"/>
                </a:lnTo>
              </a:path>
              <a:path w="10014" h="12465">
                <a:moveTo>
                  <a:pt x="0" y="0"/>
                </a:moveTo>
                <a:lnTo>
                  <a:pt x="0" y="0"/>
                </a:lnTo>
              </a:path>
              <a:path w="10014" h="12465">
                <a:moveTo>
                  <a:pt x="0" y="0"/>
                </a:moveTo>
                <a:lnTo>
                  <a:pt x="0" y="0"/>
                </a:lnTo>
              </a:path>
              <a:path w="10014" h="12465">
                <a:moveTo>
                  <a:pt x="0" y="0"/>
                </a:moveTo>
                <a:lnTo>
                  <a:pt x="0" y="0"/>
                </a:lnTo>
              </a:path>
            </a:pathLst>
          </a:custGeom>
          <a:solidFill>
            <a:srgbClr val="091617"/>
          </a:solidFill>
        </p:spPr>
        <p:txBody>
          <a:bodyPr wrap="square" lIns="0" tIns="0" rIns="0" bIns="0" rtlCol="0">
            <a:noAutofit/>
          </a:bodyPr>
          <a:lstStyle/>
          <a:p>
            <a:endParaRPr sz="1763"/>
          </a:p>
        </p:txBody>
      </p:sp>
      <p:sp>
        <p:nvSpPr>
          <p:cNvPr id="163" name="object 163"/>
          <p:cNvSpPr/>
          <p:nvPr/>
        </p:nvSpPr>
        <p:spPr>
          <a:xfrm>
            <a:off x="9406301" y="2052858"/>
            <a:ext cx="14711" cy="17100"/>
          </a:xfrm>
          <a:custGeom>
            <a:avLst/>
            <a:gdLst/>
            <a:ahLst/>
            <a:cxnLst/>
            <a:rect l="l" t="t" r="r" b="b"/>
            <a:pathLst>
              <a:path w="15017" h="17456">
                <a:moveTo>
                  <a:pt x="5003" y="0"/>
                </a:moveTo>
                <a:lnTo>
                  <a:pt x="2503" y="0"/>
                </a:lnTo>
                <a:lnTo>
                  <a:pt x="0" y="2491"/>
                </a:lnTo>
                <a:lnTo>
                  <a:pt x="0" y="14964"/>
                </a:lnTo>
                <a:lnTo>
                  <a:pt x="2503" y="17456"/>
                </a:lnTo>
                <a:lnTo>
                  <a:pt x="15017" y="17456"/>
                </a:lnTo>
                <a:lnTo>
                  <a:pt x="5003" y="0"/>
                </a:lnTo>
                <a:close/>
              </a:path>
            </a:pathLst>
          </a:custGeom>
          <a:solidFill>
            <a:srgbClr val="283135"/>
          </a:solidFill>
        </p:spPr>
        <p:txBody>
          <a:bodyPr wrap="square" lIns="0" tIns="0" rIns="0" bIns="0" rtlCol="0">
            <a:noAutofit/>
          </a:bodyPr>
          <a:lstStyle/>
          <a:p>
            <a:endParaRPr sz="1763"/>
          </a:p>
        </p:txBody>
      </p:sp>
      <p:sp>
        <p:nvSpPr>
          <p:cNvPr id="164" name="object 164"/>
          <p:cNvSpPr/>
          <p:nvPr/>
        </p:nvSpPr>
        <p:spPr>
          <a:xfrm>
            <a:off x="9406301" y="2050419"/>
            <a:ext cx="19614" cy="19540"/>
          </a:xfrm>
          <a:custGeom>
            <a:avLst/>
            <a:gdLst/>
            <a:ahLst/>
            <a:cxnLst/>
            <a:rect l="l" t="t" r="r" b="b"/>
            <a:pathLst>
              <a:path w="20023" h="19947">
                <a:moveTo>
                  <a:pt x="10014" y="0"/>
                </a:moveTo>
                <a:lnTo>
                  <a:pt x="2503" y="0"/>
                </a:lnTo>
                <a:lnTo>
                  <a:pt x="0" y="4982"/>
                </a:lnTo>
                <a:lnTo>
                  <a:pt x="0" y="17456"/>
                </a:lnTo>
                <a:lnTo>
                  <a:pt x="2503" y="19947"/>
                </a:lnTo>
                <a:lnTo>
                  <a:pt x="15017" y="19947"/>
                </a:lnTo>
                <a:lnTo>
                  <a:pt x="20023" y="17456"/>
                </a:lnTo>
                <a:lnTo>
                  <a:pt x="20023" y="4982"/>
                </a:lnTo>
                <a:lnTo>
                  <a:pt x="15017" y="0"/>
                </a:lnTo>
                <a:lnTo>
                  <a:pt x="10014" y="0"/>
                </a:lnTo>
                <a:close/>
              </a:path>
            </a:pathLst>
          </a:custGeom>
          <a:solidFill>
            <a:srgbClr val="221F1F"/>
          </a:solidFill>
        </p:spPr>
        <p:txBody>
          <a:bodyPr wrap="square" lIns="0" tIns="0" rIns="0" bIns="0" rtlCol="0">
            <a:noAutofit/>
          </a:bodyPr>
          <a:lstStyle/>
          <a:p>
            <a:endParaRPr sz="1763"/>
          </a:p>
        </p:txBody>
      </p:sp>
      <p:sp>
        <p:nvSpPr>
          <p:cNvPr id="165" name="object 165"/>
          <p:cNvSpPr/>
          <p:nvPr/>
        </p:nvSpPr>
        <p:spPr>
          <a:xfrm>
            <a:off x="9406301" y="2052858"/>
            <a:ext cx="14711" cy="17100"/>
          </a:xfrm>
          <a:custGeom>
            <a:avLst/>
            <a:gdLst/>
            <a:ahLst/>
            <a:cxnLst/>
            <a:rect l="l" t="t" r="r" b="b"/>
            <a:pathLst>
              <a:path w="15017" h="17456">
                <a:moveTo>
                  <a:pt x="0" y="7482"/>
                </a:moveTo>
                <a:lnTo>
                  <a:pt x="0" y="14964"/>
                </a:lnTo>
                <a:lnTo>
                  <a:pt x="2503" y="17456"/>
                </a:lnTo>
                <a:lnTo>
                  <a:pt x="15017" y="17456"/>
                </a:lnTo>
                <a:lnTo>
                  <a:pt x="5003" y="0"/>
                </a:lnTo>
                <a:lnTo>
                  <a:pt x="0" y="2491"/>
                </a:lnTo>
                <a:lnTo>
                  <a:pt x="0" y="7482"/>
                </a:lnTo>
                <a:close/>
              </a:path>
            </a:pathLst>
          </a:custGeom>
          <a:solidFill>
            <a:srgbClr val="283135"/>
          </a:solidFill>
        </p:spPr>
        <p:txBody>
          <a:bodyPr wrap="square" lIns="0" tIns="0" rIns="0" bIns="0" rtlCol="0">
            <a:noAutofit/>
          </a:bodyPr>
          <a:lstStyle/>
          <a:p>
            <a:endParaRPr sz="1763"/>
          </a:p>
        </p:txBody>
      </p:sp>
      <p:sp>
        <p:nvSpPr>
          <p:cNvPr id="166" name="object 166"/>
          <p:cNvSpPr/>
          <p:nvPr/>
        </p:nvSpPr>
        <p:spPr>
          <a:xfrm>
            <a:off x="10413973" y="2294705"/>
            <a:ext cx="76045" cy="78177"/>
          </a:xfrm>
          <a:custGeom>
            <a:avLst/>
            <a:gdLst/>
            <a:ahLst/>
            <a:cxnLst/>
            <a:rect l="l" t="t" r="r" b="b"/>
            <a:pathLst>
              <a:path w="77629" h="79806">
                <a:moveTo>
                  <a:pt x="65043" y="0"/>
                </a:moveTo>
                <a:lnTo>
                  <a:pt x="4983" y="0"/>
                </a:lnTo>
                <a:lnTo>
                  <a:pt x="0" y="4991"/>
                </a:lnTo>
                <a:lnTo>
                  <a:pt x="0" y="72323"/>
                </a:lnTo>
                <a:lnTo>
                  <a:pt x="4983" y="79806"/>
                </a:lnTo>
                <a:lnTo>
                  <a:pt x="72561" y="79806"/>
                </a:lnTo>
                <a:lnTo>
                  <a:pt x="77629" y="72324"/>
                </a:lnTo>
                <a:lnTo>
                  <a:pt x="77629" y="4991"/>
                </a:lnTo>
                <a:lnTo>
                  <a:pt x="72561" y="0"/>
                </a:lnTo>
                <a:lnTo>
                  <a:pt x="65043" y="0"/>
                </a:lnTo>
                <a:close/>
              </a:path>
            </a:pathLst>
          </a:custGeom>
          <a:solidFill>
            <a:srgbClr val="61EC53"/>
          </a:solidFill>
        </p:spPr>
        <p:txBody>
          <a:bodyPr wrap="square" lIns="0" tIns="0" rIns="0" bIns="0" rtlCol="0">
            <a:noAutofit/>
          </a:bodyPr>
          <a:lstStyle/>
          <a:p>
            <a:endParaRPr sz="1763"/>
          </a:p>
        </p:txBody>
      </p:sp>
      <p:sp>
        <p:nvSpPr>
          <p:cNvPr id="167" name="object 167"/>
          <p:cNvSpPr/>
          <p:nvPr/>
        </p:nvSpPr>
        <p:spPr>
          <a:xfrm>
            <a:off x="10413973" y="2106600"/>
            <a:ext cx="76045" cy="75737"/>
          </a:xfrm>
          <a:custGeom>
            <a:avLst/>
            <a:gdLst/>
            <a:ahLst/>
            <a:cxnLst/>
            <a:rect l="l" t="t" r="r" b="b"/>
            <a:pathLst>
              <a:path w="77629" h="77315">
                <a:moveTo>
                  <a:pt x="65043" y="0"/>
                </a:moveTo>
                <a:lnTo>
                  <a:pt x="4983" y="0"/>
                </a:lnTo>
                <a:lnTo>
                  <a:pt x="0" y="4991"/>
                </a:lnTo>
                <a:lnTo>
                  <a:pt x="0" y="72323"/>
                </a:lnTo>
                <a:lnTo>
                  <a:pt x="4983" y="77315"/>
                </a:lnTo>
                <a:lnTo>
                  <a:pt x="72561" y="77315"/>
                </a:lnTo>
                <a:lnTo>
                  <a:pt x="77629" y="72324"/>
                </a:lnTo>
                <a:lnTo>
                  <a:pt x="77629" y="4991"/>
                </a:lnTo>
                <a:lnTo>
                  <a:pt x="72561" y="0"/>
                </a:lnTo>
                <a:lnTo>
                  <a:pt x="65043" y="0"/>
                </a:lnTo>
                <a:close/>
              </a:path>
            </a:pathLst>
          </a:custGeom>
          <a:solidFill>
            <a:srgbClr val="0968FA"/>
          </a:solidFill>
        </p:spPr>
        <p:txBody>
          <a:bodyPr wrap="square" lIns="0" tIns="0" rIns="0" bIns="0" rtlCol="0">
            <a:noAutofit/>
          </a:bodyPr>
          <a:lstStyle/>
          <a:p>
            <a:endParaRPr sz="1763"/>
          </a:p>
        </p:txBody>
      </p:sp>
      <p:sp>
        <p:nvSpPr>
          <p:cNvPr id="168" name="object 168"/>
          <p:cNvSpPr/>
          <p:nvPr/>
        </p:nvSpPr>
        <p:spPr>
          <a:xfrm>
            <a:off x="10413973" y="1918501"/>
            <a:ext cx="76045" cy="75728"/>
          </a:xfrm>
          <a:custGeom>
            <a:avLst/>
            <a:gdLst/>
            <a:ahLst/>
            <a:cxnLst/>
            <a:rect l="l" t="t" r="r" b="b"/>
            <a:pathLst>
              <a:path w="77629" h="77306">
                <a:moveTo>
                  <a:pt x="65043" y="0"/>
                </a:moveTo>
                <a:lnTo>
                  <a:pt x="4983" y="0"/>
                </a:lnTo>
                <a:lnTo>
                  <a:pt x="0" y="4982"/>
                </a:lnTo>
                <a:lnTo>
                  <a:pt x="0" y="72315"/>
                </a:lnTo>
                <a:lnTo>
                  <a:pt x="4983" y="77306"/>
                </a:lnTo>
                <a:lnTo>
                  <a:pt x="72561" y="77306"/>
                </a:lnTo>
                <a:lnTo>
                  <a:pt x="77629" y="72315"/>
                </a:lnTo>
                <a:lnTo>
                  <a:pt x="77629" y="4982"/>
                </a:lnTo>
                <a:lnTo>
                  <a:pt x="72561" y="0"/>
                </a:lnTo>
                <a:lnTo>
                  <a:pt x="65043" y="0"/>
                </a:lnTo>
                <a:close/>
              </a:path>
            </a:pathLst>
          </a:custGeom>
          <a:solidFill>
            <a:srgbClr val="FA3C3E"/>
          </a:solidFill>
        </p:spPr>
        <p:txBody>
          <a:bodyPr wrap="square" lIns="0" tIns="0" rIns="0" bIns="0" rtlCol="0">
            <a:noAutofit/>
          </a:bodyPr>
          <a:lstStyle/>
          <a:p>
            <a:endParaRPr sz="1763"/>
          </a:p>
        </p:txBody>
      </p:sp>
      <p:sp>
        <p:nvSpPr>
          <p:cNvPr id="169" name="object 169"/>
          <p:cNvSpPr/>
          <p:nvPr/>
        </p:nvSpPr>
        <p:spPr>
          <a:xfrm>
            <a:off x="10413973" y="1730395"/>
            <a:ext cx="76045" cy="75728"/>
          </a:xfrm>
          <a:custGeom>
            <a:avLst/>
            <a:gdLst/>
            <a:ahLst/>
            <a:cxnLst/>
            <a:rect l="l" t="t" r="r" b="b"/>
            <a:pathLst>
              <a:path w="77629" h="77306">
                <a:moveTo>
                  <a:pt x="65043" y="0"/>
                </a:moveTo>
                <a:lnTo>
                  <a:pt x="4983" y="0"/>
                </a:lnTo>
                <a:lnTo>
                  <a:pt x="0" y="4982"/>
                </a:lnTo>
                <a:lnTo>
                  <a:pt x="0" y="72315"/>
                </a:lnTo>
                <a:lnTo>
                  <a:pt x="4983" y="77306"/>
                </a:lnTo>
                <a:lnTo>
                  <a:pt x="72561" y="77306"/>
                </a:lnTo>
                <a:lnTo>
                  <a:pt x="77629" y="72315"/>
                </a:lnTo>
                <a:lnTo>
                  <a:pt x="77629" y="4982"/>
                </a:lnTo>
                <a:lnTo>
                  <a:pt x="72561" y="0"/>
                </a:lnTo>
                <a:lnTo>
                  <a:pt x="65043" y="0"/>
                </a:lnTo>
                <a:close/>
              </a:path>
            </a:pathLst>
          </a:custGeom>
          <a:solidFill>
            <a:srgbClr val="21B3FF"/>
          </a:solidFill>
        </p:spPr>
        <p:txBody>
          <a:bodyPr wrap="square" lIns="0" tIns="0" rIns="0" bIns="0" rtlCol="0">
            <a:noAutofit/>
          </a:bodyPr>
          <a:lstStyle/>
          <a:p>
            <a:endParaRPr sz="1763"/>
          </a:p>
        </p:txBody>
      </p:sp>
      <p:sp>
        <p:nvSpPr>
          <p:cNvPr id="170" name="object 170"/>
          <p:cNvSpPr/>
          <p:nvPr/>
        </p:nvSpPr>
        <p:spPr>
          <a:xfrm>
            <a:off x="9467603" y="1661998"/>
            <a:ext cx="1059170" cy="803716"/>
          </a:xfrm>
          <a:custGeom>
            <a:avLst/>
            <a:gdLst/>
            <a:ahLst/>
            <a:cxnLst/>
            <a:rect l="l" t="t" r="r" b="b"/>
            <a:pathLst>
              <a:path w="1081236" h="820460">
                <a:moveTo>
                  <a:pt x="0" y="820460"/>
                </a:moveTo>
                <a:lnTo>
                  <a:pt x="1081236" y="820460"/>
                </a:lnTo>
                <a:lnTo>
                  <a:pt x="1081236" y="0"/>
                </a:lnTo>
                <a:lnTo>
                  <a:pt x="0" y="0"/>
                </a:lnTo>
                <a:lnTo>
                  <a:pt x="0" y="820460"/>
                </a:lnTo>
                <a:close/>
              </a:path>
            </a:pathLst>
          </a:custGeom>
          <a:solidFill>
            <a:srgbClr val="6F2F9F"/>
          </a:solidFill>
        </p:spPr>
        <p:txBody>
          <a:bodyPr wrap="square" lIns="0" tIns="0" rIns="0" bIns="0" rtlCol="0">
            <a:noAutofit/>
          </a:bodyPr>
          <a:lstStyle/>
          <a:p>
            <a:endParaRPr sz="1763"/>
          </a:p>
        </p:txBody>
      </p:sp>
      <p:sp>
        <p:nvSpPr>
          <p:cNvPr id="171" name="object 171"/>
          <p:cNvSpPr/>
          <p:nvPr/>
        </p:nvSpPr>
        <p:spPr>
          <a:xfrm>
            <a:off x="9781432" y="2062630"/>
            <a:ext cx="360408" cy="256513"/>
          </a:xfrm>
          <a:custGeom>
            <a:avLst/>
            <a:gdLst/>
            <a:ahLst/>
            <a:cxnLst/>
            <a:rect l="l" t="t" r="r" b="b"/>
            <a:pathLst>
              <a:path w="367916" h="261857">
                <a:moveTo>
                  <a:pt x="100115" y="47385"/>
                </a:moveTo>
                <a:lnTo>
                  <a:pt x="130145" y="47385"/>
                </a:lnTo>
                <a:lnTo>
                  <a:pt x="102616" y="74815"/>
                </a:lnTo>
                <a:lnTo>
                  <a:pt x="90097" y="74815"/>
                </a:lnTo>
                <a:lnTo>
                  <a:pt x="82587" y="99753"/>
                </a:lnTo>
                <a:lnTo>
                  <a:pt x="112626" y="99753"/>
                </a:lnTo>
                <a:lnTo>
                  <a:pt x="175194" y="39903"/>
                </a:lnTo>
                <a:lnTo>
                  <a:pt x="222751" y="87288"/>
                </a:lnTo>
                <a:lnTo>
                  <a:pt x="200223" y="147139"/>
                </a:lnTo>
                <a:lnTo>
                  <a:pt x="257790" y="92271"/>
                </a:lnTo>
                <a:lnTo>
                  <a:pt x="222751" y="47385"/>
                </a:lnTo>
                <a:lnTo>
                  <a:pt x="332877" y="47385"/>
                </a:lnTo>
                <a:lnTo>
                  <a:pt x="340386" y="74815"/>
                </a:lnTo>
                <a:lnTo>
                  <a:pt x="350396" y="19955"/>
                </a:lnTo>
                <a:lnTo>
                  <a:pt x="195222" y="19955"/>
                </a:lnTo>
                <a:lnTo>
                  <a:pt x="175194" y="0"/>
                </a:lnTo>
                <a:lnTo>
                  <a:pt x="155174" y="19955"/>
                </a:lnTo>
                <a:lnTo>
                  <a:pt x="100115" y="47385"/>
                </a:lnTo>
                <a:close/>
              </a:path>
              <a:path w="367916" h="261857">
                <a:moveTo>
                  <a:pt x="45048" y="209481"/>
                </a:moveTo>
                <a:lnTo>
                  <a:pt x="55058" y="182051"/>
                </a:lnTo>
                <a:lnTo>
                  <a:pt x="65068" y="154621"/>
                </a:lnTo>
                <a:lnTo>
                  <a:pt x="115126" y="154621"/>
                </a:lnTo>
                <a:lnTo>
                  <a:pt x="162683" y="147139"/>
                </a:lnTo>
                <a:lnTo>
                  <a:pt x="222751" y="209481"/>
                </a:lnTo>
                <a:lnTo>
                  <a:pt x="182703" y="129683"/>
                </a:lnTo>
                <a:lnTo>
                  <a:pt x="162683" y="109735"/>
                </a:lnTo>
                <a:lnTo>
                  <a:pt x="142664" y="127191"/>
                </a:lnTo>
                <a:lnTo>
                  <a:pt x="72578" y="127191"/>
                </a:lnTo>
                <a:lnTo>
                  <a:pt x="82587" y="99753"/>
                </a:lnTo>
                <a:lnTo>
                  <a:pt x="90097" y="74815"/>
                </a:lnTo>
                <a:lnTo>
                  <a:pt x="100115" y="47385"/>
                </a:lnTo>
                <a:lnTo>
                  <a:pt x="155174" y="19955"/>
                </a:lnTo>
                <a:lnTo>
                  <a:pt x="80087" y="19955"/>
                </a:lnTo>
                <a:lnTo>
                  <a:pt x="45048" y="209481"/>
                </a:lnTo>
                <a:close/>
              </a:path>
              <a:path w="367916" h="261857">
                <a:moveTo>
                  <a:pt x="100115" y="209481"/>
                </a:moveTo>
                <a:lnTo>
                  <a:pt x="162683" y="147139"/>
                </a:lnTo>
                <a:lnTo>
                  <a:pt x="115126" y="154621"/>
                </a:lnTo>
                <a:lnTo>
                  <a:pt x="87597" y="182051"/>
                </a:lnTo>
                <a:lnTo>
                  <a:pt x="55058" y="182051"/>
                </a:lnTo>
                <a:lnTo>
                  <a:pt x="45048" y="209481"/>
                </a:lnTo>
                <a:lnTo>
                  <a:pt x="100115" y="209481"/>
                </a:lnTo>
                <a:close/>
              </a:path>
              <a:path w="367916" h="261857">
                <a:moveTo>
                  <a:pt x="330376" y="127191"/>
                </a:moveTo>
                <a:lnTo>
                  <a:pt x="302847" y="99753"/>
                </a:lnTo>
                <a:lnTo>
                  <a:pt x="317858" y="154621"/>
                </a:lnTo>
                <a:lnTo>
                  <a:pt x="367916" y="154621"/>
                </a:lnTo>
                <a:lnTo>
                  <a:pt x="357906" y="127191"/>
                </a:lnTo>
                <a:lnTo>
                  <a:pt x="330376" y="127191"/>
                </a:lnTo>
                <a:close/>
              </a:path>
              <a:path w="367916" h="261857">
                <a:moveTo>
                  <a:pt x="433018" y="261857"/>
                </a:moveTo>
                <a:lnTo>
                  <a:pt x="350396" y="19955"/>
                </a:lnTo>
                <a:lnTo>
                  <a:pt x="340386" y="74815"/>
                </a:lnTo>
                <a:lnTo>
                  <a:pt x="275309" y="74815"/>
                </a:lnTo>
                <a:lnTo>
                  <a:pt x="257790" y="54867"/>
                </a:lnTo>
                <a:lnTo>
                  <a:pt x="242771" y="67332"/>
                </a:lnTo>
                <a:lnTo>
                  <a:pt x="222751" y="47385"/>
                </a:lnTo>
                <a:lnTo>
                  <a:pt x="257790" y="92271"/>
                </a:lnTo>
                <a:lnTo>
                  <a:pt x="317858" y="154621"/>
                </a:lnTo>
                <a:lnTo>
                  <a:pt x="302847" y="99753"/>
                </a:lnTo>
                <a:lnTo>
                  <a:pt x="350396" y="99753"/>
                </a:lnTo>
                <a:lnTo>
                  <a:pt x="357906" y="127191"/>
                </a:lnTo>
                <a:lnTo>
                  <a:pt x="367916" y="154621"/>
                </a:lnTo>
                <a:lnTo>
                  <a:pt x="377926" y="182051"/>
                </a:lnTo>
                <a:lnTo>
                  <a:pt x="235270" y="182051"/>
                </a:lnTo>
                <a:lnTo>
                  <a:pt x="200223" y="147139"/>
                </a:lnTo>
                <a:lnTo>
                  <a:pt x="222751" y="87288"/>
                </a:lnTo>
                <a:lnTo>
                  <a:pt x="182703" y="129683"/>
                </a:lnTo>
                <a:lnTo>
                  <a:pt x="222751" y="209481"/>
                </a:lnTo>
                <a:lnTo>
                  <a:pt x="385435" y="209481"/>
                </a:lnTo>
                <a:lnTo>
                  <a:pt x="395453" y="236919"/>
                </a:lnTo>
                <a:lnTo>
                  <a:pt x="37539" y="236919"/>
                </a:lnTo>
                <a:lnTo>
                  <a:pt x="45048" y="209481"/>
                </a:lnTo>
                <a:lnTo>
                  <a:pt x="80087" y="19955"/>
                </a:lnTo>
                <a:lnTo>
                  <a:pt x="0" y="261857"/>
                </a:lnTo>
                <a:lnTo>
                  <a:pt x="433018" y="261857"/>
                </a:lnTo>
                <a:close/>
              </a:path>
            </a:pathLst>
          </a:custGeom>
          <a:solidFill>
            <a:srgbClr val="FFFFFF"/>
          </a:solidFill>
        </p:spPr>
        <p:txBody>
          <a:bodyPr wrap="square" lIns="0" tIns="0" rIns="0" bIns="0" rtlCol="0">
            <a:noAutofit/>
          </a:bodyPr>
          <a:lstStyle/>
          <a:p>
            <a:endParaRPr sz="1763"/>
          </a:p>
        </p:txBody>
      </p:sp>
      <p:sp>
        <p:nvSpPr>
          <p:cNvPr id="172" name="object 172"/>
          <p:cNvSpPr/>
          <p:nvPr/>
        </p:nvSpPr>
        <p:spPr>
          <a:xfrm>
            <a:off x="9783873" y="1769483"/>
            <a:ext cx="346807" cy="224746"/>
          </a:xfrm>
          <a:custGeom>
            <a:avLst/>
            <a:gdLst/>
            <a:ahLst/>
            <a:cxnLst/>
            <a:rect l="l" t="t" r="r" b="b"/>
            <a:pathLst>
              <a:path w="354032" h="229428">
                <a:moveTo>
                  <a:pt x="87605" y="174560"/>
                </a:moveTo>
                <a:lnTo>
                  <a:pt x="102616" y="174560"/>
                </a:lnTo>
                <a:lnTo>
                  <a:pt x="110134" y="182043"/>
                </a:lnTo>
                <a:lnTo>
                  <a:pt x="110134" y="197007"/>
                </a:lnTo>
                <a:lnTo>
                  <a:pt x="102616" y="201998"/>
                </a:lnTo>
                <a:lnTo>
                  <a:pt x="95115" y="201998"/>
                </a:lnTo>
                <a:lnTo>
                  <a:pt x="108757" y="226840"/>
                </a:lnTo>
                <a:lnTo>
                  <a:pt x="120360" y="219888"/>
                </a:lnTo>
                <a:lnTo>
                  <a:pt x="129007" y="209797"/>
                </a:lnTo>
                <a:lnTo>
                  <a:pt x="132654" y="201998"/>
                </a:lnTo>
                <a:lnTo>
                  <a:pt x="300347" y="201998"/>
                </a:lnTo>
                <a:lnTo>
                  <a:pt x="307695" y="213050"/>
                </a:lnTo>
                <a:lnTo>
                  <a:pt x="317588" y="222008"/>
                </a:lnTo>
                <a:lnTo>
                  <a:pt x="329488" y="227798"/>
                </a:lnTo>
                <a:lnTo>
                  <a:pt x="340386" y="229428"/>
                </a:lnTo>
                <a:lnTo>
                  <a:pt x="354032" y="226840"/>
                </a:lnTo>
                <a:lnTo>
                  <a:pt x="352905" y="197007"/>
                </a:lnTo>
                <a:lnTo>
                  <a:pt x="347896" y="201998"/>
                </a:lnTo>
                <a:lnTo>
                  <a:pt x="332877" y="201998"/>
                </a:lnTo>
                <a:lnTo>
                  <a:pt x="325367" y="197007"/>
                </a:lnTo>
                <a:lnTo>
                  <a:pt x="325367" y="182043"/>
                </a:lnTo>
                <a:lnTo>
                  <a:pt x="332877" y="174560"/>
                </a:lnTo>
                <a:lnTo>
                  <a:pt x="340386" y="147130"/>
                </a:lnTo>
                <a:lnTo>
                  <a:pt x="327242" y="149514"/>
                </a:lnTo>
                <a:lnTo>
                  <a:pt x="315660" y="155947"/>
                </a:lnTo>
                <a:lnTo>
                  <a:pt x="306181" y="165358"/>
                </a:lnTo>
                <a:lnTo>
                  <a:pt x="300347" y="174560"/>
                </a:lnTo>
                <a:lnTo>
                  <a:pt x="162692" y="174560"/>
                </a:lnTo>
                <a:lnTo>
                  <a:pt x="135154" y="138593"/>
                </a:lnTo>
                <a:lnTo>
                  <a:pt x="135154" y="174560"/>
                </a:lnTo>
                <a:lnTo>
                  <a:pt x="132654" y="174560"/>
                </a:lnTo>
                <a:lnTo>
                  <a:pt x="126463" y="163063"/>
                </a:lnTo>
                <a:lnTo>
                  <a:pt x="116710" y="153900"/>
                </a:lnTo>
                <a:lnTo>
                  <a:pt x="104313" y="148291"/>
                </a:lnTo>
                <a:lnTo>
                  <a:pt x="95115" y="147130"/>
                </a:lnTo>
                <a:lnTo>
                  <a:pt x="81467" y="149718"/>
                </a:lnTo>
                <a:lnTo>
                  <a:pt x="82596" y="197007"/>
                </a:lnTo>
                <a:lnTo>
                  <a:pt x="82596" y="182043"/>
                </a:lnTo>
                <a:lnTo>
                  <a:pt x="87605" y="174560"/>
                </a:lnTo>
                <a:close/>
              </a:path>
              <a:path w="354032" h="229428">
                <a:moveTo>
                  <a:pt x="40047" y="174560"/>
                </a:moveTo>
                <a:lnTo>
                  <a:pt x="32538" y="174560"/>
                </a:lnTo>
                <a:lnTo>
                  <a:pt x="27537" y="169577"/>
                </a:lnTo>
                <a:lnTo>
                  <a:pt x="27537" y="107227"/>
                </a:lnTo>
                <a:lnTo>
                  <a:pt x="61318" y="107227"/>
                </a:lnTo>
                <a:lnTo>
                  <a:pt x="63357" y="79797"/>
                </a:lnTo>
                <a:lnTo>
                  <a:pt x="47549" y="79797"/>
                </a:lnTo>
                <a:lnTo>
                  <a:pt x="100115" y="24938"/>
                </a:lnTo>
                <a:lnTo>
                  <a:pt x="135154" y="24938"/>
                </a:lnTo>
                <a:lnTo>
                  <a:pt x="135154" y="138593"/>
                </a:lnTo>
                <a:lnTo>
                  <a:pt x="162692" y="174560"/>
                </a:lnTo>
                <a:lnTo>
                  <a:pt x="162692" y="24938"/>
                </a:lnTo>
                <a:lnTo>
                  <a:pt x="225260" y="24938"/>
                </a:lnTo>
                <a:lnTo>
                  <a:pt x="280319" y="79798"/>
                </a:lnTo>
                <a:lnTo>
                  <a:pt x="184261" y="79797"/>
                </a:lnTo>
                <a:lnTo>
                  <a:pt x="198613" y="107227"/>
                </a:lnTo>
                <a:lnTo>
                  <a:pt x="387944" y="107227"/>
                </a:lnTo>
                <a:lnTo>
                  <a:pt x="392945" y="112218"/>
                </a:lnTo>
                <a:lnTo>
                  <a:pt x="392945" y="174560"/>
                </a:lnTo>
                <a:lnTo>
                  <a:pt x="377934" y="174560"/>
                </a:lnTo>
                <a:lnTo>
                  <a:pt x="371744" y="163065"/>
                </a:lnTo>
                <a:lnTo>
                  <a:pt x="361993" y="153902"/>
                </a:lnTo>
                <a:lnTo>
                  <a:pt x="349594" y="148293"/>
                </a:lnTo>
                <a:lnTo>
                  <a:pt x="340386" y="147130"/>
                </a:lnTo>
                <a:lnTo>
                  <a:pt x="332877" y="174560"/>
                </a:lnTo>
                <a:lnTo>
                  <a:pt x="347896" y="174560"/>
                </a:lnTo>
                <a:lnTo>
                  <a:pt x="352905" y="182043"/>
                </a:lnTo>
                <a:lnTo>
                  <a:pt x="352905" y="197007"/>
                </a:lnTo>
                <a:lnTo>
                  <a:pt x="354032" y="226840"/>
                </a:lnTo>
                <a:lnTo>
                  <a:pt x="365637" y="219891"/>
                </a:lnTo>
                <a:lnTo>
                  <a:pt x="374285" y="209802"/>
                </a:lnTo>
                <a:lnTo>
                  <a:pt x="377934" y="201998"/>
                </a:lnTo>
                <a:lnTo>
                  <a:pt x="435510" y="201998"/>
                </a:lnTo>
                <a:lnTo>
                  <a:pt x="435510" y="174560"/>
                </a:lnTo>
                <a:lnTo>
                  <a:pt x="420474" y="174560"/>
                </a:lnTo>
                <a:lnTo>
                  <a:pt x="420474" y="119701"/>
                </a:lnTo>
                <a:lnTo>
                  <a:pt x="417967" y="105467"/>
                </a:lnTo>
                <a:lnTo>
                  <a:pt x="411008" y="93594"/>
                </a:lnTo>
                <a:lnTo>
                  <a:pt x="400445" y="84929"/>
                </a:lnTo>
                <a:lnTo>
                  <a:pt x="387122" y="80321"/>
                </a:lnTo>
                <a:lnTo>
                  <a:pt x="380443" y="79798"/>
                </a:lnTo>
                <a:lnTo>
                  <a:pt x="317858" y="79798"/>
                </a:lnTo>
                <a:lnTo>
                  <a:pt x="293787" y="55813"/>
                </a:lnTo>
                <a:lnTo>
                  <a:pt x="275098" y="37192"/>
                </a:lnTo>
                <a:lnTo>
                  <a:pt x="261110" y="23255"/>
                </a:lnTo>
                <a:lnTo>
                  <a:pt x="251143" y="13324"/>
                </a:lnTo>
                <a:lnTo>
                  <a:pt x="244515" y="6720"/>
                </a:lnTo>
                <a:lnTo>
                  <a:pt x="238551" y="778"/>
                </a:lnTo>
                <a:lnTo>
                  <a:pt x="90105" y="0"/>
                </a:lnTo>
                <a:lnTo>
                  <a:pt x="65416" y="23915"/>
                </a:lnTo>
                <a:lnTo>
                  <a:pt x="45707" y="43006"/>
                </a:lnTo>
                <a:lnTo>
                  <a:pt x="30416" y="57817"/>
                </a:lnTo>
                <a:lnTo>
                  <a:pt x="18984" y="68890"/>
                </a:lnTo>
                <a:lnTo>
                  <a:pt x="10850" y="76770"/>
                </a:lnTo>
                <a:lnTo>
                  <a:pt x="5451" y="81999"/>
                </a:lnTo>
                <a:lnTo>
                  <a:pt x="2228" y="85122"/>
                </a:lnTo>
                <a:lnTo>
                  <a:pt x="0" y="87280"/>
                </a:lnTo>
                <a:lnTo>
                  <a:pt x="0" y="162095"/>
                </a:lnTo>
                <a:lnTo>
                  <a:pt x="2510" y="176323"/>
                </a:lnTo>
                <a:lnTo>
                  <a:pt x="9474" y="188194"/>
                </a:lnTo>
                <a:lnTo>
                  <a:pt x="20041" y="196861"/>
                </a:lnTo>
                <a:lnTo>
                  <a:pt x="33360" y="201472"/>
                </a:lnTo>
                <a:lnTo>
                  <a:pt x="40047" y="201998"/>
                </a:lnTo>
                <a:lnTo>
                  <a:pt x="57567" y="201998"/>
                </a:lnTo>
                <a:lnTo>
                  <a:pt x="63753" y="213494"/>
                </a:lnTo>
                <a:lnTo>
                  <a:pt x="73506" y="222657"/>
                </a:lnTo>
                <a:lnTo>
                  <a:pt x="85906" y="228266"/>
                </a:lnTo>
                <a:lnTo>
                  <a:pt x="95115" y="229428"/>
                </a:lnTo>
                <a:lnTo>
                  <a:pt x="108757" y="226840"/>
                </a:lnTo>
                <a:lnTo>
                  <a:pt x="95115" y="201998"/>
                </a:lnTo>
                <a:lnTo>
                  <a:pt x="87605" y="201998"/>
                </a:lnTo>
                <a:lnTo>
                  <a:pt x="82596" y="197007"/>
                </a:lnTo>
                <a:lnTo>
                  <a:pt x="81467" y="149718"/>
                </a:lnTo>
                <a:lnTo>
                  <a:pt x="69861" y="156667"/>
                </a:lnTo>
                <a:lnTo>
                  <a:pt x="61213" y="166757"/>
                </a:lnTo>
                <a:lnTo>
                  <a:pt x="57567" y="174560"/>
                </a:lnTo>
                <a:lnTo>
                  <a:pt x="40047" y="174560"/>
                </a:lnTo>
                <a:close/>
              </a:path>
              <a:path w="354032" h="229428">
                <a:moveTo>
                  <a:pt x="198613" y="107227"/>
                </a:moveTo>
                <a:lnTo>
                  <a:pt x="184261" y="79797"/>
                </a:lnTo>
                <a:lnTo>
                  <a:pt x="162692" y="79797"/>
                </a:lnTo>
                <a:lnTo>
                  <a:pt x="162692" y="107227"/>
                </a:lnTo>
                <a:lnTo>
                  <a:pt x="198613" y="107227"/>
                </a:lnTo>
                <a:close/>
              </a:path>
              <a:path w="354032" h="229428">
                <a:moveTo>
                  <a:pt x="135154" y="79797"/>
                </a:moveTo>
                <a:lnTo>
                  <a:pt x="63357" y="79797"/>
                </a:lnTo>
                <a:lnTo>
                  <a:pt x="61318" y="107227"/>
                </a:lnTo>
                <a:lnTo>
                  <a:pt x="135154" y="107227"/>
                </a:lnTo>
                <a:lnTo>
                  <a:pt x="135154" y="79797"/>
                </a:lnTo>
                <a:close/>
              </a:path>
            </a:pathLst>
          </a:custGeom>
          <a:solidFill>
            <a:srgbClr val="FFFFFF"/>
          </a:solidFill>
        </p:spPr>
        <p:txBody>
          <a:bodyPr wrap="square" lIns="0" tIns="0" rIns="0" bIns="0" rtlCol="0">
            <a:noAutofit/>
          </a:bodyPr>
          <a:lstStyle/>
          <a:p>
            <a:endParaRPr sz="1763"/>
          </a:p>
        </p:txBody>
      </p:sp>
      <p:sp>
        <p:nvSpPr>
          <p:cNvPr id="173" name="object 173"/>
          <p:cNvSpPr/>
          <p:nvPr/>
        </p:nvSpPr>
        <p:spPr>
          <a:xfrm>
            <a:off x="5475008" y="1658645"/>
            <a:ext cx="1217149" cy="889794"/>
          </a:xfrm>
          <a:custGeom>
            <a:avLst/>
            <a:gdLst/>
            <a:ahLst/>
            <a:cxnLst/>
            <a:rect l="l" t="t" r="r" b="b"/>
            <a:pathLst>
              <a:path w="1242506" h="908331">
                <a:moveTo>
                  <a:pt x="237986" y="0"/>
                </a:moveTo>
                <a:lnTo>
                  <a:pt x="46847" y="0"/>
                </a:lnTo>
                <a:lnTo>
                  <a:pt x="6103" y="12338"/>
                </a:lnTo>
                <a:lnTo>
                  <a:pt x="0" y="861593"/>
                </a:lnTo>
                <a:lnTo>
                  <a:pt x="1058" y="880612"/>
                </a:lnTo>
                <a:lnTo>
                  <a:pt x="42303" y="908290"/>
                </a:lnTo>
                <a:lnTo>
                  <a:pt x="1195689" y="908331"/>
                </a:lnTo>
                <a:lnTo>
                  <a:pt x="1214757" y="907274"/>
                </a:lnTo>
                <a:lnTo>
                  <a:pt x="1242465" y="866093"/>
                </a:lnTo>
                <a:lnTo>
                  <a:pt x="1242506" y="46705"/>
                </a:lnTo>
                <a:lnTo>
                  <a:pt x="1241449" y="27677"/>
                </a:lnTo>
                <a:lnTo>
                  <a:pt x="1200164" y="40"/>
                </a:lnTo>
                <a:lnTo>
                  <a:pt x="237986" y="0"/>
                </a:lnTo>
                <a:close/>
              </a:path>
            </a:pathLst>
          </a:custGeom>
          <a:solidFill>
            <a:srgbClr val="CCCCCC"/>
          </a:solidFill>
        </p:spPr>
        <p:txBody>
          <a:bodyPr wrap="square" lIns="0" tIns="0" rIns="0" bIns="0" rtlCol="0">
            <a:noAutofit/>
          </a:bodyPr>
          <a:lstStyle/>
          <a:p>
            <a:endParaRPr sz="1763"/>
          </a:p>
        </p:txBody>
      </p:sp>
      <p:sp>
        <p:nvSpPr>
          <p:cNvPr id="174" name="object 174"/>
          <p:cNvSpPr/>
          <p:nvPr/>
        </p:nvSpPr>
        <p:spPr>
          <a:xfrm>
            <a:off x="5504942" y="1825860"/>
            <a:ext cx="3851" cy="680777"/>
          </a:xfrm>
          <a:custGeom>
            <a:avLst/>
            <a:gdLst/>
            <a:ahLst/>
            <a:cxnLst/>
            <a:rect l="l" t="t" r="r" b="b"/>
            <a:pathLst>
              <a:path w="3931" h="694960">
                <a:moveTo>
                  <a:pt x="0" y="694960"/>
                </a:moveTo>
                <a:lnTo>
                  <a:pt x="3931" y="694960"/>
                </a:lnTo>
                <a:lnTo>
                  <a:pt x="3931" y="0"/>
                </a:lnTo>
                <a:lnTo>
                  <a:pt x="0" y="0"/>
                </a:lnTo>
                <a:lnTo>
                  <a:pt x="0" y="694960"/>
                </a:lnTo>
                <a:close/>
              </a:path>
            </a:pathLst>
          </a:custGeom>
          <a:solidFill>
            <a:srgbClr val="00AF50"/>
          </a:solidFill>
        </p:spPr>
        <p:txBody>
          <a:bodyPr wrap="square" lIns="0" tIns="0" rIns="0" bIns="0" rtlCol="0">
            <a:noAutofit/>
          </a:bodyPr>
          <a:lstStyle/>
          <a:p>
            <a:endParaRPr sz="1763"/>
          </a:p>
        </p:txBody>
      </p:sp>
      <p:sp>
        <p:nvSpPr>
          <p:cNvPr id="175" name="object 175"/>
          <p:cNvSpPr/>
          <p:nvPr/>
        </p:nvSpPr>
        <p:spPr>
          <a:xfrm>
            <a:off x="5506932" y="1682495"/>
            <a:ext cx="121717" cy="119453"/>
          </a:xfrm>
          <a:custGeom>
            <a:avLst/>
            <a:gdLst/>
            <a:ahLst/>
            <a:cxnLst/>
            <a:rect l="l" t="t" r="r" b="b"/>
            <a:pathLst>
              <a:path w="124253" h="121942">
                <a:moveTo>
                  <a:pt x="124253" y="60971"/>
                </a:moveTo>
                <a:lnTo>
                  <a:pt x="123116" y="49175"/>
                </a:lnTo>
                <a:lnTo>
                  <a:pt x="118725" y="35602"/>
                </a:lnTo>
                <a:lnTo>
                  <a:pt x="111469" y="23714"/>
                </a:lnTo>
                <a:lnTo>
                  <a:pt x="101816" y="13862"/>
                </a:lnTo>
                <a:lnTo>
                  <a:pt x="90233" y="6393"/>
                </a:lnTo>
                <a:lnTo>
                  <a:pt x="77187" y="1656"/>
                </a:lnTo>
                <a:lnTo>
                  <a:pt x="63144" y="0"/>
                </a:lnTo>
                <a:lnTo>
                  <a:pt x="49815" y="1336"/>
                </a:lnTo>
                <a:lnTo>
                  <a:pt x="36290" y="5673"/>
                </a:lnTo>
                <a:lnTo>
                  <a:pt x="24312" y="12693"/>
                </a:lnTo>
                <a:lnTo>
                  <a:pt x="14286" y="22064"/>
                </a:lnTo>
                <a:lnTo>
                  <a:pt x="6621" y="33455"/>
                </a:lnTo>
                <a:lnTo>
                  <a:pt x="1723" y="46535"/>
                </a:lnTo>
                <a:lnTo>
                  <a:pt x="0" y="60970"/>
                </a:lnTo>
                <a:lnTo>
                  <a:pt x="1436" y="74179"/>
                </a:lnTo>
                <a:lnTo>
                  <a:pt x="6070" y="87392"/>
                </a:lnTo>
                <a:lnTo>
                  <a:pt x="13507" y="98946"/>
                </a:lnTo>
                <a:lnTo>
                  <a:pt x="23340" y="108509"/>
                </a:lnTo>
                <a:lnTo>
                  <a:pt x="35163" y="115750"/>
                </a:lnTo>
                <a:lnTo>
                  <a:pt x="48566" y="120339"/>
                </a:lnTo>
                <a:lnTo>
                  <a:pt x="63144" y="121942"/>
                </a:lnTo>
                <a:lnTo>
                  <a:pt x="74404" y="120881"/>
                </a:lnTo>
                <a:lnTo>
                  <a:pt x="87690" y="116741"/>
                </a:lnTo>
                <a:lnTo>
                  <a:pt x="99608" y="109798"/>
                </a:lnTo>
                <a:lnTo>
                  <a:pt x="109690" y="100401"/>
                </a:lnTo>
                <a:lnTo>
                  <a:pt x="117469" y="88898"/>
                </a:lnTo>
                <a:lnTo>
                  <a:pt x="122480" y="75639"/>
                </a:lnTo>
                <a:lnTo>
                  <a:pt x="124253" y="60971"/>
                </a:lnTo>
                <a:close/>
              </a:path>
            </a:pathLst>
          </a:custGeom>
          <a:solidFill>
            <a:srgbClr val="25A9DF"/>
          </a:solidFill>
        </p:spPr>
        <p:txBody>
          <a:bodyPr wrap="square" lIns="0" tIns="0" rIns="0" bIns="0" rtlCol="0">
            <a:noAutofit/>
          </a:bodyPr>
          <a:lstStyle/>
          <a:p>
            <a:endParaRPr sz="1763"/>
          </a:p>
        </p:txBody>
      </p:sp>
      <p:sp>
        <p:nvSpPr>
          <p:cNvPr id="176" name="object 176"/>
          <p:cNvSpPr/>
          <p:nvPr/>
        </p:nvSpPr>
        <p:spPr>
          <a:xfrm>
            <a:off x="5532876" y="1716356"/>
            <a:ext cx="71832" cy="51731"/>
          </a:xfrm>
          <a:custGeom>
            <a:avLst/>
            <a:gdLst/>
            <a:ahLst/>
            <a:cxnLst/>
            <a:rect l="l" t="t" r="r" b="b"/>
            <a:pathLst>
              <a:path w="73328" h="52809">
                <a:moveTo>
                  <a:pt x="24442" y="20300"/>
                </a:moveTo>
                <a:lnTo>
                  <a:pt x="44812" y="0"/>
                </a:lnTo>
                <a:lnTo>
                  <a:pt x="28519" y="0"/>
                </a:lnTo>
                <a:lnTo>
                  <a:pt x="0" y="26404"/>
                </a:lnTo>
                <a:lnTo>
                  <a:pt x="28519" y="52809"/>
                </a:lnTo>
                <a:lnTo>
                  <a:pt x="44812" y="52809"/>
                </a:lnTo>
                <a:lnTo>
                  <a:pt x="24442" y="32508"/>
                </a:lnTo>
                <a:lnTo>
                  <a:pt x="73328" y="32508"/>
                </a:lnTo>
                <a:lnTo>
                  <a:pt x="73328" y="20300"/>
                </a:lnTo>
                <a:lnTo>
                  <a:pt x="24442" y="20300"/>
                </a:lnTo>
                <a:close/>
              </a:path>
            </a:pathLst>
          </a:custGeom>
          <a:solidFill>
            <a:srgbClr val="7BC9F0"/>
          </a:solidFill>
        </p:spPr>
        <p:txBody>
          <a:bodyPr wrap="square" lIns="0" tIns="0" rIns="0" bIns="0" rtlCol="0">
            <a:noAutofit/>
          </a:bodyPr>
          <a:lstStyle/>
          <a:p>
            <a:endParaRPr sz="1763"/>
          </a:p>
        </p:txBody>
      </p:sp>
      <p:sp>
        <p:nvSpPr>
          <p:cNvPr id="177" name="object 177"/>
          <p:cNvSpPr/>
          <p:nvPr/>
        </p:nvSpPr>
        <p:spPr>
          <a:xfrm>
            <a:off x="5650603" y="1740218"/>
            <a:ext cx="1013660" cy="0"/>
          </a:xfrm>
          <a:custGeom>
            <a:avLst/>
            <a:gdLst/>
            <a:ahLst/>
            <a:cxnLst/>
            <a:rect l="l" t="t" r="r" b="b"/>
            <a:pathLst>
              <a:path w="1034778">
                <a:moveTo>
                  <a:pt x="0" y="0"/>
                </a:moveTo>
                <a:lnTo>
                  <a:pt x="1034778" y="0"/>
                </a:lnTo>
              </a:path>
            </a:pathLst>
          </a:custGeom>
          <a:ln w="58169">
            <a:solidFill>
              <a:srgbClr val="FFFFFF"/>
            </a:solidFill>
          </a:ln>
        </p:spPr>
        <p:txBody>
          <a:bodyPr wrap="square" lIns="0" tIns="0" rIns="0" bIns="0" rtlCol="0">
            <a:noAutofit/>
          </a:bodyPr>
          <a:lstStyle/>
          <a:p>
            <a:endParaRPr sz="1763"/>
          </a:p>
        </p:txBody>
      </p:sp>
      <p:sp>
        <p:nvSpPr>
          <p:cNvPr id="178" name="object 178"/>
          <p:cNvSpPr/>
          <p:nvPr/>
        </p:nvSpPr>
        <p:spPr>
          <a:xfrm>
            <a:off x="5788281" y="2030871"/>
            <a:ext cx="588640" cy="256744"/>
          </a:xfrm>
          <a:custGeom>
            <a:avLst/>
            <a:gdLst/>
            <a:ahLst/>
            <a:cxnLst/>
            <a:rect l="l" t="t" r="r" b="b"/>
            <a:pathLst>
              <a:path w="600903" h="262093">
                <a:moveTo>
                  <a:pt x="445714" y="73158"/>
                </a:moveTo>
                <a:lnTo>
                  <a:pt x="439966" y="73158"/>
                </a:lnTo>
                <a:lnTo>
                  <a:pt x="415802" y="49698"/>
                </a:lnTo>
                <a:lnTo>
                  <a:pt x="397450" y="31881"/>
                </a:lnTo>
                <a:lnTo>
                  <a:pt x="384111" y="18930"/>
                </a:lnTo>
                <a:lnTo>
                  <a:pt x="374984" y="10069"/>
                </a:lnTo>
                <a:lnTo>
                  <a:pt x="369270" y="4521"/>
                </a:lnTo>
                <a:lnTo>
                  <a:pt x="366170" y="1512"/>
                </a:lnTo>
                <a:lnTo>
                  <a:pt x="364613" y="0"/>
                </a:lnTo>
                <a:lnTo>
                  <a:pt x="350354" y="36575"/>
                </a:lnTo>
                <a:lnTo>
                  <a:pt x="387031" y="73158"/>
                </a:lnTo>
                <a:lnTo>
                  <a:pt x="262764" y="73158"/>
                </a:lnTo>
                <a:lnTo>
                  <a:pt x="262764" y="111764"/>
                </a:lnTo>
                <a:lnTo>
                  <a:pt x="525556" y="111764"/>
                </a:lnTo>
                <a:lnTo>
                  <a:pt x="539503" y="116410"/>
                </a:lnTo>
                <a:lnTo>
                  <a:pt x="545781" y="127904"/>
                </a:lnTo>
                <a:lnTo>
                  <a:pt x="545905" y="130055"/>
                </a:lnTo>
                <a:lnTo>
                  <a:pt x="545905" y="186952"/>
                </a:lnTo>
                <a:lnTo>
                  <a:pt x="523494" y="186952"/>
                </a:lnTo>
                <a:lnTo>
                  <a:pt x="517424" y="174716"/>
                </a:lnTo>
                <a:lnTo>
                  <a:pt x="508966" y="164296"/>
                </a:lnTo>
                <a:lnTo>
                  <a:pt x="498474" y="156138"/>
                </a:lnTo>
                <a:lnTo>
                  <a:pt x="486302" y="150687"/>
                </a:lnTo>
                <a:lnTo>
                  <a:pt x="472806" y="148386"/>
                </a:lnTo>
                <a:lnTo>
                  <a:pt x="470558" y="148340"/>
                </a:lnTo>
                <a:lnTo>
                  <a:pt x="483338" y="192112"/>
                </a:lnTo>
                <a:lnTo>
                  <a:pt x="488837" y="204698"/>
                </a:lnTo>
                <a:lnTo>
                  <a:pt x="488845" y="205243"/>
                </a:lnTo>
                <a:lnTo>
                  <a:pt x="483694" y="218019"/>
                </a:lnTo>
                <a:lnTo>
                  <a:pt x="471105" y="223527"/>
                </a:lnTo>
                <a:lnTo>
                  <a:pt x="470558" y="223535"/>
                </a:lnTo>
                <a:lnTo>
                  <a:pt x="484234" y="260382"/>
                </a:lnTo>
                <a:lnTo>
                  <a:pt x="496641" y="255403"/>
                </a:lnTo>
                <a:lnTo>
                  <a:pt x="507425" y="247648"/>
                </a:lnTo>
                <a:lnTo>
                  <a:pt x="516230" y="237559"/>
                </a:lnTo>
                <a:lnTo>
                  <a:pt x="522703" y="225582"/>
                </a:lnTo>
                <a:lnTo>
                  <a:pt x="523494" y="223535"/>
                </a:lnTo>
                <a:lnTo>
                  <a:pt x="600903" y="223535"/>
                </a:lnTo>
                <a:lnTo>
                  <a:pt x="600903" y="186952"/>
                </a:lnTo>
                <a:lnTo>
                  <a:pt x="582547" y="186952"/>
                </a:lnTo>
                <a:lnTo>
                  <a:pt x="582547" y="130055"/>
                </a:lnTo>
                <a:lnTo>
                  <a:pt x="580790" y="116024"/>
                </a:lnTo>
                <a:lnTo>
                  <a:pt x="575773" y="103126"/>
                </a:lnTo>
                <a:lnTo>
                  <a:pt x="567877" y="91887"/>
                </a:lnTo>
                <a:lnTo>
                  <a:pt x="557486" y="82834"/>
                </a:lnTo>
                <a:lnTo>
                  <a:pt x="544979" y="76491"/>
                </a:lnTo>
                <a:lnTo>
                  <a:pt x="530740" y="73384"/>
                </a:lnTo>
                <a:lnTo>
                  <a:pt x="525556" y="73158"/>
                </a:lnTo>
                <a:lnTo>
                  <a:pt x="445714" y="73158"/>
                </a:lnTo>
                <a:close/>
              </a:path>
              <a:path w="600903" h="262093">
                <a:moveTo>
                  <a:pt x="130130" y="262093"/>
                </a:moveTo>
                <a:lnTo>
                  <a:pt x="119611" y="218387"/>
                </a:lnTo>
                <a:lnTo>
                  <a:pt x="114080" y="205828"/>
                </a:lnTo>
                <a:lnTo>
                  <a:pt x="114071" y="205243"/>
                </a:lnTo>
                <a:lnTo>
                  <a:pt x="119228" y="192481"/>
                </a:lnTo>
                <a:lnTo>
                  <a:pt x="131820" y="186961"/>
                </a:lnTo>
                <a:lnTo>
                  <a:pt x="132406" y="186952"/>
                </a:lnTo>
                <a:lnTo>
                  <a:pt x="145197" y="192101"/>
                </a:lnTo>
                <a:lnTo>
                  <a:pt x="132406" y="148339"/>
                </a:lnTo>
                <a:lnTo>
                  <a:pt x="118714" y="150097"/>
                </a:lnTo>
                <a:lnTo>
                  <a:pt x="106296" y="155073"/>
                </a:lnTo>
                <a:lnTo>
                  <a:pt x="95506" y="162823"/>
                </a:lnTo>
                <a:lnTo>
                  <a:pt x="86700" y="172905"/>
                </a:lnTo>
                <a:lnTo>
                  <a:pt x="80236" y="184874"/>
                </a:lnTo>
                <a:lnTo>
                  <a:pt x="79437" y="186952"/>
                </a:lnTo>
                <a:lnTo>
                  <a:pt x="85490" y="235767"/>
                </a:lnTo>
                <a:lnTo>
                  <a:pt x="93942" y="246182"/>
                </a:lnTo>
                <a:lnTo>
                  <a:pt x="104437" y="254337"/>
                </a:lnTo>
                <a:lnTo>
                  <a:pt x="116618" y="259788"/>
                </a:lnTo>
                <a:lnTo>
                  <a:pt x="130130" y="262093"/>
                </a:lnTo>
                <a:close/>
              </a:path>
              <a:path w="600903" h="262093">
                <a:moveTo>
                  <a:pt x="294517" y="186952"/>
                </a:moveTo>
                <a:lnTo>
                  <a:pt x="262764" y="186952"/>
                </a:lnTo>
                <a:lnTo>
                  <a:pt x="262764" y="36575"/>
                </a:lnTo>
                <a:lnTo>
                  <a:pt x="350354" y="36575"/>
                </a:lnTo>
                <a:lnTo>
                  <a:pt x="364613" y="0"/>
                </a:lnTo>
                <a:lnTo>
                  <a:pt x="232479" y="0"/>
                </a:lnTo>
                <a:lnTo>
                  <a:pt x="226101" y="36575"/>
                </a:lnTo>
                <a:lnTo>
                  <a:pt x="226101" y="73158"/>
                </a:lnTo>
                <a:lnTo>
                  <a:pt x="158881" y="73158"/>
                </a:lnTo>
                <a:lnTo>
                  <a:pt x="195550" y="36575"/>
                </a:lnTo>
                <a:lnTo>
                  <a:pt x="181285" y="0"/>
                </a:lnTo>
                <a:lnTo>
                  <a:pt x="157047" y="23545"/>
                </a:lnTo>
                <a:lnTo>
                  <a:pt x="138484" y="41577"/>
                </a:lnTo>
                <a:lnTo>
                  <a:pt x="124839" y="54831"/>
                </a:lnTo>
                <a:lnTo>
                  <a:pt x="115356" y="64043"/>
                </a:lnTo>
                <a:lnTo>
                  <a:pt x="109278" y="69947"/>
                </a:lnTo>
                <a:lnTo>
                  <a:pt x="105847" y="73280"/>
                </a:lnTo>
                <a:lnTo>
                  <a:pt x="104306" y="74777"/>
                </a:lnTo>
                <a:lnTo>
                  <a:pt x="103883" y="75188"/>
                </a:lnTo>
                <a:lnTo>
                  <a:pt x="90073" y="77484"/>
                </a:lnTo>
                <a:lnTo>
                  <a:pt x="76938" y="81813"/>
                </a:lnTo>
                <a:lnTo>
                  <a:pt x="64664" y="88003"/>
                </a:lnTo>
                <a:lnTo>
                  <a:pt x="53435" y="95881"/>
                </a:lnTo>
                <a:lnTo>
                  <a:pt x="43435" y="105277"/>
                </a:lnTo>
                <a:lnTo>
                  <a:pt x="34849" y="116018"/>
                </a:lnTo>
                <a:lnTo>
                  <a:pt x="27862" y="127932"/>
                </a:lnTo>
                <a:lnTo>
                  <a:pt x="22657" y="140847"/>
                </a:lnTo>
                <a:lnTo>
                  <a:pt x="19420" y="154592"/>
                </a:lnTo>
                <a:lnTo>
                  <a:pt x="18334" y="168668"/>
                </a:lnTo>
                <a:lnTo>
                  <a:pt x="18334" y="186952"/>
                </a:lnTo>
                <a:lnTo>
                  <a:pt x="0" y="186952"/>
                </a:lnTo>
                <a:lnTo>
                  <a:pt x="0" y="223535"/>
                </a:lnTo>
                <a:lnTo>
                  <a:pt x="79437" y="223535"/>
                </a:lnTo>
                <a:lnTo>
                  <a:pt x="85490" y="235767"/>
                </a:lnTo>
                <a:lnTo>
                  <a:pt x="79437" y="186952"/>
                </a:lnTo>
                <a:lnTo>
                  <a:pt x="57032" y="186952"/>
                </a:lnTo>
                <a:lnTo>
                  <a:pt x="57032" y="168668"/>
                </a:lnTo>
                <a:lnTo>
                  <a:pt x="58790" y="153961"/>
                </a:lnTo>
                <a:lnTo>
                  <a:pt x="63810" y="140848"/>
                </a:lnTo>
                <a:lnTo>
                  <a:pt x="71708" y="129711"/>
                </a:lnTo>
                <a:lnTo>
                  <a:pt x="82102" y="120932"/>
                </a:lnTo>
                <a:lnTo>
                  <a:pt x="94607" y="114893"/>
                </a:lnTo>
                <a:lnTo>
                  <a:pt x="108842" y="111976"/>
                </a:lnTo>
                <a:lnTo>
                  <a:pt x="114071" y="111764"/>
                </a:lnTo>
                <a:lnTo>
                  <a:pt x="226101" y="111764"/>
                </a:lnTo>
                <a:lnTo>
                  <a:pt x="226101" y="186952"/>
                </a:lnTo>
                <a:lnTo>
                  <a:pt x="185362" y="186952"/>
                </a:lnTo>
                <a:lnTo>
                  <a:pt x="179308" y="174718"/>
                </a:lnTo>
                <a:lnTo>
                  <a:pt x="170857" y="164301"/>
                </a:lnTo>
                <a:lnTo>
                  <a:pt x="160363" y="156144"/>
                </a:lnTo>
                <a:lnTo>
                  <a:pt x="148184" y="150691"/>
                </a:lnTo>
                <a:lnTo>
                  <a:pt x="134674" y="148386"/>
                </a:lnTo>
                <a:lnTo>
                  <a:pt x="132406" y="148339"/>
                </a:lnTo>
                <a:lnTo>
                  <a:pt x="145197" y="192101"/>
                </a:lnTo>
                <a:lnTo>
                  <a:pt x="150725" y="204665"/>
                </a:lnTo>
                <a:lnTo>
                  <a:pt x="150734" y="205243"/>
                </a:lnTo>
                <a:lnTo>
                  <a:pt x="145576" y="218008"/>
                </a:lnTo>
                <a:lnTo>
                  <a:pt x="132986" y="223526"/>
                </a:lnTo>
                <a:lnTo>
                  <a:pt x="132406" y="223535"/>
                </a:lnTo>
                <a:lnTo>
                  <a:pt x="119611" y="218387"/>
                </a:lnTo>
                <a:lnTo>
                  <a:pt x="130130" y="262093"/>
                </a:lnTo>
                <a:lnTo>
                  <a:pt x="132406" y="262141"/>
                </a:lnTo>
                <a:lnTo>
                  <a:pt x="146097" y="260383"/>
                </a:lnTo>
                <a:lnTo>
                  <a:pt x="158514" y="255407"/>
                </a:lnTo>
                <a:lnTo>
                  <a:pt x="169303" y="247655"/>
                </a:lnTo>
                <a:lnTo>
                  <a:pt x="178106" y="237571"/>
                </a:lnTo>
                <a:lnTo>
                  <a:pt x="184568" y="225598"/>
                </a:lnTo>
                <a:lnTo>
                  <a:pt x="185362" y="223535"/>
                </a:lnTo>
                <a:lnTo>
                  <a:pt x="417555" y="223535"/>
                </a:lnTo>
                <a:lnTo>
                  <a:pt x="423619" y="235762"/>
                </a:lnTo>
                <a:lnTo>
                  <a:pt x="432071" y="246174"/>
                </a:lnTo>
                <a:lnTo>
                  <a:pt x="442561" y="254328"/>
                </a:lnTo>
                <a:lnTo>
                  <a:pt x="454737" y="259782"/>
                </a:lnTo>
                <a:lnTo>
                  <a:pt x="468250" y="262092"/>
                </a:lnTo>
                <a:lnTo>
                  <a:pt x="470558" y="262141"/>
                </a:lnTo>
                <a:lnTo>
                  <a:pt x="484234" y="260382"/>
                </a:lnTo>
                <a:lnTo>
                  <a:pt x="470558" y="223535"/>
                </a:lnTo>
                <a:lnTo>
                  <a:pt x="457738" y="218393"/>
                </a:lnTo>
                <a:lnTo>
                  <a:pt x="452213" y="205845"/>
                </a:lnTo>
                <a:lnTo>
                  <a:pt x="452203" y="205243"/>
                </a:lnTo>
                <a:lnTo>
                  <a:pt x="457344" y="192487"/>
                </a:lnTo>
                <a:lnTo>
                  <a:pt x="469952" y="186962"/>
                </a:lnTo>
                <a:lnTo>
                  <a:pt x="470558" y="186952"/>
                </a:lnTo>
                <a:lnTo>
                  <a:pt x="483338" y="192112"/>
                </a:lnTo>
                <a:lnTo>
                  <a:pt x="470558" y="148340"/>
                </a:lnTo>
                <a:lnTo>
                  <a:pt x="456862" y="150095"/>
                </a:lnTo>
                <a:lnTo>
                  <a:pt x="444444" y="155067"/>
                </a:lnTo>
                <a:lnTo>
                  <a:pt x="433655" y="162812"/>
                </a:lnTo>
                <a:lnTo>
                  <a:pt x="424847" y="172886"/>
                </a:lnTo>
                <a:lnTo>
                  <a:pt x="418368" y="184847"/>
                </a:lnTo>
                <a:lnTo>
                  <a:pt x="417555" y="186952"/>
                </a:lnTo>
                <a:lnTo>
                  <a:pt x="294517" y="186952"/>
                </a:lnTo>
                <a:close/>
              </a:path>
              <a:path w="600903" h="262093">
                <a:moveTo>
                  <a:pt x="195550" y="36575"/>
                </a:moveTo>
                <a:lnTo>
                  <a:pt x="226101" y="36575"/>
                </a:lnTo>
                <a:lnTo>
                  <a:pt x="232479" y="0"/>
                </a:lnTo>
                <a:lnTo>
                  <a:pt x="181285" y="0"/>
                </a:lnTo>
                <a:lnTo>
                  <a:pt x="195550" y="36575"/>
                </a:lnTo>
                <a:close/>
              </a:path>
            </a:pathLst>
          </a:custGeom>
          <a:solidFill>
            <a:srgbClr val="FFFFFF"/>
          </a:solidFill>
        </p:spPr>
        <p:txBody>
          <a:bodyPr wrap="square" lIns="0" tIns="0" rIns="0" bIns="0" rtlCol="0">
            <a:noAutofit/>
          </a:bodyPr>
          <a:lstStyle/>
          <a:p>
            <a:endParaRPr sz="1763"/>
          </a:p>
        </p:txBody>
      </p:sp>
      <p:sp>
        <p:nvSpPr>
          <p:cNvPr id="179" name="object 179"/>
          <p:cNvSpPr/>
          <p:nvPr/>
        </p:nvSpPr>
        <p:spPr>
          <a:xfrm>
            <a:off x="5508793" y="1828863"/>
            <a:ext cx="1155503" cy="680760"/>
          </a:xfrm>
          <a:custGeom>
            <a:avLst/>
            <a:gdLst/>
            <a:ahLst/>
            <a:cxnLst/>
            <a:rect l="l" t="t" r="r" b="b"/>
            <a:pathLst>
              <a:path w="1179576" h="694943">
                <a:moveTo>
                  <a:pt x="0" y="694943"/>
                </a:moveTo>
                <a:lnTo>
                  <a:pt x="1179576" y="694943"/>
                </a:lnTo>
                <a:lnTo>
                  <a:pt x="1179576" y="0"/>
                </a:lnTo>
                <a:lnTo>
                  <a:pt x="0" y="0"/>
                </a:lnTo>
                <a:lnTo>
                  <a:pt x="0" y="694943"/>
                </a:lnTo>
                <a:close/>
              </a:path>
            </a:pathLst>
          </a:custGeom>
          <a:solidFill>
            <a:srgbClr val="00AFEF"/>
          </a:solidFill>
        </p:spPr>
        <p:txBody>
          <a:bodyPr wrap="square" lIns="0" tIns="0" rIns="0" bIns="0" rtlCol="0">
            <a:noAutofit/>
          </a:bodyPr>
          <a:lstStyle/>
          <a:p>
            <a:endParaRPr sz="1763"/>
          </a:p>
        </p:txBody>
      </p:sp>
      <p:sp>
        <p:nvSpPr>
          <p:cNvPr id="180" name="object 180"/>
          <p:cNvSpPr/>
          <p:nvPr/>
        </p:nvSpPr>
        <p:spPr>
          <a:xfrm>
            <a:off x="5571495" y="1963222"/>
            <a:ext cx="143317" cy="295593"/>
          </a:xfrm>
          <a:custGeom>
            <a:avLst/>
            <a:gdLst/>
            <a:ahLst/>
            <a:cxnLst/>
            <a:rect l="l" t="t" r="r" b="b"/>
            <a:pathLst>
              <a:path w="146303" h="301751">
                <a:moveTo>
                  <a:pt x="0" y="301751"/>
                </a:moveTo>
                <a:lnTo>
                  <a:pt x="146303" y="301751"/>
                </a:lnTo>
                <a:lnTo>
                  <a:pt x="146303" y="0"/>
                </a:lnTo>
                <a:lnTo>
                  <a:pt x="0" y="0"/>
                </a:lnTo>
                <a:lnTo>
                  <a:pt x="0" y="301751"/>
                </a:lnTo>
                <a:close/>
              </a:path>
            </a:pathLst>
          </a:custGeom>
          <a:solidFill>
            <a:srgbClr val="FFFFFF"/>
          </a:solidFill>
        </p:spPr>
        <p:txBody>
          <a:bodyPr wrap="square" lIns="0" tIns="0" rIns="0" bIns="0" rtlCol="0">
            <a:noAutofit/>
          </a:bodyPr>
          <a:lstStyle/>
          <a:p>
            <a:endParaRPr sz="1763"/>
          </a:p>
        </p:txBody>
      </p:sp>
      <p:sp>
        <p:nvSpPr>
          <p:cNvPr id="181" name="object 181"/>
          <p:cNvSpPr/>
          <p:nvPr/>
        </p:nvSpPr>
        <p:spPr>
          <a:xfrm>
            <a:off x="5571495" y="1962600"/>
            <a:ext cx="143317" cy="46031"/>
          </a:xfrm>
          <a:custGeom>
            <a:avLst/>
            <a:gdLst/>
            <a:ahLst/>
            <a:cxnLst/>
            <a:rect l="l" t="t" r="r" b="b"/>
            <a:pathLst>
              <a:path w="146303" h="46990">
                <a:moveTo>
                  <a:pt x="0" y="46990"/>
                </a:moveTo>
                <a:lnTo>
                  <a:pt x="146303" y="46990"/>
                </a:lnTo>
                <a:lnTo>
                  <a:pt x="146303" y="0"/>
                </a:lnTo>
                <a:lnTo>
                  <a:pt x="0" y="0"/>
                </a:lnTo>
                <a:lnTo>
                  <a:pt x="0" y="46990"/>
                </a:lnTo>
                <a:close/>
              </a:path>
            </a:pathLst>
          </a:custGeom>
          <a:solidFill>
            <a:srgbClr val="FF0000"/>
          </a:solidFill>
        </p:spPr>
        <p:txBody>
          <a:bodyPr wrap="square" lIns="0" tIns="0" rIns="0" bIns="0" rtlCol="0">
            <a:noAutofit/>
          </a:bodyPr>
          <a:lstStyle/>
          <a:p>
            <a:endParaRPr sz="1763"/>
          </a:p>
        </p:txBody>
      </p:sp>
      <p:sp>
        <p:nvSpPr>
          <p:cNvPr id="182" name="object 182"/>
          <p:cNvSpPr/>
          <p:nvPr/>
        </p:nvSpPr>
        <p:spPr>
          <a:xfrm>
            <a:off x="5795429" y="1963222"/>
            <a:ext cx="134361" cy="295593"/>
          </a:xfrm>
          <a:custGeom>
            <a:avLst/>
            <a:gdLst/>
            <a:ahLst/>
            <a:cxnLst/>
            <a:rect l="l" t="t" r="r" b="b"/>
            <a:pathLst>
              <a:path w="137160" h="301751">
                <a:moveTo>
                  <a:pt x="0" y="301751"/>
                </a:moveTo>
                <a:lnTo>
                  <a:pt x="137160" y="301751"/>
                </a:lnTo>
                <a:lnTo>
                  <a:pt x="137160" y="0"/>
                </a:lnTo>
                <a:lnTo>
                  <a:pt x="0" y="0"/>
                </a:lnTo>
                <a:lnTo>
                  <a:pt x="0" y="301751"/>
                </a:lnTo>
                <a:close/>
              </a:path>
            </a:pathLst>
          </a:custGeom>
          <a:solidFill>
            <a:srgbClr val="FFFFFF"/>
          </a:solidFill>
        </p:spPr>
        <p:txBody>
          <a:bodyPr wrap="square" lIns="0" tIns="0" rIns="0" bIns="0" rtlCol="0">
            <a:noAutofit/>
          </a:bodyPr>
          <a:lstStyle/>
          <a:p>
            <a:endParaRPr sz="1763"/>
          </a:p>
        </p:txBody>
      </p:sp>
      <p:sp>
        <p:nvSpPr>
          <p:cNvPr id="183" name="object 183"/>
          <p:cNvSpPr/>
          <p:nvPr/>
        </p:nvSpPr>
        <p:spPr>
          <a:xfrm>
            <a:off x="5795429" y="1962600"/>
            <a:ext cx="134361" cy="46031"/>
          </a:xfrm>
          <a:custGeom>
            <a:avLst/>
            <a:gdLst/>
            <a:ahLst/>
            <a:cxnLst/>
            <a:rect l="l" t="t" r="r" b="b"/>
            <a:pathLst>
              <a:path w="137160" h="46990">
                <a:moveTo>
                  <a:pt x="0" y="46990"/>
                </a:moveTo>
                <a:lnTo>
                  <a:pt x="137160" y="46990"/>
                </a:lnTo>
                <a:lnTo>
                  <a:pt x="137160" y="0"/>
                </a:lnTo>
                <a:lnTo>
                  <a:pt x="0" y="0"/>
                </a:lnTo>
                <a:lnTo>
                  <a:pt x="0" y="46990"/>
                </a:lnTo>
                <a:close/>
              </a:path>
            </a:pathLst>
          </a:custGeom>
          <a:solidFill>
            <a:srgbClr val="FF6600"/>
          </a:solidFill>
        </p:spPr>
        <p:txBody>
          <a:bodyPr wrap="square" lIns="0" tIns="0" rIns="0" bIns="0" rtlCol="0">
            <a:noAutofit/>
          </a:bodyPr>
          <a:lstStyle/>
          <a:p>
            <a:endParaRPr sz="1763"/>
          </a:p>
        </p:txBody>
      </p:sp>
      <p:sp>
        <p:nvSpPr>
          <p:cNvPr id="184" name="object 184"/>
          <p:cNvSpPr/>
          <p:nvPr/>
        </p:nvSpPr>
        <p:spPr>
          <a:xfrm>
            <a:off x="6010407" y="1963222"/>
            <a:ext cx="134361" cy="295593"/>
          </a:xfrm>
          <a:custGeom>
            <a:avLst/>
            <a:gdLst/>
            <a:ahLst/>
            <a:cxnLst/>
            <a:rect l="l" t="t" r="r" b="b"/>
            <a:pathLst>
              <a:path w="137160" h="301751">
                <a:moveTo>
                  <a:pt x="0" y="301751"/>
                </a:moveTo>
                <a:lnTo>
                  <a:pt x="137160" y="301751"/>
                </a:lnTo>
                <a:lnTo>
                  <a:pt x="137160" y="0"/>
                </a:lnTo>
                <a:lnTo>
                  <a:pt x="0" y="0"/>
                </a:lnTo>
                <a:lnTo>
                  <a:pt x="0" y="301751"/>
                </a:lnTo>
                <a:close/>
              </a:path>
            </a:pathLst>
          </a:custGeom>
          <a:solidFill>
            <a:srgbClr val="FFFFFF"/>
          </a:solidFill>
        </p:spPr>
        <p:txBody>
          <a:bodyPr wrap="square" lIns="0" tIns="0" rIns="0" bIns="0" rtlCol="0">
            <a:noAutofit/>
          </a:bodyPr>
          <a:lstStyle/>
          <a:p>
            <a:endParaRPr sz="1763"/>
          </a:p>
        </p:txBody>
      </p:sp>
      <p:sp>
        <p:nvSpPr>
          <p:cNvPr id="185" name="object 185"/>
          <p:cNvSpPr/>
          <p:nvPr/>
        </p:nvSpPr>
        <p:spPr>
          <a:xfrm>
            <a:off x="6010407" y="1962600"/>
            <a:ext cx="134361" cy="46031"/>
          </a:xfrm>
          <a:custGeom>
            <a:avLst/>
            <a:gdLst/>
            <a:ahLst/>
            <a:cxnLst/>
            <a:rect l="l" t="t" r="r" b="b"/>
            <a:pathLst>
              <a:path w="137160" h="46990">
                <a:moveTo>
                  <a:pt x="0" y="46990"/>
                </a:moveTo>
                <a:lnTo>
                  <a:pt x="137160" y="46990"/>
                </a:lnTo>
                <a:lnTo>
                  <a:pt x="137160" y="0"/>
                </a:lnTo>
                <a:lnTo>
                  <a:pt x="0" y="0"/>
                </a:lnTo>
                <a:lnTo>
                  <a:pt x="0" y="46990"/>
                </a:lnTo>
                <a:close/>
              </a:path>
            </a:pathLst>
          </a:custGeom>
          <a:solidFill>
            <a:srgbClr val="001F5F"/>
          </a:solidFill>
        </p:spPr>
        <p:txBody>
          <a:bodyPr wrap="square" lIns="0" tIns="0" rIns="0" bIns="0" rtlCol="0">
            <a:noAutofit/>
          </a:bodyPr>
          <a:lstStyle/>
          <a:p>
            <a:endParaRPr sz="1763"/>
          </a:p>
        </p:txBody>
      </p:sp>
      <p:sp>
        <p:nvSpPr>
          <p:cNvPr id="186" name="object 186"/>
          <p:cNvSpPr/>
          <p:nvPr/>
        </p:nvSpPr>
        <p:spPr>
          <a:xfrm>
            <a:off x="6225384" y="1963222"/>
            <a:ext cx="134361" cy="295593"/>
          </a:xfrm>
          <a:custGeom>
            <a:avLst/>
            <a:gdLst/>
            <a:ahLst/>
            <a:cxnLst/>
            <a:rect l="l" t="t" r="r" b="b"/>
            <a:pathLst>
              <a:path w="137160" h="301751">
                <a:moveTo>
                  <a:pt x="0" y="301751"/>
                </a:moveTo>
                <a:lnTo>
                  <a:pt x="137160" y="301751"/>
                </a:lnTo>
                <a:lnTo>
                  <a:pt x="137160" y="0"/>
                </a:lnTo>
                <a:lnTo>
                  <a:pt x="0" y="0"/>
                </a:lnTo>
                <a:lnTo>
                  <a:pt x="0" y="301751"/>
                </a:lnTo>
                <a:close/>
              </a:path>
            </a:pathLst>
          </a:custGeom>
          <a:solidFill>
            <a:srgbClr val="FFFFFF"/>
          </a:solidFill>
        </p:spPr>
        <p:txBody>
          <a:bodyPr wrap="square" lIns="0" tIns="0" rIns="0" bIns="0" rtlCol="0">
            <a:noAutofit/>
          </a:bodyPr>
          <a:lstStyle/>
          <a:p>
            <a:endParaRPr sz="1763"/>
          </a:p>
        </p:txBody>
      </p:sp>
      <p:sp>
        <p:nvSpPr>
          <p:cNvPr id="187" name="object 187"/>
          <p:cNvSpPr/>
          <p:nvPr/>
        </p:nvSpPr>
        <p:spPr>
          <a:xfrm>
            <a:off x="6225384" y="1962600"/>
            <a:ext cx="134361" cy="46031"/>
          </a:xfrm>
          <a:custGeom>
            <a:avLst/>
            <a:gdLst/>
            <a:ahLst/>
            <a:cxnLst/>
            <a:rect l="l" t="t" r="r" b="b"/>
            <a:pathLst>
              <a:path w="137160" h="46990">
                <a:moveTo>
                  <a:pt x="0" y="46990"/>
                </a:moveTo>
                <a:lnTo>
                  <a:pt x="137160" y="46990"/>
                </a:lnTo>
                <a:lnTo>
                  <a:pt x="137160" y="0"/>
                </a:lnTo>
                <a:lnTo>
                  <a:pt x="0" y="0"/>
                </a:lnTo>
                <a:lnTo>
                  <a:pt x="0" y="46990"/>
                </a:lnTo>
                <a:close/>
              </a:path>
            </a:pathLst>
          </a:custGeom>
          <a:solidFill>
            <a:srgbClr val="92D050"/>
          </a:solidFill>
        </p:spPr>
        <p:txBody>
          <a:bodyPr wrap="square" lIns="0" tIns="0" rIns="0" bIns="0" rtlCol="0">
            <a:noAutofit/>
          </a:bodyPr>
          <a:lstStyle/>
          <a:p>
            <a:endParaRPr sz="1763"/>
          </a:p>
        </p:txBody>
      </p:sp>
      <p:sp>
        <p:nvSpPr>
          <p:cNvPr id="188" name="object 188"/>
          <p:cNvSpPr/>
          <p:nvPr/>
        </p:nvSpPr>
        <p:spPr>
          <a:xfrm>
            <a:off x="6440361" y="1963222"/>
            <a:ext cx="143317" cy="295593"/>
          </a:xfrm>
          <a:custGeom>
            <a:avLst/>
            <a:gdLst/>
            <a:ahLst/>
            <a:cxnLst/>
            <a:rect l="l" t="t" r="r" b="b"/>
            <a:pathLst>
              <a:path w="146303" h="301751">
                <a:moveTo>
                  <a:pt x="0" y="301751"/>
                </a:moveTo>
                <a:lnTo>
                  <a:pt x="146303" y="301751"/>
                </a:lnTo>
                <a:lnTo>
                  <a:pt x="146303" y="0"/>
                </a:lnTo>
                <a:lnTo>
                  <a:pt x="0" y="0"/>
                </a:lnTo>
                <a:lnTo>
                  <a:pt x="0" y="301751"/>
                </a:lnTo>
                <a:close/>
              </a:path>
            </a:pathLst>
          </a:custGeom>
          <a:solidFill>
            <a:srgbClr val="FFFFFF"/>
          </a:solidFill>
        </p:spPr>
        <p:txBody>
          <a:bodyPr wrap="square" lIns="0" tIns="0" rIns="0" bIns="0" rtlCol="0">
            <a:noAutofit/>
          </a:bodyPr>
          <a:lstStyle/>
          <a:p>
            <a:endParaRPr sz="1763"/>
          </a:p>
        </p:txBody>
      </p:sp>
      <p:sp>
        <p:nvSpPr>
          <p:cNvPr id="189" name="object 189"/>
          <p:cNvSpPr/>
          <p:nvPr/>
        </p:nvSpPr>
        <p:spPr>
          <a:xfrm>
            <a:off x="6440361" y="1962600"/>
            <a:ext cx="143317" cy="46031"/>
          </a:xfrm>
          <a:custGeom>
            <a:avLst/>
            <a:gdLst/>
            <a:ahLst/>
            <a:cxnLst/>
            <a:rect l="l" t="t" r="r" b="b"/>
            <a:pathLst>
              <a:path w="146303" h="46990">
                <a:moveTo>
                  <a:pt x="0" y="46990"/>
                </a:moveTo>
                <a:lnTo>
                  <a:pt x="146303" y="46990"/>
                </a:lnTo>
                <a:lnTo>
                  <a:pt x="146303" y="0"/>
                </a:lnTo>
                <a:lnTo>
                  <a:pt x="0" y="0"/>
                </a:lnTo>
                <a:lnTo>
                  <a:pt x="0" y="46990"/>
                </a:lnTo>
                <a:close/>
              </a:path>
            </a:pathLst>
          </a:custGeom>
          <a:solidFill>
            <a:srgbClr val="C00000"/>
          </a:solidFill>
        </p:spPr>
        <p:txBody>
          <a:bodyPr wrap="square" lIns="0" tIns="0" rIns="0" bIns="0" rtlCol="0">
            <a:noAutofit/>
          </a:bodyPr>
          <a:lstStyle/>
          <a:p>
            <a:endParaRPr sz="1763"/>
          </a:p>
        </p:txBody>
      </p:sp>
      <p:sp>
        <p:nvSpPr>
          <p:cNvPr id="190" name="object 190"/>
          <p:cNvSpPr/>
          <p:nvPr/>
        </p:nvSpPr>
        <p:spPr>
          <a:xfrm>
            <a:off x="5723770" y="2106540"/>
            <a:ext cx="53743" cy="44787"/>
          </a:xfrm>
          <a:custGeom>
            <a:avLst/>
            <a:gdLst/>
            <a:ahLst/>
            <a:cxnLst/>
            <a:rect l="l" t="t" r="r" b="b"/>
            <a:pathLst>
              <a:path w="54863" h="45720">
                <a:moveTo>
                  <a:pt x="32004" y="0"/>
                </a:moveTo>
                <a:lnTo>
                  <a:pt x="0" y="0"/>
                </a:lnTo>
                <a:lnTo>
                  <a:pt x="22860" y="22860"/>
                </a:lnTo>
                <a:lnTo>
                  <a:pt x="0" y="45720"/>
                </a:lnTo>
                <a:lnTo>
                  <a:pt x="32004" y="45720"/>
                </a:lnTo>
                <a:lnTo>
                  <a:pt x="54863" y="22860"/>
                </a:lnTo>
                <a:lnTo>
                  <a:pt x="32004" y="0"/>
                </a:lnTo>
                <a:close/>
              </a:path>
            </a:pathLst>
          </a:custGeom>
          <a:solidFill>
            <a:srgbClr val="FFFFFF"/>
          </a:solidFill>
        </p:spPr>
        <p:txBody>
          <a:bodyPr wrap="square" lIns="0" tIns="0" rIns="0" bIns="0" rtlCol="0">
            <a:noAutofit/>
          </a:bodyPr>
          <a:lstStyle/>
          <a:p>
            <a:endParaRPr sz="1763"/>
          </a:p>
        </p:txBody>
      </p:sp>
      <p:sp>
        <p:nvSpPr>
          <p:cNvPr id="191" name="object 191"/>
          <p:cNvSpPr/>
          <p:nvPr/>
        </p:nvSpPr>
        <p:spPr>
          <a:xfrm>
            <a:off x="5947704" y="2106540"/>
            <a:ext cx="44787" cy="44787"/>
          </a:xfrm>
          <a:custGeom>
            <a:avLst/>
            <a:gdLst/>
            <a:ahLst/>
            <a:cxnLst/>
            <a:rect l="l" t="t" r="r" b="b"/>
            <a:pathLst>
              <a:path w="45720" h="45720">
                <a:moveTo>
                  <a:pt x="22860" y="22860"/>
                </a:moveTo>
                <a:lnTo>
                  <a:pt x="0" y="45720"/>
                </a:lnTo>
                <a:lnTo>
                  <a:pt x="22860" y="45720"/>
                </a:lnTo>
                <a:lnTo>
                  <a:pt x="45720" y="22860"/>
                </a:lnTo>
                <a:lnTo>
                  <a:pt x="22860" y="0"/>
                </a:lnTo>
                <a:lnTo>
                  <a:pt x="0" y="0"/>
                </a:lnTo>
                <a:lnTo>
                  <a:pt x="22860" y="22860"/>
                </a:lnTo>
                <a:close/>
              </a:path>
            </a:pathLst>
          </a:custGeom>
          <a:solidFill>
            <a:srgbClr val="FFFFFF"/>
          </a:solidFill>
        </p:spPr>
        <p:txBody>
          <a:bodyPr wrap="square" lIns="0" tIns="0" rIns="0" bIns="0" rtlCol="0">
            <a:noAutofit/>
          </a:bodyPr>
          <a:lstStyle/>
          <a:p>
            <a:endParaRPr sz="1763"/>
          </a:p>
        </p:txBody>
      </p:sp>
      <p:sp>
        <p:nvSpPr>
          <p:cNvPr id="192" name="object 192"/>
          <p:cNvSpPr/>
          <p:nvPr/>
        </p:nvSpPr>
        <p:spPr>
          <a:xfrm>
            <a:off x="6162683" y="2106540"/>
            <a:ext cx="44786" cy="44787"/>
          </a:xfrm>
          <a:custGeom>
            <a:avLst/>
            <a:gdLst/>
            <a:ahLst/>
            <a:cxnLst/>
            <a:rect l="l" t="t" r="r" b="b"/>
            <a:pathLst>
              <a:path w="45719" h="45720">
                <a:moveTo>
                  <a:pt x="22860" y="22860"/>
                </a:moveTo>
                <a:lnTo>
                  <a:pt x="0" y="45720"/>
                </a:lnTo>
                <a:lnTo>
                  <a:pt x="22860" y="45720"/>
                </a:lnTo>
                <a:lnTo>
                  <a:pt x="45719" y="22860"/>
                </a:lnTo>
                <a:lnTo>
                  <a:pt x="22860" y="0"/>
                </a:lnTo>
                <a:lnTo>
                  <a:pt x="0" y="0"/>
                </a:lnTo>
                <a:lnTo>
                  <a:pt x="22860" y="22860"/>
                </a:lnTo>
                <a:close/>
              </a:path>
            </a:pathLst>
          </a:custGeom>
          <a:solidFill>
            <a:srgbClr val="FFFFFF"/>
          </a:solidFill>
        </p:spPr>
        <p:txBody>
          <a:bodyPr wrap="square" lIns="0" tIns="0" rIns="0" bIns="0" rtlCol="0">
            <a:noAutofit/>
          </a:bodyPr>
          <a:lstStyle/>
          <a:p>
            <a:endParaRPr sz="1763"/>
          </a:p>
        </p:txBody>
      </p:sp>
      <p:sp>
        <p:nvSpPr>
          <p:cNvPr id="193" name="object 193"/>
          <p:cNvSpPr/>
          <p:nvPr/>
        </p:nvSpPr>
        <p:spPr>
          <a:xfrm>
            <a:off x="6377660" y="2106540"/>
            <a:ext cx="44787" cy="44787"/>
          </a:xfrm>
          <a:custGeom>
            <a:avLst/>
            <a:gdLst/>
            <a:ahLst/>
            <a:cxnLst/>
            <a:rect l="l" t="t" r="r" b="b"/>
            <a:pathLst>
              <a:path w="45720" h="45720">
                <a:moveTo>
                  <a:pt x="22860" y="22860"/>
                </a:moveTo>
                <a:lnTo>
                  <a:pt x="0" y="45720"/>
                </a:lnTo>
                <a:lnTo>
                  <a:pt x="22860" y="45720"/>
                </a:lnTo>
                <a:lnTo>
                  <a:pt x="45720" y="22860"/>
                </a:lnTo>
                <a:lnTo>
                  <a:pt x="22860" y="0"/>
                </a:lnTo>
                <a:lnTo>
                  <a:pt x="0" y="0"/>
                </a:lnTo>
                <a:lnTo>
                  <a:pt x="22860" y="22860"/>
                </a:lnTo>
                <a:close/>
              </a:path>
            </a:pathLst>
          </a:custGeom>
          <a:solidFill>
            <a:srgbClr val="FFFFFF"/>
          </a:solidFill>
        </p:spPr>
        <p:txBody>
          <a:bodyPr wrap="square" lIns="0" tIns="0" rIns="0" bIns="0" rtlCol="0">
            <a:noAutofit/>
          </a:bodyPr>
          <a:lstStyle/>
          <a:p>
            <a:endParaRPr sz="1763"/>
          </a:p>
        </p:txBody>
      </p:sp>
      <p:sp>
        <p:nvSpPr>
          <p:cNvPr id="42" name="object 42"/>
          <p:cNvSpPr txBox="1"/>
          <p:nvPr/>
        </p:nvSpPr>
        <p:spPr>
          <a:xfrm>
            <a:off x="1347589" y="614922"/>
            <a:ext cx="1417170" cy="321097"/>
          </a:xfrm>
          <a:prstGeom prst="rect">
            <a:avLst/>
          </a:prstGeom>
        </p:spPr>
        <p:txBody>
          <a:bodyPr wrap="square" lIns="0" tIns="0" rIns="0" bIns="0" rtlCol="0">
            <a:noAutofit/>
          </a:bodyPr>
          <a:lstStyle/>
          <a:p>
            <a:pPr marL="12441">
              <a:lnSpc>
                <a:spcPts val="2527"/>
              </a:lnSpc>
              <a:spcBef>
                <a:spcPts val="126"/>
              </a:spcBef>
            </a:pPr>
            <a:r>
              <a:rPr sz="3453" spc="4" baseline="1066" dirty="0">
                <a:solidFill>
                  <a:srgbClr val="FFFFFF"/>
                </a:solidFill>
                <a:latin typeface="Segoe UI"/>
                <a:cs typeface="Segoe UI"/>
              </a:rPr>
              <a:t>W</a:t>
            </a:r>
            <a:r>
              <a:rPr sz="3453" spc="14" baseline="1066" dirty="0">
                <a:solidFill>
                  <a:srgbClr val="FFFFFF"/>
                </a:solidFill>
                <a:latin typeface="Segoe UI"/>
                <a:cs typeface="Segoe UI"/>
              </a:rPr>
              <a:t>E</a:t>
            </a:r>
            <a:r>
              <a:rPr sz="3453" baseline="1066" dirty="0">
                <a:solidFill>
                  <a:srgbClr val="FFFFFF"/>
                </a:solidFill>
                <a:latin typeface="Segoe UI"/>
                <a:cs typeface="Segoe UI"/>
              </a:rPr>
              <a:t>B</a:t>
            </a:r>
            <a:r>
              <a:rPr sz="3453" spc="56" baseline="1066" dirty="0">
                <a:solidFill>
                  <a:srgbClr val="FFFFFF"/>
                </a:solidFill>
                <a:latin typeface="Segoe UI"/>
                <a:cs typeface="Segoe UI"/>
              </a:rPr>
              <a:t> </a:t>
            </a:r>
            <a:r>
              <a:rPr sz="3453" spc="-24" baseline="1066" dirty="0">
                <a:solidFill>
                  <a:srgbClr val="FFFFFF"/>
                </a:solidFill>
                <a:latin typeface="Segoe UI"/>
                <a:cs typeface="Segoe UI"/>
              </a:rPr>
              <a:t>A</a:t>
            </a:r>
            <a:r>
              <a:rPr sz="3453" spc="-38" baseline="1066" dirty="0">
                <a:solidFill>
                  <a:srgbClr val="FFFFFF"/>
                </a:solidFill>
                <a:latin typeface="Segoe UI"/>
                <a:cs typeface="Segoe UI"/>
              </a:rPr>
              <a:t>PP</a:t>
            </a:r>
            <a:r>
              <a:rPr sz="3453" baseline="1066" dirty="0">
                <a:solidFill>
                  <a:srgbClr val="FFFFFF"/>
                </a:solidFill>
                <a:latin typeface="Segoe UI"/>
                <a:cs typeface="Segoe UI"/>
              </a:rPr>
              <a:t>S</a:t>
            </a:r>
            <a:endParaRPr sz="2302">
              <a:latin typeface="Segoe UI"/>
              <a:cs typeface="Segoe UI"/>
            </a:endParaRPr>
          </a:p>
        </p:txBody>
      </p:sp>
      <p:sp>
        <p:nvSpPr>
          <p:cNvPr id="41" name="object 41"/>
          <p:cNvSpPr txBox="1"/>
          <p:nvPr/>
        </p:nvSpPr>
        <p:spPr>
          <a:xfrm>
            <a:off x="723608" y="2678832"/>
            <a:ext cx="1162639" cy="195383"/>
          </a:xfrm>
          <a:prstGeom prst="rect">
            <a:avLst/>
          </a:prstGeom>
        </p:spPr>
        <p:txBody>
          <a:bodyPr wrap="square" lIns="0" tIns="0" rIns="0" bIns="0" rtlCol="0">
            <a:noAutofit/>
          </a:bodyPr>
          <a:lstStyle/>
          <a:p>
            <a:pPr marL="12441">
              <a:lnSpc>
                <a:spcPts val="1518"/>
              </a:lnSpc>
              <a:spcBef>
                <a:spcPts val="75"/>
              </a:spcBef>
            </a:pPr>
            <a:r>
              <a:rPr sz="1984" b="1" spc="4" baseline="1856" dirty="0">
                <a:solidFill>
                  <a:srgbClr val="FFFFFF"/>
                </a:solidFill>
                <a:latin typeface="Segoe UI"/>
                <a:cs typeface="Segoe UI"/>
              </a:rPr>
              <a:t>C</a:t>
            </a:r>
            <a:r>
              <a:rPr sz="1984" b="1" spc="33" baseline="1856" dirty="0">
                <a:solidFill>
                  <a:srgbClr val="FFFFFF"/>
                </a:solidFill>
                <a:latin typeface="Segoe UI"/>
                <a:cs typeface="Segoe UI"/>
              </a:rPr>
              <a:t>u</a:t>
            </a:r>
            <a:r>
              <a:rPr sz="1984" b="1" spc="-24" baseline="1856" dirty="0">
                <a:solidFill>
                  <a:srgbClr val="FFFFFF"/>
                </a:solidFill>
                <a:latin typeface="Segoe UI"/>
                <a:cs typeface="Segoe UI"/>
              </a:rPr>
              <a:t>s</a:t>
            </a:r>
            <a:r>
              <a:rPr sz="1984" b="1" spc="-28" baseline="1856" dirty="0">
                <a:solidFill>
                  <a:srgbClr val="FFFFFF"/>
                </a:solidFill>
                <a:latin typeface="Segoe UI"/>
                <a:cs typeface="Segoe UI"/>
              </a:rPr>
              <a:t>t</a:t>
            </a:r>
            <a:r>
              <a:rPr sz="1984" b="1" spc="24" baseline="1856" dirty="0">
                <a:solidFill>
                  <a:srgbClr val="FFFFFF"/>
                </a:solidFill>
                <a:latin typeface="Segoe UI"/>
                <a:cs typeface="Segoe UI"/>
              </a:rPr>
              <a:t>o</a:t>
            </a:r>
            <a:r>
              <a:rPr sz="1984" b="1" spc="-28" baseline="1856" dirty="0">
                <a:solidFill>
                  <a:srgbClr val="FFFFFF"/>
                </a:solidFill>
                <a:latin typeface="Segoe UI"/>
                <a:cs typeface="Segoe UI"/>
              </a:rPr>
              <a:t>m</a:t>
            </a:r>
            <a:r>
              <a:rPr sz="1984" b="1" spc="-19" baseline="1856" dirty="0">
                <a:solidFill>
                  <a:srgbClr val="FFFFFF"/>
                </a:solidFill>
                <a:latin typeface="Segoe UI"/>
                <a:cs typeface="Segoe UI"/>
              </a:rPr>
              <a:t>e</a:t>
            </a:r>
            <a:r>
              <a:rPr sz="1984" b="1" baseline="1856" dirty="0">
                <a:solidFill>
                  <a:srgbClr val="FFFFFF"/>
                </a:solidFill>
                <a:latin typeface="Segoe UI"/>
                <a:cs typeface="Segoe UI"/>
              </a:rPr>
              <a:t>r</a:t>
            </a:r>
            <a:r>
              <a:rPr sz="1984" b="1" spc="286" baseline="1856" dirty="0">
                <a:solidFill>
                  <a:srgbClr val="FFFFFF"/>
                </a:solidFill>
                <a:latin typeface="Segoe UI"/>
                <a:cs typeface="Segoe UI"/>
              </a:rPr>
              <a:t> </a:t>
            </a:r>
            <a:r>
              <a:rPr sz="1984" b="1" spc="-24" baseline="1856" dirty="0">
                <a:solidFill>
                  <a:srgbClr val="FFFFFF"/>
                </a:solidFill>
                <a:latin typeface="Segoe UI"/>
                <a:cs typeface="Segoe UI"/>
              </a:rPr>
              <a:t>s</a:t>
            </a:r>
            <a:r>
              <a:rPr sz="1984" b="1" spc="-28" baseline="1856" dirty="0">
                <a:solidFill>
                  <a:srgbClr val="FFFFFF"/>
                </a:solidFill>
                <a:latin typeface="Segoe UI"/>
                <a:cs typeface="Segoe UI"/>
              </a:rPr>
              <a:t>it</a:t>
            </a:r>
            <a:r>
              <a:rPr sz="1984" b="1" baseline="1856" dirty="0">
                <a:solidFill>
                  <a:srgbClr val="FFFFFF"/>
                </a:solidFill>
                <a:latin typeface="Segoe UI"/>
                <a:cs typeface="Segoe UI"/>
              </a:rPr>
              <a:t>e</a:t>
            </a:r>
            <a:endParaRPr sz="1322">
              <a:latin typeface="Segoe UI"/>
              <a:cs typeface="Segoe UI"/>
            </a:endParaRPr>
          </a:p>
        </p:txBody>
      </p:sp>
      <p:sp>
        <p:nvSpPr>
          <p:cNvPr id="40" name="object 40"/>
          <p:cNvSpPr txBox="1"/>
          <p:nvPr/>
        </p:nvSpPr>
        <p:spPr>
          <a:xfrm>
            <a:off x="2464402" y="2678461"/>
            <a:ext cx="1299598" cy="195072"/>
          </a:xfrm>
          <a:prstGeom prst="rect">
            <a:avLst/>
          </a:prstGeom>
        </p:spPr>
        <p:txBody>
          <a:bodyPr wrap="square" lIns="0" tIns="0" rIns="0" bIns="0" rtlCol="0">
            <a:noAutofit/>
          </a:bodyPr>
          <a:lstStyle/>
          <a:p>
            <a:pPr marL="12441">
              <a:lnSpc>
                <a:spcPts val="1518"/>
              </a:lnSpc>
              <a:spcBef>
                <a:spcPts val="75"/>
              </a:spcBef>
            </a:pPr>
            <a:r>
              <a:rPr sz="1984" b="1" spc="24" baseline="1856" dirty="0">
                <a:solidFill>
                  <a:srgbClr val="FFFFFF"/>
                </a:solidFill>
                <a:latin typeface="Segoe UI"/>
                <a:cs typeface="Segoe UI"/>
              </a:rPr>
              <a:t>S</a:t>
            </a:r>
            <a:r>
              <a:rPr sz="1984" b="1" spc="-19" baseline="1856" dirty="0">
                <a:solidFill>
                  <a:srgbClr val="FFFFFF"/>
                </a:solidFill>
                <a:latin typeface="Segoe UI"/>
                <a:cs typeface="Segoe UI"/>
              </a:rPr>
              <a:t>e</a:t>
            </a:r>
            <a:r>
              <a:rPr sz="1984" b="1" baseline="1856" dirty="0">
                <a:solidFill>
                  <a:srgbClr val="FFFFFF"/>
                </a:solidFill>
                <a:latin typeface="Segoe UI"/>
                <a:cs typeface="Segoe UI"/>
              </a:rPr>
              <a:t>r</a:t>
            </a:r>
            <a:r>
              <a:rPr sz="1984" b="1" spc="-264" baseline="1856" dirty="0">
                <a:solidFill>
                  <a:srgbClr val="FFFFFF"/>
                </a:solidFill>
                <a:latin typeface="Segoe UI"/>
                <a:cs typeface="Segoe UI"/>
              </a:rPr>
              <a:t> </a:t>
            </a:r>
            <a:r>
              <a:rPr sz="1984" b="1" spc="-19" baseline="1856" dirty="0">
                <a:solidFill>
                  <a:srgbClr val="FFFFFF"/>
                </a:solidFill>
                <a:latin typeface="Segoe UI"/>
                <a:cs typeface="Segoe UI"/>
              </a:rPr>
              <a:t>v</a:t>
            </a:r>
            <a:r>
              <a:rPr sz="1984" b="1" spc="-28" baseline="1856" dirty="0">
                <a:solidFill>
                  <a:srgbClr val="FFFFFF"/>
                </a:solidFill>
                <a:latin typeface="Segoe UI"/>
                <a:cs typeface="Segoe UI"/>
              </a:rPr>
              <a:t>i</a:t>
            </a:r>
            <a:r>
              <a:rPr sz="1984" b="1" spc="-9" baseline="1856" dirty="0">
                <a:solidFill>
                  <a:srgbClr val="FFFFFF"/>
                </a:solidFill>
                <a:latin typeface="Segoe UI"/>
                <a:cs typeface="Segoe UI"/>
              </a:rPr>
              <a:t>c</a:t>
            </a:r>
            <a:r>
              <a:rPr sz="1984" b="1" baseline="1856" dirty="0">
                <a:solidFill>
                  <a:srgbClr val="FFFFFF"/>
                </a:solidFill>
                <a:latin typeface="Segoe UI"/>
                <a:cs typeface="Segoe UI"/>
              </a:rPr>
              <a:t>e</a:t>
            </a:r>
            <a:r>
              <a:rPr sz="1984" b="1" spc="205" baseline="1856" dirty="0">
                <a:solidFill>
                  <a:srgbClr val="FFFFFF"/>
                </a:solidFill>
                <a:latin typeface="Segoe UI"/>
                <a:cs typeface="Segoe UI"/>
              </a:rPr>
              <a:t> </a:t>
            </a:r>
            <a:r>
              <a:rPr sz="1984" b="1" spc="-24" baseline="1856" dirty="0">
                <a:solidFill>
                  <a:srgbClr val="FFFFFF"/>
                </a:solidFill>
                <a:latin typeface="Segoe UI"/>
                <a:cs typeface="Segoe UI"/>
              </a:rPr>
              <a:t>A</a:t>
            </a:r>
            <a:r>
              <a:rPr sz="1984" b="1" spc="14" baseline="1856" dirty="0">
                <a:solidFill>
                  <a:srgbClr val="FFFFFF"/>
                </a:solidFill>
                <a:latin typeface="Segoe UI"/>
                <a:cs typeface="Segoe UI"/>
              </a:rPr>
              <a:t>d</a:t>
            </a:r>
            <a:r>
              <a:rPr sz="1984" b="1" spc="-19" baseline="1856" dirty="0">
                <a:solidFill>
                  <a:srgbClr val="FFFFFF"/>
                </a:solidFill>
                <a:latin typeface="Segoe UI"/>
                <a:cs typeface="Segoe UI"/>
              </a:rPr>
              <a:t>v</a:t>
            </a:r>
            <a:r>
              <a:rPr sz="1984" b="1" spc="-28" baseline="1856" dirty="0">
                <a:solidFill>
                  <a:srgbClr val="FFFFFF"/>
                </a:solidFill>
                <a:latin typeface="Segoe UI"/>
                <a:cs typeface="Segoe UI"/>
              </a:rPr>
              <a:t>i</a:t>
            </a:r>
            <a:r>
              <a:rPr sz="1984" b="1" spc="-24" baseline="1856" dirty="0">
                <a:solidFill>
                  <a:srgbClr val="FFFFFF"/>
                </a:solidFill>
                <a:latin typeface="Segoe UI"/>
                <a:cs typeface="Segoe UI"/>
              </a:rPr>
              <a:t>s</a:t>
            </a:r>
            <a:r>
              <a:rPr sz="1984" b="1" spc="24" baseline="1856" dirty="0">
                <a:solidFill>
                  <a:srgbClr val="FFFFFF"/>
                </a:solidFill>
                <a:latin typeface="Segoe UI"/>
                <a:cs typeface="Segoe UI"/>
              </a:rPr>
              <a:t>o</a:t>
            </a:r>
            <a:r>
              <a:rPr sz="1984" b="1" baseline="1856" dirty="0">
                <a:solidFill>
                  <a:srgbClr val="FFFFFF"/>
                </a:solidFill>
                <a:latin typeface="Segoe UI"/>
                <a:cs typeface="Segoe UI"/>
              </a:rPr>
              <a:t>r</a:t>
            </a:r>
            <a:endParaRPr sz="1322">
              <a:latin typeface="Segoe UI"/>
              <a:cs typeface="Segoe UI"/>
            </a:endParaRPr>
          </a:p>
        </p:txBody>
      </p:sp>
      <p:sp>
        <p:nvSpPr>
          <p:cNvPr id="39" name="object 39"/>
          <p:cNvSpPr txBox="1"/>
          <p:nvPr/>
        </p:nvSpPr>
        <p:spPr>
          <a:xfrm>
            <a:off x="10551803" y="4946032"/>
            <a:ext cx="1110715" cy="1101759"/>
          </a:xfrm>
          <a:prstGeom prst="rect">
            <a:avLst/>
          </a:prstGeom>
        </p:spPr>
        <p:txBody>
          <a:bodyPr wrap="square" lIns="0" tIns="0" rIns="0" bIns="0" rtlCol="0">
            <a:noAutofit/>
          </a:bodyPr>
          <a:lstStyle/>
          <a:p>
            <a:pPr marL="24882">
              <a:lnSpc>
                <a:spcPts val="980"/>
              </a:lnSpc>
            </a:pPr>
            <a:endParaRPr sz="980"/>
          </a:p>
        </p:txBody>
      </p:sp>
      <p:sp>
        <p:nvSpPr>
          <p:cNvPr id="38" name="object 38"/>
          <p:cNvSpPr txBox="1"/>
          <p:nvPr/>
        </p:nvSpPr>
        <p:spPr>
          <a:xfrm>
            <a:off x="9306726" y="4946032"/>
            <a:ext cx="1110715" cy="1101759"/>
          </a:xfrm>
          <a:prstGeom prst="rect">
            <a:avLst/>
          </a:prstGeom>
        </p:spPr>
        <p:txBody>
          <a:bodyPr wrap="square" lIns="0" tIns="0" rIns="0" bIns="0" rtlCol="0">
            <a:noAutofit/>
          </a:bodyPr>
          <a:lstStyle/>
          <a:p>
            <a:pPr marL="24882">
              <a:lnSpc>
                <a:spcPts val="980"/>
              </a:lnSpc>
            </a:pPr>
            <a:endParaRPr sz="980"/>
          </a:p>
        </p:txBody>
      </p:sp>
      <p:sp>
        <p:nvSpPr>
          <p:cNvPr id="37" name="object 37"/>
          <p:cNvSpPr txBox="1"/>
          <p:nvPr/>
        </p:nvSpPr>
        <p:spPr>
          <a:xfrm>
            <a:off x="8061650" y="4946032"/>
            <a:ext cx="1110715" cy="1101759"/>
          </a:xfrm>
          <a:prstGeom prst="rect">
            <a:avLst/>
          </a:prstGeom>
        </p:spPr>
        <p:txBody>
          <a:bodyPr wrap="square" lIns="0" tIns="0" rIns="0" bIns="0" rtlCol="0">
            <a:noAutofit/>
          </a:bodyPr>
          <a:lstStyle/>
          <a:p>
            <a:pPr marL="24882">
              <a:lnSpc>
                <a:spcPts val="980"/>
              </a:lnSpc>
            </a:pPr>
            <a:endParaRPr sz="980"/>
          </a:p>
        </p:txBody>
      </p:sp>
      <p:sp>
        <p:nvSpPr>
          <p:cNvPr id="36" name="object 36"/>
          <p:cNvSpPr txBox="1"/>
          <p:nvPr/>
        </p:nvSpPr>
        <p:spPr>
          <a:xfrm>
            <a:off x="6834487" y="4946032"/>
            <a:ext cx="1110715" cy="1101759"/>
          </a:xfrm>
          <a:prstGeom prst="rect">
            <a:avLst/>
          </a:prstGeom>
        </p:spPr>
        <p:txBody>
          <a:bodyPr wrap="square" lIns="0" tIns="0" rIns="0" bIns="0" rtlCol="0">
            <a:noAutofit/>
          </a:bodyPr>
          <a:lstStyle/>
          <a:p>
            <a:pPr marL="24882">
              <a:lnSpc>
                <a:spcPts val="980"/>
              </a:lnSpc>
            </a:pPr>
            <a:endParaRPr sz="980"/>
          </a:p>
        </p:txBody>
      </p:sp>
      <p:sp>
        <p:nvSpPr>
          <p:cNvPr id="35" name="object 35"/>
          <p:cNvSpPr txBox="1"/>
          <p:nvPr/>
        </p:nvSpPr>
        <p:spPr>
          <a:xfrm>
            <a:off x="5571495" y="4946032"/>
            <a:ext cx="1110716" cy="1101759"/>
          </a:xfrm>
          <a:prstGeom prst="rect">
            <a:avLst/>
          </a:prstGeom>
        </p:spPr>
        <p:txBody>
          <a:bodyPr wrap="square" lIns="0" tIns="0" rIns="0" bIns="0" rtlCol="0">
            <a:noAutofit/>
          </a:bodyPr>
          <a:lstStyle/>
          <a:p>
            <a:pPr marL="24882">
              <a:lnSpc>
                <a:spcPts val="980"/>
              </a:lnSpc>
            </a:pPr>
            <a:endParaRPr sz="980"/>
          </a:p>
        </p:txBody>
      </p:sp>
      <p:sp>
        <p:nvSpPr>
          <p:cNvPr id="34" name="object 34"/>
          <p:cNvSpPr txBox="1"/>
          <p:nvPr/>
        </p:nvSpPr>
        <p:spPr>
          <a:xfrm>
            <a:off x="5571496" y="1985616"/>
            <a:ext cx="143317" cy="273199"/>
          </a:xfrm>
          <a:prstGeom prst="rect">
            <a:avLst/>
          </a:prstGeom>
        </p:spPr>
        <p:txBody>
          <a:bodyPr wrap="square" lIns="0" tIns="0" rIns="0" bIns="0" rtlCol="0">
            <a:noAutofit/>
          </a:bodyPr>
          <a:lstStyle/>
          <a:p>
            <a:pPr marL="24882">
              <a:lnSpc>
                <a:spcPts val="980"/>
              </a:lnSpc>
            </a:pPr>
            <a:endParaRPr sz="980"/>
          </a:p>
        </p:txBody>
      </p:sp>
      <p:sp>
        <p:nvSpPr>
          <p:cNvPr id="33" name="object 33"/>
          <p:cNvSpPr txBox="1"/>
          <p:nvPr/>
        </p:nvSpPr>
        <p:spPr>
          <a:xfrm>
            <a:off x="5714813" y="1985616"/>
            <a:ext cx="80616" cy="273199"/>
          </a:xfrm>
          <a:prstGeom prst="rect">
            <a:avLst/>
          </a:prstGeom>
        </p:spPr>
        <p:txBody>
          <a:bodyPr wrap="square" lIns="0" tIns="0" rIns="0" bIns="0" rtlCol="0">
            <a:noAutofit/>
          </a:bodyPr>
          <a:lstStyle/>
          <a:p>
            <a:pPr marL="24882">
              <a:lnSpc>
                <a:spcPts val="980"/>
              </a:lnSpc>
            </a:pPr>
            <a:endParaRPr sz="980"/>
          </a:p>
        </p:txBody>
      </p:sp>
      <p:sp>
        <p:nvSpPr>
          <p:cNvPr id="32" name="object 32"/>
          <p:cNvSpPr txBox="1"/>
          <p:nvPr/>
        </p:nvSpPr>
        <p:spPr>
          <a:xfrm>
            <a:off x="5795430" y="1985616"/>
            <a:ext cx="134361" cy="273199"/>
          </a:xfrm>
          <a:prstGeom prst="rect">
            <a:avLst/>
          </a:prstGeom>
        </p:spPr>
        <p:txBody>
          <a:bodyPr wrap="square" lIns="0" tIns="0" rIns="0" bIns="0" rtlCol="0">
            <a:noAutofit/>
          </a:bodyPr>
          <a:lstStyle/>
          <a:p>
            <a:pPr marL="24882">
              <a:lnSpc>
                <a:spcPts val="980"/>
              </a:lnSpc>
            </a:pPr>
            <a:endParaRPr sz="980"/>
          </a:p>
        </p:txBody>
      </p:sp>
      <p:sp>
        <p:nvSpPr>
          <p:cNvPr id="31" name="object 31"/>
          <p:cNvSpPr txBox="1"/>
          <p:nvPr/>
        </p:nvSpPr>
        <p:spPr>
          <a:xfrm>
            <a:off x="5929791" y="1985616"/>
            <a:ext cx="80616" cy="273199"/>
          </a:xfrm>
          <a:prstGeom prst="rect">
            <a:avLst/>
          </a:prstGeom>
        </p:spPr>
        <p:txBody>
          <a:bodyPr wrap="square" lIns="0" tIns="0" rIns="0" bIns="0" rtlCol="0">
            <a:noAutofit/>
          </a:bodyPr>
          <a:lstStyle/>
          <a:p>
            <a:pPr marL="24882">
              <a:lnSpc>
                <a:spcPts val="980"/>
              </a:lnSpc>
            </a:pPr>
            <a:endParaRPr sz="980"/>
          </a:p>
        </p:txBody>
      </p:sp>
      <p:sp>
        <p:nvSpPr>
          <p:cNvPr id="30" name="object 30"/>
          <p:cNvSpPr txBox="1"/>
          <p:nvPr/>
        </p:nvSpPr>
        <p:spPr>
          <a:xfrm>
            <a:off x="6010407" y="1985616"/>
            <a:ext cx="134361" cy="273199"/>
          </a:xfrm>
          <a:prstGeom prst="rect">
            <a:avLst/>
          </a:prstGeom>
        </p:spPr>
        <p:txBody>
          <a:bodyPr wrap="square" lIns="0" tIns="0" rIns="0" bIns="0" rtlCol="0">
            <a:noAutofit/>
          </a:bodyPr>
          <a:lstStyle/>
          <a:p>
            <a:pPr marL="24882">
              <a:lnSpc>
                <a:spcPts val="980"/>
              </a:lnSpc>
            </a:pPr>
            <a:endParaRPr sz="980"/>
          </a:p>
        </p:txBody>
      </p:sp>
      <p:sp>
        <p:nvSpPr>
          <p:cNvPr id="29" name="object 29"/>
          <p:cNvSpPr txBox="1"/>
          <p:nvPr/>
        </p:nvSpPr>
        <p:spPr>
          <a:xfrm>
            <a:off x="6144768" y="1985616"/>
            <a:ext cx="80616" cy="273199"/>
          </a:xfrm>
          <a:prstGeom prst="rect">
            <a:avLst/>
          </a:prstGeom>
        </p:spPr>
        <p:txBody>
          <a:bodyPr wrap="square" lIns="0" tIns="0" rIns="0" bIns="0" rtlCol="0">
            <a:noAutofit/>
          </a:bodyPr>
          <a:lstStyle/>
          <a:p>
            <a:pPr marL="24882">
              <a:lnSpc>
                <a:spcPts val="980"/>
              </a:lnSpc>
            </a:pPr>
            <a:endParaRPr sz="980"/>
          </a:p>
        </p:txBody>
      </p:sp>
      <p:sp>
        <p:nvSpPr>
          <p:cNvPr id="28" name="object 28"/>
          <p:cNvSpPr txBox="1"/>
          <p:nvPr/>
        </p:nvSpPr>
        <p:spPr>
          <a:xfrm>
            <a:off x="6225384" y="1985616"/>
            <a:ext cx="134361" cy="273199"/>
          </a:xfrm>
          <a:prstGeom prst="rect">
            <a:avLst/>
          </a:prstGeom>
        </p:spPr>
        <p:txBody>
          <a:bodyPr wrap="square" lIns="0" tIns="0" rIns="0" bIns="0" rtlCol="0">
            <a:noAutofit/>
          </a:bodyPr>
          <a:lstStyle/>
          <a:p>
            <a:pPr marL="24882">
              <a:lnSpc>
                <a:spcPts val="980"/>
              </a:lnSpc>
            </a:pPr>
            <a:endParaRPr sz="980"/>
          </a:p>
        </p:txBody>
      </p:sp>
      <p:sp>
        <p:nvSpPr>
          <p:cNvPr id="27" name="object 27"/>
          <p:cNvSpPr txBox="1"/>
          <p:nvPr/>
        </p:nvSpPr>
        <p:spPr>
          <a:xfrm>
            <a:off x="6359746" y="1985616"/>
            <a:ext cx="80616" cy="273199"/>
          </a:xfrm>
          <a:prstGeom prst="rect">
            <a:avLst/>
          </a:prstGeom>
        </p:spPr>
        <p:txBody>
          <a:bodyPr wrap="square" lIns="0" tIns="0" rIns="0" bIns="0" rtlCol="0">
            <a:noAutofit/>
          </a:bodyPr>
          <a:lstStyle/>
          <a:p>
            <a:pPr marL="24882">
              <a:lnSpc>
                <a:spcPts val="980"/>
              </a:lnSpc>
            </a:pPr>
            <a:endParaRPr sz="980"/>
          </a:p>
        </p:txBody>
      </p:sp>
      <p:sp>
        <p:nvSpPr>
          <p:cNvPr id="26" name="object 26"/>
          <p:cNvSpPr txBox="1"/>
          <p:nvPr/>
        </p:nvSpPr>
        <p:spPr>
          <a:xfrm>
            <a:off x="6440361" y="1985616"/>
            <a:ext cx="143317" cy="273199"/>
          </a:xfrm>
          <a:prstGeom prst="rect">
            <a:avLst/>
          </a:prstGeom>
        </p:spPr>
        <p:txBody>
          <a:bodyPr wrap="square" lIns="0" tIns="0" rIns="0" bIns="0" rtlCol="0">
            <a:noAutofit/>
          </a:bodyPr>
          <a:lstStyle/>
          <a:p>
            <a:pPr marL="24882">
              <a:lnSpc>
                <a:spcPts val="980"/>
              </a:lnSpc>
            </a:pPr>
            <a:endParaRPr sz="980"/>
          </a:p>
        </p:txBody>
      </p:sp>
      <p:sp>
        <p:nvSpPr>
          <p:cNvPr id="25" name="object 25"/>
          <p:cNvSpPr txBox="1"/>
          <p:nvPr/>
        </p:nvSpPr>
        <p:spPr>
          <a:xfrm>
            <a:off x="2966800" y="2008371"/>
            <a:ext cx="333082" cy="304584"/>
          </a:xfrm>
          <a:prstGeom prst="rect">
            <a:avLst/>
          </a:prstGeom>
        </p:spPr>
        <p:txBody>
          <a:bodyPr wrap="square" lIns="0" tIns="0" rIns="0" bIns="0" rtlCol="0">
            <a:noAutofit/>
          </a:bodyPr>
          <a:lstStyle/>
          <a:p>
            <a:pPr marL="24882">
              <a:lnSpc>
                <a:spcPts val="980"/>
              </a:lnSpc>
            </a:pPr>
            <a:endParaRPr sz="980"/>
          </a:p>
        </p:txBody>
      </p:sp>
      <p:sp>
        <p:nvSpPr>
          <p:cNvPr id="24" name="object 24"/>
          <p:cNvSpPr txBox="1"/>
          <p:nvPr/>
        </p:nvSpPr>
        <p:spPr>
          <a:xfrm>
            <a:off x="5508793" y="1828862"/>
            <a:ext cx="1155503" cy="680761"/>
          </a:xfrm>
          <a:prstGeom prst="rect">
            <a:avLst/>
          </a:prstGeom>
        </p:spPr>
        <p:txBody>
          <a:bodyPr wrap="square" lIns="0" tIns="0" rIns="0" bIns="0" rtlCol="0">
            <a:noAutofit/>
          </a:bodyPr>
          <a:lstStyle/>
          <a:p>
            <a:pPr marL="24882">
              <a:lnSpc>
                <a:spcPts val="980"/>
              </a:lnSpc>
            </a:pPr>
            <a:endParaRPr sz="980"/>
          </a:p>
        </p:txBody>
      </p:sp>
      <p:sp>
        <p:nvSpPr>
          <p:cNvPr id="23" name="object 23"/>
          <p:cNvSpPr txBox="1"/>
          <p:nvPr/>
        </p:nvSpPr>
        <p:spPr>
          <a:xfrm>
            <a:off x="2531056" y="1825627"/>
            <a:ext cx="1152111" cy="672340"/>
          </a:xfrm>
          <a:prstGeom prst="rect">
            <a:avLst/>
          </a:prstGeom>
        </p:spPr>
        <p:txBody>
          <a:bodyPr wrap="square" lIns="0" tIns="0" rIns="0" bIns="0" rtlCol="0">
            <a:noAutofit/>
          </a:bodyPr>
          <a:lstStyle/>
          <a:p>
            <a:pPr marL="24882">
              <a:lnSpc>
                <a:spcPts val="980"/>
              </a:lnSpc>
            </a:pPr>
            <a:endParaRPr sz="980"/>
          </a:p>
        </p:txBody>
      </p:sp>
      <p:sp>
        <p:nvSpPr>
          <p:cNvPr id="22" name="object 22"/>
          <p:cNvSpPr txBox="1"/>
          <p:nvPr/>
        </p:nvSpPr>
        <p:spPr>
          <a:xfrm>
            <a:off x="712494" y="1825860"/>
            <a:ext cx="1148857" cy="680777"/>
          </a:xfrm>
          <a:prstGeom prst="rect">
            <a:avLst/>
          </a:prstGeom>
        </p:spPr>
        <p:txBody>
          <a:bodyPr wrap="square" lIns="0" tIns="0" rIns="0" bIns="0" rtlCol="0">
            <a:noAutofit/>
          </a:bodyPr>
          <a:lstStyle/>
          <a:p>
            <a:pPr marL="24882">
              <a:lnSpc>
                <a:spcPts val="980"/>
              </a:lnSpc>
            </a:pPr>
            <a:endParaRPr sz="980"/>
          </a:p>
        </p:txBody>
      </p:sp>
      <p:sp>
        <p:nvSpPr>
          <p:cNvPr id="21" name="object 21"/>
          <p:cNvSpPr txBox="1"/>
          <p:nvPr/>
        </p:nvSpPr>
        <p:spPr>
          <a:xfrm>
            <a:off x="9467603" y="1661998"/>
            <a:ext cx="1059170" cy="803716"/>
          </a:xfrm>
          <a:prstGeom prst="rect">
            <a:avLst/>
          </a:prstGeom>
        </p:spPr>
        <p:txBody>
          <a:bodyPr wrap="square" lIns="0" tIns="0" rIns="0" bIns="0" rtlCol="0">
            <a:noAutofit/>
          </a:bodyPr>
          <a:lstStyle/>
          <a:p>
            <a:pPr marL="24882">
              <a:lnSpc>
                <a:spcPts val="980"/>
              </a:lnSpc>
            </a:pPr>
            <a:endParaRPr sz="980"/>
          </a:p>
        </p:txBody>
      </p:sp>
      <p:sp>
        <p:nvSpPr>
          <p:cNvPr id="20" name="object 20"/>
          <p:cNvSpPr txBox="1"/>
          <p:nvPr/>
        </p:nvSpPr>
        <p:spPr>
          <a:xfrm>
            <a:off x="214978" y="270276"/>
            <a:ext cx="2397174" cy="3896464"/>
          </a:xfrm>
          <a:prstGeom prst="rect">
            <a:avLst/>
          </a:prstGeom>
        </p:spPr>
        <p:txBody>
          <a:bodyPr wrap="square" lIns="0" tIns="0" rIns="0" bIns="0" rtlCol="0">
            <a:noAutofit/>
          </a:bodyPr>
          <a:lstStyle/>
          <a:p>
            <a:pPr marR="23466">
              <a:lnSpc>
                <a:spcPts val="980"/>
              </a:lnSpc>
            </a:pPr>
            <a:endParaRPr sz="980"/>
          </a:p>
          <a:p>
            <a:pPr marL="1145062">
              <a:lnSpc>
                <a:spcPct val="110839"/>
              </a:lnSpc>
              <a:spcBef>
                <a:spcPts val="1240"/>
              </a:spcBef>
            </a:pPr>
            <a:r>
              <a:rPr sz="2302" spc="4" dirty="0">
                <a:solidFill>
                  <a:srgbClr val="FFFFFF"/>
                </a:solidFill>
                <a:latin typeface="Segoe UI"/>
                <a:cs typeface="Segoe UI"/>
              </a:rPr>
              <a:t>W</a:t>
            </a:r>
            <a:r>
              <a:rPr sz="2302" spc="14" dirty="0">
                <a:solidFill>
                  <a:srgbClr val="FFFFFF"/>
                </a:solidFill>
                <a:latin typeface="Segoe UI"/>
                <a:cs typeface="Segoe UI"/>
              </a:rPr>
              <a:t>E</a:t>
            </a:r>
            <a:r>
              <a:rPr sz="2302" dirty="0">
                <a:solidFill>
                  <a:srgbClr val="FFFFFF"/>
                </a:solidFill>
                <a:latin typeface="Segoe UI"/>
                <a:cs typeface="Segoe UI"/>
              </a:rPr>
              <a:t>B</a:t>
            </a:r>
            <a:r>
              <a:rPr sz="2302" spc="56" dirty="0">
                <a:solidFill>
                  <a:srgbClr val="FFFFFF"/>
                </a:solidFill>
                <a:latin typeface="Segoe UI"/>
                <a:cs typeface="Segoe UI"/>
              </a:rPr>
              <a:t> </a:t>
            </a:r>
            <a:r>
              <a:rPr sz="2302" spc="-24" dirty="0">
                <a:solidFill>
                  <a:srgbClr val="FFFFFF"/>
                </a:solidFill>
                <a:latin typeface="Segoe UI"/>
                <a:cs typeface="Segoe UI"/>
              </a:rPr>
              <a:t>A</a:t>
            </a:r>
            <a:r>
              <a:rPr sz="2302" spc="-38" dirty="0">
                <a:solidFill>
                  <a:srgbClr val="FFFFFF"/>
                </a:solidFill>
                <a:latin typeface="Segoe UI"/>
                <a:cs typeface="Segoe UI"/>
              </a:rPr>
              <a:t>P</a:t>
            </a:r>
            <a:r>
              <a:rPr sz="2302" dirty="0">
                <a:solidFill>
                  <a:srgbClr val="FFFFFF"/>
                </a:solidFill>
                <a:latin typeface="Segoe UI"/>
                <a:cs typeface="Segoe UI"/>
              </a:rPr>
              <a:t>P</a:t>
            </a:r>
            <a:endParaRPr sz="2302">
              <a:latin typeface="Segoe UI"/>
              <a:cs typeface="Segoe UI"/>
            </a:endParaRPr>
          </a:p>
          <a:p>
            <a:pPr marL="521075" marR="1838">
              <a:lnSpc>
                <a:spcPct val="110839"/>
              </a:lnSpc>
              <a:spcBef>
                <a:spcPts val="13443"/>
              </a:spcBef>
            </a:pPr>
            <a:r>
              <a:rPr sz="1322" b="1" spc="4" dirty="0">
                <a:solidFill>
                  <a:srgbClr val="FFFFFF"/>
                </a:solidFill>
                <a:latin typeface="Segoe UI"/>
                <a:cs typeface="Segoe UI"/>
              </a:rPr>
              <a:t>C</a:t>
            </a:r>
            <a:r>
              <a:rPr sz="1322" b="1" spc="33" dirty="0">
                <a:solidFill>
                  <a:srgbClr val="FFFFFF"/>
                </a:solidFill>
                <a:latin typeface="Segoe UI"/>
                <a:cs typeface="Segoe UI"/>
              </a:rPr>
              <a:t>u</a:t>
            </a:r>
            <a:r>
              <a:rPr sz="1322" b="1" spc="-24" dirty="0">
                <a:solidFill>
                  <a:srgbClr val="FFFFFF"/>
                </a:solidFill>
                <a:latin typeface="Segoe UI"/>
                <a:cs typeface="Segoe UI"/>
              </a:rPr>
              <a:t>s</a:t>
            </a:r>
            <a:r>
              <a:rPr sz="1322" b="1" spc="-28" dirty="0">
                <a:solidFill>
                  <a:srgbClr val="FFFFFF"/>
                </a:solidFill>
                <a:latin typeface="Segoe UI"/>
                <a:cs typeface="Segoe UI"/>
              </a:rPr>
              <a:t>t</a:t>
            </a:r>
            <a:r>
              <a:rPr sz="1322" b="1" spc="24" dirty="0">
                <a:solidFill>
                  <a:srgbClr val="FFFFFF"/>
                </a:solidFill>
                <a:latin typeface="Segoe UI"/>
                <a:cs typeface="Segoe UI"/>
              </a:rPr>
              <a:t>o</a:t>
            </a:r>
            <a:r>
              <a:rPr sz="1322" b="1" spc="-28" dirty="0">
                <a:solidFill>
                  <a:srgbClr val="FFFFFF"/>
                </a:solidFill>
                <a:latin typeface="Segoe UI"/>
                <a:cs typeface="Segoe UI"/>
              </a:rPr>
              <a:t>m</a:t>
            </a:r>
            <a:r>
              <a:rPr sz="1322" b="1" spc="-19" dirty="0">
                <a:solidFill>
                  <a:srgbClr val="FFFFFF"/>
                </a:solidFill>
                <a:latin typeface="Segoe UI"/>
                <a:cs typeface="Segoe UI"/>
              </a:rPr>
              <a:t>e</a:t>
            </a:r>
            <a:r>
              <a:rPr sz="1322" b="1" dirty="0">
                <a:solidFill>
                  <a:srgbClr val="FFFFFF"/>
                </a:solidFill>
                <a:latin typeface="Segoe UI"/>
                <a:cs typeface="Segoe UI"/>
              </a:rPr>
              <a:t>r</a:t>
            </a:r>
            <a:r>
              <a:rPr sz="1322" b="1" spc="286" dirty="0">
                <a:solidFill>
                  <a:srgbClr val="FFFFFF"/>
                </a:solidFill>
                <a:latin typeface="Segoe UI"/>
                <a:cs typeface="Segoe UI"/>
              </a:rPr>
              <a:t> </a:t>
            </a:r>
            <a:r>
              <a:rPr sz="1322" b="1" spc="-24" dirty="0">
                <a:solidFill>
                  <a:srgbClr val="FFFFFF"/>
                </a:solidFill>
                <a:latin typeface="Segoe UI"/>
                <a:cs typeface="Segoe UI"/>
              </a:rPr>
              <a:t>s</a:t>
            </a:r>
            <a:r>
              <a:rPr sz="1322" b="1" spc="-28" dirty="0">
                <a:solidFill>
                  <a:srgbClr val="FFFFFF"/>
                </a:solidFill>
                <a:latin typeface="Segoe UI"/>
                <a:cs typeface="Segoe UI"/>
              </a:rPr>
              <a:t>it</a:t>
            </a:r>
            <a:r>
              <a:rPr sz="1322" b="1" dirty="0">
                <a:solidFill>
                  <a:srgbClr val="FFFFFF"/>
                </a:solidFill>
                <a:latin typeface="Segoe UI"/>
                <a:cs typeface="Segoe UI"/>
              </a:rPr>
              <a:t>e            </a:t>
            </a:r>
            <a:r>
              <a:rPr sz="1322" b="1" spc="243" dirty="0">
                <a:solidFill>
                  <a:srgbClr val="FFFFFF"/>
                </a:solidFill>
                <a:latin typeface="Segoe UI"/>
                <a:cs typeface="Segoe UI"/>
              </a:rPr>
              <a:t> </a:t>
            </a:r>
            <a:r>
              <a:rPr sz="1322" b="1" dirty="0">
                <a:solidFill>
                  <a:srgbClr val="FFFFFF"/>
                </a:solidFill>
                <a:latin typeface="Segoe UI"/>
                <a:cs typeface="Segoe UI"/>
              </a:rPr>
              <a:t>S</a:t>
            </a:r>
            <a:endParaRPr sz="1322">
              <a:latin typeface="Segoe UI"/>
              <a:cs typeface="Segoe UI"/>
            </a:endParaRPr>
          </a:p>
        </p:txBody>
      </p:sp>
      <p:sp>
        <p:nvSpPr>
          <p:cNvPr id="19" name="object 19"/>
          <p:cNvSpPr txBox="1"/>
          <p:nvPr/>
        </p:nvSpPr>
        <p:spPr>
          <a:xfrm>
            <a:off x="4075612" y="270276"/>
            <a:ext cx="89573" cy="1334650"/>
          </a:xfrm>
          <a:prstGeom prst="rect">
            <a:avLst/>
          </a:prstGeom>
        </p:spPr>
        <p:txBody>
          <a:bodyPr wrap="square" lIns="0" tIns="0" rIns="0" bIns="0" rtlCol="0">
            <a:noAutofit/>
          </a:bodyPr>
          <a:lstStyle/>
          <a:p>
            <a:pPr marL="24882">
              <a:lnSpc>
                <a:spcPts val="980"/>
              </a:lnSpc>
            </a:pPr>
            <a:endParaRPr sz="980"/>
          </a:p>
        </p:txBody>
      </p:sp>
      <p:sp>
        <p:nvSpPr>
          <p:cNvPr id="18" name="object 18"/>
          <p:cNvSpPr txBox="1"/>
          <p:nvPr/>
        </p:nvSpPr>
        <p:spPr>
          <a:xfrm>
            <a:off x="4075612" y="270276"/>
            <a:ext cx="89573" cy="1334650"/>
          </a:xfrm>
          <a:prstGeom prst="rect">
            <a:avLst/>
          </a:prstGeom>
        </p:spPr>
        <p:txBody>
          <a:bodyPr wrap="square" lIns="0" tIns="0" rIns="0" bIns="0" rtlCol="0">
            <a:noAutofit/>
          </a:bodyPr>
          <a:lstStyle/>
          <a:p>
            <a:pPr marL="24882">
              <a:lnSpc>
                <a:spcPts val="980"/>
              </a:lnSpc>
            </a:pPr>
            <a:endParaRPr sz="980"/>
          </a:p>
        </p:txBody>
      </p:sp>
      <p:sp>
        <p:nvSpPr>
          <p:cNvPr id="17" name="object 17"/>
          <p:cNvSpPr txBox="1"/>
          <p:nvPr/>
        </p:nvSpPr>
        <p:spPr>
          <a:xfrm>
            <a:off x="4165185" y="270276"/>
            <a:ext cx="3851677" cy="3645657"/>
          </a:xfrm>
          <a:prstGeom prst="rect">
            <a:avLst/>
          </a:prstGeom>
          <a:solidFill>
            <a:schemeClr val="bg2">
              <a:lumMod val="50000"/>
            </a:schemeClr>
          </a:solidFill>
        </p:spPr>
        <p:txBody>
          <a:bodyPr wrap="square" lIns="0" tIns="0" rIns="0" bIns="0" rtlCol="0">
            <a:noAutofit/>
          </a:bodyPr>
          <a:lstStyle/>
          <a:p>
            <a:pPr>
              <a:lnSpc>
                <a:spcPts val="980"/>
              </a:lnSpc>
            </a:pPr>
            <a:endParaRPr sz="980" dirty="0"/>
          </a:p>
          <a:p>
            <a:pPr marL="1124859" marR="1074994" algn="ctr">
              <a:lnSpc>
                <a:spcPct val="110839"/>
              </a:lnSpc>
              <a:spcBef>
                <a:spcPts val="1371"/>
              </a:spcBef>
            </a:pPr>
            <a:r>
              <a:rPr sz="2302" spc="28" dirty="0">
                <a:solidFill>
                  <a:srgbClr val="FFFFFF"/>
                </a:solidFill>
                <a:latin typeface="Segoe UI"/>
                <a:cs typeface="Segoe UI"/>
              </a:rPr>
              <a:t>L</a:t>
            </a:r>
            <a:r>
              <a:rPr sz="2302" spc="4" dirty="0">
                <a:solidFill>
                  <a:srgbClr val="FFFFFF"/>
                </a:solidFill>
                <a:latin typeface="Segoe UI"/>
                <a:cs typeface="Segoe UI"/>
              </a:rPr>
              <a:t>O</a:t>
            </a:r>
            <a:r>
              <a:rPr sz="2302" spc="24" dirty="0">
                <a:solidFill>
                  <a:srgbClr val="FFFFFF"/>
                </a:solidFill>
                <a:latin typeface="Segoe UI"/>
                <a:cs typeface="Segoe UI"/>
              </a:rPr>
              <a:t>G</a:t>
            </a:r>
            <a:r>
              <a:rPr sz="2302" spc="14" dirty="0">
                <a:solidFill>
                  <a:srgbClr val="FFFFFF"/>
                </a:solidFill>
                <a:latin typeface="Segoe UI"/>
                <a:cs typeface="Segoe UI"/>
              </a:rPr>
              <a:t>I</a:t>
            </a:r>
            <a:r>
              <a:rPr sz="2302" dirty="0">
                <a:solidFill>
                  <a:srgbClr val="FFFFFF"/>
                </a:solidFill>
                <a:latin typeface="Segoe UI"/>
                <a:cs typeface="Segoe UI"/>
              </a:rPr>
              <a:t>C</a:t>
            </a:r>
            <a:r>
              <a:rPr sz="2302" spc="44" dirty="0">
                <a:solidFill>
                  <a:srgbClr val="FFFFFF"/>
                </a:solidFill>
                <a:latin typeface="Segoe UI"/>
                <a:cs typeface="Segoe UI"/>
              </a:rPr>
              <a:t> </a:t>
            </a:r>
            <a:r>
              <a:rPr sz="2302" spc="-19" dirty="0">
                <a:solidFill>
                  <a:srgbClr val="FFFFFF"/>
                </a:solidFill>
                <a:latin typeface="Segoe UI"/>
                <a:cs typeface="Segoe UI"/>
              </a:rPr>
              <a:t>A</a:t>
            </a:r>
            <a:r>
              <a:rPr sz="2302" spc="-33" dirty="0">
                <a:solidFill>
                  <a:srgbClr val="FFFFFF"/>
                </a:solidFill>
                <a:latin typeface="Segoe UI"/>
                <a:cs typeface="Segoe UI"/>
              </a:rPr>
              <a:t>PP</a:t>
            </a:r>
            <a:r>
              <a:rPr sz="2302" dirty="0">
                <a:solidFill>
                  <a:srgbClr val="FFFFFF"/>
                </a:solidFill>
                <a:latin typeface="Segoe UI"/>
                <a:cs typeface="Segoe UI"/>
              </a:rPr>
              <a:t>S</a:t>
            </a:r>
            <a:endParaRPr sz="2302" dirty="0">
              <a:latin typeface="Segoe UI"/>
              <a:cs typeface="Segoe UI"/>
            </a:endParaRPr>
          </a:p>
          <a:p>
            <a:pPr marL="1512110" marR="1515488" algn="ctr">
              <a:lnSpc>
                <a:spcPct val="110839"/>
              </a:lnSpc>
              <a:spcBef>
                <a:spcPts val="13312"/>
              </a:spcBef>
            </a:pPr>
            <a:r>
              <a:rPr sz="1322" b="1" spc="4" dirty="0">
                <a:solidFill>
                  <a:srgbClr val="FFFFFF"/>
                </a:solidFill>
                <a:latin typeface="Segoe UI"/>
                <a:cs typeface="Segoe UI"/>
              </a:rPr>
              <a:t>C</a:t>
            </a:r>
            <a:r>
              <a:rPr sz="1322" b="1" spc="34" dirty="0">
                <a:solidFill>
                  <a:srgbClr val="FFFFFF"/>
                </a:solidFill>
                <a:latin typeface="Segoe UI"/>
                <a:cs typeface="Segoe UI"/>
              </a:rPr>
              <a:t>u</a:t>
            </a:r>
            <a:r>
              <a:rPr sz="1322" b="1" spc="-24" dirty="0">
                <a:solidFill>
                  <a:srgbClr val="FFFFFF"/>
                </a:solidFill>
                <a:latin typeface="Segoe UI"/>
                <a:cs typeface="Segoe UI"/>
              </a:rPr>
              <a:t>s</a:t>
            </a:r>
            <a:r>
              <a:rPr sz="1322" b="1" spc="-29" dirty="0">
                <a:solidFill>
                  <a:srgbClr val="FFFFFF"/>
                </a:solidFill>
                <a:latin typeface="Segoe UI"/>
                <a:cs typeface="Segoe UI"/>
              </a:rPr>
              <a:t>t</a:t>
            </a:r>
            <a:r>
              <a:rPr sz="1322" b="1" spc="24" dirty="0">
                <a:solidFill>
                  <a:srgbClr val="FFFFFF"/>
                </a:solidFill>
                <a:latin typeface="Segoe UI"/>
                <a:cs typeface="Segoe UI"/>
              </a:rPr>
              <a:t>o</a:t>
            </a:r>
            <a:r>
              <a:rPr sz="1322" b="1" spc="-29" dirty="0">
                <a:solidFill>
                  <a:srgbClr val="FFFFFF"/>
                </a:solidFill>
                <a:latin typeface="Segoe UI"/>
                <a:cs typeface="Segoe UI"/>
              </a:rPr>
              <a:t>m</a:t>
            </a:r>
            <a:r>
              <a:rPr sz="1322" b="1" spc="-20" dirty="0">
                <a:solidFill>
                  <a:srgbClr val="FFFFFF"/>
                </a:solidFill>
                <a:latin typeface="Segoe UI"/>
                <a:cs typeface="Segoe UI"/>
              </a:rPr>
              <a:t>e</a:t>
            </a:r>
            <a:r>
              <a:rPr sz="1322" b="1" dirty="0">
                <a:solidFill>
                  <a:srgbClr val="FFFFFF"/>
                </a:solidFill>
                <a:latin typeface="Segoe UI"/>
                <a:cs typeface="Segoe UI"/>
              </a:rPr>
              <a:t>r</a:t>
            </a:r>
            <a:endParaRPr sz="1322" dirty="0">
              <a:latin typeface="Segoe UI"/>
              <a:cs typeface="Segoe UI"/>
            </a:endParaRPr>
          </a:p>
          <a:p>
            <a:pPr marL="1363799" marR="1369053" algn="ctr">
              <a:lnSpc>
                <a:spcPts val="1626"/>
              </a:lnSpc>
              <a:spcBef>
                <a:spcPts val="81"/>
              </a:spcBef>
            </a:pPr>
            <a:r>
              <a:rPr sz="1322" b="1" spc="-29" dirty="0">
                <a:solidFill>
                  <a:srgbClr val="FFFFFF"/>
                </a:solidFill>
                <a:latin typeface="Segoe UI"/>
                <a:cs typeface="Segoe UI"/>
              </a:rPr>
              <a:t>A</a:t>
            </a:r>
            <a:r>
              <a:rPr sz="1322" b="1" spc="10" dirty="0">
                <a:solidFill>
                  <a:srgbClr val="FFFFFF"/>
                </a:solidFill>
                <a:latin typeface="Segoe UI"/>
                <a:cs typeface="Segoe UI"/>
              </a:rPr>
              <a:t>pp</a:t>
            </a:r>
            <a:r>
              <a:rPr sz="1322" b="1" spc="24" dirty="0">
                <a:solidFill>
                  <a:srgbClr val="FFFFFF"/>
                </a:solidFill>
                <a:latin typeface="Segoe UI"/>
                <a:cs typeface="Segoe UI"/>
              </a:rPr>
              <a:t>o</a:t>
            </a:r>
            <a:r>
              <a:rPr sz="1322" b="1" spc="-29" dirty="0">
                <a:solidFill>
                  <a:srgbClr val="FFFFFF"/>
                </a:solidFill>
                <a:latin typeface="Segoe UI"/>
                <a:cs typeface="Segoe UI"/>
              </a:rPr>
              <a:t>i</a:t>
            </a:r>
            <a:r>
              <a:rPr sz="1322" b="1" spc="34" dirty="0">
                <a:solidFill>
                  <a:srgbClr val="FFFFFF"/>
                </a:solidFill>
                <a:latin typeface="Segoe UI"/>
                <a:cs typeface="Segoe UI"/>
              </a:rPr>
              <a:t>n</a:t>
            </a:r>
            <a:r>
              <a:rPr sz="1322" b="1" spc="-29" dirty="0">
                <a:solidFill>
                  <a:srgbClr val="FFFFFF"/>
                </a:solidFill>
                <a:latin typeface="Segoe UI"/>
                <a:cs typeface="Segoe UI"/>
              </a:rPr>
              <a:t>tm</a:t>
            </a:r>
            <a:r>
              <a:rPr sz="1322" b="1" spc="-20" dirty="0">
                <a:solidFill>
                  <a:srgbClr val="FFFFFF"/>
                </a:solidFill>
                <a:latin typeface="Segoe UI"/>
                <a:cs typeface="Segoe UI"/>
              </a:rPr>
              <a:t>e</a:t>
            </a:r>
            <a:r>
              <a:rPr sz="1322" b="1" spc="34" dirty="0">
                <a:solidFill>
                  <a:srgbClr val="FFFFFF"/>
                </a:solidFill>
                <a:latin typeface="Segoe UI"/>
                <a:cs typeface="Segoe UI"/>
              </a:rPr>
              <a:t>n</a:t>
            </a:r>
            <a:r>
              <a:rPr sz="1322" b="1" dirty="0">
                <a:solidFill>
                  <a:srgbClr val="FFFFFF"/>
                </a:solidFill>
                <a:latin typeface="Segoe UI"/>
                <a:cs typeface="Segoe UI"/>
              </a:rPr>
              <a:t>t</a:t>
            </a:r>
            <a:endParaRPr sz="1322" dirty="0">
              <a:latin typeface="Segoe UI"/>
              <a:cs typeface="Segoe UI"/>
            </a:endParaRPr>
          </a:p>
        </p:txBody>
      </p:sp>
      <p:sp>
        <p:nvSpPr>
          <p:cNvPr id="16" name="object 16"/>
          <p:cNvSpPr txBox="1"/>
          <p:nvPr/>
        </p:nvSpPr>
        <p:spPr>
          <a:xfrm>
            <a:off x="8016863" y="270276"/>
            <a:ext cx="98530" cy="1334650"/>
          </a:xfrm>
          <a:prstGeom prst="rect">
            <a:avLst/>
          </a:prstGeom>
        </p:spPr>
        <p:txBody>
          <a:bodyPr wrap="square" lIns="0" tIns="0" rIns="0" bIns="0" rtlCol="0">
            <a:noAutofit/>
          </a:bodyPr>
          <a:lstStyle/>
          <a:p>
            <a:pPr marL="24882">
              <a:lnSpc>
                <a:spcPts val="980"/>
              </a:lnSpc>
            </a:pPr>
            <a:endParaRPr sz="980"/>
          </a:p>
        </p:txBody>
      </p:sp>
      <p:sp>
        <p:nvSpPr>
          <p:cNvPr id="15" name="object 15"/>
          <p:cNvSpPr txBox="1"/>
          <p:nvPr/>
        </p:nvSpPr>
        <p:spPr>
          <a:xfrm>
            <a:off x="8115393" y="270276"/>
            <a:ext cx="3851677" cy="3645657"/>
          </a:xfrm>
          <a:prstGeom prst="rect">
            <a:avLst/>
          </a:prstGeom>
        </p:spPr>
        <p:txBody>
          <a:bodyPr wrap="square" lIns="0" tIns="0" rIns="0" bIns="0" rtlCol="0">
            <a:noAutofit/>
          </a:bodyPr>
          <a:lstStyle/>
          <a:p>
            <a:pPr>
              <a:lnSpc>
                <a:spcPts val="980"/>
              </a:lnSpc>
            </a:pPr>
            <a:endParaRPr sz="980"/>
          </a:p>
          <a:p>
            <a:pPr marL="893008">
              <a:lnSpc>
                <a:spcPct val="110839"/>
              </a:lnSpc>
              <a:spcBef>
                <a:spcPts val="1459"/>
              </a:spcBef>
            </a:pPr>
            <a:r>
              <a:rPr sz="2302" spc="19" dirty="0">
                <a:solidFill>
                  <a:srgbClr val="FFFFFF"/>
                </a:solidFill>
                <a:latin typeface="Segoe UI"/>
                <a:cs typeface="Segoe UI"/>
              </a:rPr>
              <a:t>M</a:t>
            </a:r>
            <a:r>
              <a:rPr sz="2302" dirty="0">
                <a:solidFill>
                  <a:srgbClr val="FFFFFF"/>
                </a:solidFill>
                <a:latin typeface="Segoe UI"/>
                <a:cs typeface="Segoe UI"/>
              </a:rPr>
              <a:t>O</a:t>
            </a:r>
            <a:r>
              <a:rPr sz="2302" spc="9" dirty="0">
                <a:solidFill>
                  <a:srgbClr val="FFFFFF"/>
                </a:solidFill>
                <a:latin typeface="Segoe UI"/>
                <a:cs typeface="Segoe UI"/>
              </a:rPr>
              <a:t>BI</a:t>
            </a:r>
            <a:r>
              <a:rPr sz="2302" spc="28" dirty="0">
                <a:solidFill>
                  <a:srgbClr val="FFFFFF"/>
                </a:solidFill>
                <a:latin typeface="Segoe UI"/>
                <a:cs typeface="Segoe UI"/>
              </a:rPr>
              <a:t>L</a:t>
            </a:r>
            <a:r>
              <a:rPr sz="2302" dirty="0">
                <a:solidFill>
                  <a:srgbClr val="FFFFFF"/>
                </a:solidFill>
                <a:latin typeface="Segoe UI"/>
                <a:cs typeface="Segoe UI"/>
              </a:rPr>
              <a:t>E</a:t>
            </a:r>
            <a:r>
              <a:rPr sz="2302" spc="109" dirty="0">
                <a:solidFill>
                  <a:srgbClr val="FFFFFF"/>
                </a:solidFill>
                <a:latin typeface="Segoe UI"/>
                <a:cs typeface="Segoe UI"/>
              </a:rPr>
              <a:t> </a:t>
            </a:r>
            <a:r>
              <a:rPr sz="2302" spc="-24" dirty="0">
                <a:solidFill>
                  <a:srgbClr val="FFFFFF"/>
                </a:solidFill>
                <a:latin typeface="Segoe UI"/>
                <a:cs typeface="Segoe UI"/>
              </a:rPr>
              <a:t>A</a:t>
            </a:r>
            <a:r>
              <a:rPr sz="2302" spc="-33" dirty="0">
                <a:solidFill>
                  <a:srgbClr val="FFFFFF"/>
                </a:solidFill>
                <a:latin typeface="Segoe UI"/>
                <a:cs typeface="Segoe UI"/>
              </a:rPr>
              <a:t>PP</a:t>
            </a:r>
            <a:r>
              <a:rPr sz="2302" dirty="0">
                <a:solidFill>
                  <a:srgbClr val="FFFFFF"/>
                </a:solidFill>
                <a:latin typeface="Segoe UI"/>
                <a:cs typeface="Segoe UI"/>
              </a:rPr>
              <a:t>S</a:t>
            </a:r>
            <a:endParaRPr sz="2302">
              <a:latin typeface="Segoe UI"/>
              <a:cs typeface="Segoe UI"/>
            </a:endParaRPr>
          </a:p>
          <a:p>
            <a:pPr marL="1283032">
              <a:lnSpc>
                <a:spcPct val="110839"/>
              </a:lnSpc>
              <a:spcBef>
                <a:spcPts val="13220"/>
              </a:spcBef>
            </a:pPr>
            <a:r>
              <a:rPr sz="1322" b="1" spc="-151" dirty="0">
                <a:solidFill>
                  <a:srgbClr val="FFFFFF"/>
                </a:solidFill>
                <a:latin typeface="Segoe UI"/>
                <a:cs typeface="Segoe UI"/>
              </a:rPr>
              <a:t>T</a:t>
            </a:r>
            <a:r>
              <a:rPr sz="1322" b="1" spc="-19" dirty="0">
                <a:solidFill>
                  <a:srgbClr val="FFFFFF"/>
                </a:solidFill>
                <a:latin typeface="Segoe UI"/>
                <a:cs typeface="Segoe UI"/>
              </a:rPr>
              <a:t>e</a:t>
            </a:r>
            <a:r>
              <a:rPr sz="1322" b="1" spc="-9" dirty="0">
                <a:solidFill>
                  <a:srgbClr val="FFFFFF"/>
                </a:solidFill>
                <a:latin typeface="Segoe UI"/>
                <a:cs typeface="Segoe UI"/>
              </a:rPr>
              <a:t>c</a:t>
            </a:r>
            <a:r>
              <a:rPr sz="1322" b="1" spc="-28" dirty="0">
                <a:solidFill>
                  <a:srgbClr val="FFFFFF"/>
                </a:solidFill>
                <a:latin typeface="Segoe UI"/>
                <a:cs typeface="Segoe UI"/>
              </a:rPr>
              <a:t>h</a:t>
            </a:r>
            <a:r>
              <a:rPr sz="1322" b="1" spc="33" dirty="0">
                <a:solidFill>
                  <a:srgbClr val="FFFFFF"/>
                </a:solidFill>
                <a:latin typeface="Segoe UI"/>
                <a:cs typeface="Segoe UI"/>
              </a:rPr>
              <a:t>n</a:t>
            </a:r>
            <a:r>
              <a:rPr sz="1322" b="1" spc="-28" dirty="0">
                <a:solidFill>
                  <a:srgbClr val="FFFFFF"/>
                </a:solidFill>
                <a:latin typeface="Segoe UI"/>
                <a:cs typeface="Segoe UI"/>
              </a:rPr>
              <a:t>i</a:t>
            </a:r>
            <a:r>
              <a:rPr sz="1322" b="1" spc="-9" dirty="0">
                <a:solidFill>
                  <a:srgbClr val="FFFFFF"/>
                </a:solidFill>
                <a:latin typeface="Segoe UI"/>
                <a:cs typeface="Segoe UI"/>
              </a:rPr>
              <a:t>c</a:t>
            </a:r>
            <a:r>
              <a:rPr sz="1322" b="1" spc="-28" dirty="0">
                <a:solidFill>
                  <a:srgbClr val="FFFFFF"/>
                </a:solidFill>
                <a:latin typeface="Segoe UI"/>
                <a:cs typeface="Segoe UI"/>
              </a:rPr>
              <a:t>i</a:t>
            </a:r>
            <a:r>
              <a:rPr sz="1322" b="1" spc="-14" dirty="0">
                <a:solidFill>
                  <a:srgbClr val="FFFFFF"/>
                </a:solidFill>
                <a:latin typeface="Segoe UI"/>
                <a:cs typeface="Segoe UI"/>
              </a:rPr>
              <a:t>a</a:t>
            </a:r>
            <a:r>
              <a:rPr sz="1322" b="1" dirty="0">
                <a:solidFill>
                  <a:srgbClr val="FFFFFF"/>
                </a:solidFill>
                <a:latin typeface="Segoe UI"/>
                <a:cs typeface="Segoe UI"/>
              </a:rPr>
              <a:t>n </a:t>
            </a:r>
            <a:r>
              <a:rPr sz="1322" b="1" spc="7" dirty="0">
                <a:solidFill>
                  <a:srgbClr val="FFFFFF"/>
                </a:solidFill>
                <a:latin typeface="Segoe UI"/>
                <a:cs typeface="Segoe UI"/>
              </a:rPr>
              <a:t> </a:t>
            </a:r>
            <a:r>
              <a:rPr sz="1322" b="1" spc="-24" dirty="0">
                <a:solidFill>
                  <a:srgbClr val="FFFFFF"/>
                </a:solidFill>
                <a:latin typeface="Segoe UI"/>
                <a:cs typeface="Segoe UI"/>
              </a:rPr>
              <a:t>A</a:t>
            </a:r>
            <a:r>
              <a:rPr sz="1322" b="1" spc="15" dirty="0">
                <a:solidFill>
                  <a:srgbClr val="FFFFFF"/>
                </a:solidFill>
                <a:latin typeface="Segoe UI"/>
                <a:cs typeface="Segoe UI"/>
              </a:rPr>
              <a:t>p</a:t>
            </a:r>
            <a:r>
              <a:rPr sz="1322" b="1" dirty="0">
                <a:solidFill>
                  <a:srgbClr val="FFFFFF"/>
                </a:solidFill>
                <a:latin typeface="Segoe UI"/>
                <a:cs typeface="Segoe UI"/>
              </a:rPr>
              <a:t>p</a:t>
            </a:r>
            <a:endParaRPr sz="1322">
              <a:latin typeface="Segoe UI"/>
              <a:cs typeface="Segoe UI"/>
            </a:endParaRPr>
          </a:p>
        </p:txBody>
      </p:sp>
      <p:sp>
        <p:nvSpPr>
          <p:cNvPr id="14" name="object 14"/>
          <p:cNvSpPr txBox="1"/>
          <p:nvPr/>
        </p:nvSpPr>
        <p:spPr>
          <a:xfrm>
            <a:off x="4075612" y="1604926"/>
            <a:ext cx="89573" cy="2185603"/>
          </a:xfrm>
          <a:prstGeom prst="rect">
            <a:avLst/>
          </a:prstGeom>
        </p:spPr>
        <p:txBody>
          <a:bodyPr wrap="square" lIns="0" tIns="0" rIns="0" bIns="0" rtlCol="0">
            <a:noAutofit/>
          </a:bodyPr>
          <a:lstStyle/>
          <a:p>
            <a:pPr marL="24882">
              <a:lnSpc>
                <a:spcPts val="980"/>
              </a:lnSpc>
            </a:pPr>
            <a:endParaRPr sz="980"/>
          </a:p>
        </p:txBody>
      </p:sp>
      <p:sp>
        <p:nvSpPr>
          <p:cNvPr id="13" name="object 13"/>
          <p:cNvSpPr txBox="1"/>
          <p:nvPr/>
        </p:nvSpPr>
        <p:spPr>
          <a:xfrm>
            <a:off x="8016863" y="1604926"/>
            <a:ext cx="98530" cy="2185603"/>
          </a:xfrm>
          <a:prstGeom prst="rect">
            <a:avLst/>
          </a:prstGeom>
        </p:spPr>
        <p:txBody>
          <a:bodyPr wrap="square" lIns="0" tIns="0" rIns="0" bIns="0" rtlCol="0">
            <a:noAutofit/>
          </a:bodyPr>
          <a:lstStyle/>
          <a:p>
            <a:pPr marL="24882">
              <a:lnSpc>
                <a:spcPts val="980"/>
              </a:lnSpc>
            </a:pPr>
            <a:endParaRPr sz="980"/>
          </a:p>
        </p:txBody>
      </p:sp>
      <p:sp>
        <p:nvSpPr>
          <p:cNvPr id="12" name="object 12"/>
          <p:cNvSpPr txBox="1"/>
          <p:nvPr/>
        </p:nvSpPr>
        <p:spPr>
          <a:xfrm>
            <a:off x="4075612" y="3790529"/>
            <a:ext cx="89573" cy="125403"/>
          </a:xfrm>
          <a:prstGeom prst="rect">
            <a:avLst/>
          </a:prstGeom>
        </p:spPr>
        <p:txBody>
          <a:bodyPr wrap="square" lIns="0" tIns="0" rIns="0" bIns="0" rtlCol="0">
            <a:noAutofit/>
          </a:bodyPr>
          <a:lstStyle/>
          <a:p>
            <a:pPr marL="24882">
              <a:lnSpc>
                <a:spcPts val="980"/>
              </a:lnSpc>
            </a:pPr>
            <a:endParaRPr sz="980"/>
          </a:p>
        </p:txBody>
      </p:sp>
      <p:sp>
        <p:nvSpPr>
          <p:cNvPr id="11" name="object 11"/>
          <p:cNvSpPr txBox="1"/>
          <p:nvPr/>
        </p:nvSpPr>
        <p:spPr>
          <a:xfrm>
            <a:off x="8016863" y="3790529"/>
            <a:ext cx="98530" cy="125403"/>
          </a:xfrm>
          <a:prstGeom prst="rect">
            <a:avLst/>
          </a:prstGeom>
        </p:spPr>
        <p:txBody>
          <a:bodyPr wrap="square" lIns="0" tIns="0" rIns="0" bIns="0" rtlCol="0">
            <a:noAutofit/>
          </a:bodyPr>
          <a:lstStyle/>
          <a:p>
            <a:pPr marL="24882">
              <a:lnSpc>
                <a:spcPts val="980"/>
              </a:lnSpc>
            </a:pPr>
            <a:endParaRPr sz="980"/>
          </a:p>
        </p:txBody>
      </p:sp>
      <p:sp>
        <p:nvSpPr>
          <p:cNvPr id="10" name="object 10"/>
          <p:cNvSpPr txBox="1"/>
          <p:nvPr/>
        </p:nvSpPr>
        <p:spPr>
          <a:xfrm>
            <a:off x="214977" y="3915933"/>
            <a:ext cx="2373708" cy="250807"/>
          </a:xfrm>
          <a:prstGeom prst="rect">
            <a:avLst/>
          </a:prstGeom>
        </p:spPr>
        <p:txBody>
          <a:bodyPr wrap="square" lIns="0" tIns="0" rIns="0" bIns="0" rtlCol="0">
            <a:noAutofit/>
          </a:bodyPr>
          <a:lstStyle/>
          <a:p>
            <a:pPr marL="24882">
              <a:lnSpc>
                <a:spcPts val="980"/>
              </a:lnSpc>
            </a:pPr>
            <a:endParaRPr sz="980"/>
          </a:p>
        </p:txBody>
      </p:sp>
      <p:sp>
        <p:nvSpPr>
          <p:cNvPr id="9" name="object 9"/>
          <p:cNvSpPr txBox="1"/>
          <p:nvPr/>
        </p:nvSpPr>
        <p:spPr>
          <a:xfrm>
            <a:off x="2588685" y="3915933"/>
            <a:ext cx="1486926" cy="250807"/>
          </a:xfrm>
          <a:prstGeom prst="rect">
            <a:avLst/>
          </a:prstGeom>
        </p:spPr>
        <p:txBody>
          <a:bodyPr wrap="square" lIns="0" tIns="0" rIns="0" bIns="0" rtlCol="0">
            <a:noAutofit/>
          </a:bodyPr>
          <a:lstStyle/>
          <a:p>
            <a:pPr marL="24882">
              <a:lnSpc>
                <a:spcPts val="980"/>
              </a:lnSpc>
            </a:pPr>
            <a:endParaRPr sz="980"/>
          </a:p>
        </p:txBody>
      </p:sp>
      <p:sp>
        <p:nvSpPr>
          <p:cNvPr id="8" name="object 8"/>
          <p:cNvSpPr txBox="1"/>
          <p:nvPr/>
        </p:nvSpPr>
        <p:spPr>
          <a:xfrm>
            <a:off x="4075612" y="3915933"/>
            <a:ext cx="89573" cy="250807"/>
          </a:xfrm>
          <a:prstGeom prst="rect">
            <a:avLst/>
          </a:prstGeom>
        </p:spPr>
        <p:txBody>
          <a:bodyPr wrap="square" lIns="0" tIns="0" rIns="0" bIns="0" rtlCol="0">
            <a:noAutofit/>
          </a:bodyPr>
          <a:lstStyle/>
          <a:p>
            <a:pPr marL="24882">
              <a:lnSpc>
                <a:spcPts val="980"/>
              </a:lnSpc>
            </a:pPr>
            <a:endParaRPr sz="980"/>
          </a:p>
        </p:txBody>
      </p:sp>
      <p:sp>
        <p:nvSpPr>
          <p:cNvPr id="7" name="object 7"/>
          <p:cNvSpPr txBox="1"/>
          <p:nvPr/>
        </p:nvSpPr>
        <p:spPr>
          <a:xfrm>
            <a:off x="4165185" y="3915933"/>
            <a:ext cx="3851677" cy="250807"/>
          </a:xfrm>
          <a:prstGeom prst="rect">
            <a:avLst/>
          </a:prstGeom>
        </p:spPr>
        <p:txBody>
          <a:bodyPr wrap="square" lIns="0" tIns="0" rIns="0" bIns="0" rtlCol="0">
            <a:noAutofit/>
          </a:bodyPr>
          <a:lstStyle/>
          <a:p>
            <a:pPr marL="24882">
              <a:lnSpc>
                <a:spcPts val="980"/>
              </a:lnSpc>
            </a:pPr>
            <a:endParaRPr sz="980"/>
          </a:p>
        </p:txBody>
      </p:sp>
      <p:sp>
        <p:nvSpPr>
          <p:cNvPr id="6" name="object 6"/>
          <p:cNvSpPr txBox="1"/>
          <p:nvPr/>
        </p:nvSpPr>
        <p:spPr>
          <a:xfrm>
            <a:off x="8016863" y="3915933"/>
            <a:ext cx="98530" cy="250807"/>
          </a:xfrm>
          <a:prstGeom prst="rect">
            <a:avLst/>
          </a:prstGeom>
        </p:spPr>
        <p:txBody>
          <a:bodyPr wrap="square" lIns="0" tIns="0" rIns="0" bIns="0" rtlCol="0">
            <a:noAutofit/>
          </a:bodyPr>
          <a:lstStyle/>
          <a:p>
            <a:pPr marL="24882">
              <a:lnSpc>
                <a:spcPts val="980"/>
              </a:lnSpc>
            </a:pPr>
            <a:endParaRPr sz="980"/>
          </a:p>
        </p:txBody>
      </p:sp>
      <p:sp>
        <p:nvSpPr>
          <p:cNvPr id="5" name="object 5"/>
          <p:cNvSpPr txBox="1"/>
          <p:nvPr/>
        </p:nvSpPr>
        <p:spPr>
          <a:xfrm>
            <a:off x="8115393" y="3915933"/>
            <a:ext cx="1343608" cy="250807"/>
          </a:xfrm>
          <a:prstGeom prst="rect">
            <a:avLst/>
          </a:prstGeom>
        </p:spPr>
        <p:txBody>
          <a:bodyPr wrap="square" lIns="0" tIns="0" rIns="0" bIns="0" rtlCol="0">
            <a:noAutofit/>
          </a:bodyPr>
          <a:lstStyle/>
          <a:p>
            <a:pPr marL="24882">
              <a:lnSpc>
                <a:spcPts val="980"/>
              </a:lnSpc>
            </a:pPr>
            <a:endParaRPr sz="980"/>
          </a:p>
        </p:txBody>
      </p:sp>
      <p:sp>
        <p:nvSpPr>
          <p:cNvPr id="4" name="object 4"/>
          <p:cNvSpPr txBox="1"/>
          <p:nvPr/>
        </p:nvSpPr>
        <p:spPr>
          <a:xfrm>
            <a:off x="9459001" y="3915933"/>
            <a:ext cx="2508069" cy="250807"/>
          </a:xfrm>
          <a:prstGeom prst="rect">
            <a:avLst/>
          </a:prstGeom>
        </p:spPr>
        <p:txBody>
          <a:bodyPr wrap="square" lIns="0" tIns="0" rIns="0" bIns="0" rtlCol="0">
            <a:noAutofit/>
          </a:bodyPr>
          <a:lstStyle/>
          <a:p>
            <a:pPr marL="24882">
              <a:lnSpc>
                <a:spcPts val="980"/>
              </a:lnSpc>
            </a:pPr>
            <a:endParaRPr sz="980"/>
          </a:p>
        </p:txBody>
      </p:sp>
      <p:sp>
        <p:nvSpPr>
          <p:cNvPr id="3" name="object 3"/>
          <p:cNvSpPr txBox="1"/>
          <p:nvPr/>
        </p:nvSpPr>
        <p:spPr>
          <a:xfrm>
            <a:off x="1244081633" y="4265272"/>
            <a:ext cx="0" cy="2337878"/>
          </a:xfrm>
          <a:prstGeom prst="rect">
            <a:avLst/>
          </a:prstGeom>
        </p:spPr>
        <p:txBody>
          <a:bodyPr wrap="square" lIns="0" tIns="0" rIns="0" bIns="0" rtlCol="0">
            <a:noAutofit/>
          </a:bodyPr>
          <a:lstStyle/>
          <a:p>
            <a:pPr marL="24882">
              <a:lnSpc>
                <a:spcPts val="980"/>
              </a:lnSpc>
            </a:pPr>
            <a:endParaRPr sz="980"/>
          </a:p>
        </p:txBody>
      </p:sp>
      <p:sp>
        <p:nvSpPr>
          <p:cNvPr id="2" name="object 2"/>
          <p:cNvSpPr txBox="1"/>
          <p:nvPr/>
        </p:nvSpPr>
        <p:spPr>
          <a:xfrm>
            <a:off x="214977" y="4265272"/>
            <a:ext cx="11752093" cy="2337878"/>
          </a:xfrm>
          <a:prstGeom prst="rect">
            <a:avLst/>
          </a:prstGeom>
        </p:spPr>
        <p:txBody>
          <a:bodyPr wrap="square" lIns="0" tIns="0" rIns="0" bIns="0" rtlCol="0">
            <a:noAutofit/>
          </a:bodyPr>
          <a:lstStyle/>
          <a:p>
            <a:pPr>
              <a:lnSpc>
                <a:spcPts val="588"/>
              </a:lnSpc>
              <a:spcBef>
                <a:spcPts val="23"/>
              </a:spcBef>
            </a:pPr>
            <a:endParaRPr sz="588"/>
          </a:p>
          <a:p>
            <a:pPr marL="1176165">
              <a:lnSpc>
                <a:spcPct val="110839"/>
              </a:lnSpc>
              <a:spcBef>
                <a:spcPts val="1959"/>
              </a:spcBef>
            </a:pPr>
            <a:r>
              <a:rPr sz="2302" spc="-19" dirty="0">
                <a:solidFill>
                  <a:srgbClr val="FFFFFF"/>
                </a:solidFill>
                <a:latin typeface="Segoe UI"/>
                <a:cs typeface="Segoe UI"/>
              </a:rPr>
              <a:t>A</a:t>
            </a:r>
            <a:r>
              <a:rPr sz="2302" spc="-38" dirty="0">
                <a:solidFill>
                  <a:srgbClr val="FFFFFF"/>
                </a:solidFill>
                <a:latin typeface="Segoe UI"/>
                <a:cs typeface="Segoe UI"/>
              </a:rPr>
              <a:t>P</a:t>
            </a:r>
            <a:r>
              <a:rPr sz="2302" dirty="0">
                <a:solidFill>
                  <a:srgbClr val="FFFFFF"/>
                </a:solidFill>
                <a:latin typeface="Segoe UI"/>
                <a:cs typeface="Segoe UI"/>
              </a:rPr>
              <a:t>I</a:t>
            </a:r>
            <a:r>
              <a:rPr sz="2302" spc="126" dirty="0">
                <a:solidFill>
                  <a:srgbClr val="FFFFFF"/>
                </a:solidFill>
                <a:latin typeface="Segoe UI"/>
                <a:cs typeface="Segoe UI"/>
              </a:rPr>
              <a:t> </a:t>
            </a:r>
            <a:r>
              <a:rPr sz="2302" spc="-19" dirty="0">
                <a:solidFill>
                  <a:srgbClr val="FFFFFF"/>
                </a:solidFill>
                <a:latin typeface="Segoe UI"/>
                <a:cs typeface="Segoe UI"/>
              </a:rPr>
              <a:t>A</a:t>
            </a:r>
            <a:r>
              <a:rPr sz="2302" spc="-33" dirty="0">
                <a:solidFill>
                  <a:srgbClr val="FFFFFF"/>
                </a:solidFill>
                <a:latin typeface="Segoe UI"/>
                <a:cs typeface="Segoe UI"/>
              </a:rPr>
              <a:t>PP</a:t>
            </a:r>
            <a:r>
              <a:rPr sz="2302" dirty="0">
                <a:solidFill>
                  <a:srgbClr val="FFFFFF"/>
                </a:solidFill>
                <a:latin typeface="Segoe UI"/>
                <a:cs typeface="Segoe UI"/>
              </a:rPr>
              <a:t>S</a:t>
            </a:r>
            <a:endParaRPr sz="2302">
              <a:latin typeface="Segoe UI"/>
              <a:cs typeface="Segoe UI"/>
            </a:endParaRPr>
          </a:p>
        </p:txBody>
      </p:sp>
    </p:spTree>
    <p:extLst>
      <p:ext uri="{BB962C8B-B14F-4D97-AF65-F5344CB8AC3E}">
        <p14:creationId xmlns:p14="http://schemas.microsoft.com/office/powerpoint/2010/main" val="414815319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421023" y="2296552"/>
            <a:ext cx="10168361" cy="769441"/>
          </a:xfrm>
          <a:prstGeom prst="rect">
            <a:avLst/>
          </a:prstGeom>
        </p:spPr>
        <p:txBody>
          <a:bodyPr wrap="none">
            <a:spAutoFit/>
          </a:bodyPr>
          <a:lstStyle/>
          <a:p>
            <a:r>
              <a:rPr lang="en-IN" sz="4400" b="1" dirty="0">
                <a:effectLst>
                  <a:outerShdw blurRad="38100" dist="38100" dir="2700000" algn="tl">
                    <a:srgbClr val="000000">
                      <a:alpha val="43137"/>
                    </a:srgbClr>
                  </a:outerShdw>
                </a:effectLst>
              </a:rPr>
              <a:t>Module 8: Azure Backup and </a:t>
            </a:r>
            <a:r>
              <a:rPr lang="en-IN" sz="4400" b="1" dirty="0" smtClean="0">
                <a:effectLst>
                  <a:outerShdw blurRad="38100" dist="38100" dir="2700000" algn="tl">
                    <a:srgbClr val="000000">
                      <a:alpha val="43137"/>
                    </a:srgbClr>
                  </a:outerShdw>
                </a:effectLst>
              </a:rPr>
              <a:t>Site </a:t>
            </a:r>
            <a:r>
              <a:rPr lang="en-IN" sz="4400" b="1" dirty="0">
                <a:effectLst>
                  <a:outerShdw blurRad="38100" dist="38100" dir="2700000" algn="tl">
                    <a:srgbClr val="000000">
                      <a:alpha val="43137"/>
                    </a:srgbClr>
                  </a:outerShdw>
                </a:effectLst>
              </a:rPr>
              <a:t>Recovery</a:t>
            </a:r>
            <a:endParaRPr lang="en-IN" sz="4400" b="1" dirty="0">
              <a:latin typeface="Arial Narrow" pitchFamily="34" charset="0"/>
            </a:endParaRPr>
          </a:p>
        </p:txBody>
      </p:sp>
    </p:spTree>
    <p:extLst>
      <p:ext uri="{BB962C8B-B14F-4D97-AF65-F5344CB8AC3E}">
        <p14:creationId xmlns:p14="http://schemas.microsoft.com/office/powerpoint/2010/main" val="293235184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9746" name="Picture 2"/>
          <p:cNvPicPr>
            <a:picLocks noChangeAspect="1" noChangeArrowheads="1"/>
          </p:cNvPicPr>
          <p:nvPr/>
        </p:nvPicPr>
        <p:blipFill>
          <a:blip r:embed="rId2" cstate="print"/>
          <a:srcRect/>
          <a:stretch>
            <a:fillRect/>
          </a:stretch>
        </p:blipFill>
        <p:spPr bwMode="auto">
          <a:xfrm>
            <a:off x="0" y="585651"/>
            <a:ext cx="12192000" cy="5044440"/>
          </a:xfrm>
          <a:prstGeom prst="rect">
            <a:avLst/>
          </a:prstGeom>
          <a:noFill/>
          <a:ln w="9525">
            <a:noFill/>
            <a:miter lim="800000"/>
            <a:headEnd/>
            <a:tailEnd/>
          </a:ln>
        </p:spPr>
      </p:pic>
    </p:spTree>
    <p:extLst>
      <p:ext uri="{BB962C8B-B14F-4D97-AF65-F5344CB8AC3E}">
        <p14:creationId xmlns:p14="http://schemas.microsoft.com/office/powerpoint/2010/main" val="990252138"/>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0770" name="Picture 2"/>
          <p:cNvPicPr>
            <a:picLocks noChangeAspect="1" noChangeArrowheads="1"/>
          </p:cNvPicPr>
          <p:nvPr/>
        </p:nvPicPr>
        <p:blipFill>
          <a:blip r:embed="rId2" cstate="print"/>
          <a:srcRect/>
          <a:stretch>
            <a:fillRect/>
          </a:stretch>
        </p:blipFill>
        <p:spPr bwMode="auto">
          <a:xfrm>
            <a:off x="0" y="117567"/>
            <a:ext cx="12192000" cy="6570616"/>
          </a:xfrm>
          <a:prstGeom prst="rect">
            <a:avLst/>
          </a:prstGeom>
          <a:noFill/>
          <a:ln w="9525">
            <a:noFill/>
            <a:miter lim="800000"/>
            <a:headEnd/>
            <a:tailEnd/>
          </a:ln>
        </p:spPr>
      </p:pic>
    </p:spTree>
    <p:extLst>
      <p:ext uri="{BB962C8B-B14F-4D97-AF65-F5344CB8AC3E}">
        <p14:creationId xmlns:p14="http://schemas.microsoft.com/office/powerpoint/2010/main" val="2413000039"/>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1794" name="Picture 2"/>
          <p:cNvPicPr>
            <a:picLocks noChangeAspect="1" noChangeArrowheads="1"/>
          </p:cNvPicPr>
          <p:nvPr/>
        </p:nvPicPr>
        <p:blipFill>
          <a:blip r:embed="rId2" cstate="print"/>
          <a:srcRect/>
          <a:stretch>
            <a:fillRect/>
          </a:stretch>
        </p:blipFill>
        <p:spPr bwMode="auto">
          <a:xfrm>
            <a:off x="0" y="0"/>
            <a:ext cx="12192000" cy="6858000"/>
          </a:xfrm>
          <a:prstGeom prst="rect">
            <a:avLst/>
          </a:prstGeom>
          <a:noFill/>
          <a:ln w="9525">
            <a:noFill/>
            <a:miter lim="800000"/>
            <a:headEnd/>
            <a:tailEnd/>
          </a:ln>
        </p:spPr>
      </p:pic>
    </p:spTree>
    <p:extLst>
      <p:ext uri="{BB962C8B-B14F-4D97-AF65-F5344CB8AC3E}">
        <p14:creationId xmlns:p14="http://schemas.microsoft.com/office/powerpoint/2010/main" val="4176607421"/>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2818" name="Picture 2"/>
          <p:cNvPicPr>
            <a:picLocks noChangeAspect="1" noChangeArrowheads="1"/>
          </p:cNvPicPr>
          <p:nvPr/>
        </p:nvPicPr>
        <p:blipFill>
          <a:blip r:embed="rId2" cstate="print"/>
          <a:srcRect/>
          <a:stretch>
            <a:fillRect/>
          </a:stretch>
        </p:blipFill>
        <p:spPr bwMode="auto">
          <a:xfrm>
            <a:off x="-1" y="-1058091"/>
            <a:ext cx="12192001" cy="7289074"/>
          </a:xfrm>
          <a:prstGeom prst="rect">
            <a:avLst/>
          </a:prstGeom>
          <a:noFill/>
          <a:ln w="9525">
            <a:noFill/>
            <a:miter lim="800000"/>
            <a:headEnd/>
            <a:tailEnd/>
          </a:ln>
        </p:spPr>
      </p:pic>
    </p:spTree>
    <p:extLst>
      <p:ext uri="{BB962C8B-B14F-4D97-AF65-F5344CB8AC3E}">
        <p14:creationId xmlns:p14="http://schemas.microsoft.com/office/powerpoint/2010/main" val="29091842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7571303"/>
          </a:xfrm>
          <a:prstGeom prst="rect">
            <a:avLst/>
          </a:prstGeom>
        </p:spPr>
        <p:txBody>
          <a:bodyPr wrap="square">
            <a:spAutoFit/>
          </a:bodyPr>
          <a:lstStyle/>
          <a:p>
            <a:r>
              <a:rPr lang="en-IN" b="1" dirty="0">
                <a:effectLst>
                  <a:outerShdw blurRad="38100" dist="38100" dir="2700000" algn="tl">
                    <a:srgbClr val="000000">
                      <a:alpha val="43137"/>
                    </a:srgbClr>
                  </a:outerShdw>
                </a:effectLst>
              </a:rPr>
              <a:t>Topic 1: Azure Fundamentals </a:t>
            </a:r>
          </a:p>
          <a:p>
            <a:r>
              <a:rPr lang="en-IN" dirty="0"/>
              <a:t>•	Introduction to Azure </a:t>
            </a:r>
          </a:p>
          <a:p>
            <a:r>
              <a:rPr lang="en-IN" dirty="0"/>
              <a:t>•	Different segments SaaS, PaaS, and IaaS </a:t>
            </a:r>
          </a:p>
          <a:p>
            <a:r>
              <a:rPr lang="en-IN" dirty="0"/>
              <a:t>•	Azure Regions and Data Centers</a:t>
            </a:r>
          </a:p>
          <a:p>
            <a:r>
              <a:rPr lang="en-IN" dirty="0"/>
              <a:t>•	Understanding of Microsoft Azure portal </a:t>
            </a:r>
          </a:p>
          <a:p>
            <a:r>
              <a:rPr lang="en-IN" dirty="0"/>
              <a:t>•	Introduction to all Azure services </a:t>
            </a:r>
          </a:p>
          <a:p>
            <a:r>
              <a:rPr lang="en-IN" dirty="0"/>
              <a:t>•	Windows Azure Subscription</a:t>
            </a:r>
          </a:p>
          <a:p>
            <a:r>
              <a:rPr lang="en-IN" dirty="0"/>
              <a:t>•	Setting Up a Trial Subscription</a:t>
            </a:r>
          </a:p>
          <a:p>
            <a:endParaRPr lang="en-IN" dirty="0"/>
          </a:p>
          <a:p>
            <a:r>
              <a:rPr lang="en-IN" b="1" dirty="0">
                <a:effectLst>
                  <a:outerShdw blurRad="38100" dist="38100" dir="2700000" algn="tl">
                    <a:srgbClr val="000000">
                      <a:alpha val="43137"/>
                    </a:srgbClr>
                  </a:outerShdw>
                </a:effectLst>
              </a:rPr>
              <a:t>Topic 2: Azure Virtual Machines </a:t>
            </a:r>
          </a:p>
          <a:p>
            <a:r>
              <a:rPr lang="en-IN" dirty="0"/>
              <a:t>•	Operating System Images Supported </a:t>
            </a:r>
          </a:p>
          <a:p>
            <a:r>
              <a:rPr lang="en-IN" dirty="0"/>
              <a:t>•	Virtual Machine instances </a:t>
            </a:r>
          </a:p>
          <a:p>
            <a:r>
              <a:rPr lang="en-IN" dirty="0"/>
              <a:t>•	Azure VM types and Pricing </a:t>
            </a:r>
          </a:p>
          <a:p>
            <a:r>
              <a:rPr lang="en-IN" dirty="0"/>
              <a:t>•	Types of Provisioning </a:t>
            </a:r>
          </a:p>
          <a:p>
            <a:r>
              <a:rPr lang="en-IN" dirty="0"/>
              <a:t>•	Disks &amp; Images </a:t>
            </a:r>
          </a:p>
          <a:p>
            <a:r>
              <a:rPr lang="en-IN" dirty="0"/>
              <a:t>•	Virtual Machine management, automation and scripting </a:t>
            </a:r>
          </a:p>
          <a:p>
            <a:r>
              <a:rPr lang="en-IN" dirty="0"/>
              <a:t>•	Cloud Service and Resource Model Deployment</a:t>
            </a:r>
          </a:p>
          <a:p>
            <a:r>
              <a:rPr lang="en-IN" dirty="0"/>
              <a:t>•	Setting up VM in Availability set using Load Balanced Endpoint </a:t>
            </a:r>
          </a:p>
          <a:p>
            <a:r>
              <a:rPr lang="en-IN" dirty="0"/>
              <a:t>•	VM Availability using Availability Sets </a:t>
            </a:r>
            <a:endParaRPr lang="en-IN" dirty="0" smtClean="0"/>
          </a:p>
          <a:p>
            <a:endParaRPr lang="en-IN" dirty="0"/>
          </a:p>
          <a:p>
            <a:r>
              <a:rPr lang="en-IN" b="1" dirty="0">
                <a:effectLst>
                  <a:outerShdw blurRad="38100" dist="38100" dir="2700000" algn="tl">
                    <a:srgbClr val="000000">
                      <a:alpha val="43137"/>
                    </a:srgbClr>
                  </a:outerShdw>
                </a:effectLst>
              </a:rPr>
              <a:t>Topic 3: Azure Virtual Networks </a:t>
            </a:r>
          </a:p>
          <a:p>
            <a:r>
              <a:rPr lang="en-IN" dirty="0"/>
              <a:t>•	Introduction to Azure Virtual Network and Services </a:t>
            </a:r>
          </a:p>
          <a:p>
            <a:r>
              <a:rPr lang="en-IN" dirty="0"/>
              <a:t>•	Types of Azure Virtual Network VNET to VNET, point-to-site and site-to-site, Express Route.</a:t>
            </a:r>
          </a:p>
          <a:p>
            <a:r>
              <a:rPr lang="en-IN" dirty="0"/>
              <a:t>•	Creating Virtual Networks in Azure </a:t>
            </a:r>
          </a:p>
          <a:p>
            <a:r>
              <a:rPr lang="en-IN" dirty="0"/>
              <a:t>•	Azure Subnet and IP ranges</a:t>
            </a:r>
          </a:p>
          <a:p>
            <a:endParaRPr lang="en-IN" dirty="0"/>
          </a:p>
        </p:txBody>
      </p:sp>
    </p:spTree>
    <p:extLst>
      <p:ext uri="{BB962C8B-B14F-4D97-AF65-F5344CB8AC3E}">
        <p14:creationId xmlns:p14="http://schemas.microsoft.com/office/powerpoint/2010/main" val="43090727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838200" y="1191490"/>
            <a:ext cx="10515600" cy="3303962"/>
          </a:xfrm>
          <a:prstGeom prst="rect">
            <a:avLst/>
          </a:prstGeom>
        </p:spPr>
      </p:pic>
    </p:spTree>
    <p:extLst>
      <p:ext uri="{BB962C8B-B14F-4D97-AF65-F5344CB8AC3E}">
        <p14:creationId xmlns:p14="http://schemas.microsoft.com/office/powerpoint/2010/main" val="325308885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10835"/>
            <a:ext cx="10515600" cy="1801524"/>
          </a:xfrm>
        </p:spPr>
        <p:txBody>
          <a:bodyPr>
            <a:normAutofit/>
          </a:bodyPr>
          <a:lstStyle/>
          <a:p>
            <a:r>
              <a:rPr lang="en-US" sz="3600" b="1" u="sng" dirty="0" smtClean="0">
                <a:effectLst>
                  <a:outerShdw blurRad="38100" dist="38100" dir="2700000" algn="tl">
                    <a:srgbClr val="000000">
                      <a:alpha val="43137"/>
                    </a:srgbClr>
                  </a:outerShdw>
                </a:effectLst>
              </a:rPr>
              <a:t>Account ‘s in </a:t>
            </a:r>
            <a:r>
              <a:rPr lang="en-US" sz="3600" b="1" u="sng" dirty="0">
                <a:effectLst>
                  <a:outerShdw blurRad="38100" dist="38100" dir="2700000" algn="tl">
                    <a:srgbClr val="000000">
                      <a:alpha val="43137"/>
                    </a:srgbClr>
                  </a:outerShdw>
                </a:effectLst>
              </a:rPr>
              <a:t>A</a:t>
            </a:r>
            <a:r>
              <a:rPr lang="en-US" sz="3600" b="1" u="sng" dirty="0" smtClean="0">
                <a:effectLst>
                  <a:outerShdw blurRad="38100" dist="38100" dir="2700000" algn="tl">
                    <a:srgbClr val="000000">
                      <a:alpha val="43137"/>
                    </a:srgbClr>
                  </a:outerShdw>
                </a:effectLst>
              </a:rPr>
              <a:t>zure</a:t>
            </a:r>
            <a:endParaRPr lang="en-US" sz="3600" b="1" u="sng" dirty="0">
              <a:effectLst>
                <a:outerShdw blurRad="38100" dist="38100" dir="2700000" algn="tl">
                  <a:srgbClr val="000000">
                    <a:alpha val="43137"/>
                  </a:srgbClr>
                </a:outerShdw>
              </a:effectLst>
            </a:endParaRPr>
          </a:p>
        </p:txBody>
      </p:sp>
      <p:sp>
        <p:nvSpPr>
          <p:cNvPr id="3" name="TextBox 2"/>
          <p:cNvSpPr txBox="1"/>
          <p:nvPr/>
        </p:nvSpPr>
        <p:spPr>
          <a:xfrm>
            <a:off x="1415480" y="1700808"/>
            <a:ext cx="8229440" cy="923330"/>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dirty="0"/>
              <a:t>Microsoft account</a:t>
            </a:r>
          </a:p>
          <a:p>
            <a:pPr marL="285750" indent="-285750">
              <a:lnSpc>
                <a:spcPct val="150000"/>
              </a:lnSpc>
              <a:buFont typeface="Arial" panose="020B0604020202020204" pitchFamily="34" charset="0"/>
              <a:buChar char="•"/>
            </a:pPr>
            <a:r>
              <a:rPr lang="en-US" dirty="0"/>
              <a:t>Organization account</a:t>
            </a:r>
          </a:p>
        </p:txBody>
      </p:sp>
      <p:sp>
        <p:nvSpPr>
          <p:cNvPr id="4" name="TextBox 3"/>
          <p:cNvSpPr txBox="1"/>
          <p:nvPr/>
        </p:nvSpPr>
        <p:spPr>
          <a:xfrm>
            <a:off x="911424" y="1067834"/>
            <a:ext cx="9360336" cy="369332"/>
          </a:xfrm>
          <a:prstGeom prst="rect">
            <a:avLst/>
          </a:prstGeom>
          <a:noFill/>
        </p:spPr>
        <p:txBody>
          <a:bodyPr wrap="square" rtlCol="0">
            <a:spAutoFit/>
          </a:bodyPr>
          <a:lstStyle/>
          <a:p>
            <a:r>
              <a:rPr lang="en-US" dirty="0"/>
              <a:t>We required any one of the account to get Microsoft azure account</a:t>
            </a:r>
          </a:p>
        </p:txBody>
      </p:sp>
      <p:sp>
        <p:nvSpPr>
          <p:cNvPr id="5" name="TextBox 4"/>
          <p:cNvSpPr txBox="1"/>
          <p:nvPr/>
        </p:nvSpPr>
        <p:spPr>
          <a:xfrm>
            <a:off x="911424" y="2887781"/>
            <a:ext cx="9756576" cy="2585323"/>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dirty="0"/>
              <a:t>Once Azure account is create it will be automatically mapped to one </a:t>
            </a:r>
            <a:r>
              <a:rPr lang="en-US" dirty="0" smtClean="0"/>
              <a:t>Azure </a:t>
            </a:r>
            <a:r>
              <a:rPr lang="en-US" dirty="0"/>
              <a:t>subscriptions. </a:t>
            </a:r>
          </a:p>
          <a:p>
            <a:pPr marL="285750" indent="-285750">
              <a:lnSpc>
                <a:spcPct val="150000"/>
              </a:lnSpc>
              <a:buFont typeface="Arial" panose="020B0604020202020204" pitchFamily="34" charset="0"/>
              <a:buChar char="•"/>
            </a:pPr>
            <a:r>
              <a:rPr lang="en-US" dirty="0"/>
              <a:t>Azure subscription is holding all the services in the cloud. And we need to activate it. </a:t>
            </a:r>
          </a:p>
          <a:p>
            <a:pPr marL="285750" indent="-285750">
              <a:lnSpc>
                <a:spcPct val="150000"/>
              </a:lnSpc>
              <a:buFont typeface="Arial" panose="020B0604020202020204" pitchFamily="34" charset="0"/>
              <a:buChar char="•"/>
            </a:pPr>
            <a:r>
              <a:rPr lang="en-US" dirty="0"/>
              <a:t>We can  manage multiple subscription in the single azure account.</a:t>
            </a:r>
          </a:p>
          <a:p>
            <a:pPr marL="285750" indent="-285750">
              <a:lnSpc>
                <a:spcPct val="150000"/>
              </a:lnSpc>
              <a:buFont typeface="Arial" panose="020B0604020202020204" pitchFamily="34" charset="0"/>
              <a:buChar char="•"/>
            </a:pPr>
            <a:r>
              <a:rPr lang="en-US" dirty="0"/>
              <a:t>Each and every subscription will have unique ID.</a:t>
            </a:r>
          </a:p>
          <a:p>
            <a:pPr marL="285750" indent="-285750">
              <a:lnSpc>
                <a:spcPct val="150000"/>
              </a:lnSpc>
              <a:buFont typeface="Arial" panose="020B0604020202020204" pitchFamily="34" charset="0"/>
              <a:buChar char="•"/>
            </a:pPr>
            <a:r>
              <a:rPr lang="en-US" dirty="0"/>
              <a:t>Subscription is a utility based . i.e., use and pay for it… what you have consumed.</a:t>
            </a:r>
          </a:p>
          <a:p>
            <a:pPr marL="285750" indent="-285750">
              <a:lnSpc>
                <a:spcPct val="150000"/>
              </a:lnSpc>
              <a:buFont typeface="Arial" panose="020B0604020202020204" pitchFamily="34" charset="0"/>
              <a:buChar char="•"/>
            </a:pPr>
            <a:r>
              <a:rPr lang="en-US" dirty="0"/>
              <a:t>Subscription limitations..</a:t>
            </a:r>
          </a:p>
        </p:txBody>
      </p:sp>
    </p:spTree>
    <p:extLst>
      <p:ext uri="{BB962C8B-B14F-4D97-AF65-F5344CB8AC3E}">
        <p14:creationId xmlns:p14="http://schemas.microsoft.com/office/powerpoint/2010/main" val="421864996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ount ‘s in </a:t>
            </a:r>
            <a:r>
              <a:rPr lang="en-US" dirty="0" smtClean="0"/>
              <a:t>Azure( </a:t>
            </a:r>
            <a:r>
              <a:rPr lang="en-US" dirty="0" err="1" smtClean="0"/>
              <a:t>contd</a:t>
            </a:r>
            <a:r>
              <a:rPr lang="en-US" dirty="0" smtClean="0"/>
              <a:t>…)</a:t>
            </a:r>
            <a:endParaRPr lang="en-US" dirty="0"/>
          </a:p>
        </p:txBody>
      </p:sp>
      <p:sp>
        <p:nvSpPr>
          <p:cNvPr id="4" name="TextBox 3"/>
          <p:cNvSpPr txBox="1"/>
          <p:nvPr/>
        </p:nvSpPr>
        <p:spPr>
          <a:xfrm>
            <a:off x="1877284" y="1124744"/>
            <a:ext cx="8424936" cy="1338828"/>
          </a:xfrm>
          <a:prstGeom prst="rect">
            <a:avLst/>
          </a:prstGeom>
          <a:noFill/>
        </p:spPr>
        <p:txBody>
          <a:bodyPr wrap="square" rtlCol="0">
            <a:spAutoFit/>
          </a:bodyPr>
          <a:lstStyle/>
          <a:p>
            <a:pPr>
              <a:lnSpc>
                <a:spcPct val="150000"/>
              </a:lnSpc>
            </a:pPr>
            <a:endParaRPr lang="en-US" dirty="0"/>
          </a:p>
          <a:p>
            <a:pPr>
              <a:lnSpc>
                <a:spcPct val="150000"/>
              </a:lnSpc>
            </a:pPr>
            <a:endParaRPr lang="en-US" dirty="0"/>
          </a:p>
          <a:p>
            <a:pPr>
              <a:lnSpc>
                <a:spcPct val="150000"/>
              </a:lnSpc>
            </a:pPr>
            <a:endParaRPr lang="en-US" dirty="0"/>
          </a:p>
        </p:txBody>
      </p:sp>
      <p:graphicFrame>
        <p:nvGraphicFramePr>
          <p:cNvPr id="7" name="Table 6"/>
          <p:cNvGraphicFramePr>
            <a:graphicFrameLocks noGrp="1"/>
          </p:cNvGraphicFramePr>
          <p:nvPr>
            <p:extLst/>
          </p:nvPr>
        </p:nvGraphicFramePr>
        <p:xfrm>
          <a:off x="479376" y="836712"/>
          <a:ext cx="11712624" cy="2912926"/>
        </p:xfrm>
        <a:graphic>
          <a:graphicData uri="http://schemas.openxmlformats.org/drawingml/2006/table">
            <a:tbl>
              <a:tblPr/>
              <a:tblGrid>
                <a:gridCol w="2160240">
                  <a:extLst>
                    <a:ext uri="{9D8B030D-6E8A-4147-A177-3AD203B41FA5}">
                      <a16:colId xmlns:a16="http://schemas.microsoft.com/office/drawing/2014/main" xmlns="" val="20000"/>
                    </a:ext>
                  </a:extLst>
                </a:gridCol>
                <a:gridCol w="3024336">
                  <a:extLst>
                    <a:ext uri="{9D8B030D-6E8A-4147-A177-3AD203B41FA5}">
                      <a16:colId xmlns:a16="http://schemas.microsoft.com/office/drawing/2014/main" xmlns="" val="20001"/>
                    </a:ext>
                  </a:extLst>
                </a:gridCol>
                <a:gridCol w="6528048">
                  <a:extLst>
                    <a:ext uri="{9D8B030D-6E8A-4147-A177-3AD203B41FA5}">
                      <a16:colId xmlns:a16="http://schemas.microsoft.com/office/drawing/2014/main" xmlns="" val="20002"/>
                    </a:ext>
                  </a:extLst>
                </a:gridCol>
              </a:tblGrid>
              <a:tr h="165802">
                <a:tc>
                  <a:txBody>
                    <a:bodyPr/>
                    <a:lstStyle/>
                    <a:p>
                      <a:pPr algn="l"/>
                      <a:r>
                        <a:rPr lang="en-US" sz="1600" dirty="0">
                          <a:solidFill>
                            <a:srgbClr val="636363"/>
                          </a:solidFill>
                          <a:effectLst/>
                        </a:rPr>
                        <a:t>Administrative role</a:t>
                      </a:r>
                    </a:p>
                  </a:txBody>
                  <a:tcPr marL="55195" marR="55195" marT="68993" marB="68993" anchor="ctr">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EDEDED"/>
                    </a:solidFill>
                  </a:tcPr>
                </a:tc>
                <a:tc>
                  <a:txBody>
                    <a:bodyPr/>
                    <a:lstStyle/>
                    <a:p>
                      <a:pPr algn="l"/>
                      <a:r>
                        <a:rPr lang="en-US" sz="1600" dirty="0">
                          <a:solidFill>
                            <a:srgbClr val="636363"/>
                          </a:solidFill>
                          <a:effectLst/>
                        </a:rPr>
                        <a:t>Limit</a:t>
                      </a:r>
                    </a:p>
                  </a:txBody>
                  <a:tcPr marL="55195" marR="55195" marT="68993" marB="68993" anchor="ctr">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EDEDED"/>
                    </a:solidFill>
                  </a:tcPr>
                </a:tc>
                <a:tc>
                  <a:txBody>
                    <a:bodyPr/>
                    <a:lstStyle/>
                    <a:p>
                      <a:pPr algn="l"/>
                      <a:r>
                        <a:rPr lang="en-US" sz="1600">
                          <a:solidFill>
                            <a:srgbClr val="636363"/>
                          </a:solidFill>
                          <a:effectLst/>
                        </a:rPr>
                        <a:t>Summary</a:t>
                      </a:r>
                    </a:p>
                  </a:txBody>
                  <a:tcPr marL="55195" marR="55195" marT="68993" marB="68993" anchor="ctr">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EDEDED"/>
                    </a:solidFill>
                  </a:tcPr>
                </a:tc>
                <a:extLst>
                  <a:ext uri="{0D108BD9-81ED-4DB2-BD59-A6C34878D82A}">
                    <a16:rowId xmlns:a16="http://schemas.microsoft.com/office/drawing/2014/main" xmlns="" val="10000"/>
                  </a:ext>
                </a:extLst>
              </a:tr>
              <a:tr h="842310">
                <a:tc>
                  <a:txBody>
                    <a:bodyPr/>
                    <a:lstStyle/>
                    <a:p>
                      <a:pPr fontAlgn="t"/>
                      <a:r>
                        <a:rPr lang="en-US" sz="1600" dirty="0">
                          <a:solidFill>
                            <a:srgbClr val="2A2A2A"/>
                          </a:solidFill>
                          <a:effectLst/>
                        </a:rPr>
                        <a:t>Account Administrator</a:t>
                      </a:r>
                    </a:p>
                  </a:txBody>
                  <a:tcPr marL="55195" marR="55195" marT="68993" marB="68993">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FFFFFF"/>
                    </a:solidFill>
                  </a:tcPr>
                </a:tc>
                <a:tc>
                  <a:txBody>
                    <a:bodyPr/>
                    <a:lstStyle/>
                    <a:p>
                      <a:pPr fontAlgn="t"/>
                      <a:r>
                        <a:rPr lang="en-US" sz="1600" dirty="0">
                          <a:solidFill>
                            <a:srgbClr val="2A2A2A"/>
                          </a:solidFill>
                          <a:effectLst/>
                        </a:rPr>
                        <a:t>1 per Azure account</a:t>
                      </a:r>
                    </a:p>
                  </a:txBody>
                  <a:tcPr marL="55195" marR="55195" marT="68993" marB="68993">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FFFFFF"/>
                    </a:solidFill>
                  </a:tcPr>
                </a:tc>
                <a:tc>
                  <a:txBody>
                    <a:bodyPr/>
                    <a:lstStyle/>
                    <a:p>
                      <a:pPr fontAlgn="t"/>
                      <a:r>
                        <a:rPr lang="en-US" sz="1600" dirty="0">
                          <a:solidFill>
                            <a:srgbClr val="2A2A2A"/>
                          </a:solidFill>
                          <a:effectLst/>
                        </a:rPr>
                        <a:t>Authorized to access the </a:t>
                      </a:r>
                      <a:r>
                        <a:rPr lang="en-US" sz="1600" u="none" strike="noStrike" dirty="0">
                          <a:solidFill>
                            <a:srgbClr val="03697A"/>
                          </a:solidFill>
                          <a:effectLst/>
                          <a:hlinkClick r:id="rId2"/>
                        </a:rPr>
                        <a:t>Account Center</a:t>
                      </a:r>
                      <a:r>
                        <a:rPr lang="en-US" sz="1600" dirty="0">
                          <a:solidFill>
                            <a:srgbClr val="2A2A2A"/>
                          </a:solidFill>
                          <a:effectLst/>
                        </a:rPr>
                        <a:t> (create subscriptions, cancel subscriptions, change billing for a subscription, change Service Administrator, and more)</a:t>
                      </a:r>
                    </a:p>
                  </a:txBody>
                  <a:tcPr marL="55195" marR="55195" marT="68993" marB="68993">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xmlns="" val="10001"/>
                  </a:ext>
                </a:extLst>
              </a:tr>
              <a:tr h="836900">
                <a:tc>
                  <a:txBody>
                    <a:bodyPr/>
                    <a:lstStyle/>
                    <a:p>
                      <a:pPr fontAlgn="t"/>
                      <a:r>
                        <a:rPr lang="en-US" sz="1600" dirty="0">
                          <a:solidFill>
                            <a:srgbClr val="2A2A2A"/>
                          </a:solidFill>
                          <a:effectLst/>
                        </a:rPr>
                        <a:t>Service Administrator</a:t>
                      </a:r>
                    </a:p>
                  </a:txBody>
                  <a:tcPr marL="55195" marR="55195" marT="68993" marB="68993">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FFFFFF"/>
                    </a:solidFill>
                  </a:tcPr>
                </a:tc>
                <a:tc>
                  <a:txBody>
                    <a:bodyPr/>
                    <a:lstStyle/>
                    <a:p>
                      <a:pPr fontAlgn="t"/>
                      <a:r>
                        <a:rPr lang="en-US" sz="1600" dirty="0">
                          <a:solidFill>
                            <a:srgbClr val="2A2A2A"/>
                          </a:solidFill>
                          <a:effectLst/>
                        </a:rPr>
                        <a:t>1 per Azure subscription</a:t>
                      </a:r>
                    </a:p>
                  </a:txBody>
                  <a:tcPr marL="55195" marR="55195" marT="68993" marB="68993">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FFFFFF"/>
                    </a:solidFill>
                  </a:tcPr>
                </a:tc>
                <a:tc>
                  <a:txBody>
                    <a:bodyPr/>
                    <a:lstStyle/>
                    <a:p>
                      <a:pPr fontAlgn="t"/>
                      <a:r>
                        <a:rPr lang="en-US" sz="1600">
                          <a:solidFill>
                            <a:srgbClr val="2A2A2A"/>
                          </a:solidFill>
                          <a:effectLst/>
                        </a:rPr>
                        <a:t>Authorized to access </a:t>
                      </a:r>
                      <a:r>
                        <a:rPr lang="en-US" sz="1600" u="none" strike="noStrike">
                          <a:solidFill>
                            <a:srgbClr val="03697A"/>
                          </a:solidFill>
                          <a:effectLst/>
                          <a:hlinkClick r:id="rId3"/>
                        </a:rPr>
                        <a:t>Azure Management Portal</a:t>
                      </a:r>
                      <a:r>
                        <a:rPr lang="en-US" sz="1600">
                          <a:solidFill>
                            <a:srgbClr val="2A2A2A"/>
                          </a:solidFill>
                          <a:effectLst/>
                        </a:rPr>
                        <a:t> for all subscriptions in the account. By default, same as the Account Administrator when a subscription is created.</a:t>
                      </a:r>
                    </a:p>
                  </a:txBody>
                  <a:tcPr marL="55195" marR="55195" marT="68993" marB="68993">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xmlns="" val="10002"/>
                  </a:ext>
                </a:extLst>
              </a:tr>
              <a:tr h="792088">
                <a:tc>
                  <a:txBody>
                    <a:bodyPr/>
                    <a:lstStyle/>
                    <a:p>
                      <a:pPr fontAlgn="t"/>
                      <a:r>
                        <a:rPr lang="en-US" sz="1600" dirty="0">
                          <a:solidFill>
                            <a:srgbClr val="2A2A2A"/>
                          </a:solidFill>
                          <a:effectLst/>
                        </a:rPr>
                        <a:t>Co-administrator</a:t>
                      </a:r>
                    </a:p>
                  </a:txBody>
                  <a:tcPr marL="55195" marR="55195" marT="68993" marB="68993">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FFFFFF"/>
                    </a:solidFill>
                  </a:tcPr>
                </a:tc>
                <a:tc>
                  <a:txBody>
                    <a:bodyPr/>
                    <a:lstStyle/>
                    <a:p>
                      <a:pPr fontAlgn="t"/>
                      <a:r>
                        <a:rPr lang="en-US" sz="1600" dirty="0">
                          <a:solidFill>
                            <a:srgbClr val="2A2A2A"/>
                          </a:solidFill>
                          <a:effectLst/>
                        </a:rPr>
                        <a:t>200 per subscription (in addition to Service Administrator)</a:t>
                      </a:r>
                    </a:p>
                  </a:txBody>
                  <a:tcPr marL="55195" marR="55195" marT="68993" marB="68993">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FFFFFF"/>
                    </a:solidFill>
                  </a:tcPr>
                </a:tc>
                <a:tc>
                  <a:txBody>
                    <a:bodyPr/>
                    <a:lstStyle/>
                    <a:p>
                      <a:pPr fontAlgn="t"/>
                      <a:r>
                        <a:rPr lang="en-US" sz="1600" dirty="0">
                          <a:solidFill>
                            <a:srgbClr val="2A2A2A"/>
                          </a:solidFill>
                          <a:effectLst/>
                        </a:rPr>
                        <a:t>Same as Service Administrator, but can’t change the association of subscriptions to Azure directories.</a:t>
                      </a:r>
                    </a:p>
                  </a:txBody>
                  <a:tcPr marL="55195" marR="55195" marT="68993" marB="68993">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xmlns="" val="10003"/>
                  </a:ext>
                </a:extLst>
              </a:tr>
            </a:tbl>
          </a:graphicData>
        </a:graphic>
      </p:graphicFrame>
      <p:pic>
        <p:nvPicPr>
          <p:cNvPr id="3" name="Picture 2"/>
          <p:cNvPicPr>
            <a:picLocks noChangeAspect="1"/>
          </p:cNvPicPr>
          <p:nvPr/>
        </p:nvPicPr>
        <p:blipFill>
          <a:blip r:embed="rId4"/>
          <a:stretch>
            <a:fillRect/>
          </a:stretch>
        </p:blipFill>
        <p:spPr>
          <a:xfrm>
            <a:off x="1487488" y="4149080"/>
            <a:ext cx="9649072" cy="2016224"/>
          </a:xfrm>
          <a:prstGeom prst="rect">
            <a:avLst/>
          </a:prstGeom>
        </p:spPr>
      </p:pic>
    </p:spTree>
    <p:extLst>
      <p:ext uri="{BB962C8B-B14F-4D97-AF65-F5344CB8AC3E}">
        <p14:creationId xmlns:p14="http://schemas.microsoft.com/office/powerpoint/2010/main" val="257162772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u="sng" dirty="0">
                <a:effectLst>
                  <a:outerShdw blurRad="38100" dist="38100" dir="2700000" algn="tl">
                    <a:srgbClr val="000000">
                      <a:alpha val="43137"/>
                    </a:srgbClr>
                  </a:outerShdw>
                </a:effectLst>
              </a:rPr>
              <a:t>Account ‘s in </a:t>
            </a:r>
            <a:r>
              <a:rPr lang="en-US" sz="3600" b="1" u="sng" dirty="0" smtClean="0">
                <a:effectLst>
                  <a:outerShdw blurRad="38100" dist="38100" dir="2700000" algn="tl">
                    <a:srgbClr val="000000">
                      <a:alpha val="43137"/>
                    </a:srgbClr>
                  </a:outerShdw>
                </a:effectLst>
              </a:rPr>
              <a:t>Azure( </a:t>
            </a:r>
            <a:r>
              <a:rPr lang="en-US" sz="3600" b="1" u="sng" dirty="0" err="1" smtClean="0">
                <a:effectLst>
                  <a:outerShdw blurRad="38100" dist="38100" dir="2700000" algn="tl">
                    <a:srgbClr val="000000">
                      <a:alpha val="43137"/>
                    </a:srgbClr>
                  </a:outerShdw>
                </a:effectLst>
              </a:rPr>
              <a:t>contd</a:t>
            </a:r>
            <a:r>
              <a:rPr lang="en-US" sz="3600" b="1" u="sng" dirty="0" smtClean="0">
                <a:effectLst>
                  <a:outerShdw blurRad="38100" dist="38100" dir="2700000" algn="tl">
                    <a:srgbClr val="000000">
                      <a:alpha val="43137"/>
                    </a:srgbClr>
                  </a:outerShdw>
                </a:effectLst>
              </a:rPr>
              <a:t>…)</a:t>
            </a:r>
            <a:endParaRPr lang="en-US" sz="3600" b="1" u="sng" dirty="0">
              <a:effectLst>
                <a:outerShdw blurRad="38100" dist="38100" dir="2700000" algn="tl">
                  <a:srgbClr val="000000">
                    <a:alpha val="43137"/>
                  </a:srgbClr>
                </a:outerShdw>
              </a:effectLst>
            </a:endParaRPr>
          </a:p>
        </p:txBody>
      </p:sp>
      <p:sp>
        <p:nvSpPr>
          <p:cNvPr id="4" name="TextBox 3"/>
          <p:cNvSpPr txBox="1"/>
          <p:nvPr/>
        </p:nvSpPr>
        <p:spPr>
          <a:xfrm>
            <a:off x="1877284" y="1124745"/>
            <a:ext cx="8424936" cy="2169825"/>
          </a:xfrm>
          <a:prstGeom prst="rect">
            <a:avLst/>
          </a:prstGeom>
          <a:noFill/>
        </p:spPr>
        <p:txBody>
          <a:bodyPr wrap="square" rtlCol="0">
            <a:spAutoFit/>
          </a:bodyPr>
          <a:lstStyle/>
          <a:p>
            <a:pPr>
              <a:lnSpc>
                <a:spcPct val="150000"/>
              </a:lnSpc>
            </a:pPr>
            <a:r>
              <a:rPr lang="en-US" dirty="0"/>
              <a:t>.</a:t>
            </a:r>
          </a:p>
          <a:p>
            <a:pPr marL="285750" indent="-285750">
              <a:lnSpc>
                <a:spcPct val="150000"/>
              </a:lnSpc>
              <a:buFont typeface="Arial" panose="020B0604020202020204" pitchFamily="34" charset="0"/>
              <a:buChar char="•"/>
            </a:pPr>
            <a:endParaRPr lang="en-US" dirty="0"/>
          </a:p>
          <a:p>
            <a:pPr>
              <a:lnSpc>
                <a:spcPct val="150000"/>
              </a:lnSpc>
            </a:pPr>
            <a:endParaRPr lang="en-US" dirty="0"/>
          </a:p>
          <a:p>
            <a:pPr>
              <a:lnSpc>
                <a:spcPct val="150000"/>
              </a:lnSpc>
            </a:pPr>
            <a:endParaRPr lang="en-US" dirty="0"/>
          </a:p>
          <a:p>
            <a:pPr>
              <a:lnSpc>
                <a:spcPct val="150000"/>
              </a:lnSpc>
            </a:pPr>
            <a:endParaRPr lang="en-US" dirty="0"/>
          </a:p>
        </p:txBody>
      </p:sp>
      <p:pic>
        <p:nvPicPr>
          <p:cNvPr id="5" name="Picture 4"/>
          <p:cNvPicPr>
            <a:picLocks noChangeAspect="1"/>
          </p:cNvPicPr>
          <p:nvPr/>
        </p:nvPicPr>
        <p:blipFill>
          <a:blip r:embed="rId2"/>
          <a:stretch>
            <a:fillRect/>
          </a:stretch>
        </p:blipFill>
        <p:spPr>
          <a:xfrm>
            <a:off x="1491208" y="1602472"/>
            <a:ext cx="9468544" cy="3384194"/>
          </a:xfrm>
          <a:prstGeom prst="rect">
            <a:avLst/>
          </a:prstGeom>
        </p:spPr>
      </p:pic>
    </p:spTree>
    <p:extLst>
      <p:ext uri="{BB962C8B-B14F-4D97-AF65-F5344CB8AC3E}">
        <p14:creationId xmlns:p14="http://schemas.microsoft.com/office/powerpoint/2010/main" val="44635736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u="sng" dirty="0">
                <a:effectLst>
                  <a:outerShdw blurRad="38100" dist="38100" dir="2700000" algn="tl">
                    <a:srgbClr val="000000">
                      <a:alpha val="43137"/>
                    </a:srgbClr>
                  </a:outerShdw>
                </a:effectLst>
              </a:rPr>
              <a:t>Account ‘s in </a:t>
            </a:r>
            <a:r>
              <a:rPr lang="en-US" sz="3600" b="1" u="sng" dirty="0" smtClean="0">
                <a:effectLst>
                  <a:outerShdw blurRad="38100" dist="38100" dir="2700000" algn="tl">
                    <a:srgbClr val="000000">
                      <a:alpha val="43137"/>
                    </a:srgbClr>
                  </a:outerShdw>
                </a:effectLst>
              </a:rPr>
              <a:t>Azure( </a:t>
            </a:r>
            <a:r>
              <a:rPr lang="en-US" sz="3600" b="1" u="sng" dirty="0" err="1" smtClean="0">
                <a:effectLst>
                  <a:outerShdw blurRad="38100" dist="38100" dir="2700000" algn="tl">
                    <a:srgbClr val="000000">
                      <a:alpha val="43137"/>
                    </a:srgbClr>
                  </a:outerShdw>
                </a:effectLst>
              </a:rPr>
              <a:t>contd</a:t>
            </a:r>
            <a:r>
              <a:rPr lang="en-US" sz="3600" b="1" u="sng" dirty="0" smtClean="0">
                <a:effectLst>
                  <a:outerShdw blurRad="38100" dist="38100" dir="2700000" algn="tl">
                    <a:srgbClr val="000000">
                      <a:alpha val="43137"/>
                    </a:srgbClr>
                  </a:outerShdw>
                </a:effectLst>
              </a:rPr>
              <a:t>…)</a:t>
            </a:r>
            <a:endParaRPr lang="en-US" sz="3600" b="1" u="sng" dirty="0">
              <a:effectLst>
                <a:outerShdw blurRad="38100" dist="38100" dir="2700000" algn="tl">
                  <a:srgbClr val="000000">
                    <a:alpha val="43137"/>
                  </a:srgbClr>
                </a:outerShdw>
              </a:effectLst>
            </a:endParaRPr>
          </a:p>
        </p:txBody>
      </p:sp>
      <p:sp>
        <p:nvSpPr>
          <p:cNvPr id="4" name="TextBox 3"/>
          <p:cNvSpPr txBox="1"/>
          <p:nvPr/>
        </p:nvSpPr>
        <p:spPr>
          <a:xfrm>
            <a:off x="407368" y="1124744"/>
            <a:ext cx="11017224" cy="4662815"/>
          </a:xfrm>
          <a:prstGeom prst="rect">
            <a:avLst/>
          </a:prstGeom>
          <a:noFill/>
        </p:spPr>
        <p:txBody>
          <a:bodyPr wrap="square" rtlCol="0">
            <a:spAutoFit/>
          </a:bodyPr>
          <a:lstStyle/>
          <a:p>
            <a:pPr>
              <a:lnSpc>
                <a:spcPct val="150000"/>
              </a:lnSpc>
            </a:pPr>
            <a:r>
              <a:rPr lang="en-US" b="1" dirty="0"/>
              <a:t>Account Administrator</a:t>
            </a:r>
          </a:p>
          <a:p>
            <a:pPr marL="285750" indent="-285750">
              <a:lnSpc>
                <a:spcPct val="150000"/>
              </a:lnSpc>
              <a:buFont typeface="Arial" panose="020B0604020202020204" pitchFamily="34" charset="0"/>
              <a:buChar char="•"/>
            </a:pPr>
            <a:r>
              <a:rPr lang="en-US" dirty="0"/>
              <a:t>Who creates the Azure account will be the Account administrator</a:t>
            </a:r>
          </a:p>
          <a:p>
            <a:pPr marL="285750" indent="-285750">
              <a:lnSpc>
                <a:spcPct val="150000"/>
              </a:lnSpc>
              <a:buFont typeface="Arial" panose="020B0604020202020204" pitchFamily="34" charset="0"/>
              <a:buChar char="•"/>
            </a:pPr>
            <a:r>
              <a:rPr lang="en-US" dirty="0"/>
              <a:t>Account Administrator can create subscription and cancel subscription, But Account administrator will not have access to create or deploy Virtual machines..</a:t>
            </a:r>
            <a:r>
              <a:rPr lang="en-US" dirty="0" err="1"/>
              <a:t>etc</a:t>
            </a:r>
            <a:r>
              <a:rPr lang="en-US" dirty="0"/>
              <a:t>.</a:t>
            </a:r>
          </a:p>
          <a:p>
            <a:pPr>
              <a:lnSpc>
                <a:spcPct val="150000"/>
              </a:lnSpc>
            </a:pPr>
            <a:endParaRPr lang="en-US" dirty="0"/>
          </a:p>
          <a:p>
            <a:pPr>
              <a:lnSpc>
                <a:spcPct val="150000"/>
              </a:lnSpc>
            </a:pPr>
            <a:r>
              <a:rPr lang="en-US" b="1" dirty="0"/>
              <a:t>Service Administrator:</a:t>
            </a:r>
          </a:p>
          <a:p>
            <a:pPr marL="285750" indent="-285750">
              <a:lnSpc>
                <a:spcPct val="150000"/>
              </a:lnSpc>
              <a:buFont typeface="Arial" panose="020B0604020202020204" pitchFamily="34" charset="0"/>
              <a:buChar char="•"/>
            </a:pPr>
            <a:r>
              <a:rPr lang="en-US" dirty="0"/>
              <a:t>Every subscription have a service administrator and we can have only one service administrator.</a:t>
            </a:r>
          </a:p>
          <a:p>
            <a:pPr marL="285750" indent="-285750">
              <a:lnSpc>
                <a:spcPct val="150000"/>
              </a:lnSpc>
              <a:buFont typeface="Arial" panose="020B0604020202020204" pitchFamily="34" charset="0"/>
              <a:buChar char="•"/>
            </a:pPr>
            <a:r>
              <a:rPr lang="en-US" dirty="0"/>
              <a:t>By default Account admin will the service administrator when the subscription is created.</a:t>
            </a:r>
          </a:p>
          <a:p>
            <a:pPr>
              <a:lnSpc>
                <a:spcPct val="150000"/>
              </a:lnSpc>
            </a:pPr>
            <a:endParaRPr lang="en-US" dirty="0"/>
          </a:p>
          <a:p>
            <a:pPr>
              <a:lnSpc>
                <a:spcPct val="150000"/>
              </a:lnSpc>
            </a:pPr>
            <a:endParaRPr lang="en-US" dirty="0"/>
          </a:p>
          <a:p>
            <a:pPr>
              <a:lnSpc>
                <a:spcPct val="150000"/>
              </a:lnSpc>
            </a:pPr>
            <a:endParaRPr lang="en-US" dirty="0"/>
          </a:p>
        </p:txBody>
      </p:sp>
    </p:spTree>
    <p:extLst>
      <p:ext uri="{BB962C8B-B14F-4D97-AF65-F5344CB8AC3E}">
        <p14:creationId xmlns:p14="http://schemas.microsoft.com/office/powerpoint/2010/main" val="140662857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u="sng" dirty="0">
                <a:effectLst>
                  <a:outerShdw blurRad="38100" dist="38100" dir="2700000" algn="tl">
                    <a:srgbClr val="000000">
                      <a:alpha val="43137"/>
                    </a:srgbClr>
                  </a:outerShdw>
                </a:effectLst>
              </a:rPr>
              <a:t>Account ‘s in </a:t>
            </a:r>
            <a:r>
              <a:rPr lang="en-US" sz="3600" b="1" u="sng" dirty="0" smtClean="0">
                <a:effectLst>
                  <a:outerShdw blurRad="38100" dist="38100" dir="2700000" algn="tl">
                    <a:srgbClr val="000000">
                      <a:alpha val="43137"/>
                    </a:srgbClr>
                  </a:outerShdw>
                </a:effectLst>
              </a:rPr>
              <a:t>Azure( </a:t>
            </a:r>
            <a:r>
              <a:rPr lang="en-US" sz="3600" b="1" u="sng" dirty="0" err="1" smtClean="0">
                <a:effectLst>
                  <a:outerShdw blurRad="38100" dist="38100" dir="2700000" algn="tl">
                    <a:srgbClr val="000000">
                      <a:alpha val="43137"/>
                    </a:srgbClr>
                  </a:outerShdw>
                </a:effectLst>
              </a:rPr>
              <a:t>contd</a:t>
            </a:r>
            <a:r>
              <a:rPr lang="en-US" sz="3600" b="1" u="sng" dirty="0" smtClean="0">
                <a:effectLst>
                  <a:outerShdw blurRad="38100" dist="38100" dir="2700000" algn="tl">
                    <a:srgbClr val="000000">
                      <a:alpha val="43137"/>
                    </a:srgbClr>
                  </a:outerShdw>
                </a:effectLst>
              </a:rPr>
              <a:t>…)</a:t>
            </a:r>
            <a:endParaRPr lang="en-US" sz="3600" b="1" u="sng" dirty="0">
              <a:effectLst>
                <a:outerShdw blurRad="38100" dist="38100" dir="2700000" algn="tl">
                  <a:srgbClr val="000000">
                    <a:alpha val="43137"/>
                  </a:srgbClr>
                </a:outerShdw>
              </a:effectLst>
            </a:endParaRPr>
          </a:p>
        </p:txBody>
      </p:sp>
      <p:sp>
        <p:nvSpPr>
          <p:cNvPr id="4" name="TextBox 3"/>
          <p:cNvSpPr txBox="1"/>
          <p:nvPr/>
        </p:nvSpPr>
        <p:spPr>
          <a:xfrm>
            <a:off x="407368" y="1124745"/>
            <a:ext cx="11449272" cy="5493812"/>
          </a:xfrm>
          <a:prstGeom prst="rect">
            <a:avLst/>
          </a:prstGeom>
          <a:noFill/>
        </p:spPr>
        <p:txBody>
          <a:bodyPr wrap="square" rtlCol="0">
            <a:spAutoFit/>
          </a:bodyPr>
          <a:lstStyle/>
          <a:p>
            <a:pPr>
              <a:lnSpc>
                <a:spcPct val="150000"/>
              </a:lnSpc>
            </a:pPr>
            <a:r>
              <a:rPr lang="en-US" b="1" dirty="0"/>
              <a:t>Co-Administrator:</a:t>
            </a:r>
          </a:p>
          <a:p>
            <a:pPr marL="285750" indent="-285750">
              <a:lnSpc>
                <a:spcPct val="150000"/>
              </a:lnSpc>
              <a:buFont typeface="Arial" panose="020B0604020202020204" pitchFamily="34" charset="0"/>
              <a:buChar char="•"/>
            </a:pPr>
            <a:r>
              <a:rPr lang="en-US" dirty="0"/>
              <a:t>You can add users as co-administrators for a subscription using their Microsoft account or organizational account.</a:t>
            </a:r>
          </a:p>
          <a:p>
            <a:pPr marL="285750" indent="-285750">
              <a:lnSpc>
                <a:spcPct val="150000"/>
              </a:lnSpc>
              <a:buFont typeface="Arial" panose="020B0604020202020204" pitchFamily="34" charset="0"/>
              <a:buChar char="•"/>
            </a:pPr>
            <a:r>
              <a:rPr lang="en-US" dirty="0"/>
              <a:t>you should be designated as a global administrator in the directory for the subscription to grant access.</a:t>
            </a:r>
          </a:p>
          <a:p>
            <a:pPr>
              <a:lnSpc>
                <a:spcPct val="150000"/>
              </a:lnSpc>
            </a:pPr>
            <a:r>
              <a:rPr lang="en-US" b="1" dirty="0"/>
              <a:t>Differences between the service administrator and co-administrators:</a:t>
            </a:r>
          </a:p>
          <a:p>
            <a:pPr marL="285750" indent="-285750">
              <a:lnSpc>
                <a:spcPct val="150000"/>
              </a:lnSpc>
              <a:buFont typeface="Arial" panose="020B0604020202020204" pitchFamily="34" charset="0"/>
              <a:buChar char="•"/>
            </a:pPr>
            <a:r>
              <a:rPr lang="en-US" dirty="0"/>
              <a:t>Co-administrators can’t delete the Service Administrator from the Azure Management Portal. Only the Account Administrator can change this assignment at the Account Center.</a:t>
            </a:r>
          </a:p>
          <a:p>
            <a:pPr marL="285750" indent="-285750">
              <a:lnSpc>
                <a:spcPct val="150000"/>
              </a:lnSpc>
              <a:buFont typeface="Arial" panose="020B0604020202020204" pitchFamily="34" charset="0"/>
              <a:buChar char="•"/>
            </a:pPr>
            <a:r>
              <a:rPr lang="en-US" dirty="0"/>
              <a:t>The Service Administrator is the only user authorized to change a subscription’s association with a directory in the Azure Management Portal.</a:t>
            </a:r>
          </a:p>
          <a:p>
            <a:pPr marL="285750" indent="-285750">
              <a:lnSpc>
                <a:spcPct val="150000"/>
              </a:lnSpc>
              <a:buFont typeface="Arial" panose="020B0604020202020204" pitchFamily="34" charset="0"/>
              <a:buChar char="•"/>
            </a:pPr>
            <a:endParaRPr lang="en-US" dirty="0"/>
          </a:p>
          <a:p>
            <a:pPr marL="285750" indent="-285750">
              <a:lnSpc>
                <a:spcPct val="150000"/>
              </a:lnSpc>
              <a:buFont typeface="Arial" panose="020B0604020202020204" pitchFamily="34" charset="0"/>
              <a:buChar char="•"/>
            </a:pPr>
            <a:endParaRPr lang="en-US" dirty="0"/>
          </a:p>
          <a:p>
            <a:pPr>
              <a:lnSpc>
                <a:spcPct val="150000"/>
              </a:lnSpc>
            </a:pPr>
            <a:endParaRPr lang="en-US" dirty="0"/>
          </a:p>
          <a:p>
            <a:pPr>
              <a:lnSpc>
                <a:spcPct val="150000"/>
              </a:lnSpc>
            </a:pPr>
            <a:endParaRPr lang="en-US" dirty="0"/>
          </a:p>
          <a:p>
            <a:pPr>
              <a:lnSpc>
                <a:spcPct val="150000"/>
              </a:lnSpc>
            </a:pPr>
            <a:endParaRPr lang="en-US" dirty="0"/>
          </a:p>
        </p:txBody>
      </p:sp>
    </p:spTree>
    <p:extLst>
      <p:ext uri="{BB962C8B-B14F-4D97-AF65-F5344CB8AC3E}">
        <p14:creationId xmlns:p14="http://schemas.microsoft.com/office/powerpoint/2010/main" val="97515689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u="sng" dirty="0" smtClean="0">
                <a:effectLst>
                  <a:outerShdw blurRad="38100" dist="38100" dir="2700000" algn="tl">
                    <a:srgbClr val="000000">
                      <a:alpha val="43137"/>
                    </a:srgbClr>
                  </a:outerShdw>
                </a:effectLst>
              </a:rPr>
              <a:t>Subscription Limitations</a:t>
            </a:r>
            <a:endParaRPr lang="en-US" sz="3600" b="1" u="sng" dirty="0">
              <a:effectLst>
                <a:outerShdw blurRad="38100" dist="38100" dir="2700000" algn="tl">
                  <a:srgbClr val="000000">
                    <a:alpha val="43137"/>
                  </a:srgbClr>
                </a:outerShdw>
              </a:effectLst>
            </a:endParaRPr>
          </a:p>
        </p:txBody>
      </p:sp>
      <p:sp>
        <p:nvSpPr>
          <p:cNvPr id="4" name="TextBox 3"/>
          <p:cNvSpPr txBox="1"/>
          <p:nvPr/>
        </p:nvSpPr>
        <p:spPr>
          <a:xfrm>
            <a:off x="406689" y="3970859"/>
            <a:ext cx="9360336" cy="369332"/>
          </a:xfrm>
          <a:prstGeom prst="rect">
            <a:avLst/>
          </a:prstGeom>
          <a:noFill/>
        </p:spPr>
        <p:txBody>
          <a:bodyPr wrap="square" rtlCol="0">
            <a:spAutoFit/>
          </a:bodyPr>
          <a:lstStyle/>
          <a:p>
            <a:r>
              <a:rPr lang="en-US" dirty="0"/>
              <a:t>https://azure.microsoft.com/en-in/documentation/articles/azure-subscription-service-limits/</a:t>
            </a:r>
          </a:p>
        </p:txBody>
      </p:sp>
      <p:sp>
        <p:nvSpPr>
          <p:cNvPr id="6" name="Rectangle 5"/>
          <p:cNvSpPr/>
          <p:nvPr/>
        </p:nvSpPr>
        <p:spPr>
          <a:xfrm>
            <a:off x="588202" y="1890698"/>
            <a:ext cx="11075478" cy="1754326"/>
          </a:xfrm>
          <a:prstGeom prst="rect">
            <a:avLst/>
          </a:prstGeom>
        </p:spPr>
        <p:txBody>
          <a:bodyPr wrap="square">
            <a:spAutoFit/>
          </a:bodyPr>
          <a:lstStyle/>
          <a:p>
            <a:pPr marL="285750" indent="-285750">
              <a:lnSpc>
                <a:spcPct val="150000"/>
              </a:lnSpc>
              <a:buFont typeface="Arial" panose="020B0604020202020204" pitchFamily="34" charset="0"/>
              <a:buChar char="•"/>
            </a:pPr>
            <a:r>
              <a:rPr lang="en-US" dirty="0"/>
              <a:t>If you want to raise the limit above the Default Limit, you can open an online customer support request at no charge. </a:t>
            </a:r>
            <a:endParaRPr lang="en-US" dirty="0" smtClean="0"/>
          </a:p>
          <a:p>
            <a:pPr marL="285750" indent="-285750">
              <a:lnSpc>
                <a:spcPct val="150000"/>
              </a:lnSpc>
              <a:buFont typeface="Arial" panose="020B0604020202020204" pitchFamily="34" charset="0"/>
              <a:buChar char="•"/>
            </a:pPr>
            <a:r>
              <a:rPr lang="en-US" dirty="0" smtClean="0"/>
              <a:t>The </a:t>
            </a:r>
            <a:r>
              <a:rPr lang="en-US" dirty="0"/>
              <a:t>limits cannot be raised above the Maximum Limit value in the tables below. If there is no Maximum Limit column, then the specified resource does not have adjustable limits.</a:t>
            </a:r>
          </a:p>
        </p:txBody>
      </p:sp>
    </p:spTree>
    <p:extLst>
      <p:ext uri="{BB962C8B-B14F-4D97-AF65-F5344CB8AC3E}">
        <p14:creationId xmlns:p14="http://schemas.microsoft.com/office/powerpoint/2010/main" val="274355890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1191492"/>
          </a:xfrm>
        </p:spPr>
        <p:txBody>
          <a:bodyPr>
            <a:normAutofit/>
          </a:bodyPr>
          <a:lstStyle/>
          <a:p>
            <a:r>
              <a:rPr lang="en-IN" sz="3600" b="1" u="sng" dirty="0" smtClean="0">
                <a:effectLst>
                  <a:outerShdw blurRad="38100" dist="38100" dir="2700000" algn="tl">
                    <a:srgbClr val="000000">
                      <a:alpha val="43137"/>
                    </a:srgbClr>
                  </a:outerShdw>
                </a:effectLst>
              </a:rPr>
              <a:t>Subscription Limitations</a:t>
            </a:r>
            <a:endParaRPr lang="en-IN" sz="3600" b="1" u="sng" dirty="0">
              <a:effectLst>
                <a:outerShdw blurRad="38100" dist="38100" dir="2700000" algn="tl">
                  <a:srgbClr val="000000">
                    <a:alpha val="43137"/>
                  </a:srgbClr>
                </a:outerShdw>
              </a:effectLst>
            </a:endParaRPr>
          </a:p>
        </p:txBody>
      </p:sp>
      <p:pic>
        <p:nvPicPr>
          <p:cNvPr id="3" name="Picture 2"/>
          <p:cNvPicPr>
            <a:picLocks noChangeAspect="1"/>
          </p:cNvPicPr>
          <p:nvPr/>
        </p:nvPicPr>
        <p:blipFill>
          <a:blip r:embed="rId3"/>
          <a:stretch>
            <a:fillRect/>
          </a:stretch>
        </p:blipFill>
        <p:spPr>
          <a:xfrm>
            <a:off x="1205345" y="871537"/>
            <a:ext cx="10307782" cy="5279881"/>
          </a:xfrm>
          <a:prstGeom prst="rect">
            <a:avLst/>
          </a:prstGeom>
        </p:spPr>
      </p:pic>
    </p:spTree>
    <p:extLst>
      <p:ext uri="{BB962C8B-B14F-4D97-AF65-F5344CB8AC3E}">
        <p14:creationId xmlns:p14="http://schemas.microsoft.com/office/powerpoint/2010/main" val="302238942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ow to create a free trail account in Azure </a:t>
            </a:r>
            <a:endParaRPr lang="en-US" dirty="0"/>
          </a:p>
        </p:txBody>
      </p:sp>
      <p:sp>
        <p:nvSpPr>
          <p:cNvPr id="5" name="Text Placeholder 4"/>
          <p:cNvSpPr>
            <a:spLocks noGrp="1"/>
          </p:cNvSpPr>
          <p:nvPr>
            <p:ph idx="1"/>
          </p:nvPr>
        </p:nvSpPr>
        <p:spPr>
          <a:xfrm>
            <a:off x="475488" y="911351"/>
            <a:ext cx="11253216" cy="4738821"/>
          </a:xfrm>
        </p:spPr>
        <p:txBody>
          <a:bodyPr/>
          <a:lstStyle/>
          <a:p>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5488" y="911352"/>
            <a:ext cx="11253216" cy="5339324"/>
          </a:xfrm>
          <a:prstGeom prst="rect">
            <a:avLst/>
          </a:prstGeom>
        </p:spPr>
      </p:pic>
    </p:spTree>
    <p:extLst>
      <p:ext uri="{BB962C8B-B14F-4D97-AF65-F5344CB8AC3E}">
        <p14:creationId xmlns:p14="http://schemas.microsoft.com/office/powerpoint/2010/main" val="179295394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1606" y="2071204"/>
            <a:ext cx="10515600" cy="1325563"/>
          </a:xfrm>
        </p:spPr>
        <p:txBody>
          <a:bodyPr/>
          <a:lstStyle/>
          <a:p>
            <a:r>
              <a:rPr lang="en-US" b="1" u="sng" dirty="0" smtClean="0">
                <a:effectLst>
                  <a:outerShdw blurRad="38100" dist="38100" dir="2700000" algn="tl">
                    <a:srgbClr val="000000">
                      <a:alpha val="43137"/>
                    </a:srgbClr>
                  </a:outerShdw>
                </a:effectLst>
              </a:rPr>
              <a:t>Module 2: Azure Virtual Machine</a:t>
            </a:r>
            <a:endParaRPr lang="en-US" b="1" u="sng"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475488" y="911351"/>
            <a:ext cx="11253216" cy="4970833"/>
          </a:xfrm>
        </p:spPr>
        <p:txBody>
          <a:bodyPr>
            <a:normAutofit/>
          </a:bodyPr>
          <a:lstStyle/>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0" indent="0">
              <a:buNone/>
            </a:pPr>
            <a:endParaRPr lang="en-US" dirty="0"/>
          </a:p>
          <a:p>
            <a:pPr marL="0" indent="0">
              <a:buNone/>
            </a:pPr>
            <a:endParaRPr lang="en-US" dirty="0" smtClean="0"/>
          </a:p>
        </p:txBody>
      </p:sp>
    </p:spTree>
    <p:extLst>
      <p:ext uri="{BB962C8B-B14F-4D97-AF65-F5344CB8AC3E}">
        <p14:creationId xmlns:p14="http://schemas.microsoft.com/office/powerpoint/2010/main" val="162689250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
            <a:ext cx="9144000" cy="7294305"/>
          </a:xfrm>
          <a:prstGeom prst="rect">
            <a:avLst/>
          </a:prstGeom>
        </p:spPr>
        <p:txBody>
          <a:bodyPr wrap="square">
            <a:spAutoFit/>
          </a:bodyPr>
          <a:lstStyle/>
          <a:p>
            <a:r>
              <a:rPr lang="en-IN" dirty="0"/>
              <a:t>•	Endpoints </a:t>
            </a:r>
          </a:p>
          <a:p>
            <a:r>
              <a:rPr lang="en-IN" dirty="0"/>
              <a:t>•	Load Balancing Endpoints </a:t>
            </a:r>
          </a:p>
          <a:p>
            <a:r>
              <a:rPr lang="en-IN" dirty="0"/>
              <a:t>•	Understanding Network ACL and Network Security Group </a:t>
            </a:r>
          </a:p>
          <a:p>
            <a:r>
              <a:rPr lang="en-IN" dirty="0"/>
              <a:t>•	Setting up Private and Public IP </a:t>
            </a:r>
          </a:p>
          <a:p>
            <a:r>
              <a:rPr lang="en-IN" dirty="0"/>
              <a:t>•	Hands-on Lab: Create a </a:t>
            </a:r>
            <a:r>
              <a:rPr lang="en-IN" dirty="0" smtClean="0"/>
              <a:t>VET-to-VNET </a:t>
            </a:r>
            <a:r>
              <a:rPr lang="en-IN" dirty="0"/>
              <a:t>virtual network </a:t>
            </a:r>
          </a:p>
          <a:p>
            <a:r>
              <a:rPr lang="en-IN" dirty="0"/>
              <a:t>•	Hands-on Lab: Create a point-to-site virtual network </a:t>
            </a:r>
          </a:p>
          <a:p>
            <a:r>
              <a:rPr lang="en-IN" dirty="0"/>
              <a:t>•	Introduction to Azure Traffic Manager</a:t>
            </a:r>
          </a:p>
          <a:p>
            <a:r>
              <a:rPr lang="en-IN" dirty="0"/>
              <a:t>•	Available options in Azure Traffic Manager</a:t>
            </a:r>
          </a:p>
          <a:p>
            <a:r>
              <a:rPr lang="en-IN" dirty="0"/>
              <a:t>•	Understanding of Deployment Traffic Manager </a:t>
            </a:r>
          </a:p>
          <a:p>
            <a:r>
              <a:rPr lang="en-IN" dirty="0"/>
              <a:t>•	Hands-on Lab: Load Balancing using Azure Traffic Manager </a:t>
            </a:r>
          </a:p>
          <a:p>
            <a:endParaRPr lang="en-IN" dirty="0"/>
          </a:p>
          <a:p>
            <a:r>
              <a:rPr lang="en-IN" b="1" dirty="0">
                <a:effectLst>
                  <a:outerShdw blurRad="38100" dist="38100" dir="2700000" algn="tl">
                    <a:srgbClr val="000000">
                      <a:alpha val="43137"/>
                    </a:srgbClr>
                  </a:outerShdw>
                </a:effectLst>
              </a:rPr>
              <a:t>Topic 4: Microsoft Azure Storage </a:t>
            </a:r>
          </a:p>
          <a:p>
            <a:r>
              <a:rPr lang="en-IN" dirty="0"/>
              <a:t>•	Overview </a:t>
            </a:r>
          </a:p>
          <a:p>
            <a:r>
              <a:rPr lang="en-IN" dirty="0"/>
              <a:t>•	Storage Account •	Storage Account Replication Techniques </a:t>
            </a:r>
          </a:p>
          <a:p>
            <a:r>
              <a:rPr lang="en-IN" dirty="0"/>
              <a:t>•	Protocols and Consistency Model</a:t>
            </a:r>
          </a:p>
          <a:p>
            <a:r>
              <a:rPr lang="en-IN" dirty="0"/>
              <a:t>•	Type of Azure Storage Account</a:t>
            </a:r>
          </a:p>
          <a:p>
            <a:r>
              <a:rPr lang="en-IN" dirty="0"/>
              <a:t>•	Storage Services Blob, Table, queue, File</a:t>
            </a:r>
          </a:p>
          <a:p>
            <a:r>
              <a:rPr lang="en-IN" dirty="0"/>
              <a:t>•	Azure CDN Services, Managed and Unmanaged Disk</a:t>
            </a:r>
          </a:p>
          <a:p>
            <a:r>
              <a:rPr lang="en-IN" dirty="0"/>
              <a:t>•	Hands-on Lab: Provisioning Azure Storage services </a:t>
            </a:r>
          </a:p>
          <a:p>
            <a:endParaRPr lang="en-IN" dirty="0"/>
          </a:p>
          <a:p>
            <a:r>
              <a:rPr lang="en-IN" b="1" dirty="0">
                <a:effectLst>
                  <a:outerShdw blurRad="38100" dist="38100" dir="2700000" algn="tl">
                    <a:srgbClr val="000000">
                      <a:alpha val="43137"/>
                    </a:srgbClr>
                  </a:outerShdw>
                </a:effectLst>
              </a:rPr>
              <a:t>Topic 5: Implement an Azure Active Directory </a:t>
            </a:r>
          </a:p>
          <a:p>
            <a:r>
              <a:rPr lang="en-IN" dirty="0"/>
              <a:t>•	Active Directory Fundamentals </a:t>
            </a:r>
          </a:p>
          <a:p>
            <a:r>
              <a:rPr lang="en-IN" dirty="0"/>
              <a:t>•	Implement Azure AD Connect </a:t>
            </a:r>
          </a:p>
          <a:p>
            <a:r>
              <a:rPr lang="en-IN" dirty="0"/>
              <a:t>•	Multifactor Authentication</a:t>
            </a:r>
          </a:p>
          <a:p>
            <a:r>
              <a:rPr lang="en-IN" dirty="0"/>
              <a:t>•	Add custom domains</a:t>
            </a:r>
          </a:p>
          <a:p>
            <a:endParaRPr lang="en-IN" dirty="0"/>
          </a:p>
        </p:txBody>
      </p:sp>
    </p:spTree>
    <p:extLst>
      <p:ext uri="{BB962C8B-B14F-4D97-AF65-F5344CB8AC3E}">
        <p14:creationId xmlns:p14="http://schemas.microsoft.com/office/powerpoint/2010/main" val="282544564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3600" b="1" u="sng" dirty="0" smtClean="0">
                <a:effectLst>
                  <a:outerShdw blurRad="38100" dist="38100" dir="2700000" algn="tl">
                    <a:srgbClr val="000000">
                      <a:alpha val="43137"/>
                    </a:srgbClr>
                  </a:outerShdw>
                </a:effectLst>
              </a:rPr>
              <a:t>Lesson1: Azure Deployment Models</a:t>
            </a:r>
            <a:endParaRPr lang="en-IN" sz="3600" b="1" u="sng"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p:txBody>
          <a:bodyPr/>
          <a:lstStyle/>
          <a:p>
            <a:pPr marL="0" indent="0">
              <a:buNone/>
            </a:pPr>
            <a:r>
              <a:rPr lang="en-US" dirty="0"/>
              <a:t>Module Overview</a:t>
            </a:r>
          </a:p>
          <a:p>
            <a:pPr marL="0" indent="0">
              <a:buNone/>
            </a:pPr>
            <a:r>
              <a:rPr lang="en-US" dirty="0"/>
              <a:t>Azure deployment models</a:t>
            </a:r>
          </a:p>
          <a:p>
            <a:pPr marL="0" indent="0">
              <a:buNone/>
            </a:pPr>
            <a:r>
              <a:rPr lang="en-US" dirty="0"/>
              <a:t>ARM architecture and functionalities </a:t>
            </a:r>
          </a:p>
          <a:p>
            <a:pPr marL="0" indent="0">
              <a:buNone/>
            </a:pPr>
            <a:r>
              <a:rPr lang="en-US" dirty="0"/>
              <a:t>Difference Between ASM and ARM </a:t>
            </a:r>
          </a:p>
          <a:p>
            <a:pPr marL="0" indent="0">
              <a:buNone/>
            </a:pPr>
            <a:r>
              <a:rPr lang="en-US" dirty="0"/>
              <a:t>Resources Group </a:t>
            </a:r>
          </a:p>
          <a:p>
            <a:pPr marL="0" indent="0">
              <a:buNone/>
            </a:pPr>
            <a:r>
              <a:rPr lang="en-US" dirty="0"/>
              <a:t>Azure portal</a:t>
            </a:r>
          </a:p>
          <a:p>
            <a:pPr marL="0" indent="0">
              <a:buNone/>
            </a:pPr>
            <a:r>
              <a:rPr lang="en-US" dirty="0"/>
              <a:t>Azure management tools </a:t>
            </a:r>
          </a:p>
          <a:p>
            <a:endParaRPr lang="en-IN" dirty="0"/>
          </a:p>
        </p:txBody>
      </p:sp>
    </p:spTree>
    <p:extLst>
      <p:ext uri="{BB962C8B-B14F-4D97-AF65-F5344CB8AC3E}">
        <p14:creationId xmlns:p14="http://schemas.microsoft.com/office/powerpoint/2010/main" val="10080786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1" y="107950"/>
            <a:ext cx="10515600" cy="1325563"/>
          </a:xfrm>
        </p:spPr>
        <p:txBody>
          <a:bodyPr>
            <a:normAutofit/>
          </a:bodyPr>
          <a:lstStyle/>
          <a:p>
            <a:r>
              <a:rPr lang="en-US" sz="3600" b="1" u="sng" dirty="0" smtClean="0">
                <a:effectLst>
                  <a:outerShdw blurRad="38100" dist="38100" dir="2700000" algn="tl">
                    <a:srgbClr val="000000">
                      <a:alpha val="43137"/>
                    </a:srgbClr>
                  </a:outerShdw>
                </a:effectLst>
              </a:rPr>
              <a:t> Azure deployments models</a:t>
            </a:r>
            <a:endParaRPr lang="en-US" sz="3600" b="1" u="sng"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269240" y="1189178"/>
            <a:ext cx="11653523" cy="5563314"/>
          </a:xfrm>
        </p:spPr>
        <p:txBody>
          <a:bodyPr>
            <a:normAutofit/>
          </a:bodyPr>
          <a:lstStyle/>
          <a:p>
            <a:pPr marL="0" indent="0">
              <a:buNone/>
            </a:pPr>
            <a:r>
              <a:rPr lang="en-US" b="1" dirty="0" smtClean="0">
                <a:effectLst>
                  <a:outerShdw blurRad="38100" dist="38100" dir="2700000" algn="tl">
                    <a:srgbClr val="000000">
                      <a:alpha val="43137"/>
                    </a:srgbClr>
                  </a:outerShdw>
                </a:effectLst>
              </a:rPr>
              <a:t>Azure Service Manager (ASM)</a:t>
            </a:r>
          </a:p>
          <a:p>
            <a:pPr marL="457063" lvl="1" indent="0">
              <a:buNone/>
            </a:pPr>
            <a:r>
              <a:rPr lang="en-US" sz="2400" dirty="0"/>
              <a:t>Traditional way to deploy and manage applications hosted in Azure</a:t>
            </a:r>
          </a:p>
          <a:p>
            <a:pPr marL="457063" lvl="1" indent="0">
              <a:buNone/>
            </a:pPr>
            <a:r>
              <a:rPr lang="en-US" sz="2400" dirty="0" smtClean="0"/>
              <a:t>Azure Management Portal</a:t>
            </a:r>
            <a:endParaRPr lang="en-US" sz="2400" dirty="0"/>
          </a:p>
          <a:p>
            <a:pPr marL="457063" lvl="1" indent="0">
              <a:buNone/>
            </a:pPr>
            <a:r>
              <a:rPr lang="en-US" sz="2400" dirty="0"/>
              <a:t>PowerShell / CLI (default mode)</a:t>
            </a:r>
          </a:p>
          <a:p>
            <a:pPr marL="457063" lvl="1" indent="0">
              <a:buNone/>
            </a:pPr>
            <a:r>
              <a:rPr lang="en-US" sz="2400" dirty="0"/>
              <a:t>REST </a:t>
            </a:r>
            <a:r>
              <a:rPr lang="en-US" sz="2400" dirty="0" smtClean="0"/>
              <a:t>API</a:t>
            </a:r>
          </a:p>
          <a:p>
            <a:pPr marL="457063" lvl="1" indent="0">
              <a:buNone/>
            </a:pPr>
            <a:endParaRPr lang="en-US" sz="2400" dirty="0" smtClean="0"/>
          </a:p>
          <a:p>
            <a:pPr marL="0" indent="0">
              <a:buNone/>
            </a:pPr>
            <a:r>
              <a:rPr lang="en-US" b="1" dirty="0" smtClean="0">
                <a:effectLst>
                  <a:outerShdw blurRad="38100" dist="38100" dir="2700000" algn="tl">
                    <a:srgbClr val="000000">
                      <a:alpha val="43137"/>
                    </a:srgbClr>
                  </a:outerShdw>
                </a:effectLst>
              </a:rPr>
              <a:t>Azure Resource Manager (ARM)</a:t>
            </a:r>
          </a:p>
          <a:p>
            <a:pPr marL="457063" lvl="1" indent="0">
              <a:buNone/>
            </a:pPr>
            <a:r>
              <a:rPr lang="en-US" sz="2400" dirty="0"/>
              <a:t>Modern way to deploy and manage applications hosted in Azure</a:t>
            </a:r>
          </a:p>
          <a:p>
            <a:pPr marL="457063" lvl="1" indent="0">
              <a:buNone/>
            </a:pPr>
            <a:r>
              <a:rPr lang="en-US" sz="2400" dirty="0" smtClean="0"/>
              <a:t>Azure Resource Management Portal-Preview </a:t>
            </a:r>
          </a:p>
          <a:p>
            <a:pPr marL="457063" lvl="1" indent="0">
              <a:buNone/>
            </a:pPr>
            <a:r>
              <a:rPr lang="en-US" sz="2400" dirty="0" smtClean="0"/>
              <a:t>PowerShell </a:t>
            </a:r>
            <a:r>
              <a:rPr lang="en-US" sz="2400" dirty="0"/>
              <a:t>/ CLI (ARM mode)</a:t>
            </a:r>
          </a:p>
          <a:p>
            <a:pPr marL="457063" lvl="1" indent="0">
              <a:buNone/>
            </a:pPr>
            <a:r>
              <a:rPr lang="en-US" sz="2400" dirty="0"/>
              <a:t>REST </a:t>
            </a:r>
            <a:r>
              <a:rPr lang="en-US" sz="2400" dirty="0" smtClean="0"/>
              <a:t>API</a:t>
            </a:r>
            <a:endParaRPr lang="en-US" sz="2400" dirty="0"/>
          </a:p>
          <a:p>
            <a:pPr marL="457063" lvl="1" indent="0">
              <a:buNone/>
            </a:pPr>
            <a:r>
              <a:rPr lang="en-US" sz="2400" dirty="0"/>
              <a:t>Azure Resource Management Library for .</a:t>
            </a:r>
            <a:r>
              <a:rPr lang="en-US" sz="2400" dirty="0" smtClean="0"/>
              <a:t>NET-</a:t>
            </a:r>
            <a:endParaRPr lang="en-US" sz="2400" dirty="0"/>
          </a:p>
        </p:txBody>
      </p:sp>
    </p:spTree>
    <p:extLst>
      <p:ext uri="{BB962C8B-B14F-4D97-AF65-F5344CB8AC3E}">
        <p14:creationId xmlns:p14="http://schemas.microsoft.com/office/powerpoint/2010/main" val="33385872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3600" b="1" u="sng" dirty="0">
                <a:effectLst>
                  <a:outerShdw blurRad="38100" dist="38100" dir="2700000" algn="tl">
                    <a:srgbClr val="000000">
                      <a:alpha val="43137"/>
                    </a:srgbClr>
                  </a:outerShdw>
                </a:effectLst>
              </a:rPr>
              <a:t>JSON templates</a:t>
            </a:r>
          </a:p>
        </p:txBody>
      </p:sp>
      <p:sp>
        <p:nvSpPr>
          <p:cNvPr id="9" name="Text Placeholder 1"/>
          <p:cNvSpPr txBox="1">
            <a:spLocks/>
          </p:cNvSpPr>
          <p:nvPr/>
        </p:nvSpPr>
        <p:spPr>
          <a:xfrm>
            <a:off x="269241" y="1913955"/>
            <a:ext cx="4392494" cy="4619153"/>
          </a:xfrm>
          <a:prstGeom prst="rect">
            <a:avLst/>
          </a:prstGeom>
        </p:spPr>
        <p:txBody>
          <a:bodyPr vert="horz" wrap="square" lIns="143410" tIns="89632" rIns="143410" bIns="89632" rtlCol="0">
            <a:spAutoFit/>
          </a:bodyPr>
          <a:lstStyle>
            <a:lvl1pPr marL="0" marR="0" indent="0" algn="l" defTabSz="932623" rtl="0" eaLnBrk="1" fontAlgn="auto" latinLnBrk="0" hangingPunct="1">
              <a:lnSpc>
                <a:spcPct val="100000"/>
              </a:lnSpc>
              <a:spcBef>
                <a:spcPct val="20000"/>
              </a:spcBef>
              <a:spcAft>
                <a:spcPts val="0"/>
              </a:spcAft>
              <a:buClrTx/>
              <a:buSzPct val="90000"/>
              <a:buFontTx/>
              <a:buNone/>
              <a:tabLst/>
              <a:defRPr sz="1400" kern="1200" spc="0" baseline="0">
                <a:gradFill>
                  <a:gsLst>
                    <a:gs pos="1250">
                      <a:schemeClr val="tx1"/>
                    </a:gs>
                    <a:gs pos="100000">
                      <a:schemeClr val="tx1"/>
                    </a:gs>
                  </a:gsLst>
                  <a:lin ang="5400000" scaled="0"/>
                </a:gradFill>
                <a:latin typeface="+mn-lt"/>
                <a:ea typeface="+mn-ea"/>
                <a:cs typeface="+mn-cs"/>
              </a:defRPr>
            </a:lvl1pPr>
            <a:lvl2pPr marL="584125" marR="0" indent="-241269" algn="l" defTabSz="932623" rtl="0" eaLnBrk="1" fontAlgn="auto" latinLnBrk="0" hangingPunct="1">
              <a:lnSpc>
                <a:spcPct val="100000"/>
              </a:lnSpc>
              <a:spcBef>
                <a:spcPct val="20000"/>
              </a:spcBef>
              <a:spcAft>
                <a:spcPts val="0"/>
              </a:spcAft>
              <a:buClrTx/>
              <a:buSzPct val="90000"/>
              <a:buFont typeface="Courier New" panose="02070309020205020404" pitchFamily="49" charset="0"/>
              <a:buChar char="o"/>
              <a:tabLst/>
              <a:defRPr sz="1400" kern="1200" spc="0" baseline="0">
                <a:gradFill>
                  <a:gsLst>
                    <a:gs pos="1250">
                      <a:schemeClr val="tx1"/>
                    </a:gs>
                    <a:gs pos="100000">
                      <a:schemeClr val="tx1"/>
                    </a:gs>
                  </a:gsLst>
                  <a:lin ang="5400000" scaled="0"/>
                </a:gradFill>
                <a:latin typeface="+mn-lt"/>
                <a:ea typeface="+mn-ea"/>
                <a:cs typeface="+mn-cs"/>
              </a:defRPr>
            </a:lvl2pPr>
            <a:lvl3pPr marL="799998" marR="0" indent="-228571" algn="l" defTabSz="932623"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68" marR="0" indent="-228571" algn="l" defTabSz="932623"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39" marR="0" indent="-228571" algn="l" defTabSz="932623"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11"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24"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35"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48"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250"/>
            <a:r>
              <a:rPr lang="en-US" b="1" dirty="0">
                <a:gradFill>
                  <a:gsLst>
                    <a:gs pos="1250">
                      <a:srgbClr val="505050"/>
                    </a:gs>
                    <a:gs pos="100000">
                      <a:srgbClr val="505050"/>
                    </a:gs>
                  </a:gsLst>
                  <a:lin ang="5400000" scaled="0"/>
                </a:gradFill>
              </a:rPr>
              <a:t>ARM and JSON templates</a:t>
            </a:r>
          </a:p>
          <a:p>
            <a:pPr defTabSz="914250"/>
            <a:r>
              <a:rPr lang="en-US" dirty="0">
                <a:gradFill>
                  <a:gsLst>
                    <a:gs pos="1250">
                      <a:srgbClr val="505050"/>
                    </a:gs>
                    <a:gs pos="100000">
                      <a:srgbClr val="505050"/>
                    </a:gs>
                  </a:gsLst>
                  <a:lin ang="5400000" scaled="0"/>
                </a:gradFill>
              </a:rPr>
              <a:t>ARM allows customers to automate the deployment of their applications using a JSON template. A JSON template is a declarative, text-based file that defines the goal state of a deployment. </a:t>
            </a:r>
          </a:p>
          <a:p>
            <a:pPr defTabSz="914250"/>
            <a:endParaRPr lang="en-US" dirty="0">
              <a:gradFill>
                <a:gsLst>
                  <a:gs pos="1250">
                    <a:srgbClr val="505050"/>
                  </a:gs>
                  <a:gs pos="100000">
                    <a:srgbClr val="505050"/>
                  </a:gs>
                </a:gsLst>
                <a:lin ang="5400000" scaled="0"/>
              </a:gradFill>
            </a:endParaRPr>
          </a:p>
          <a:p>
            <a:pPr defTabSz="914250"/>
            <a:r>
              <a:rPr lang="en-US" dirty="0">
                <a:gradFill>
                  <a:gsLst>
                    <a:gs pos="1250">
                      <a:srgbClr val="505050"/>
                    </a:gs>
                    <a:gs pos="100000">
                      <a:srgbClr val="505050"/>
                    </a:gs>
                  </a:gsLst>
                  <a:lin ang="5400000" scaled="0"/>
                </a:gradFill>
              </a:rPr>
              <a:t>JSON templates allow users to define the resources that are needed for an application and specify deployment parameters to input values for different environments.</a:t>
            </a:r>
          </a:p>
          <a:p>
            <a:pPr defTabSz="914250"/>
            <a:endParaRPr lang="en-US" dirty="0">
              <a:gradFill>
                <a:gsLst>
                  <a:gs pos="1250">
                    <a:srgbClr val="505050"/>
                  </a:gs>
                  <a:gs pos="100000">
                    <a:srgbClr val="505050"/>
                  </a:gs>
                </a:gsLst>
                <a:lin ang="5400000" scaled="0"/>
              </a:gradFill>
            </a:endParaRPr>
          </a:p>
          <a:p>
            <a:pPr defTabSz="914250"/>
            <a:r>
              <a:rPr lang="en-US" dirty="0">
                <a:gradFill>
                  <a:gsLst>
                    <a:gs pos="1250">
                      <a:srgbClr val="505050"/>
                    </a:gs>
                    <a:gs pos="100000">
                      <a:srgbClr val="505050"/>
                    </a:gs>
                  </a:gsLst>
                  <a:lin ang="5400000" scaled="0"/>
                </a:gradFill>
              </a:rPr>
              <a:t>100% of create operations that are performed from Ibiza are done using templates. </a:t>
            </a:r>
          </a:p>
          <a:p>
            <a:pPr defTabSz="914250"/>
            <a:endParaRPr lang="en-US" dirty="0">
              <a:gradFill>
                <a:gsLst>
                  <a:gs pos="1250">
                    <a:srgbClr val="505050"/>
                  </a:gs>
                  <a:gs pos="100000">
                    <a:srgbClr val="505050"/>
                  </a:gs>
                </a:gsLst>
                <a:lin ang="5400000" scaled="0"/>
              </a:gradFill>
            </a:endParaRPr>
          </a:p>
          <a:p>
            <a:pPr defTabSz="914250"/>
            <a:r>
              <a:rPr lang="en-US" dirty="0">
                <a:gradFill>
                  <a:gsLst>
                    <a:gs pos="1250">
                      <a:srgbClr val="505050"/>
                    </a:gs>
                    <a:gs pos="100000">
                      <a:srgbClr val="505050"/>
                    </a:gs>
                  </a:gsLst>
                  <a:lin ang="5400000" scaled="0"/>
                </a:gradFill>
              </a:rPr>
              <a:t>ARM is responsible for validating the templates while the Resource Provider models provide a service that reads and orchestrates the creation of the resources they describe.</a:t>
            </a:r>
          </a:p>
          <a:p>
            <a:pPr defTabSz="914250"/>
            <a:endParaRPr lang="en-US" dirty="0">
              <a:gradFill>
                <a:gsLst>
                  <a:gs pos="1250">
                    <a:srgbClr val="505050"/>
                  </a:gs>
                  <a:gs pos="100000">
                    <a:srgbClr val="505050"/>
                  </a:gs>
                </a:gsLst>
                <a:lin ang="5400000" scaled="0"/>
              </a:gradFill>
            </a:endParaRPr>
          </a:p>
        </p:txBody>
      </p:sp>
      <p:sp>
        <p:nvSpPr>
          <p:cNvPr id="11" name="Text Placeholder 1"/>
          <p:cNvSpPr txBox="1">
            <a:spLocks/>
          </p:cNvSpPr>
          <p:nvPr/>
        </p:nvSpPr>
        <p:spPr>
          <a:xfrm>
            <a:off x="269241" y="1306382"/>
            <a:ext cx="10667400" cy="611902"/>
          </a:xfrm>
          <a:prstGeom prst="rect">
            <a:avLst/>
          </a:prstGeom>
        </p:spPr>
        <p:txBody>
          <a:bodyPr vert="horz" wrap="square" lIns="143410" tIns="89632" rIns="143410" bIns="89632" rtlCol="0">
            <a:spAutoFit/>
          </a:bodyPr>
          <a:lstStyle>
            <a:lvl1pPr marL="0" marR="0" indent="0" algn="l" defTabSz="932623" rtl="0" eaLnBrk="1" fontAlgn="auto" latinLnBrk="0" hangingPunct="1">
              <a:lnSpc>
                <a:spcPct val="100000"/>
              </a:lnSpc>
              <a:spcBef>
                <a:spcPct val="20000"/>
              </a:spcBef>
              <a:spcAft>
                <a:spcPts val="0"/>
              </a:spcAft>
              <a:buClrTx/>
              <a:buSzPct val="90000"/>
              <a:buFontTx/>
              <a:buNone/>
              <a:tabLst/>
              <a:defRPr sz="1400" kern="1200" spc="0" baseline="0">
                <a:gradFill>
                  <a:gsLst>
                    <a:gs pos="1250">
                      <a:schemeClr val="tx1"/>
                    </a:gs>
                    <a:gs pos="100000">
                      <a:schemeClr val="tx1"/>
                    </a:gs>
                  </a:gsLst>
                  <a:lin ang="5400000" scaled="0"/>
                </a:gradFill>
                <a:latin typeface="+mn-lt"/>
                <a:ea typeface="+mn-ea"/>
                <a:cs typeface="+mn-cs"/>
              </a:defRPr>
            </a:lvl1pPr>
            <a:lvl2pPr marL="584125" marR="0" indent="-241269" algn="l" defTabSz="932623" rtl="0" eaLnBrk="1" fontAlgn="auto" latinLnBrk="0" hangingPunct="1">
              <a:lnSpc>
                <a:spcPct val="100000"/>
              </a:lnSpc>
              <a:spcBef>
                <a:spcPct val="20000"/>
              </a:spcBef>
              <a:spcAft>
                <a:spcPts val="0"/>
              </a:spcAft>
              <a:buClrTx/>
              <a:buSzPct val="90000"/>
              <a:buFont typeface="Courier New" panose="02070309020205020404" pitchFamily="49" charset="0"/>
              <a:buChar char="o"/>
              <a:tabLst/>
              <a:defRPr sz="1400" kern="1200" spc="0" baseline="0">
                <a:gradFill>
                  <a:gsLst>
                    <a:gs pos="1250">
                      <a:schemeClr val="tx1"/>
                    </a:gs>
                    <a:gs pos="100000">
                      <a:schemeClr val="tx1"/>
                    </a:gs>
                  </a:gsLst>
                  <a:lin ang="5400000" scaled="0"/>
                </a:gradFill>
                <a:latin typeface="+mn-lt"/>
                <a:ea typeface="+mn-ea"/>
                <a:cs typeface="+mn-cs"/>
              </a:defRPr>
            </a:lvl2pPr>
            <a:lvl3pPr marL="799998" marR="0" indent="-228571" algn="l" defTabSz="932623"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68" marR="0" indent="-228571" algn="l" defTabSz="932623"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39" marR="0" indent="-228571" algn="l" defTabSz="932623"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11"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24"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35"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48"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250"/>
            <a:r>
              <a:rPr lang="en-US" dirty="0">
                <a:gradFill>
                  <a:gsLst>
                    <a:gs pos="1250">
                      <a:srgbClr val="505050"/>
                    </a:gs>
                    <a:gs pos="100000">
                      <a:srgbClr val="505050"/>
                    </a:gs>
                  </a:gsLst>
                  <a:lin ang="5400000" scaled="0"/>
                </a:gradFill>
              </a:rPr>
              <a:t>A growing expectation of any cloud offering is the ability to automate the deployment and management of infrastructure components and enable customers to build and manage higher level applications on top of these in a rich DevOps friendly way.</a:t>
            </a:r>
          </a:p>
        </p:txBody>
      </p:sp>
      <p:sp>
        <p:nvSpPr>
          <p:cNvPr id="12" name="Text Placeholder 1"/>
          <p:cNvSpPr txBox="1">
            <a:spLocks/>
          </p:cNvSpPr>
          <p:nvPr/>
        </p:nvSpPr>
        <p:spPr>
          <a:xfrm>
            <a:off x="447944" y="4767149"/>
            <a:ext cx="11654679" cy="645673"/>
          </a:xfrm>
          <a:prstGeom prst="rect">
            <a:avLst/>
          </a:prstGeom>
        </p:spPr>
        <p:txBody>
          <a:bodyPr vert="horz" wrap="square" lIns="143410" tIns="89632" rIns="143410" bIns="89632" rtlCol="0">
            <a:spAutoFit/>
          </a:bodyPr>
          <a:lstStyle>
            <a:lvl1pPr marL="0" marR="0" indent="0" algn="l" defTabSz="932623" rtl="0" eaLnBrk="1" fontAlgn="auto" latinLnBrk="0" hangingPunct="1">
              <a:lnSpc>
                <a:spcPct val="100000"/>
              </a:lnSpc>
              <a:spcBef>
                <a:spcPct val="20000"/>
              </a:spcBef>
              <a:spcAft>
                <a:spcPts val="0"/>
              </a:spcAft>
              <a:buClrTx/>
              <a:buSzPct val="90000"/>
              <a:buFontTx/>
              <a:buNone/>
              <a:tabLst/>
              <a:defRPr sz="1400" kern="1200" spc="0" baseline="0">
                <a:gradFill>
                  <a:gsLst>
                    <a:gs pos="1250">
                      <a:schemeClr val="tx1"/>
                    </a:gs>
                    <a:gs pos="100000">
                      <a:schemeClr val="tx1"/>
                    </a:gs>
                  </a:gsLst>
                  <a:lin ang="5400000" scaled="0"/>
                </a:gradFill>
                <a:latin typeface="+mn-lt"/>
                <a:ea typeface="+mn-ea"/>
                <a:cs typeface="+mn-cs"/>
              </a:defRPr>
            </a:lvl1pPr>
            <a:lvl2pPr marL="584125" marR="0" indent="-241269" algn="l" defTabSz="932623" rtl="0" eaLnBrk="1" fontAlgn="auto" latinLnBrk="0" hangingPunct="1">
              <a:lnSpc>
                <a:spcPct val="100000"/>
              </a:lnSpc>
              <a:spcBef>
                <a:spcPct val="20000"/>
              </a:spcBef>
              <a:spcAft>
                <a:spcPts val="0"/>
              </a:spcAft>
              <a:buClrTx/>
              <a:buSzPct val="90000"/>
              <a:buFont typeface="Courier New" panose="02070309020205020404" pitchFamily="49" charset="0"/>
              <a:buChar char="o"/>
              <a:tabLst/>
              <a:defRPr sz="1400" kern="1200" spc="0" baseline="0">
                <a:gradFill>
                  <a:gsLst>
                    <a:gs pos="1250">
                      <a:schemeClr val="tx1"/>
                    </a:gs>
                    <a:gs pos="100000">
                      <a:schemeClr val="tx1"/>
                    </a:gs>
                  </a:gsLst>
                  <a:lin ang="5400000" scaled="0"/>
                </a:gradFill>
                <a:latin typeface="+mn-lt"/>
                <a:ea typeface="+mn-ea"/>
                <a:cs typeface="+mn-cs"/>
              </a:defRPr>
            </a:lvl2pPr>
            <a:lvl3pPr marL="799998" marR="0" indent="-228571" algn="l" defTabSz="932623"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68" marR="0" indent="-228571" algn="l" defTabSz="932623"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39" marR="0" indent="-228571" algn="l" defTabSz="932623"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11"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24"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35"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48"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250"/>
            <a:endParaRPr lang="en-US" sz="1372" dirty="0">
              <a:gradFill>
                <a:gsLst>
                  <a:gs pos="1250">
                    <a:srgbClr val="505050"/>
                  </a:gs>
                  <a:gs pos="100000">
                    <a:srgbClr val="505050"/>
                  </a:gs>
                </a:gsLst>
                <a:lin ang="5400000" scaled="0"/>
              </a:gradFill>
              <a:latin typeface="Segoe UI"/>
            </a:endParaRPr>
          </a:p>
          <a:p>
            <a:pPr defTabSz="914250"/>
            <a:endParaRPr lang="en-US" sz="1372" dirty="0">
              <a:gradFill>
                <a:gsLst>
                  <a:gs pos="1250">
                    <a:srgbClr val="505050"/>
                  </a:gs>
                  <a:gs pos="100000">
                    <a:srgbClr val="505050"/>
                  </a:gs>
                </a:gsLst>
                <a:lin ang="5400000" scaled="0"/>
              </a:gradFill>
              <a:latin typeface="Segoe UI"/>
            </a:endParaRPr>
          </a:p>
        </p:txBody>
      </p:sp>
      <p:grpSp>
        <p:nvGrpSpPr>
          <p:cNvPr id="7" name="Group 6"/>
          <p:cNvGrpSpPr/>
          <p:nvPr/>
        </p:nvGrpSpPr>
        <p:grpSpPr>
          <a:xfrm>
            <a:off x="4869407" y="2404056"/>
            <a:ext cx="6902396" cy="1868851"/>
            <a:chOff x="5128028" y="4470460"/>
            <a:chExt cx="7040803" cy="1906325"/>
          </a:xfrm>
        </p:grpSpPr>
        <p:sp>
          <p:nvSpPr>
            <p:cNvPr id="15" name="Text Placeholder 1"/>
            <p:cNvSpPr txBox="1">
              <a:spLocks/>
            </p:cNvSpPr>
            <p:nvPr/>
          </p:nvSpPr>
          <p:spPr>
            <a:xfrm>
              <a:off x="5128028" y="6007475"/>
              <a:ext cx="7036175" cy="369310"/>
            </a:xfrm>
            <a:prstGeom prst="rect">
              <a:avLst/>
            </a:prstGeom>
          </p:spPr>
          <p:txBody>
            <a:bodyPr vert="horz" wrap="square" lIns="143410" tIns="89632" rIns="143410" bIns="89632" rtlCol="0">
              <a:spAutoFit/>
            </a:bodyPr>
            <a:lstStyle>
              <a:lvl1pPr marL="0" marR="0" indent="0" algn="l" defTabSz="932623" rtl="0" eaLnBrk="1" fontAlgn="auto" latinLnBrk="0" hangingPunct="1">
                <a:lnSpc>
                  <a:spcPct val="100000"/>
                </a:lnSpc>
                <a:spcBef>
                  <a:spcPct val="20000"/>
                </a:spcBef>
                <a:spcAft>
                  <a:spcPts val="0"/>
                </a:spcAft>
                <a:buClrTx/>
                <a:buSzPct val="90000"/>
                <a:buFontTx/>
                <a:buNone/>
                <a:tabLst/>
                <a:defRPr sz="1400" kern="1200" spc="0" baseline="0">
                  <a:gradFill>
                    <a:gsLst>
                      <a:gs pos="1250">
                        <a:schemeClr val="tx1"/>
                      </a:gs>
                      <a:gs pos="100000">
                        <a:schemeClr val="tx1"/>
                      </a:gs>
                    </a:gsLst>
                    <a:lin ang="5400000" scaled="0"/>
                  </a:gradFill>
                  <a:latin typeface="+mn-lt"/>
                  <a:ea typeface="+mn-ea"/>
                  <a:cs typeface="+mn-cs"/>
                </a:defRPr>
              </a:lvl1pPr>
              <a:lvl2pPr marL="584125" marR="0" indent="-241269" algn="l" defTabSz="932623" rtl="0" eaLnBrk="1" fontAlgn="auto" latinLnBrk="0" hangingPunct="1">
                <a:lnSpc>
                  <a:spcPct val="100000"/>
                </a:lnSpc>
                <a:spcBef>
                  <a:spcPct val="20000"/>
                </a:spcBef>
                <a:spcAft>
                  <a:spcPts val="0"/>
                </a:spcAft>
                <a:buClrTx/>
                <a:buSzPct val="90000"/>
                <a:buFont typeface="Courier New" panose="02070309020205020404" pitchFamily="49" charset="0"/>
                <a:buChar char="o"/>
                <a:tabLst/>
                <a:defRPr sz="1400" kern="1200" spc="0" baseline="0">
                  <a:gradFill>
                    <a:gsLst>
                      <a:gs pos="1250">
                        <a:schemeClr val="tx1"/>
                      </a:gs>
                      <a:gs pos="100000">
                        <a:schemeClr val="tx1"/>
                      </a:gs>
                    </a:gsLst>
                    <a:lin ang="5400000" scaled="0"/>
                  </a:gradFill>
                  <a:latin typeface="+mn-lt"/>
                  <a:ea typeface="+mn-ea"/>
                  <a:cs typeface="+mn-cs"/>
                </a:defRPr>
              </a:lvl2pPr>
              <a:lvl3pPr marL="799998" marR="0" indent="-228571" algn="l" defTabSz="932623"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68" marR="0" indent="-228571" algn="l" defTabSz="932623"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39" marR="0" indent="-228571" algn="l" defTabSz="932623"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11"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24"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35"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48"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250"/>
              <a:r>
                <a:rPr lang="en-US" sz="1176" dirty="0">
                  <a:gradFill>
                    <a:gsLst>
                      <a:gs pos="1250">
                        <a:srgbClr val="505050"/>
                      </a:gs>
                      <a:gs pos="100000">
                        <a:srgbClr val="505050"/>
                      </a:gs>
                    </a:gsLst>
                    <a:lin ang="5400000" scaled="0"/>
                  </a:gradFill>
                  <a:latin typeface="Segoe UI"/>
                </a:rPr>
                <a:t>The example above shows the basic structure of a JSON template.</a:t>
              </a:r>
            </a:p>
          </p:txBody>
        </p:sp>
        <p:pic>
          <p:nvPicPr>
            <p:cNvPr id="5" name="Picture 4" descr="Screen Clipping"/>
            <p:cNvPicPr>
              <a:picLocks noChangeAspect="1"/>
            </p:cNvPicPr>
            <p:nvPr/>
          </p:nvPicPr>
          <p:blipFill rotWithShape="1">
            <a:blip r:embed="rId3">
              <a:extLst>
                <a:ext uri="{28A0092B-C50C-407E-A947-70E740481C1C}">
                  <a14:useLocalDpi xmlns:a14="http://schemas.microsoft.com/office/drawing/2010/main" val="0"/>
                </a:ext>
              </a:extLst>
            </a:blip>
            <a:srcRect l="4083" t="19457" r="2875" b="10731"/>
            <a:stretch/>
          </p:blipFill>
          <p:spPr>
            <a:xfrm>
              <a:off x="5128028" y="4470460"/>
              <a:ext cx="7040803" cy="1463024"/>
            </a:xfrm>
            <a:prstGeom prst="rect">
              <a:avLst/>
            </a:prstGeom>
            <a:ln w="9525" cap="sq">
              <a:solidFill>
                <a:srgbClr val="000000"/>
              </a:solidFill>
              <a:prstDash val="solid"/>
              <a:miter lim="800000"/>
            </a:ln>
            <a:effectLst>
              <a:outerShdw blurRad="50800" dist="38100" dir="2700000" algn="tl" rotWithShape="0">
                <a:srgbClr val="000000">
                  <a:alpha val="43000"/>
                </a:srgbClr>
              </a:outerShdw>
            </a:effectLst>
          </p:spPr>
        </p:pic>
      </p:grpSp>
    </p:spTree>
    <p:extLst>
      <p:ext uri="{BB962C8B-B14F-4D97-AF65-F5344CB8AC3E}">
        <p14:creationId xmlns:p14="http://schemas.microsoft.com/office/powerpoint/2010/main" val="24743620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365125"/>
            <a:ext cx="11353800" cy="1325563"/>
          </a:xfrm>
        </p:spPr>
        <p:txBody>
          <a:bodyPr>
            <a:normAutofit/>
          </a:bodyPr>
          <a:lstStyle/>
          <a:p>
            <a:r>
              <a:rPr lang="en-US" sz="3600" b="1" u="sng" dirty="0">
                <a:effectLst>
                  <a:outerShdw blurRad="38100" dist="38100" dir="2700000" algn="tl">
                    <a:srgbClr val="000000">
                      <a:alpha val="43137"/>
                    </a:srgbClr>
                  </a:outerShdw>
                </a:effectLst>
              </a:rPr>
              <a:t>Azure Resource Manager’s </a:t>
            </a:r>
            <a:r>
              <a:rPr lang="en-US" sz="3600" b="1" u="sng" dirty="0" smtClean="0">
                <a:effectLst>
                  <a:outerShdw blurRad="38100" dist="38100" dir="2700000" algn="tl">
                    <a:srgbClr val="000000">
                      <a:alpha val="43137"/>
                    </a:srgbClr>
                  </a:outerShdw>
                </a:effectLst>
              </a:rPr>
              <a:t>architecture and functionalities</a:t>
            </a:r>
            <a:endParaRPr lang="en-US" sz="3600" b="1" u="sng" dirty="0">
              <a:effectLst>
                <a:outerShdw blurRad="38100" dist="38100" dir="2700000" algn="tl">
                  <a:srgbClr val="000000">
                    <a:alpha val="43137"/>
                  </a:srgbClr>
                </a:outerShdw>
              </a:effectLst>
            </a:endParaRPr>
          </a:p>
        </p:txBody>
      </p:sp>
      <p:sp>
        <p:nvSpPr>
          <p:cNvPr id="4" name="Text Placeholder 24"/>
          <p:cNvSpPr>
            <a:spLocks noGrp="1"/>
          </p:cNvSpPr>
          <p:nvPr>
            <p:ph type="body" sz="quarter" idx="4294967295"/>
          </p:nvPr>
        </p:nvSpPr>
        <p:spPr>
          <a:xfrm>
            <a:off x="0" y="2660650"/>
            <a:ext cx="4929188" cy="4197350"/>
          </a:xfrm>
        </p:spPr>
        <p:txBody>
          <a:bodyPr>
            <a:normAutofit/>
          </a:bodyPr>
          <a:lstStyle/>
          <a:p>
            <a:pPr marL="280121" indent="-280121">
              <a:lnSpc>
                <a:spcPct val="120000"/>
              </a:lnSpc>
              <a:spcAft>
                <a:spcPts val="294"/>
              </a:spcAft>
              <a:buFont typeface="Arial" panose="020B0604020202020204" pitchFamily="34" charset="0"/>
              <a:buChar char="•"/>
            </a:pPr>
            <a:r>
              <a:rPr lang="en-US" sz="1200" dirty="0" smtClean="0">
                <a:solidFill>
                  <a:schemeClr val="tx1"/>
                </a:solidFill>
              </a:rPr>
              <a:t>Accepts calls </a:t>
            </a:r>
            <a:r>
              <a:rPr lang="en-US" sz="1200" dirty="0">
                <a:solidFill>
                  <a:schemeClr val="tx1"/>
                </a:solidFill>
              </a:rPr>
              <a:t>from the Portal (portal.azure.com), Visual Studio, </a:t>
            </a:r>
            <a:r>
              <a:rPr lang="en-US" sz="1200" dirty="0" smtClean="0">
                <a:solidFill>
                  <a:schemeClr val="tx1"/>
                </a:solidFill>
              </a:rPr>
              <a:t>and </a:t>
            </a:r>
            <a:r>
              <a:rPr lang="en-US" sz="1200" dirty="0">
                <a:solidFill>
                  <a:schemeClr val="tx1"/>
                </a:solidFill>
              </a:rPr>
              <a:t>command line (PowerShell, Xplat CLI</a:t>
            </a:r>
            <a:r>
              <a:rPr lang="en-US" sz="1200" dirty="0" smtClean="0">
                <a:solidFill>
                  <a:schemeClr val="tx1"/>
                </a:solidFill>
              </a:rPr>
              <a:t>).</a:t>
            </a:r>
          </a:p>
          <a:p>
            <a:pPr marL="280121" indent="-280121">
              <a:lnSpc>
                <a:spcPct val="120000"/>
              </a:lnSpc>
              <a:spcAft>
                <a:spcPts val="294"/>
              </a:spcAft>
              <a:buFont typeface="Arial" panose="020B0604020202020204" pitchFamily="34" charset="0"/>
              <a:buChar char="•"/>
            </a:pPr>
            <a:r>
              <a:rPr lang="en-US" sz="1200" dirty="0" smtClean="0">
                <a:solidFill>
                  <a:schemeClr val="tx1"/>
                </a:solidFill>
              </a:rPr>
              <a:t>Enforces the </a:t>
            </a:r>
            <a:r>
              <a:rPr lang="en-US" sz="1200" dirty="0">
                <a:solidFill>
                  <a:schemeClr val="tx1"/>
                </a:solidFill>
              </a:rPr>
              <a:t>throttling </a:t>
            </a:r>
            <a:r>
              <a:rPr lang="en-US" sz="1200" dirty="0" smtClean="0">
                <a:solidFill>
                  <a:schemeClr val="tx1"/>
                </a:solidFill>
              </a:rPr>
              <a:t>and resource quota based on subscriptionId. </a:t>
            </a:r>
          </a:p>
          <a:p>
            <a:pPr marL="280121" indent="-280121">
              <a:lnSpc>
                <a:spcPct val="120000"/>
              </a:lnSpc>
              <a:spcAft>
                <a:spcPts val="294"/>
              </a:spcAft>
              <a:buFont typeface="Arial" panose="020B0604020202020204" pitchFamily="34" charset="0"/>
              <a:buChar char="•"/>
            </a:pPr>
            <a:r>
              <a:rPr lang="en-US" sz="1200" dirty="0" smtClean="0">
                <a:solidFill>
                  <a:schemeClr val="tx1"/>
                </a:solidFill>
              </a:rPr>
              <a:t>Routes requests </a:t>
            </a:r>
            <a:r>
              <a:rPr lang="en-US" sz="1200" dirty="0">
                <a:solidFill>
                  <a:schemeClr val="tx1"/>
                </a:solidFill>
              </a:rPr>
              <a:t>to proper </a:t>
            </a:r>
            <a:r>
              <a:rPr lang="en-US" sz="1200" dirty="0" smtClean="0">
                <a:solidFill>
                  <a:schemeClr val="tx1"/>
                </a:solidFill>
              </a:rPr>
              <a:t>Resource Provider (based </a:t>
            </a:r>
            <a:r>
              <a:rPr lang="en-US" sz="1200" dirty="0">
                <a:solidFill>
                  <a:schemeClr val="tx1"/>
                </a:solidFill>
              </a:rPr>
              <a:t>on region + resource provider namespace</a:t>
            </a:r>
            <a:r>
              <a:rPr lang="en-US" sz="1200" dirty="0" smtClean="0">
                <a:solidFill>
                  <a:schemeClr val="tx1"/>
                </a:solidFill>
              </a:rPr>
              <a:t>).</a:t>
            </a:r>
          </a:p>
          <a:p>
            <a:pPr marL="280121" indent="-280121">
              <a:lnSpc>
                <a:spcPct val="120000"/>
              </a:lnSpc>
              <a:spcAft>
                <a:spcPts val="294"/>
              </a:spcAft>
              <a:buFont typeface="Arial" panose="020B0604020202020204" pitchFamily="34" charset="0"/>
              <a:buChar char="•"/>
            </a:pPr>
            <a:r>
              <a:rPr lang="en-US" sz="1200" dirty="0" smtClean="0">
                <a:solidFill>
                  <a:schemeClr val="tx1"/>
                </a:solidFill>
              </a:rPr>
              <a:t>Validates resource groups and resource membership. </a:t>
            </a:r>
          </a:p>
          <a:p>
            <a:pPr marL="280121" indent="-280121">
              <a:lnSpc>
                <a:spcPct val="120000"/>
              </a:lnSpc>
              <a:spcAft>
                <a:spcPts val="294"/>
              </a:spcAft>
              <a:buFont typeface="Arial" panose="020B0604020202020204" pitchFamily="34" charset="0"/>
              <a:buChar char="•"/>
            </a:pPr>
            <a:r>
              <a:rPr lang="en-US" sz="1200" dirty="0" smtClean="0">
                <a:solidFill>
                  <a:schemeClr val="tx1"/>
                </a:solidFill>
              </a:rPr>
              <a:t>Manages the </a:t>
            </a:r>
            <a:r>
              <a:rPr lang="en-US" sz="1200" dirty="0">
                <a:solidFill>
                  <a:schemeClr val="tx1"/>
                </a:solidFill>
              </a:rPr>
              <a:t>r</a:t>
            </a:r>
            <a:r>
              <a:rPr lang="en-US" sz="1200" dirty="0" smtClean="0">
                <a:solidFill>
                  <a:schemeClr val="tx1"/>
                </a:solidFill>
              </a:rPr>
              <a:t>esource and resource </a:t>
            </a:r>
            <a:r>
              <a:rPr lang="en-US" sz="1200" dirty="0">
                <a:solidFill>
                  <a:schemeClr val="tx1"/>
                </a:solidFill>
              </a:rPr>
              <a:t>g</a:t>
            </a:r>
            <a:r>
              <a:rPr lang="en-US" sz="1200" dirty="0" smtClean="0">
                <a:solidFill>
                  <a:schemeClr val="tx1"/>
                </a:solidFill>
              </a:rPr>
              <a:t>roup </a:t>
            </a:r>
          </a:p>
          <a:p>
            <a:pPr marL="280121" indent="-280121">
              <a:lnSpc>
                <a:spcPct val="120000"/>
              </a:lnSpc>
              <a:spcAft>
                <a:spcPts val="294"/>
              </a:spcAft>
              <a:buFont typeface="Arial" panose="020B0604020202020204" pitchFamily="34" charset="0"/>
              <a:buChar char="•"/>
            </a:pPr>
            <a:r>
              <a:rPr lang="en-US" sz="1200" dirty="0" smtClean="0">
                <a:solidFill>
                  <a:schemeClr val="tx1"/>
                </a:solidFill>
              </a:rPr>
              <a:t>Creates tags and assigns tags to resources.</a:t>
            </a:r>
          </a:p>
          <a:p>
            <a:pPr marL="280121" indent="-280121">
              <a:lnSpc>
                <a:spcPct val="120000"/>
              </a:lnSpc>
              <a:spcAft>
                <a:spcPts val="294"/>
              </a:spcAft>
              <a:buFont typeface="Arial" panose="020B0604020202020204" pitchFamily="34" charset="0"/>
              <a:buChar char="•"/>
            </a:pPr>
            <a:r>
              <a:rPr lang="en-US" sz="1200" dirty="0" smtClean="0">
                <a:solidFill>
                  <a:schemeClr val="tx1"/>
                </a:solidFill>
              </a:rPr>
              <a:t>Verifies permissions. </a:t>
            </a:r>
          </a:p>
          <a:p>
            <a:pPr marL="280121" indent="-280121">
              <a:lnSpc>
                <a:spcPct val="120000"/>
              </a:lnSpc>
              <a:spcAft>
                <a:spcPts val="294"/>
              </a:spcAft>
              <a:buFont typeface="Arial" panose="020B0604020202020204" pitchFamily="34" charset="0"/>
              <a:buChar char="•"/>
            </a:pPr>
            <a:r>
              <a:rPr lang="en-US" sz="1200" dirty="0" smtClean="0">
                <a:solidFill>
                  <a:schemeClr val="tx1"/>
                </a:solidFill>
              </a:rPr>
              <a:t>Logs user actions for auditing.</a:t>
            </a:r>
          </a:p>
          <a:p>
            <a:pPr marL="280121" indent="-280121">
              <a:lnSpc>
                <a:spcPct val="120000"/>
              </a:lnSpc>
              <a:spcAft>
                <a:spcPts val="294"/>
              </a:spcAft>
              <a:buFont typeface="Arial" panose="020B0604020202020204" pitchFamily="34" charset="0"/>
              <a:buChar char="•"/>
            </a:pPr>
            <a:r>
              <a:rPr lang="en-US" sz="1200" dirty="0" smtClean="0">
                <a:solidFill>
                  <a:schemeClr val="tx1"/>
                </a:solidFill>
              </a:rPr>
              <a:t>Validates templates.</a:t>
            </a:r>
          </a:p>
        </p:txBody>
      </p:sp>
      <p:sp>
        <p:nvSpPr>
          <p:cNvPr id="16" name="Text Placeholder 24"/>
          <p:cNvSpPr txBox="1">
            <a:spLocks/>
          </p:cNvSpPr>
          <p:nvPr/>
        </p:nvSpPr>
        <p:spPr>
          <a:xfrm>
            <a:off x="269241" y="1616293"/>
            <a:ext cx="5378552" cy="1403401"/>
          </a:xfrm>
          <a:prstGeom prst="rect">
            <a:avLst/>
          </a:prstGeom>
        </p:spPr>
        <p:txBody>
          <a:bodyPr vert="horz" wrap="square" lIns="143410" tIns="89632" rIns="143410" bIns="89632" rtlCol="0">
            <a:spAutoFit/>
          </a:bodyPr>
          <a:lstStyle>
            <a:lvl1pPr marL="0" marR="0" indent="0" algn="l" defTabSz="932623" rtl="0" eaLnBrk="1" fontAlgn="auto" latinLnBrk="0" hangingPunct="1">
              <a:lnSpc>
                <a:spcPct val="100000"/>
              </a:lnSpc>
              <a:spcBef>
                <a:spcPct val="20000"/>
              </a:spcBef>
              <a:spcAft>
                <a:spcPts val="0"/>
              </a:spcAft>
              <a:buClrTx/>
              <a:buSzPct val="90000"/>
              <a:buFontTx/>
              <a:buNone/>
              <a:tabLst/>
              <a:defRPr sz="1400" kern="1200" spc="0" baseline="0">
                <a:gradFill>
                  <a:gsLst>
                    <a:gs pos="1250">
                      <a:schemeClr val="tx1"/>
                    </a:gs>
                    <a:gs pos="100000">
                      <a:schemeClr val="tx1"/>
                    </a:gs>
                  </a:gsLst>
                  <a:lin ang="5400000" scaled="0"/>
                </a:gradFill>
                <a:latin typeface="+mn-lt"/>
                <a:ea typeface="+mn-ea"/>
                <a:cs typeface="+mn-cs"/>
              </a:defRPr>
            </a:lvl1pPr>
            <a:lvl2pPr marL="584125" marR="0" indent="-241269" algn="l" defTabSz="932623" rtl="0" eaLnBrk="1" fontAlgn="auto" latinLnBrk="0" hangingPunct="1">
              <a:lnSpc>
                <a:spcPct val="100000"/>
              </a:lnSpc>
              <a:spcBef>
                <a:spcPct val="20000"/>
              </a:spcBef>
              <a:spcAft>
                <a:spcPts val="0"/>
              </a:spcAft>
              <a:buClrTx/>
              <a:buSzPct val="90000"/>
              <a:buFont typeface="Courier New" panose="02070309020205020404" pitchFamily="49" charset="0"/>
              <a:buChar char="o"/>
              <a:tabLst/>
              <a:defRPr sz="1400" kern="1200" spc="0" baseline="0">
                <a:gradFill>
                  <a:gsLst>
                    <a:gs pos="1250">
                      <a:schemeClr val="tx1"/>
                    </a:gs>
                    <a:gs pos="100000">
                      <a:schemeClr val="tx1"/>
                    </a:gs>
                  </a:gsLst>
                  <a:lin ang="5400000" scaled="0"/>
                </a:gradFill>
                <a:latin typeface="+mn-lt"/>
                <a:ea typeface="+mn-ea"/>
                <a:cs typeface="+mn-cs"/>
              </a:defRPr>
            </a:lvl2pPr>
            <a:lvl3pPr marL="799998" marR="0" indent="-228571" algn="l" defTabSz="932623"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68" marR="0" indent="-228571" algn="l" defTabSz="932623"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39" marR="0" indent="-228571" algn="l" defTabSz="932623"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11"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24"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35"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48"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250">
              <a:spcAft>
                <a:spcPts val="294"/>
              </a:spcAft>
            </a:pPr>
            <a:r>
              <a:rPr lang="en-US" sz="1600" dirty="0">
                <a:solidFill>
                  <a:srgbClr val="505050"/>
                </a:solidFill>
                <a:latin typeface="+mj-lt"/>
                <a:cs typeface="Segoe UI" panose="020B0502040204020203" pitchFamily="34" charset="0"/>
              </a:rPr>
              <a:t>ARM serves as a consistent management layer for deploying, organizing, and securing applications. ARM operations include, but are not limited to, the following functionalities:</a:t>
            </a:r>
          </a:p>
          <a:p>
            <a:pPr defTabSz="914250">
              <a:spcAft>
                <a:spcPts val="294"/>
              </a:spcAft>
            </a:pPr>
            <a:endParaRPr lang="en-US" sz="1078" dirty="0">
              <a:solidFill>
                <a:srgbClr val="505050"/>
              </a:solidFill>
              <a:latin typeface="Segoe UI"/>
              <a:cs typeface="Segoe UI" panose="020B0502040204020203" pitchFamily="34" charset="0"/>
            </a:endParaRPr>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r="12125"/>
          <a:stretch/>
        </p:blipFill>
        <p:spPr>
          <a:xfrm>
            <a:off x="5260753" y="1636170"/>
            <a:ext cx="6482662" cy="4635038"/>
          </a:xfrm>
          <a:prstGeom prst="rect">
            <a:avLst/>
          </a:prstGeom>
        </p:spPr>
      </p:pic>
    </p:spTree>
    <p:extLst>
      <p:ext uri="{BB962C8B-B14F-4D97-AF65-F5344CB8AC3E}">
        <p14:creationId xmlns:p14="http://schemas.microsoft.com/office/powerpoint/2010/main" val="30571854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u="sng" dirty="0" smtClean="0">
                <a:effectLst>
                  <a:outerShdw blurRad="38100" dist="38100" dir="2700000" algn="tl">
                    <a:srgbClr val="000000">
                      <a:alpha val="43137"/>
                    </a:srgbClr>
                  </a:outerShdw>
                </a:effectLst>
              </a:rPr>
              <a:t>Resource Provider v2</a:t>
            </a:r>
            <a:endParaRPr lang="en-US" sz="3600" b="1" u="sng" dirty="0">
              <a:effectLst>
                <a:outerShdw blurRad="38100" dist="38100" dir="2700000" algn="tl">
                  <a:srgbClr val="000000">
                    <a:alpha val="43137"/>
                  </a:srgbClr>
                </a:outerShdw>
              </a:effectLst>
            </a:endParaRPr>
          </a:p>
        </p:txBody>
      </p:sp>
      <p:sp>
        <p:nvSpPr>
          <p:cNvPr id="4" name="Slide Number Placeholder 3"/>
          <p:cNvSpPr>
            <a:spLocks noGrp="1"/>
          </p:cNvSpPr>
          <p:nvPr>
            <p:ph type="sldNum" sz="quarter" idx="12"/>
          </p:nvPr>
        </p:nvSpPr>
        <p:spPr>
          <a:xfrm>
            <a:off x="9448800" y="6256338"/>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0171B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1200" cap="none" spc="0" normalizeH="0" baseline="0" noProof="0" dirty="0">
              <a:ln>
                <a:noFill/>
              </a:ln>
              <a:solidFill>
                <a:srgbClr val="0171B0"/>
              </a:solidFill>
              <a:effectLst/>
              <a:uLnTx/>
              <a:uFillTx/>
              <a:latin typeface="Segoe UI"/>
              <a:ea typeface="+mn-ea"/>
              <a:cs typeface="+mn-cs"/>
            </a:endParaRPr>
          </a:p>
        </p:txBody>
      </p:sp>
      <p:sp>
        <p:nvSpPr>
          <p:cNvPr id="3" name="Content Placeholder 2"/>
          <p:cNvSpPr>
            <a:spLocks noGrp="1"/>
          </p:cNvSpPr>
          <p:nvPr>
            <p:ph idx="4294967295"/>
          </p:nvPr>
        </p:nvSpPr>
        <p:spPr>
          <a:xfrm>
            <a:off x="269875" y="1323975"/>
            <a:ext cx="11922125" cy="5205413"/>
          </a:xfrm>
        </p:spPr>
        <p:txBody>
          <a:bodyPr>
            <a:normAutofit fontScale="62500" lnSpcReduction="20000"/>
          </a:bodyPr>
          <a:lstStyle/>
          <a:p>
            <a:pPr marL="457200" indent="-457200">
              <a:lnSpc>
                <a:spcPct val="120000"/>
              </a:lnSpc>
              <a:buFont typeface="Arial" panose="020B0604020202020204" pitchFamily="34" charset="0"/>
              <a:buChar char="•"/>
            </a:pPr>
            <a:r>
              <a:rPr lang="en-US" dirty="0"/>
              <a:t>Moves common functionality (</a:t>
            </a:r>
            <a:r>
              <a:rPr lang="en-US" dirty="0" err="1"/>
              <a:t>authN</a:t>
            </a:r>
            <a:r>
              <a:rPr lang="en-US" dirty="0"/>
              <a:t>, </a:t>
            </a:r>
            <a:r>
              <a:rPr lang="en-US" dirty="0" err="1"/>
              <a:t>authZ</a:t>
            </a:r>
            <a:r>
              <a:rPr lang="en-US" dirty="0"/>
              <a:t>, auditing, regional routing) to common layer</a:t>
            </a:r>
          </a:p>
          <a:p>
            <a:pPr marL="457200" indent="-457200">
              <a:lnSpc>
                <a:spcPct val="120000"/>
              </a:lnSpc>
              <a:buFont typeface="Arial" panose="020B0604020202020204" pitchFamily="34" charset="0"/>
              <a:buChar char="•"/>
            </a:pPr>
            <a:r>
              <a:rPr lang="en-US" dirty="0"/>
              <a:t>Fully JSON based; </a:t>
            </a:r>
            <a:endParaRPr lang="en-US" dirty="0" smtClean="0"/>
          </a:p>
          <a:p>
            <a:pPr marL="457200" indent="-457200">
              <a:lnSpc>
                <a:spcPct val="120000"/>
              </a:lnSpc>
              <a:buFont typeface="Arial" panose="020B0604020202020204" pitchFamily="34" charset="0"/>
              <a:buChar char="•"/>
            </a:pPr>
            <a:r>
              <a:rPr lang="en-US" dirty="0" smtClean="0"/>
              <a:t>Deploy</a:t>
            </a:r>
            <a:r>
              <a:rPr lang="en-US" dirty="0"/>
              <a:t>, manage, and monitor all of the resources for your solution as a group, rather than handling these resources individually.</a:t>
            </a:r>
          </a:p>
          <a:p>
            <a:pPr marL="457200" indent="-457200">
              <a:lnSpc>
                <a:spcPct val="120000"/>
              </a:lnSpc>
              <a:buFont typeface="Arial" panose="020B0604020202020204" pitchFamily="34" charset="0"/>
              <a:buChar char="•"/>
            </a:pPr>
            <a:r>
              <a:rPr lang="en-US" dirty="0"/>
              <a:t>Repeatedly deploy your solution throughout the development lifecycle and have confidence your resources are deployed in a consistent state.</a:t>
            </a:r>
          </a:p>
          <a:p>
            <a:pPr marL="457200" indent="-457200">
              <a:lnSpc>
                <a:spcPct val="120000"/>
              </a:lnSpc>
              <a:buFont typeface="Arial" panose="020B0604020202020204" pitchFamily="34" charset="0"/>
              <a:buChar char="•"/>
            </a:pPr>
            <a:r>
              <a:rPr lang="en-US" dirty="0"/>
              <a:t>uses declarative templates to define your deployment.</a:t>
            </a:r>
          </a:p>
          <a:p>
            <a:pPr marL="457200" indent="-457200">
              <a:lnSpc>
                <a:spcPct val="120000"/>
              </a:lnSpc>
              <a:buFont typeface="Arial" panose="020B0604020202020204" pitchFamily="34" charset="0"/>
              <a:buChar char="•"/>
            </a:pPr>
            <a:r>
              <a:rPr lang="en-US" dirty="0"/>
              <a:t>Define the dependencies between resources so they are deployed in the correct order.</a:t>
            </a:r>
          </a:p>
          <a:p>
            <a:pPr marL="457200" indent="-457200">
              <a:lnSpc>
                <a:spcPct val="120000"/>
              </a:lnSpc>
              <a:buFont typeface="Arial" panose="020B0604020202020204" pitchFamily="34" charset="0"/>
              <a:buChar char="•"/>
            </a:pPr>
            <a:r>
              <a:rPr lang="en-US" dirty="0"/>
              <a:t>Apply access control to all services in your resource group because Role-Based Access Control (RBAC) is natively integrated into the management platform.</a:t>
            </a:r>
          </a:p>
          <a:p>
            <a:pPr marL="457200" indent="-457200">
              <a:lnSpc>
                <a:spcPct val="120000"/>
              </a:lnSpc>
              <a:buFont typeface="Arial" panose="020B0604020202020204" pitchFamily="34" charset="0"/>
              <a:buChar char="•"/>
            </a:pPr>
            <a:r>
              <a:rPr lang="en-US" dirty="0"/>
              <a:t>Apply tags to resources to logically organize all of the resources in your subscription.</a:t>
            </a:r>
          </a:p>
          <a:p>
            <a:pPr marL="457200" indent="-457200">
              <a:lnSpc>
                <a:spcPct val="120000"/>
              </a:lnSpc>
              <a:buFont typeface="Arial" panose="020B0604020202020204" pitchFamily="34" charset="0"/>
              <a:buChar char="•"/>
            </a:pPr>
            <a:r>
              <a:rPr lang="en-US" dirty="0"/>
              <a:t>Clarify billing for the organization by viewing the rolled-up costs for the entire group or for a group of resources sharing the same tag.</a:t>
            </a:r>
          </a:p>
          <a:p>
            <a:pPr marL="457200" indent="-457200">
              <a:lnSpc>
                <a:spcPct val="120000"/>
              </a:lnSpc>
              <a:buFont typeface="Arial" panose="020B0604020202020204" pitchFamily="34" charset="0"/>
              <a:buChar char="•"/>
            </a:pPr>
            <a:r>
              <a:rPr lang="en-US" dirty="0"/>
              <a:t>Resource Manager provides a new way to deploy and manage your solutions.</a:t>
            </a:r>
          </a:p>
        </p:txBody>
      </p:sp>
    </p:spTree>
    <p:extLst>
      <p:ext uri="{BB962C8B-B14F-4D97-AF65-F5344CB8AC3E}">
        <p14:creationId xmlns:p14="http://schemas.microsoft.com/office/powerpoint/2010/main" val="7518232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268013"/>
            <a:ext cx="10515600" cy="1958702"/>
          </a:xfrm>
        </p:spPr>
        <p:txBody>
          <a:bodyPr>
            <a:normAutofit/>
          </a:bodyPr>
          <a:lstStyle/>
          <a:p>
            <a:r>
              <a:rPr lang="en-US" sz="3600" b="1" u="sng" dirty="0" smtClean="0">
                <a:effectLst>
                  <a:outerShdw blurRad="38100" dist="38100" dir="2700000" algn="tl">
                    <a:srgbClr val="000000">
                      <a:alpha val="43137"/>
                    </a:srgbClr>
                  </a:outerShdw>
                </a:effectLst>
              </a:rPr>
              <a:t>Differences between ASM and ARM</a:t>
            </a:r>
            <a:endParaRPr lang="en-US" sz="3600" b="1" u="sng" dirty="0">
              <a:effectLst>
                <a:outerShdw blurRad="38100" dist="38100" dir="2700000" algn="tl">
                  <a:srgbClr val="000000">
                    <a:alpha val="43137"/>
                  </a:srgbClr>
                </a:outerShdw>
              </a:effectLst>
            </a:endParaRPr>
          </a:p>
        </p:txBody>
      </p:sp>
      <p:sp>
        <p:nvSpPr>
          <p:cNvPr id="12" name="Text Placeholder 1"/>
          <p:cNvSpPr txBox="1">
            <a:spLocks/>
          </p:cNvSpPr>
          <p:nvPr/>
        </p:nvSpPr>
        <p:spPr>
          <a:xfrm>
            <a:off x="447944" y="4767149"/>
            <a:ext cx="11654679" cy="645673"/>
          </a:xfrm>
          <a:prstGeom prst="rect">
            <a:avLst/>
          </a:prstGeom>
        </p:spPr>
        <p:txBody>
          <a:bodyPr vert="horz" wrap="square" lIns="143410" tIns="89632" rIns="143410" bIns="89632" rtlCol="0">
            <a:spAutoFit/>
          </a:bodyPr>
          <a:lstStyle>
            <a:lvl1pPr marL="0" marR="0" indent="0" algn="l" defTabSz="932623" rtl="0" eaLnBrk="1" fontAlgn="auto" latinLnBrk="0" hangingPunct="1">
              <a:lnSpc>
                <a:spcPct val="100000"/>
              </a:lnSpc>
              <a:spcBef>
                <a:spcPct val="20000"/>
              </a:spcBef>
              <a:spcAft>
                <a:spcPts val="0"/>
              </a:spcAft>
              <a:buClrTx/>
              <a:buSzPct val="90000"/>
              <a:buFontTx/>
              <a:buNone/>
              <a:tabLst/>
              <a:defRPr sz="1400" kern="1200" spc="0" baseline="0">
                <a:gradFill>
                  <a:gsLst>
                    <a:gs pos="1250">
                      <a:schemeClr val="tx1"/>
                    </a:gs>
                    <a:gs pos="100000">
                      <a:schemeClr val="tx1"/>
                    </a:gs>
                  </a:gsLst>
                  <a:lin ang="5400000" scaled="0"/>
                </a:gradFill>
                <a:latin typeface="+mn-lt"/>
                <a:ea typeface="+mn-ea"/>
                <a:cs typeface="+mn-cs"/>
              </a:defRPr>
            </a:lvl1pPr>
            <a:lvl2pPr marL="584125" marR="0" indent="-241269" algn="l" defTabSz="932623" rtl="0" eaLnBrk="1" fontAlgn="auto" latinLnBrk="0" hangingPunct="1">
              <a:lnSpc>
                <a:spcPct val="100000"/>
              </a:lnSpc>
              <a:spcBef>
                <a:spcPct val="20000"/>
              </a:spcBef>
              <a:spcAft>
                <a:spcPts val="0"/>
              </a:spcAft>
              <a:buClrTx/>
              <a:buSzPct val="90000"/>
              <a:buFont typeface="Courier New" panose="02070309020205020404" pitchFamily="49" charset="0"/>
              <a:buChar char="o"/>
              <a:tabLst/>
              <a:defRPr sz="1400" kern="1200" spc="0" baseline="0">
                <a:gradFill>
                  <a:gsLst>
                    <a:gs pos="1250">
                      <a:schemeClr val="tx1"/>
                    </a:gs>
                    <a:gs pos="100000">
                      <a:schemeClr val="tx1"/>
                    </a:gs>
                  </a:gsLst>
                  <a:lin ang="5400000" scaled="0"/>
                </a:gradFill>
                <a:latin typeface="+mn-lt"/>
                <a:ea typeface="+mn-ea"/>
                <a:cs typeface="+mn-cs"/>
              </a:defRPr>
            </a:lvl2pPr>
            <a:lvl3pPr marL="799998" marR="0" indent="-228571" algn="l" defTabSz="932623"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68" marR="0" indent="-228571" algn="l" defTabSz="932623"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39" marR="0" indent="-228571" algn="l" defTabSz="932623"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11"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24"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35"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48"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50" rtl="0" eaLnBrk="1" fontAlgn="auto" latinLnBrk="0" hangingPunct="1">
              <a:lnSpc>
                <a:spcPct val="100000"/>
              </a:lnSpc>
              <a:spcBef>
                <a:spcPct val="20000"/>
              </a:spcBef>
              <a:spcAft>
                <a:spcPts val="0"/>
              </a:spcAft>
              <a:buClrTx/>
              <a:buSzPct val="90000"/>
              <a:buFontTx/>
              <a:buNone/>
              <a:tabLst/>
              <a:defRPr/>
            </a:pPr>
            <a:endParaRPr kumimoji="0" lang="en-US"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a:p>
            <a:pPr marL="0" marR="0" lvl="0" indent="0" algn="l" defTabSz="914250" rtl="0" eaLnBrk="1" fontAlgn="auto" latinLnBrk="0" hangingPunct="1">
              <a:lnSpc>
                <a:spcPct val="100000"/>
              </a:lnSpc>
              <a:spcBef>
                <a:spcPct val="20000"/>
              </a:spcBef>
              <a:spcAft>
                <a:spcPts val="0"/>
              </a:spcAft>
              <a:buClrTx/>
              <a:buSzPct val="90000"/>
              <a:buFontTx/>
              <a:buNone/>
              <a:tabLst/>
              <a:defRPr/>
            </a:pPr>
            <a:endParaRPr kumimoji="0" lang="en-US"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pic>
        <p:nvPicPr>
          <p:cNvPr id="2" name="Picture 1"/>
          <p:cNvPicPr>
            <a:picLocks noChangeAspect="1"/>
          </p:cNvPicPr>
          <p:nvPr/>
        </p:nvPicPr>
        <p:blipFill>
          <a:blip r:embed="rId3"/>
          <a:stretch>
            <a:fillRect/>
          </a:stretch>
        </p:blipFill>
        <p:spPr>
          <a:xfrm>
            <a:off x="1328305" y="1069503"/>
            <a:ext cx="9537710" cy="5694712"/>
          </a:xfrm>
          <a:prstGeom prst="rect">
            <a:avLst/>
          </a:prstGeom>
        </p:spPr>
      </p:pic>
    </p:spTree>
    <p:extLst>
      <p:ext uri="{BB962C8B-B14F-4D97-AF65-F5344CB8AC3E}">
        <p14:creationId xmlns:p14="http://schemas.microsoft.com/office/powerpoint/2010/main" val="32766940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262" y="567560"/>
            <a:ext cx="10770476" cy="4997668"/>
          </a:xfrm>
        </p:spPr>
        <p:txBody>
          <a:bodyPr>
            <a:noAutofit/>
          </a:bodyPr>
          <a:lstStyle/>
          <a:p>
            <a:r>
              <a:rPr lang="en-IN" sz="3600" b="1" u="sng" dirty="0">
                <a:effectLst>
                  <a:outerShdw blurRad="38100" dist="38100" dir="2700000" algn="tl">
                    <a:srgbClr val="000000">
                      <a:alpha val="43137"/>
                    </a:srgbClr>
                  </a:outerShdw>
                </a:effectLst>
              </a:rPr>
              <a:t>The benefits of using Resource Manager</a:t>
            </a:r>
            <a:r>
              <a:rPr lang="en-IN" sz="2000" b="1" dirty="0"/>
              <a:t/>
            </a:r>
            <a:br>
              <a:rPr lang="en-IN" sz="2000" b="1" dirty="0"/>
            </a:br>
            <a:r>
              <a:rPr lang="en-IN" sz="2000" dirty="0"/>
              <a:t/>
            </a:r>
            <a:br>
              <a:rPr lang="en-IN" sz="2000" dirty="0"/>
            </a:br>
            <a:r>
              <a:rPr lang="en-IN" sz="2000" dirty="0"/>
              <a:t>·        </a:t>
            </a:r>
            <a:r>
              <a:rPr lang="en-IN" sz="2000" dirty="0" smtClean="0"/>
              <a:t>     </a:t>
            </a:r>
            <a:r>
              <a:rPr lang="en-IN" sz="2000" dirty="0"/>
              <a:t> You can deploy, manage, and monitor all the resources for your solution as a group, rather than 	</a:t>
            </a:r>
            <a:r>
              <a:rPr lang="en-IN" sz="2000" dirty="0" smtClean="0"/>
              <a:t>handling </a:t>
            </a:r>
            <a:r>
              <a:rPr lang="en-IN" sz="2000" dirty="0"/>
              <a:t>these resources individually</a:t>
            </a:r>
            <a:r>
              <a:rPr lang="en-IN" sz="2000" dirty="0" smtClean="0"/>
              <a:t>.</a:t>
            </a:r>
            <a:br>
              <a:rPr lang="en-IN" sz="2000" dirty="0" smtClean="0"/>
            </a:br>
            <a:r>
              <a:rPr lang="en-IN" sz="2000" dirty="0"/>
              <a:t/>
            </a:r>
            <a:br>
              <a:rPr lang="en-IN" sz="2000" dirty="0"/>
            </a:br>
            <a:r>
              <a:rPr lang="en-IN" sz="2000" dirty="0"/>
              <a:t>·        </a:t>
            </a:r>
            <a:r>
              <a:rPr lang="en-IN" sz="2000" dirty="0" smtClean="0"/>
              <a:t>      </a:t>
            </a:r>
            <a:r>
              <a:rPr lang="en-IN" sz="2000" dirty="0"/>
              <a:t> You can repeatedly deploy your solution throughout the development lifecycle and have </a:t>
            </a:r>
            <a:r>
              <a:rPr lang="en-IN" sz="2000" dirty="0" smtClean="0"/>
              <a:t>	confidence </a:t>
            </a:r>
            <a:r>
              <a:rPr lang="en-IN" sz="2000" dirty="0"/>
              <a:t>your resources are deployed in a consistent state</a:t>
            </a:r>
            <a:r>
              <a:rPr lang="en-IN" sz="2000" dirty="0" smtClean="0"/>
              <a:t>.</a:t>
            </a:r>
            <a:br>
              <a:rPr lang="en-IN" sz="2000" dirty="0" smtClean="0"/>
            </a:br>
            <a:r>
              <a:rPr lang="en-IN" sz="2000" dirty="0"/>
              <a:t/>
            </a:r>
            <a:br>
              <a:rPr lang="en-IN" sz="2000" dirty="0"/>
            </a:br>
            <a:r>
              <a:rPr lang="en-IN" sz="2000" dirty="0"/>
              <a:t>·         </a:t>
            </a:r>
            <a:r>
              <a:rPr lang="en-IN" sz="2000" dirty="0" smtClean="0"/>
              <a:t>      You </a:t>
            </a:r>
            <a:r>
              <a:rPr lang="en-IN" sz="2000" dirty="0"/>
              <a:t>can manage your infrastructure through declarative templates rather than scripts</a:t>
            </a:r>
            <a:r>
              <a:rPr lang="en-IN" sz="2000" dirty="0" smtClean="0"/>
              <a:t>.</a:t>
            </a:r>
            <a:br>
              <a:rPr lang="en-IN" sz="2000" dirty="0" smtClean="0"/>
            </a:br>
            <a:r>
              <a:rPr lang="en-IN" sz="2000" dirty="0"/>
              <a:t/>
            </a:r>
            <a:br>
              <a:rPr lang="en-IN" sz="2000" dirty="0"/>
            </a:br>
            <a:r>
              <a:rPr lang="en-IN" sz="2000" dirty="0"/>
              <a:t>·         </a:t>
            </a:r>
            <a:r>
              <a:rPr lang="en-IN" sz="2000" dirty="0" smtClean="0"/>
              <a:t>      You </a:t>
            </a:r>
            <a:r>
              <a:rPr lang="en-IN" sz="2000" dirty="0"/>
              <a:t>can define the dependencies between resources so they are deployed in the correct order</a:t>
            </a:r>
            <a:r>
              <a:rPr lang="en-IN" sz="2000" dirty="0" smtClean="0"/>
              <a:t>.</a:t>
            </a:r>
            <a:br>
              <a:rPr lang="en-IN" sz="2000" dirty="0" smtClean="0"/>
            </a:br>
            <a:r>
              <a:rPr lang="en-IN" sz="2000" dirty="0"/>
              <a:t/>
            </a:r>
            <a:br>
              <a:rPr lang="en-IN" sz="2000" dirty="0"/>
            </a:br>
            <a:r>
              <a:rPr lang="en-IN" sz="2000" dirty="0"/>
              <a:t>·         </a:t>
            </a:r>
            <a:r>
              <a:rPr lang="en-IN" sz="2000" dirty="0" smtClean="0"/>
              <a:t>      You </a:t>
            </a:r>
            <a:r>
              <a:rPr lang="en-IN" sz="2000" dirty="0"/>
              <a:t>can apply access control to all services in your resource group because Role-Based Access </a:t>
            </a:r>
            <a:r>
              <a:rPr lang="en-IN" sz="2000" dirty="0" smtClean="0"/>
              <a:t>	Control </a:t>
            </a:r>
            <a:r>
              <a:rPr lang="en-IN" sz="2000" dirty="0"/>
              <a:t>(RBAC) is natively integrated into the management platform</a:t>
            </a:r>
            <a:r>
              <a:rPr lang="en-IN" sz="2000" dirty="0" smtClean="0"/>
              <a:t>.</a:t>
            </a:r>
            <a:br>
              <a:rPr lang="en-IN" sz="2000" dirty="0" smtClean="0"/>
            </a:br>
            <a:r>
              <a:rPr lang="en-IN" sz="2000" dirty="0"/>
              <a:t/>
            </a:r>
            <a:br>
              <a:rPr lang="en-IN" sz="2000" dirty="0"/>
            </a:br>
            <a:r>
              <a:rPr lang="en-IN" sz="2000" dirty="0"/>
              <a:t>·         </a:t>
            </a:r>
            <a:r>
              <a:rPr lang="en-IN" sz="2000" dirty="0" smtClean="0"/>
              <a:t>      You </a:t>
            </a:r>
            <a:r>
              <a:rPr lang="en-IN" sz="2000" dirty="0"/>
              <a:t>can apply tags to resources to logically organize all the resources in your subscription</a:t>
            </a:r>
            <a:r>
              <a:rPr lang="en-IN" sz="2000" dirty="0" smtClean="0"/>
              <a:t>.</a:t>
            </a:r>
            <a:br>
              <a:rPr lang="en-IN" sz="2000" dirty="0" smtClean="0"/>
            </a:br>
            <a:r>
              <a:rPr lang="en-IN" sz="2000" dirty="0"/>
              <a:t/>
            </a:r>
            <a:br>
              <a:rPr lang="en-IN" sz="2000" dirty="0"/>
            </a:br>
            <a:r>
              <a:rPr lang="en-IN" sz="2000" dirty="0"/>
              <a:t>·         </a:t>
            </a:r>
            <a:r>
              <a:rPr lang="en-IN" sz="2000" dirty="0" smtClean="0"/>
              <a:t>      You </a:t>
            </a:r>
            <a:r>
              <a:rPr lang="en-IN" sz="2000" dirty="0"/>
              <a:t>can clarify your organization's billing by viewing costs for a group of resources sharing the </a:t>
            </a:r>
            <a:r>
              <a:rPr lang="en-IN" sz="2000" dirty="0" smtClean="0"/>
              <a:t>	same </a:t>
            </a:r>
            <a:r>
              <a:rPr lang="en-IN" sz="2000" dirty="0"/>
              <a:t>tag.</a:t>
            </a:r>
            <a:br>
              <a:rPr lang="en-IN" sz="2000" dirty="0"/>
            </a:br>
            <a:endParaRPr lang="en-IN" sz="2000" dirty="0"/>
          </a:p>
        </p:txBody>
      </p:sp>
    </p:spTree>
    <p:extLst>
      <p:ext uri="{BB962C8B-B14F-4D97-AF65-F5344CB8AC3E}">
        <p14:creationId xmlns:p14="http://schemas.microsoft.com/office/powerpoint/2010/main" val="400642174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4780" y="2653049"/>
            <a:ext cx="10515600" cy="1528592"/>
          </a:xfrm>
        </p:spPr>
        <p:txBody>
          <a:bodyPr>
            <a:noAutofit/>
          </a:bodyPr>
          <a:lstStyle/>
          <a:p>
            <a:r>
              <a:rPr lang="en-IN" sz="2000" b="1" dirty="0" smtClean="0">
                <a:effectLst>
                  <a:outerShdw blurRad="38100" dist="38100" dir="2700000" algn="tl">
                    <a:srgbClr val="000000">
                      <a:alpha val="43137"/>
                    </a:srgbClr>
                  </a:outerShdw>
                </a:effectLst>
              </a:rPr>
              <a:t>Resource</a:t>
            </a:r>
            <a:r>
              <a:rPr lang="en-IN" sz="2000" dirty="0"/>
              <a:t> - A manageable item that is available through Azure. Some common resources are a virtual machine, storage account, web app, database, and virtual network, but there are many more</a:t>
            </a:r>
            <a:r>
              <a:rPr lang="en-IN" sz="2000" dirty="0" smtClean="0"/>
              <a:t>.</a:t>
            </a:r>
            <a:br>
              <a:rPr lang="en-IN" sz="2000" dirty="0" smtClean="0"/>
            </a:br>
            <a:r>
              <a:rPr lang="en-IN" sz="2000" dirty="0"/>
              <a:t/>
            </a:r>
            <a:br>
              <a:rPr lang="en-IN" sz="2000" dirty="0"/>
            </a:br>
            <a:r>
              <a:rPr lang="en-IN" sz="2000" b="1" dirty="0" smtClean="0">
                <a:effectLst>
                  <a:outerShdw blurRad="38100" dist="38100" dir="2700000" algn="tl">
                    <a:srgbClr val="000000">
                      <a:alpha val="43137"/>
                    </a:srgbClr>
                  </a:outerShdw>
                </a:effectLst>
              </a:rPr>
              <a:t>Resource </a:t>
            </a:r>
            <a:r>
              <a:rPr lang="en-IN" sz="2000" b="1" dirty="0">
                <a:effectLst>
                  <a:outerShdw blurRad="38100" dist="38100" dir="2700000" algn="tl">
                    <a:srgbClr val="000000">
                      <a:alpha val="43137"/>
                    </a:srgbClr>
                  </a:outerShdw>
                </a:effectLst>
              </a:rPr>
              <a:t>G</a:t>
            </a:r>
            <a:r>
              <a:rPr lang="en-IN" sz="2000" b="1" dirty="0" smtClean="0">
                <a:effectLst>
                  <a:outerShdw blurRad="38100" dist="38100" dir="2700000" algn="tl">
                    <a:srgbClr val="000000">
                      <a:alpha val="43137"/>
                    </a:srgbClr>
                  </a:outerShdw>
                </a:effectLst>
              </a:rPr>
              <a:t>roup</a:t>
            </a:r>
            <a:r>
              <a:rPr lang="en-IN" sz="2000" dirty="0">
                <a:effectLst>
                  <a:outerShdw blurRad="38100" dist="38100" dir="2700000" algn="tl">
                    <a:srgbClr val="000000">
                      <a:alpha val="43137"/>
                    </a:srgbClr>
                  </a:outerShdw>
                </a:effectLst>
              </a:rPr>
              <a:t> </a:t>
            </a:r>
            <a:r>
              <a:rPr lang="en-IN" sz="2000" dirty="0"/>
              <a:t>- A container that holds related resources for an Azure solution. The resource group can include all the resources for the solution, or only those resources that you want to manage as a group. You decide how you want to allocate resources to resource groups based on what makes the most sense for your organization. </a:t>
            </a:r>
            <a:r>
              <a:rPr lang="en-IN" sz="2000" dirty="0" smtClean="0"/>
              <a:t/>
            </a:r>
            <a:br>
              <a:rPr lang="en-IN" sz="2000" dirty="0" smtClean="0"/>
            </a:br>
            <a:r>
              <a:rPr lang="en-IN" sz="2000" dirty="0"/>
              <a:t/>
            </a:r>
            <a:br>
              <a:rPr lang="en-IN" sz="2000" dirty="0"/>
            </a:br>
            <a:r>
              <a:rPr lang="en-IN" sz="2000" b="1" dirty="0" smtClean="0">
                <a:effectLst>
                  <a:outerShdw blurRad="38100" dist="38100" dir="2700000" algn="tl">
                    <a:srgbClr val="000000">
                      <a:alpha val="43137"/>
                    </a:srgbClr>
                  </a:outerShdw>
                </a:effectLst>
              </a:rPr>
              <a:t>Resource </a:t>
            </a:r>
            <a:r>
              <a:rPr lang="en-IN" sz="2000" b="1" dirty="0">
                <a:effectLst>
                  <a:outerShdw blurRad="38100" dist="38100" dir="2700000" algn="tl">
                    <a:srgbClr val="000000">
                      <a:alpha val="43137"/>
                    </a:srgbClr>
                  </a:outerShdw>
                </a:effectLst>
              </a:rPr>
              <a:t>provider</a:t>
            </a:r>
            <a:r>
              <a:rPr lang="en-IN" sz="2000" dirty="0"/>
              <a:t> - A service that supplies the resources you can deploy and manage through Resource Manager. Each resource provider offers operations for working with the resources that are deployed. Some common resource providers are </a:t>
            </a:r>
            <a:r>
              <a:rPr lang="en-IN" sz="2000" dirty="0" smtClean="0"/>
              <a:t>Microsoft Compute</a:t>
            </a:r>
            <a:r>
              <a:rPr lang="en-IN" sz="2000" dirty="0"/>
              <a:t>, which supplies the virtual machine resource, </a:t>
            </a:r>
            <a:r>
              <a:rPr lang="en-IN" sz="2000" dirty="0" smtClean="0"/>
              <a:t>Microsoft Storage</a:t>
            </a:r>
            <a:r>
              <a:rPr lang="en-IN" sz="2000" dirty="0"/>
              <a:t>, which supplies the storage account resource, and </a:t>
            </a:r>
            <a:r>
              <a:rPr lang="en-IN" sz="2000" dirty="0" smtClean="0"/>
              <a:t>Microsoft Web</a:t>
            </a:r>
            <a:r>
              <a:rPr lang="en-IN" sz="2000" dirty="0"/>
              <a:t>, which supplies resources related to web apps. </a:t>
            </a:r>
            <a:r>
              <a:rPr lang="en-IN" sz="2000" dirty="0" smtClean="0"/>
              <a:t>{</a:t>
            </a:r>
            <a:r>
              <a:rPr lang="en-IN" sz="2000" b="1" dirty="0"/>
              <a:t>resource-provider}/{resource-type</a:t>
            </a:r>
            <a:r>
              <a:rPr lang="en-IN" sz="2000" dirty="0" smtClean="0"/>
              <a:t>}</a:t>
            </a:r>
            <a:br>
              <a:rPr lang="en-IN" sz="2000" dirty="0" smtClean="0"/>
            </a:br>
            <a:r>
              <a:rPr lang="en-IN" sz="2000" dirty="0"/>
              <a:t/>
            </a:r>
            <a:br>
              <a:rPr lang="en-IN" sz="2000" dirty="0"/>
            </a:br>
            <a:r>
              <a:rPr lang="en-IN" sz="2000" b="1" dirty="0" smtClean="0">
                <a:effectLst>
                  <a:outerShdw blurRad="38100" dist="38100" dir="2700000" algn="tl">
                    <a:srgbClr val="000000">
                      <a:alpha val="43137"/>
                    </a:srgbClr>
                  </a:outerShdw>
                </a:effectLst>
              </a:rPr>
              <a:t>Resource </a:t>
            </a:r>
            <a:r>
              <a:rPr lang="en-IN" sz="2000" b="1" dirty="0">
                <a:effectLst>
                  <a:outerShdw blurRad="38100" dist="38100" dir="2700000" algn="tl">
                    <a:srgbClr val="000000">
                      <a:alpha val="43137"/>
                    </a:srgbClr>
                  </a:outerShdw>
                </a:effectLst>
              </a:rPr>
              <a:t>Manager template</a:t>
            </a:r>
            <a:r>
              <a:rPr lang="en-IN" sz="2000" dirty="0"/>
              <a:t> - A JavaScript Object Notation (JSON) file that defines one or more resources to deploy to a resource group. It also defines the dependencies between the deployed resources. The template can be used to deploy the resources consistently and repeatedly</a:t>
            </a:r>
            <a:r>
              <a:rPr lang="en-IN" sz="2000" dirty="0" smtClean="0"/>
              <a:t>.</a:t>
            </a:r>
            <a:br>
              <a:rPr lang="en-IN" sz="2000" dirty="0" smtClean="0"/>
            </a:br>
            <a:r>
              <a:rPr lang="en-IN" sz="2000" dirty="0" smtClean="0"/>
              <a:t> </a:t>
            </a:r>
            <a:r>
              <a:rPr lang="en-IN" sz="2000" dirty="0"/>
              <a:t/>
            </a:r>
            <a:br>
              <a:rPr lang="en-IN" sz="2000" dirty="0"/>
            </a:br>
            <a:r>
              <a:rPr lang="en-IN" sz="2000" b="1" dirty="0" smtClean="0">
                <a:effectLst>
                  <a:outerShdw blurRad="38100" dist="38100" dir="2700000" algn="tl">
                    <a:srgbClr val="000000">
                      <a:alpha val="43137"/>
                    </a:srgbClr>
                  </a:outerShdw>
                </a:effectLst>
              </a:rPr>
              <a:t>Declarative </a:t>
            </a:r>
            <a:r>
              <a:rPr lang="en-IN" sz="2000" b="1" dirty="0">
                <a:effectLst>
                  <a:outerShdw blurRad="38100" dist="38100" dir="2700000" algn="tl">
                    <a:srgbClr val="000000">
                      <a:alpha val="43137"/>
                    </a:srgbClr>
                  </a:outerShdw>
                </a:effectLst>
              </a:rPr>
              <a:t>syntax</a:t>
            </a:r>
            <a:r>
              <a:rPr lang="en-IN" sz="2000" dirty="0"/>
              <a:t> - Syntax that lets you state "Here is what I intend to create" without having to write the sequence of programming commands to create it. The Resource Manager template is an example of declarative syntax. In the file, you define the properties for the infrastructure to deploy to Azure.</a:t>
            </a:r>
            <a:br>
              <a:rPr lang="en-IN" sz="2000" dirty="0"/>
            </a:br>
            <a:endParaRPr lang="en-IN" sz="2000" dirty="0"/>
          </a:p>
        </p:txBody>
      </p:sp>
    </p:spTree>
    <p:extLst>
      <p:ext uri="{BB962C8B-B14F-4D97-AF65-F5344CB8AC3E}">
        <p14:creationId xmlns:p14="http://schemas.microsoft.com/office/powerpoint/2010/main" val="128998737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u="sng" dirty="0" smtClean="0">
                <a:effectLst>
                  <a:outerShdw blurRad="38100" dist="38100" dir="2700000" algn="tl">
                    <a:srgbClr val="000000">
                      <a:alpha val="43137"/>
                    </a:srgbClr>
                  </a:outerShdw>
                </a:effectLst>
              </a:rPr>
              <a:t>Resource Groups</a:t>
            </a:r>
            <a:endParaRPr lang="en-US" sz="3600" b="1" u="sng" dirty="0">
              <a:effectLst>
                <a:outerShdw blurRad="38100" dist="38100" dir="2700000" algn="tl">
                  <a:srgbClr val="000000">
                    <a:alpha val="43137"/>
                  </a:srgbClr>
                </a:outerShdw>
              </a:effectLst>
            </a:endParaRPr>
          </a:p>
        </p:txBody>
      </p:sp>
      <p:sp>
        <p:nvSpPr>
          <p:cNvPr id="3" name="Subtitle 2"/>
          <p:cNvSpPr>
            <a:spLocks noGrp="1"/>
          </p:cNvSpPr>
          <p:nvPr>
            <p:ph type="subTitle" idx="4294967295"/>
          </p:nvPr>
        </p:nvSpPr>
        <p:spPr>
          <a:xfrm>
            <a:off x="7113588" y="2484438"/>
            <a:ext cx="5078412" cy="2568575"/>
          </a:xfrm>
        </p:spPr>
        <p:txBody>
          <a:bodyPr>
            <a:normAutofit/>
          </a:bodyPr>
          <a:lstStyle/>
          <a:p>
            <a:pPr marL="399973" indent="-399973">
              <a:buFont typeface="Wingdings" panose="05000000000000000000" pitchFamily="2" charset="2"/>
              <a:buChar char="à"/>
            </a:pPr>
            <a:r>
              <a:rPr lang="en-US" sz="2400" dirty="0" smtClean="0">
                <a:latin typeface="Segoe UI Light" panose="020B0502040204020203" pitchFamily="34" charset="0"/>
                <a:cs typeface="Segoe UI Light" panose="020B0502040204020203" pitchFamily="34" charset="0"/>
              </a:rPr>
              <a:t>Loosely </a:t>
            </a:r>
            <a:r>
              <a:rPr lang="en-US" sz="2400" dirty="0">
                <a:latin typeface="Segoe UI Light" panose="020B0502040204020203" pitchFamily="34" charset="0"/>
                <a:cs typeface="Segoe UI Light" panose="020B0502040204020203" pitchFamily="34" charset="0"/>
              </a:rPr>
              <a:t>coupled containers of multiple resources of similar or different types</a:t>
            </a:r>
          </a:p>
          <a:p>
            <a:pPr marL="399973" indent="-399973">
              <a:buFont typeface="Wingdings" panose="05000000000000000000" pitchFamily="2" charset="2"/>
              <a:buChar char="à"/>
            </a:pPr>
            <a:r>
              <a:rPr lang="en-US" sz="2400" dirty="0">
                <a:latin typeface="Segoe UI Light" panose="020B0502040204020203" pitchFamily="34" charset="0"/>
                <a:cs typeface="Segoe UI Light" panose="020B0502040204020203" pitchFamily="34" charset="0"/>
              </a:rPr>
              <a:t>Every resource </a:t>
            </a:r>
            <a:r>
              <a:rPr lang="en-US" sz="2400" dirty="0" smtClean="0">
                <a:latin typeface="Segoe UI Light" panose="020B0502040204020203" pitchFamily="34" charset="0"/>
                <a:cs typeface="Segoe UI Light" panose="020B0502040204020203" pitchFamily="34" charset="0"/>
              </a:rPr>
              <a:t>must </a:t>
            </a:r>
            <a:r>
              <a:rPr lang="en-US" sz="2400" dirty="0">
                <a:latin typeface="Segoe UI Light" panose="020B0502040204020203" pitchFamily="34" charset="0"/>
                <a:cs typeface="Segoe UI Light" panose="020B0502040204020203" pitchFamily="34" charset="0"/>
              </a:rPr>
              <a:t>exist in one and only one resource group</a:t>
            </a:r>
          </a:p>
          <a:p>
            <a:pPr marL="399973" indent="-399973">
              <a:buFont typeface="Wingdings" panose="05000000000000000000" pitchFamily="2" charset="2"/>
              <a:buChar char="à"/>
            </a:pPr>
            <a:r>
              <a:rPr lang="en-US" sz="2400" dirty="0">
                <a:latin typeface="Segoe UI Light" panose="020B0502040204020203" pitchFamily="34" charset="0"/>
                <a:cs typeface="Segoe UI Light" panose="020B0502040204020203" pitchFamily="34" charset="0"/>
              </a:rPr>
              <a:t>Resource groups can span regions</a:t>
            </a:r>
            <a:endParaRPr lang="en-US" dirty="0"/>
          </a:p>
        </p:txBody>
      </p:sp>
      <p:grpSp>
        <p:nvGrpSpPr>
          <p:cNvPr id="5" name="Group 4"/>
          <p:cNvGrpSpPr>
            <a:grpSpLocks noChangeAspect="1"/>
          </p:cNvGrpSpPr>
          <p:nvPr/>
        </p:nvGrpSpPr>
        <p:grpSpPr bwMode="auto">
          <a:xfrm>
            <a:off x="1476050" y="1459370"/>
            <a:ext cx="4947537" cy="4725318"/>
            <a:chOff x="405" y="668"/>
            <a:chExt cx="3117" cy="2977"/>
          </a:xfrm>
        </p:grpSpPr>
        <p:sp>
          <p:nvSpPr>
            <p:cNvPr id="6"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 name="Freeform 5"/>
            <p:cNvSpPr>
              <a:spLocks/>
            </p:cNvSpPr>
            <p:nvPr/>
          </p:nvSpPr>
          <p:spPr bwMode="auto">
            <a:xfrm>
              <a:off x="412" y="676"/>
              <a:ext cx="3102" cy="2962"/>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8" name="Freeform 6"/>
            <p:cNvSpPr>
              <a:spLocks/>
            </p:cNvSpPr>
            <p:nvPr/>
          </p:nvSpPr>
          <p:spPr bwMode="auto">
            <a:xfrm>
              <a:off x="405" y="669"/>
              <a:ext cx="3116" cy="2976"/>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9"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0"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1"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2"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3"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4"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5"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6"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7"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8"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9"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0"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1"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2"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3"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4"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5"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6"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7"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8"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9"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0"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1"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2"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3"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4"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5"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6"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7"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8"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9"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0"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1"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2"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3"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4"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5"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6"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7"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8"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9"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0"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1"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2"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3"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4"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5"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6"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7"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8"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9"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0"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1"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2"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3"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4"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5"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6"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7"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8"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9"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0"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1"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2"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3"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4"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5"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6"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7"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8"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9"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80"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81"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82"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83"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84"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85"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86"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87"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88"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89"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90"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91"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92"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93"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94" name="Rectangle 92"/>
            <p:cNvSpPr>
              <a:spLocks noChangeArrowheads="1"/>
            </p:cNvSpPr>
            <p:nvPr/>
          </p:nvSpPr>
          <p:spPr bwMode="auto">
            <a:xfrm>
              <a:off x="1487" y="2092"/>
              <a:ext cx="361"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RESOU</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95" name="Rectangle 93"/>
            <p:cNvSpPr>
              <a:spLocks noChangeArrowheads="1"/>
            </p:cNvSpPr>
            <p:nvPr/>
          </p:nvSpPr>
          <p:spPr bwMode="auto">
            <a:xfrm>
              <a:off x="1838"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R</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96" name="Rectangle 94"/>
            <p:cNvSpPr>
              <a:spLocks noChangeArrowheads="1"/>
            </p:cNvSpPr>
            <p:nvPr/>
          </p:nvSpPr>
          <p:spPr bwMode="auto">
            <a:xfrm>
              <a:off x="1906" y="2092"/>
              <a:ext cx="243"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CE G</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97" name="Rectangle 95"/>
            <p:cNvSpPr>
              <a:spLocks noChangeArrowheads="1"/>
            </p:cNvSpPr>
            <p:nvPr/>
          </p:nvSpPr>
          <p:spPr bwMode="auto">
            <a:xfrm>
              <a:off x="2142"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R</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98" name="Rectangle 96"/>
            <p:cNvSpPr>
              <a:spLocks noChangeArrowheads="1"/>
            </p:cNvSpPr>
            <p:nvPr/>
          </p:nvSpPr>
          <p:spPr bwMode="auto">
            <a:xfrm>
              <a:off x="2210" y="2092"/>
              <a:ext cx="235"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OUP</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99"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00"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01"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02"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03"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04"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05"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06"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07"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grpSp>
    </p:spTree>
    <p:extLst>
      <p:ext uri="{BB962C8B-B14F-4D97-AF65-F5344CB8AC3E}">
        <p14:creationId xmlns:p14="http://schemas.microsoft.com/office/powerpoint/2010/main" val="7153995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u="sng" dirty="0" smtClean="0">
                <a:effectLst>
                  <a:outerShdw blurRad="38100" dist="38100" dir="2700000" algn="tl">
                    <a:srgbClr val="000000">
                      <a:alpha val="43137"/>
                    </a:srgbClr>
                  </a:outerShdw>
                </a:effectLst>
              </a:rPr>
              <a:t>Coupling for resources</a:t>
            </a:r>
            <a:endParaRPr lang="en-US" sz="3600" b="1" u="sng" dirty="0">
              <a:effectLst>
                <a:outerShdw blurRad="38100" dist="38100" dir="2700000" algn="tl">
                  <a:srgbClr val="000000">
                    <a:alpha val="43137"/>
                  </a:srgbClr>
                </a:outerShdw>
              </a:effectLst>
            </a:endParaRPr>
          </a:p>
        </p:txBody>
      </p:sp>
      <p:sp>
        <p:nvSpPr>
          <p:cNvPr id="3" name="Subtitle 2"/>
          <p:cNvSpPr>
            <a:spLocks noGrp="1"/>
          </p:cNvSpPr>
          <p:nvPr>
            <p:ph idx="1"/>
          </p:nvPr>
        </p:nvSpPr>
        <p:spPr/>
        <p:txBody>
          <a:bodyPr>
            <a:noAutofit/>
          </a:bodyPr>
          <a:lstStyle/>
          <a:p>
            <a:pPr marL="0" indent="0">
              <a:buNone/>
            </a:pPr>
            <a:r>
              <a:rPr lang="en-US" sz="2400" b="1" dirty="0">
                <a:cs typeface="Segoe UI Light" panose="020B0502040204020203" pitchFamily="34" charset="0"/>
              </a:rPr>
              <a:t>Resource Group is a unit of management</a:t>
            </a:r>
          </a:p>
          <a:p>
            <a:pPr marL="0" indent="0">
              <a:buNone/>
            </a:pPr>
            <a:endParaRPr lang="en-US" sz="2400" dirty="0">
              <a:cs typeface="Segoe UI Light" panose="020B0502040204020203" pitchFamily="34" charset="0"/>
            </a:endParaRPr>
          </a:p>
          <a:p>
            <a:pPr>
              <a:buFont typeface="Wingdings" panose="05000000000000000000" pitchFamily="2" charset="2"/>
              <a:buChar char="à"/>
            </a:pPr>
            <a:r>
              <a:rPr lang="en-US" sz="2400" dirty="0">
                <a:cs typeface="Segoe UI Light" panose="020B0502040204020203" pitchFamily="34" charset="0"/>
              </a:rPr>
              <a:t> Lifecycle: deployment, update, delete, status</a:t>
            </a:r>
          </a:p>
          <a:p>
            <a:pPr>
              <a:buFont typeface="Wingdings" panose="05000000000000000000" pitchFamily="2" charset="2"/>
              <a:buChar char="à"/>
            </a:pPr>
            <a:endParaRPr lang="en-US" sz="2400" dirty="0">
              <a:cs typeface="Segoe UI Light" panose="020B0502040204020203" pitchFamily="34" charset="0"/>
            </a:endParaRPr>
          </a:p>
          <a:p>
            <a:pPr>
              <a:buFont typeface="Wingdings" panose="05000000000000000000" pitchFamily="2" charset="2"/>
              <a:buChar char="à"/>
            </a:pPr>
            <a:r>
              <a:rPr lang="en-US" sz="2400" dirty="0">
                <a:cs typeface="Segoe UI Light" panose="020B0502040204020203" pitchFamily="34" charset="0"/>
              </a:rPr>
              <a:t> Identity: resources can talk to each other </a:t>
            </a:r>
          </a:p>
          <a:p>
            <a:pPr>
              <a:buFont typeface="Wingdings" panose="05000000000000000000" pitchFamily="2" charset="2"/>
              <a:buChar char="à"/>
            </a:pPr>
            <a:endParaRPr lang="en-US" sz="2400" dirty="0">
              <a:cs typeface="Segoe UI Light" panose="020B0502040204020203" pitchFamily="34" charset="0"/>
            </a:endParaRPr>
          </a:p>
          <a:p>
            <a:pPr marL="0" indent="0">
              <a:buNone/>
            </a:pPr>
            <a:r>
              <a:rPr lang="en-US" sz="2400" dirty="0">
                <a:cs typeface="Segoe UI Light" panose="020B0502040204020203" pitchFamily="34" charset="0"/>
                <a:sym typeface="Wingdings" panose="05000000000000000000" pitchFamily="2" charset="2"/>
              </a:rPr>
              <a:t> </a:t>
            </a:r>
            <a:r>
              <a:rPr lang="en-US" sz="2400" b="1" dirty="0">
                <a:cs typeface="Segoe UI Light" panose="020B0502040204020203" pitchFamily="34" charset="0"/>
                <a:sym typeface="Wingdings" panose="05000000000000000000" pitchFamily="2" charset="2"/>
              </a:rPr>
              <a:t>Grouping:</a:t>
            </a:r>
            <a:r>
              <a:rPr lang="en-US" sz="2400" dirty="0">
                <a:cs typeface="Segoe UI Light" panose="020B0502040204020203" pitchFamily="34" charset="0"/>
                <a:sym typeface="Wingdings" panose="05000000000000000000" pitchFamily="2" charset="2"/>
              </a:rPr>
              <a:t> </a:t>
            </a:r>
            <a:r>
              <a:rPr lang="en-US" sz="2400" dirty="0">
                <a:cs typeface="Segoe UI Light" panose="020B0502040204020203" pitchFamily="34" charset="0"/>
              </a:rPr>
              <a:t>Metering, billing, quota: applied &amp; rolled up to group</a:t>
            </a:r>
          </a:p>
          <a:p>
            <a:pPr marL="0" indent="0">
              <a:buNone/>
            </a:pPr>
            <a:endParaRPr lang="en-US" sz="2400" dirty="0">
              <a:cs typeface="Segoe UI Light" panose="020B0502040204020203" pitchFamily="34" charset="0"/>
            </a:endParaRPr>
          </a:p>
        </p:txBody>
      </p:sp>
    </p:spTree>
    <p:extLst>
      <p:ext uri="{BB962C8B-B14F-4D97-AF65-F5344CB8AC3E}">
        <p14:creationId xmlns:p14="http://schemas.microsoft.com/office/powerpoint/2010/main" val="25957225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087225" cy="7017306"/>
          </a:xfrm>
          <a:prstGeom prst="rect">
            <a:avLst/>
          </a:prstGeom>
        </p:spPr>
        <p:txBody>
          <a:bodyPr wrap="square">
            <a:spAutoFit/>
          </a:bodyPr>
          <a:lstStyle/>
          <a:p>
            <a:r>
              <a:rPr lang="en-IN" dirty="0"/>
              <a:t>•	Monitor Azure AD</a:t>
            </a:r>
          </a:p>
          <a:p>
            <a:r>
              <a:rPr lang="en-IN" dirty="0"/>
              <a:t>•	Configure single sign-on with SaaS applications</a:t>
            </a:r>
          </a:p>
          <a:p>
            <a:r>
              <a:rPr lang="en-IN" dirty="0"/>
              <a:t>•	Users and Groups Provisioning</a:t>
            </a:r>
          </a:p>
          <a:p>
            <a:r>
              <a:rPr lang="en-IN" dirty="0"/>
              <a:t>•	Configure federation</a:t>
            </a:r>
          </a:p>
          <a:p>
            <a:r>
              <a:rPr lang="en-IN" dirty="0"/>
              <a:t>•	Implement Azure AD integration in web and desktop applications</a:t>
            </a:r>
          </a:p>
          <a:p>
            <a:r>
              <a:rPr lang="en-IN" dirty="0"/>
              <a:t>•	Create an Azure AD B2C Directory</a:t>
            </a:r>
          </a:p>
          <a:p>
            <a:r>
              <a:rPr lang="en-IN" dirty="0"/>
              <a:t>•	Implement B2B collaboration</a:t>
            </a:r>
          </a:p>
          <a:p>
            <a:r>
              <a:rPr lang="en-IN" dirty="0"/>
              <a:t>•	Configure partner users</a:t>
            </a:r>
          </a:p>
          <a:p>
            <a:r>
              <a:rPr lang="en-IN" dirty="0"/>
              <a:t>•	Integrate with applications</a:t>
            </a:r>
          </a:p>
          <a:p>
            <a:r>
              <a:rPr lang="en-IN" dirty="0"/>
              <a:t>•	Azure AD data sync </a:t>
            </a:r>
          </a:p>
          <a:p>
            <a:r>
              <a:rPr lang="en-IN" dirty="0"/>
              <a:t>•	Role-based Access Control </a:t>
            </a:r>
          </a:p>
          <a:p>
            <a:r>
              <a:rPr lang="en-IN" dirty="0"/>
              <a:t>•	ADFS and Azure Access Control Service </a:t>
            </a:r>
          </a:p>
          <a:p>
            <a:r>
              <a:rPr lang="en-IN" dirty="0"/>
              <a:t>•	Hands-on Lab: Authentication On‐Premise app using Azure AD</a:t>
            </a:r>
          </a:p>
          <a:p>
            <a:r>
              <a:rPr lang="en-IN" dirty="0"/>
              <a:t>•	Overview and Available features and Media Services</a:t>
            </a:r>
          </a:p>
          <a:p>
            <a:r>
              <a:rPr lang="en-IN" dirty="0"/>
              <a:t>•	Azure Notification Hub </a:t>
            </a:r>
            <a:r>
              <a:rPr lang="en-IN" dirty="0" smtClean="0"/>
              <a:t>Services</a:t>
            </a:r>
          </a:p>
          <a:p>
            <a:endParaRPr lang="en-IN" dirty="0"/>
          </a:p>
          <a:p>
            <a:r>
              <a:rPr lang="en-IN" b="1" dirty="0" smtClean="0">
                <a:effectLst>
                  <a:outerShdw blurRad="38100" dist="38100" dir="2700000" algn="tl">
                    <a:srgbClr val="000000">
                      <a:alpha val="43137"/>
                    </a:srgbClr>
                  </a:outerShdw>
                </a:effectLst>
              </a:rPr>
              <a:t>Topic </a:t>
            </a:r>
            <a:r>
              <a:rPr lang="en-IN" b="1" dirty="0">
                <a:effectLst>
                  <a:outerShdw blurRad="38100" dist="38100" dir="2700000" algn="tl">
                    <a:srgbClr val="000000">
                      <a:alpha val="43137"/>
                    </a:srgbClr>
                  </a:outerShdw>
                </a:effectLst>
              </a:rPr>
              <a:t>6: Azure SQL Database </a:t>
            </a:r>
          </a:p>
          <a:p>
            <a:r>
              <a:rPr lang="en-IN" dirty="0"/>
              <a:t>•	Understanding Database as a service </a:t>
            </a:r>
          </a:p>
          <a:p>
            <a:r>
              <a:rPr lang="en-IN" dirty="0"/>
              <a:t>•	Difference between SQL server and Azure SQL</a:t>
            </a:r>
          </a:p>
          <a:p>
            <a:r>
              <a:rPr lang="en-IN" dirty="0"/>
              <a:t>•	Advantage and Benefits of SQL database </a:t>
            </a:r>
          </a:p>
          <a:p>
            <a:r>
              <a:rPr lang="en-IN" dirty="0"/>
              <a:t>•	Scaling SQL database </a:t>
            </a:r>
          </a:p>
          <a:p>
            <a:r>
              <a:rPr lang="en-IN" dirty="0"/>
              <a:t>•	Backup and Performance Options </a:t>
            </a:r>
          </a:p>
          <a:p>
            <a:r>
              <a:rPr lang="en-IN" dirty="0"/>
              <a:t>•	Security in Azure SQL</a:t>
            </a:r>
          </a:p>
          <a:p>
            <a:r>
              <a:rPr lang="en-IN" dirty="0"/>
              <a:t>•	Pricing Model</a:t>
            </a:r>
          </a:p>
          <a:p>
            <a:r>
              <a:rPr lang="en-IN" dirty="0"/>
              <a:t>•	Hands-on Lab: Migrate a database from on premise to SQL Azure </a:t>
            </a:r>
          </a:p>
        </p:txBody>
      </p:sp>
    </p:spTree>
    <p:extLst>
      <p:ext uri="{BB962C8B-B14F-4D97-AF65-F5344CB8AC3E}">
        <p14:creationId xmlns:p14="http://schemas.microsoft.com/office/powerpoint/2010/main" val="57943142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u="sng" dirty="0" smtClean="0">
                <a:effectLst>
                  <a:outerShdw blurRad="38100" dist="38100" dir="2700000" algn="tl">
                    <a:srgbClr val="000000">
                      <a:alpha val="43137"/>
                    </a:srgbClr>
                  </a:outerShdw>
                </a:effectLst>
              </a:rPr>
              <a:t>Resource Group: management container</a:t>
            </a:r>
            <a:br>
              <a:rPr lang="en-US" sz="3600" b="1" u="sng" dirty="0" smtClean="0">
                <a:effectLst>
                  <a:outerShdw blurRad="38100" dist="38100" dir="2700000" algn="tl">
                    <a:srgbClr val="000000">
                      <a:alpha val="43137"/>
                    </a:srgbClr>
                  </a:outerShdw>
                </a:effectLst>
              </a:rPr>
            </a:br>
            <a:endParaRPr lang="en-US" sz="3600" b="1" u="sng" dirty="0">
              <a:effectLst>
                <a:outerShdw blurRad="38100" dist="38100" dir="2700000" algn="tl">
                  <a:srgbClr val="000000">
                    <a:alpha val="43137"/>
                  </a:srgbClr>
                </a:outerShdw>
              </a:effectLst>
            </a:endParaRPr>
          </a:p>
        </p:txBody>
      </p:sp>
      <p:sp>
        <p:nvSpPr>
          <p:cNvPr id="3" name="Subtitle 2"/>
          <p:cNvSpPr>
            <a:spLocks noGrp="1"/>
          </p:cNvSpPr>
          <p:nvPr>
            <p:ph idx="1"/>
          </p:nvPr>
        </p:nvSpPr>
        <p:spPr>
          <a:xfrm>
            <a:off x="269240" y="1189178"/>
            <a:ext cx="11653523" cy="3631763"/>
          </a:xfrm>
        </p:spPr>
        <p:txBody>
          <a:bodyPr/>
          <a:lstStyle/>
          <a:p>
            <a:pPr>
              <a:lnSpc>
                <a:spcPct val="100000"/>
              </a:lnSpc>
            </a:pPr>
            <a:r>
              <a:rPr lang="en-US" b="1" dirty="0" smtClean="0"/>
              <a:t>Lifecycle</a:t>
            </a:r>
            <a:r>
              <a:rPr lang="en-US" dirty="0" smtClean="0"/>
              <a:t>: deployment, update, delete, status</a:t>
            </a:r>
          </a:p>
          <a:p>
            <a:pPr>
              <a:lnSpc>
                <a:spcPct val="100000"/>
              </a:lnSpc>
            </a:pPr>
            <a:r>
              <a:rPr lang="en-US" b="1" dirty="0" smtClean="0">
                <a:sym typeface="Wingdings" panose="05000000000000000000" pitchFamily="2" charset="2"/>
              </a:rPr>
              <a:t>Grouping</a:t>
            </a:r>
            <a:r>
              <a:rPr lang="en-US" dirty="0" smtClean="0">
                <a:sym typeface="Wingdings" panose="05000000000000000000" pitchFamily="2" charset="2"/>
              </a:rPr>
              <a:t>: m</a:t>
            </a:r>
            <a:r>
              <a:rPr lang="en-US" dirty="0" smtClean="0"/>
              <a:t>etering, billing, quota, user experience (portal, PowerShell, CLI)</a:t>
            </a:r>
          </a:p>
          <a:p>
            <a:pPr>
              <a:lnSpc>
                <a:spcPct val="100000"/>
              </a:lnSpc>
            </a:pPr>
            <a:r>
              <a:rPr lang="en-US" b="1" dirty="0" smtClean="0"/>
              <a:t>Access Control</a:t>
            </a:r>
            <a:r>
              <a:rPr lang="en-US" dirty="0" smtClean="0"/>
              <a:t>: scope for RBAC permissions</a:t>
            </a:r>
          </a:p>
          <a:p>
            <a:pPr>
              <a:lnSpc>
                <a:spcPct val="100000"/>
              </a:lnSpc>
            </a:pPr>
            <a:r>
              <a:rPr lang="en-US" b="1" dirty="0"/>
              <a:t>Identity: </a:t>
            </a:r>
            <a:r>
              <a:rPr lang="en-US" dirty="0"/>
              <a:t>resources can talk to each </a:t>
            </a:r>
            <a:r>
              <a:rPr lang="en-US" dirty="0" smtClean="0"/>
              <a:t>other</a:t>
            </a:r>
            <a:endParaRPr lang="en-US" dirty="0"/>
          </a:p>
        </p:txBody>
      </p:sp>
    </p:spTree>
    <p:extLst>
      <p:ext uri="{BB962C8B-B14F-4D97-AF65-F5344CB8AC3E}">
        <p14:creationId xmlns:p14="http://schemas.microsoft.com/office/powerpoint/2010/main" val="13414097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wipe(left)">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wipe(left)">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wipe(left)">
                                      <p:cBhvr>
                                        <p:cTn id="17"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u="sng" dirty="0" smtClean="0">
                <a:effectLst>
                  <a:outerShdw blurRad="38100" dist="38100" dir="2700000" algn="tl">
                    <a:srgbClr val="000000">
                      <a:alpha val="43137"/>
                    </a:srgbClr>
                  </a:outerShdw>
                </a:effectLst>
              </a:rPr>
              <a:t>Resource Group lifecycle</a:t>
            </a:r>
            <a:endParaRPr lang="en-US" sz="3600" b="1" u="sng" dirty="0">
              <a:effectLst>
                <a:outerShdw blurRad="38100" dist="38100" dir="2700000" algn="tl">
                  <a:srgbClr val="000000">
                    <a:alpha val="43137"/>
                  </a:srgbClr>
                </a:outerShdw>
              </a:effectLst>
            </a:endParaRPr>
          </a:p>
        </p:txBody>
      </p:sp>
      <p:sp>
        <p:nvSpPr>
          <p:cNvPr id="3" name="Subtitle 2"/>
          <p:cNvSpPr>
            <a:spLocks noGrp="1"/>
          </p:cNvSpPr>
          <p:nvPr>
            <p:ph idx="1"/>
          </p:nvPr>
        </p:nvSpPr>
        <p:spPr>
          <a:xfrm>
            <a:off x="561583" y="1309864"/>
            <a:ext cx="4478606" cy="2160591"/>
          </a:xfrm>
        </p:spPr>
        <p:txBody>
          <a:bodyPr>
            <a:noAutofit/>
          </a:bodyPr>
          <a:lstStyle/>
          <a:p>
            <a:pPr marL="0" indent="0">
              <a:buNone/>
            </a:pPr>
            <a:r>
              <a:rPr lang="en-US" sz="2800" dirty="0">
                <a:latin typeface="Segoe UI Light" panose="020B0502040204020203" pitchFamily="34" charset="0"/>
                <a:cs typeface="Segoe UI Light" panose="020B0502040204020203" pitchFamily="34" charset="0"/>
              </a:rPr>
              <a:t>Question: </a:t>
            </a:r>
          </a:p>
          <a:p>
            <a:pPr marL="0" indent="0">
              <a:buNone/>
            </a:pPr>
            <a:r>
              <a:rPr lang="en-US" sz="2000" dirty="0">
                <a:latin typeface="Segoe UI Light" panose="020B0502040204020203" pitchFamily="34" charset="0"/>
                <a:cs typeface="Segoe UI Light" panose="020B0502040204020203" pitchFamily="34" charset="0"/>
              </a:rPr>
              <a:t>Should these resources be in the same group or a different one?</a:t>
            </a:r>
          </a:p>
        </p:txBody>
      </p:sp>
      <p:sp>
        <p:nvSpPr>
          <p:cNvPr id="5" name="Subtitle 2"/>
          <p:cNvSpPr txBox="1">
            <a:spLocks/>
          </p:cNvSpPr>
          <p:nvPr/>
        </p:nvSpPr>
        <p:spPr>
          <a:xfrm>
            <a:off x="561583" y="2885793"/>
            <a:ext cx="4669446" cy="1457478"/>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chemeClr val="accent1"/>
                </a:solidFill>
                <a:effectLst/>
                <a:uLnTx/>
                <a:uFillTx/>
                <a:latin typeface="Segoe UI Light" panose="020B0502040204020203" pitchFamily="34" charset="0"/>
                <a:ea typeface="+mn-ea"/>
                <a:cs typeface="Segoe UI Light" panose="020B0502040204020203" pitchFamily="34" charset="0"/>
              </a:rPr>
              <a:t>Hin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chemeClr val="accent1"/>
                </a:solidFill>
                <a:effectLst/>
                <a:uLnTx/>
                <a:uFillTx/>
                <a:latin typeface="Segoe UI Light" panose="020B0502040204020203" pitchFamily="34" charset="0"/>
                <a:ea typeface="+mn-ea"/>
                <a:cs typeface="Segoe UI Light" panose="020B0502040204020203" pitchFamily="34" charset="0"/>
              </a:rPr>
              <a:t>Do they have common lifecycle and management?</a:t>
            </a:r>
          </a:p>
        </p:txBody>
      </p:sp>
      <p:sp>
        <p:nvSpPr>
          <p:cNvPr id="6" name="Subtitle 2"/>
          <p:cNvSpPr txBox="1">
            <a:spLocks/>
          </p:cNvSpPr>
          <p:nvPr/>
        </p:nvSpPr>
        <p:spPr>
          <a:xfrm>
            <a:off x="561583" y="4306177"/>
            <a:ext cx="4669446" cy="1457478"/>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Answer: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Up to you.</a:t>
            </a:r>
          </a:p>
        </p:txBody>
      </p:sp>
      <p:pic>
        <p:nvPicPr>
          <p:cNvPr id="244" name="Picture 243"/>
          <p:cNvPicPr>
            <a:picLocks noChangeAspect="1"/>
          </p:cNvPicPr>
          <p:nvPr/>
        </p:nvPicPr>
        <p:blipFill>
          <a:blip r:embed="rId3"/>
          <a:stretch>
            <a:fillRect/>
          </a:stretch>
        </p:blipFill>
        <p:spPr>
          <a:xfrm>
            <a:off x="5593429" y="1309864"/>
            <a:ext cx="5891370" cy="4965121"/>
          </a:xfrm>
          <a:prstGeom prst="rect">
            <a:avLst/>
          </a:prstGeom>
        </p:spPr>
      </p:pic>
    </p:spTree>
    <p:extLst>
      <p:ext uri="{BB962C8B-B14F-4D97-AF65-F5344CB8AC3E}">
        <p14:creationId xmlns:p14="http://schemas.microsoft.com/office/powerpoint/2010/main" val="31076174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24150" y="-136385"/>
            <a:ext cx="10515600" cy="1325563"/>
          </a:xfrm>
        </p:spPr>
        <p:txBody>
          <a:bodyPr>
            <a:normAutofit/>
          </a:bodyPr>
          <a:lstStyle/>
          <a:p>
            <a:r>
              <a:rPr lang="en-US" sz="3600" b="1" u="sng" dirty="0" smtClean="0">
                <a:effectLst>
                  <a:outerShdw blurRad="38100" dist="38100" dir="2700000" algn="tl">
                    <a:srgbClr val="000000">
                      <a:alpha val="43137"/>
                    </a:srgbClr>
                  </a:outerShdw>
                </a:effectLst>
              </a:rPr>
              <a:t>Resource characteristics</a:t>
            </a:r>
            <a:endParaRPr lang="en-US" sz="3600" b="1" u="sng"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269240" y="1189178"/>
            <a:ext cx="11653523" cy="5153007"/>
          </a:xfrm>
        </p:spPr>
        <p:txBody>
          <a:bodyPr>
            <a:normAutofit/>
          </a:bodyPr>
          <a:lstStyle/>
          <a:p>
            <a:pPr marL="0" indent="0">
              <a:buNone/>
            </a:pPr>
            <a:r>
              <a:rPr lang="en-US" b="1" dirty="0"/>
              <a:t>Resource group</a:t>
            </a:r>
          </a:p>
          <a:p>
            <a:pPr marL="457063" lvl="1" indent="0">
              <a:buNone/>
            </a:pPr>
            <a:r>
              <a:rPr lang="en-US" dirty="0"/>
              <a:t>Resource exists in precisely one resource group at any time</a:t>
            </a:r>
          </a:p>
          <a:p>
            <a:pPr marL="457063" lvl="1" indent="0">
              <a:buNone/>
            </a:pPr>
            <a:r>
              <a:rPr lang="en-US" dirty="0"/>
              <a:t>Resource can be moved from one resource group to another</a:t>
            </a:r>
          </a:p>
          <a:p>
            <a:pPr marL="0" indent="0">
              <a:buNone/>
            </a:pPr>
            <a:r>
              <a:rPr lang="en-US" b="1" dirty="0"/>
              <a:t>Location</a:t>
            </a:r>
          </a:p>
          <a:p>
            <a:pPr marL="457063" lvl="1" indent="0">
              <a:buNone/>
            </a:pPr>
            <a:r>
              <a:rPr lang="en-US" dirty="0"/>
              <a:t>Resource can be created in any region where there is an a appropriate resource provider</a:t>
            </a:r>
          </a:p>
          <a:p>
            <a:pPr marL="0" indent="0">
              <a:buNone/>
            </a:pPr>
            <a:r>
              <a:rPr lang="en-US" b="1" dirty="0"/>
              <a:t>Locks</a:t>
            </a:r>
          </a:p>
          <a:p>
            <a:pPr marL="457063" lvl="1" indent="0">
              <a:buNone/>
            </a:pPr>
            <a:r>
              <a:rPr lang="en-US" dirty="0"/>
              <a:t>Resource can be locked to prevent deletion</a:t>
            </a:r>
          </a:p>
          <a:p>
            <a:pPr marL="0" indent="0">
              <a:buNone/>
            </a:pPr>
            <a:r>
              <a:rPr lang="en-US" b="1" dirty="0"/>
              <a:t>Tags</a:t>
            </a:r>
          </a:p>
          <a:p>
            <a:pPr marL="457063" lvl="1" indent="0">
              <a:buNone/>
            </a:pPr>
            <a:r>
              <a:rPr lang="en-US" dirty="0"/>
              <a:t>Resource can be tagged to provide (billing) metadata </a:t>
            </a:r>
          </a:p>
        </p:txBody>
      </p:sp>
    </p:spTree>
    <p:extLst>
      <p:ext uri="{BB962C8B-B14F-4D97-AF65-F5344CB8AC3E}">
        <p14:creationId xmlns:p14="http://schemas.microsoft.com/office/powerpoint/2010/main" val="184241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1" y="128642"/>
            <a:ext cx="10515600" cy="1325563"/>
          </a:xfrm>
        </p:spPr>
        <p:txBody>
          <a:bodyPr>
            <a:normAutofit/>
          </a:bodyPr>
          <a:lstStyle/>
          <a:p>
            <a:r>
              <a:rPr lang="en-US" sz="3600" b="1" u="sng" dirty="0" smtClean="0">
                <a:effectLst>
                  <a:outerShdw blurRad="38100" dist="38100" dir="2700000" algn="tl">
                    <a:srgbClr val="000000">
                      <a:alpha val="43137"/>
                    </a:srgbClr>
                  </a:outerShdw>
                </a:effectLst>
              </a:rPr>
              <a:t>Resource Group characteristics</a:t>
            </a:r>
            <a:br>
              <a:rPr lang="en-US" sz="3600" b="1" u="sng" dirty="0" smtClean="0">
                <a:effectLst>
                  <a:outerShdw blurRad="38100" dist="38100" dir="2700000" algn="tl">
                    <a:srgbClr val="000000">
                      <a:alpha val="43137"/>
                    </a:srgbClr>
                  </a:outerShdw>
                </a:effectLst>
              </a:rPr>
            </a:br>
            <a:endParaRPr lang="en-US" sz="3600" b="1" u="sng"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269240" y="1189178"/>
            <a:ext cx="11653523" cy="5164730"/>
          </a:xfrm>
        </p:spPr>
        <p:txBody>
          <a:bodyPr>
            <a:normAutofit/>
          </a:bodyPr>
          <a:lstStyle/>
          <a:p>
            <a:pPr marL="0" indent="0">
              <a:buNone/>
            </a:pPr>
            <a:r>
              <a:rPr lang="en-US" b="1" dirty="0"/>
              <a:t>Two types of resource groups</a:t>
            </a:r>
          </a:p>
          <a:p>
            <a:pPr marL="457063" lvl="1" indent="0">
              <a:buNone/>
            </a:pPr>
            <a:r>
              <a:rPr lang="en-US" dirty="0"/>
              <a:t>Lifecycle</a:t>
            </a:r>
          </a:p>
          <a:p>
            <a:pPr marL="457063" lvl="1" indent="0">
              <a:buNone/>
            </a:pPr>
            <a:r>
              <a:rPr lang="en-US" dirty="0"/>
              <a:t>Shared</a:t>
            </a:r>
          </a:p>
          <a:p>
            <a:pPr marL="0" indent="0">
              <a:buNone/>
            </a:pPr>
            <a:r>
              <a:rPr lang="en-US" b="1" dirty="0" smtClean="0"/>
              <a:t>Lifecycle</a:t>
            </a:r>
            <a:endParaRPr lang="en-US" b="1" dirty="0"/>
          </a:p>
          <a:p>
            <a:pPr marL="457063" lvl="1" indent="0">
              <a:buNone/>
            </a:pPr>
            <a:r>
              <a:rPr lang="en-US" dirty="0"/>
              <a:t>Contains resources with common lifecycle and management</a:t>
            </a:r>
          </a:p>
          <a:p>
            <a:pPr marL="457063" lvl="1" indent="0">
              <a:buNone/>
            </a:pPr>
            <a:r>
              <a:rPr lang="en-US" dirty="0"/>
              <a:t>e.g., virtual machines and storage accounts for an application</a:t>
            </a:r>
          </a:p>
          <a:p>
            <a:pPr marL="0" indent="0">
              <a:buNone/>
            </a:pPr>
            <a:r>
              <a:rPr lang="en-US" b="1" dirty="0"/>
              <a:t>Shared</a:t>
            </a:r>
          </a:p>
          <a:p>
            <a:pPr marL="457063" lvl="1" indent="0">
              <a:buNone/>
            </a:pPr>
            <a:r>
              <a:rPr lang="en-US" dirty="0"/>
              <a:t>Contains resources shared among several resource groups</a:t>
            </a:r>
          </a:p>
          <a:p>
            <a:pPr marL="457063" lvl="1" indent="0">
              <a:buNone/>
            </a:pPr>
            <a:r>
              <a:rPr lang="en-US" dirty="0"/>
              <a:t>e.g., VNETs used to host VMs from many </a:t>
            </a:r>
            <a:r>
              <a:rPr lang="en-US" dirty="0" smtClean="0"/>
              <a:t>applications</a:t>
            </a:r>
            <a:endParaRPr lang="en-US" dirty="0"/>
          </a:p>
        </p:txBody>
      </p:sp>
    </p:spTree>
    <p:extLst>
      <p:ext uri="{BB962C8B-B14F-4D97-AF65-F5344CB8AC3E}">
        <p14:creationId xmlns:p14="http://schemas.microsoft.com/office/powerpoint/2010/main" val="40036898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u="sng" dirty="0" smtClean="0">
                <a:effectLst>
                  <a:outerShdw blurRad="38100" dist="38100" dir="2700000" algn="tl">
                    <a:srgbClr val="000000">
                      <a:alpha val="43137"/>
                    </a:srgbClr>
                  </a:outerShdw>
                </a:effectLst>
              </a:rPr>
              <a:t>Azure resources manager portal</a:t>
            </a:r>
            <a:endParaRPr lang="en-US" sz="3600" b="1" u="sng" dirty="0">
              <a:effectLst>
                <a:outerShdw blurRad="38100" dist="38100" dir="2700000" algn="tl">
                  <a:srgbClr val="000000">
                    <a:alpha val="43137"/>
                  </a:srgbClr>
                </a:outerShdw>
              </a:effectLst>
            </a:endParaRPr>
          </a:p>
        </p:txBody>
      </p:sp>
      <p:sp>
        <p:nvSpPr>
          <p:cNvPr id="3" name="Text Placeholder 2"/>
          <p:cNvSpPr>
            <a:spLocks noGrp="1"/>
          </p:cNvSpPr>
          <p:nvPr>
            <p:ph idx="1"/>
          </p:nvPr>
        </p:nvSpPr>
        <p:spPr>
          <a:xfrm>
            <a:off x="410464" y="1254252"/>
            <a:ext cx="11253216" cy="4735068"/>
          </a:xfrm>
        </p:spPr>
        <p:txBody>
          <a:bodyPr/>
          <a:lstStyle/>
          <a:p>
            <a:endParaRPr lang="en-US"/>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0465" y="1254252"/>
            <a:ext cx="11253216" cy="4735068"/>
          </a:xfrm>
          <a:prstGeom prst="rect">
            <a:avLst/>
          </a:prstGeom>
        </p:spPr>
      </p:pic>
    </p:spTree>
    <p:extLst>
      <p:ext uri="{BB962C8B-B14F-4D97-AF65-F5344CB8AC3E}">
        <p14:creationId xmlns:p14="http://schemas.microsoft.com/office/powerpoint/2010/main" val="177535798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378372"/>
            <a:ext cx="10515600" cy="5798591"/>
          </a:xfrm>
        </p:spPr>
        <p:txBody>
          <a:bodyPr/>
          <a:lstStyle/>
          <a:p>
            <a:pPr marL="0" indent="0" fontAlgn="base">
              <a:buNone/>
            </a:pPr>
            <a:r>
              <a:rPr lang="en-IN" b="1" u="sng" dirty="0">
                <a:effectLst>
                  <a:outerShdw blurRad="38100" dist="38100" dir="2700000" algn="tl">
                    <a:srgbClr val="000000">
                      <a:alpha val="43137"/>
                    </a:srgbClr>
                  </a:outerShdw>
                </a:effectLst>
              </a:rPr>
              <a:t>Resource Groups Best </a:t>
            </a:r>
            <a:r>
              <a:rPr lang="en-IN" b="1" u="sng" dirty="0" smtClean="0">
                <a:effectLst>
                  <a:outerShdw blurRad="38100" dist="38100" dir="2700000" algn="tl">
                    <a:srgbClr val="000000">
                      <a:alpha val="43137"/>
                    </a:srgbClr>
                  </a:outerShdw>
                </a:effectLst>
              </a:rPr>
              <a:t>Practices</a:t>
            </a:r>
          </a:p>
          <a:p>
            <a:pPr marL="0" indent="0" fontAlgn="base">
              <a:buNone/>
            </a:pPr>
            <a:endParaRPr lang="en-IN" dirty="0"/>
          </a:p>
          <a:p>
            <a:pPr fontAlgn="base"/>
            <a:r>
              <a:rPr lang="en-IN" dirty="0"/>
              <a:t>Tightly coupled containers of multiple resources of similar or different types</a:t>
            </a:r>
          </a:p>
          <a:p>
            <a:pPr lvl="1" fontAlgn="base"/>
            <a:r>
              <a:rPr lang="en-IN" dirty="0"/>
              <a:t>When resources are in the container, they have a common life cycle. You can deploy these things together, put RBAC on them together with one request and they can know about each </a:t>
            </a:r>
            <a:r>
              <a:rPr lang="en-IN" dirty="0" smtClean="0"/>
              <a:t>other</a:t>
            </a:r>
          </a:p>
          <a:p>
            <a:pPr marL="457200" lvl="1" indent="0" fontAlgn="base">
              <a:buNone/>
            </a:pPr>
            <a:endParaRPr lang="en-IN" dirty="0"/>
          </a:p>
          <a:p>
            <a:pPr fontAlgn="base"/>
            <a:r>
              <a:rPr lang="en-IN" dirty="0"/>
              <a:t>Every resource *must* exist in one and only one resource group</a:t>
            </a:r>
          </a:p>
          <a:p>
            <a:pPr lvl="1" fontAlgn="base"/>
            <a:r>
              <a:rPr lang="en-IN" dirty="0"/>
              <a:t>Every resource must be in ONE resource group, important for </a:t>
            </a:r>
            <a:r>
              <a:rPr lang="en-IN" dirty="0" smtClean="0"/>
              <a:t>RBAC</a:t>
            </a:r>
          </a:p>
          <a:p>
            <a:pPr marL="457200" lvl="1" indent="0" fontAlgn="base">
              <a:buNone/>
            </a:pPr>
            <a:endParaRPr lang="en-IN" dirty="0"/>
          </a:p>
          <a:p>
            <a:pPr fontAlgn="base"/>
            <a:r>
              <a:rPr lang="en-IN" dirty="0"/>
              <a:t>Resource groups can span regions</a:t>
            </a:r>
          </a:p>
          <a:p>
            <a:pPr lvl="1" fontAlgn="base"/>
            <a:r>
              <a:rPr lang="en-IN" dirty="0"/>
              <a:t>Don’t have to live in same location, can deploy to multiple regions</a:t>
            </a:r>
          </a:p>
          <a:p>
            <a:endParaRPr lang="en-IN" dirty="0"/>
          </a:p>
        </p:txBody>
      </p:sp>
    </p:spTree>
    <p:extLst>
      <p:ext uri="{BB962C8B-B14F-4D97-AF65-F5344CB8AC3E}">
        <p14:creationId xmlns:p14="http://schemas.microsoft.com/office/powerpoint/2010/main" val="303766335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844697"/>
          </a:xfrm>
        </p:spPr>
        <p:txBody>
          <a:bodyPr>
            <a:normAutofit/>
          </a:bodyPr>
          <a:lstStyle/>
          <a:p>
            <a:pPr algn="ctr"/>
            <a:r>
              <a:rPr lang="en-US" sz="3600" b="1" u="sng" dirty="0" smtClean="0">
                <a:effectLst>
                  <a:outerShdw blurRad="38100" dist="38100" dir="2700000" algn="tl">
                    <a:srgbClr val="000000">
                      <a:alpha val="43137"/>
                    </a:srgbClr>
                  </a:outerShdw>
                </a:effectLst>
              </a:rPr>
              <a:t>Azure </a:t>
            </a:r>
            <a:r>
              <a:rPr lang="en-US" sz="3600" b="1" u="sng" dirty="0">
                <a:effectLst>
                  <a:outerShdw blurRad="38100" dist="38100" dir="2700000" algn="tl">
                    <a:srgbClr val="000000">
                      <a:alpha val="43137"/>
                    </a:srgbClr>
                  </a:outerShdw>
                </a:effectLst>
              </a:rPr>
              <a:t>PowerShell</a:t>
            </a:r>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GB" dirty="0"/>
              <a:t>The Azure PowerShell modules are:</a:t>
            </a:r>
          </a:p>
          <a:p>
            <a:pPr lvl="1"/>
            <a:r>
              <a:rPr lang="en-GB" dirty="0"/>
              <a:t>Grouped into:</a:t>
            </a:r>
          </a:p>
          <a:p>
            <a:pPr lvl="2"/>
            <a:r>
              <a:rPr lang="en-GB" dirty="0"/>
              <a:t>Azure Resource Manager</a:t>
            </a:r>
          </a:p>
          <a:p>
            <a:pPr lvl="2"/>
            <a:r>
              <a:rPr lang="en-GB" dirty="0"/>
              <a:t>Azure Service Management</a:t>
            </a:r>
          </a:p>
          <a:p>
            <a:pPr lvl="2"/>
            <a:r>
              <a:rPr lang="en-GB" dirty="0"/>
              <a:t>Azure Storage </a:t>
            </a:r>
          </a:p>
          <a:p>
            <a:pPr lvl="1"/>
            <a:r>
              <a:rPr lang="en-GB" dirty="0"/>
              <a:t>Installed by using:</a:t>
            </a:r>
          </a:p>
          <a:p>
            <a:pPr lvl="2"/>
            <a:r>
              <a:rPr lang="en-GB" dirty="0"/>
              <a:t>Web PI</a:t>
            </a:r>
          </a:p>
          <a:p>
            <a:pPr lvl="2"/>
            <a:r>
              <a:rPr lang="en-GB" dirty="0"/>
              <a:t>The PowerShell Gallery</a:t>
            </a:r>
          </a:p>
          <a:p>
            <a:pPr lvl="2"/>
            <a:r>
              <a:rPr lang="en-GB" dirty="0"/>
              <a:t>The GitHub repository</a:t>
            </a:r>
          </a:p>
          <a:p>
            <a:r>
              <a:rPr lang="en-GB" dirty="0"/>
              <a:t>The Azure AD PowerShell module:</a:t>
            </a:r>
          </a:p>
          <a:p>
            <a:pPr lvl="1"/>
            <a:r>
              <a:rPr lang="en-GB" dirty="0"/>
              <a:t>Provides cmdlets for managing Azure AD</a:t>
            </a:r>
          </a:p>
          <a:p>
            <a:pPr lvl="1"/>
            <a:r>
              <a:rPr lang="en-GB" dirty="0"/>
              <a:t>Uses a stand-alone installer</a:t>
            </a:r>
          </a:p>
          <a:p>
            <a:endParaRPr lang="en-US" dirty="0"/>
          </a:p>
        </p:txBody>
      </p:sp>
    </p:spTree>
    <p:extLst>
      <p:ext uri="{BB962C8B-B14F-4D97-AF65-F5344CB8AC3E}">
        <p14:creationId xmlns:p14="http://schemas.microsoft.com/office/powerpoint/2010/main" val="7570804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788426"/>
          </a:xfrm>
        </p:spPr>
        <p:txBody>
          <a:bodyPr>
            <a:noAutofit/>
          </a:bodyPr>
          <a:lstStyle/>
          <a:p>
            <a:r>
              <a:rPr lang="en-CA" sz="3600" b="1" u="sng" dirty="0">
                <a:effectLst>
                  <a:outerShdw blurRad="38100" dist="38100" dir="2700000" algn="tl">
                    <a:srgbClr val="000000">
                      <a:alpha val="43137"/>
                    </a:srgbClr>
                  </a:outerShdw>
                </a:effectLst>
              </a:rPr>
              <a:t>Managing Azure subscriptions by using Azure PowerShell</a:t>
            </a:r>
            <a:endParaRPr lang="en-US" sz="3600" b="1" u="sng" dirty="0">
              <a:effectLst>
                <a:outerShdw blurRad="38100" dist="38100" dir="2700000" algn="tl">
                  <a:srgbClr val="000000">
                    <a:alpha val="43137"/>
                  </a:srgbClr>
                </a:outerShdw>
              </a:effectLst>
            </a:endParaRPr>
          </a:p>
        </p:txBody>
      </p:sp>
      <p:sp>
        <p:nvSpPr>
          <p:cNvPr id="4" name="Content Placeholder 2"/>
          <p:cNvSpPr>
            <a:spLocks noGrp="1"/>
          </p:cNvSpPr>
          <p:nvPr/>
        </p:nvSpPr>
        <p:spPr bwMode="auto">
          <a:xfrm>
            <a:off x="1898382" y="1457313"/>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000" dirty="0"/>
              <a:t>Azure Resource Management:</a:t>
            </a:r>
          </a:p>
          <a:p>
            <a:pPr lvl="1"/>
            <a:r>
              <a:rPr lang="en-US" sz="2000" dirty="0"/>
              <a:t>Authenticate</a:t>
            </a:r>
          </a:p>
          <a:p>
            <a:pPr lvl="2"/>
            <a:r>
              <a:rPr lang="en-US" b="1" dirty="0"/>
              <a:t>Add-AzureRmAccount</a:t>
            </a:r>
          </a:p>
          <a:p>
            <a:pPr lvl="1"/>
            <a:r>
              <a:rPr lang="en-US" sz="2000" dirty="0"/>
              <a:t>Select the target Azure subscription (if more than one exists):</a:t>
            </a:r>
          </a:p>
          <a:p>
            <a:pPr lvl="2"/>
            <a:r>
              <a:rPr lang="en-US" b="1" dirty="0"/>
              <a:t>Get-AzureRmSubscription</a:t>
            </a:r>
          </a:p>
          <a:p>
            <a:pPr lvl="2"/>
            <a:r>
              <a:rPr lang="en-US" b="1" dirty="0"/>
              <a:t>Select-AzureRmSubscription</a:t>
            </a:r>
          </a:p>
          <a:p>
            <a:r>
              <a:rPr lang="en-US" sz="2000" dirty="0"/>
              <a:t>Service Management (classic deployment):</a:t>
            </a:r>
          </a:p>
          <a:p>
            <a:pPr lvl="1"/>
            <a:r>
              <a:rPr lang="en-US" sz="2000" dirty="0"/>
              <a:t>Authenticate</a:t>
            </a:r>
          </a:p>
          <a:p>
            <a:pPr lvl="2"/>
            <a:r>
              <a:rPr lang="en-US" b="1" dirty="0"/>
              <a:t>Add-AzureAccount</a:t>
            </a:r>
          </a:p>
          <a:p>
            <a:pPr lvl="1"/>
            <a:r>
              <a:rPr lang="en-US" sz="2000" dirty="0"/>
              <a:t>Select the target Azure subscription (if more than one exists):</a:t>
            </a:r>
          </a:p>
          <a:p>
            <a:pPr lvl="2"/>
            <a:r>
              <a:rPr lang="en-US" b="1" dirty="0"/>
              <a:t>Get-AzureSubscription</a:t>
            </a:r>
          </a:p>
          <a:p>
            <a:pPr lvl="2"/>
            <a:r>
              <a:rPr lang="en-US" b="1" dirty="0"/>
              <a:t>Select-AzureSubscription</a:t>
            </a:r>
          </a:p>
          <a:p>
            <a:pPr lvl="2"/>
            <a:endParaRPr lang="en-US" dirty="0"/>
          </a:p>
          <a:p>
            <a:pPr marL="0" indent="0">
              <a:buNone/>
            </a:pPr>
            <a:endParaRPr lang="en-US" dirty="0"/>
          </a:p>
        </p:txBody>
      </p:sp>
    </p:spTree>
    <p:extLst>
      <p:ext uri="{BB962C8B-B14F-4D97-AF65-F5344CB8AC3E}">
        <p14:creationId xmlns:p14="http://schemas.microsoft.com/office/powerpoint/2010/main" val="259602203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1987" y="-320675"/>
            <a:ext cx="10515600" cy="1325563"/>
          </a:xfrm>
        </p:spPr>
        <p:txBody>
          <a:bodyPr>
            <a:normAutofit/>
          </a:bodyPr>
          <a:lstStyle/>
          <a:p>
            <a:pPr algn="ctr"/>
            <a:r>
              <a:rPr lang="en-CA" sz="3600" b="1" u="sng" dirty="0" smtClean="0">
                <a:effectLst>
                  <a:outerShdw blurRad="38100" dist="38100" dir="2700000" algn="tl">
                    <a:srgbClr val="000000">
                      <a:alpha val="43137"/>
                    </a:srgbClr>
                  </a:outerShdw>
                </a:effectLst>
              </a:rPr>
              <a:t>Azure </a:t>
            </a:r>
            <a:r>
              <a:rPr lang="en-CA" sz="3600" b="1" u="sng" dirty="0">
                <a:effectLst>
                  <a:outerShdw blurRad="38100" dist="38100" dir="2700000" algn="tl">
                    <a:srgbClr val="000000">
                      <a:alpha val="43137"/>
                    </a:srgbClr>
                  </a:outerShdw>
                </a:effectLst>
              </a:rPr>
              <a:t>CLI</a:t>
            </a:r>
            <a:endParaRPr lang="en-US" sz="3600" b="1" u="sng" dirty="0">
              <a:effectLst>
                <a:outerShdw blurRad="38100" dist="38100" dir="2700000" algn="tl">
                  <a:srgbClr val="000000">
                    <a:alpha val="43137"/>
                  </a:srgbClr>
                </a:outerShdw>
              </a:effectLst>
            </a:endParaRPr>
          </a:p>
        </p:txBody>
      </p:sp>
      <p:sp>
        <p:nvSpPr>
          <p:cNvPr id="4" name="Content Placeholder 2"/>
          <p:cNvSpPr>
            <a:spLocks noGrp="1"/>
          </p:cNvSpPr>
          <p:nvPr/>
        </p:nvSpPr>
        <p:spPr bwMode="auto">
          <a:xfrm>
            <a:off x="925513" y="1004888"/>
            <a:ext cx="8119156" cy="61264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000" dirty="0" smtClean="0"/>
              <a:t>Command-line </a:t>
            </a:r>
            <a:r>
              <a:rPr lang="en-US" sz="2000" dirty="0"/>
              <a:t>shell:</a:t>
            </a:r>
          </a:p>
          <a:p>
            <a:pPr lvl="1"/>
            <a:r>
              <a:rPr lang="en-US" sz="2000" dirty="0"/>
              <a:t>Can be installed on Windows, Linux, and OS X</a:t>
            </a:r>
          </a:p>
          <a:p>
            <a:pPr lvl="1"/>
            <a:r>
              <a:rPr lang="en-US" sz="2000" dirty="0"/>
              <a:t>Integrates with Linux shell scripting tools</a:t>
            </a:r>
          </a:p>
          <a:p>
            <a:pPr lvl="1"/>
            <a:r>
              <a:rPr lang="en-US" sz="2000" dirty="0"/>
              <a:t>Has an installation process that depends on the operating system:</a:t>
            </a:r>
          </a:p>
          <a:p>
            <a:pPr lvl="2"/>
            <a:r>
              <a:rPr lang="en-US" dirty="0"/>
              <a:t>Web PI for Windows</a:t>
            </a:r>
          </a:p>
          <a:p>
            <a:pPr lvl="2"/>
            <a:r>
              <a:rPr lang="en-US" dirty="0"/>
              <a:t> An npm package for Linux and OS X</a:t>
            </a:r>
          </a:p>
          <a:p>
            <a:r>
              <a:rPr lang="en-US" sz="2000" dirty="0"/>
              <a:t>To authenticate:</a:t>
            </a:r>
          </a:p>
          <a:p>
            <a:pPr lvl="1"/>
            <a:r>
              <a:rPr lang="en-US" sz="2000" dirty="0"/>
              <a:t>Azure login</a:t>
            </a:r>
          </a:p>
          <a:p>
            <a:pPr lvl="2"/>
            <a:r>
              <a:rPr lang="en-US" dirty="0"/>
              <a:t>http://aka.ms/devicelogin</a:t>
            </a:r>
          </a:p>
          <a:p>
            <a:pPr lvl="2"/>
            <a:r>
              <a:rPr lang="en-US" dirty="0"/>
              <a:t>Microsoft account or Azure AD user credentials</a:t>
            </a:r>
          </a:p>
          <a:p>
            <a:r>
              <a:rPr lang="en-US" sz="2000" dirty="0"/>
              <a:t>To switch modes, run:</a:t>
            </a:r>
          </a:p>
          <a:p>
            <a:pPr lvl="1"/>
            <a:r>
              <a:rPr lang="en-US" sz="2000" b="1" dirty="0"/>
              <a:t>azure config mode arm</a:t>
            </a:r>
          </a:p>
          <a:p>
            <a:pPr lvl="1"/>
            <a:r>
              <a:rPr lang="en-US" sz="2000" b="1" dirty="0"/>
              <a:t>azure config mode asm</a:t>
            </a:r>
          </a:p>
          <a:p>
            <a:endParaRPr lang="en-US" dirty="0"/>
          </a:p>
        </p:txBody>
      </p:sp>
    </p:spTree>
    <p:extLst>
      <p:ext uri="{BB962C8B-B14F-4D97-AF65-F5344CB8AC3E}">
        <p14:creationId xmlns:p14="http://schemas.microsoft.com/office/powerpoint/2010/main" val="26239638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u="sng" dirty="0" smtClean="0">
                <a:effectLst>
                  <a:outerShdw blurRad="38100" dist="38100" dir="2700000" algn="tl">
                    <a:srgbClr val="000000">
                      <a:alpha val="43137"/>
                    </a:srgbClr>
                  </a:outerShdw>
                </a:effectLst>
              </a:rPr>
              <a:t>Lesson 2 Azure VM </a:t>
            </a:r>
            <a:endParaRPr lang="en-US" b="1" u="sng"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475488" y="911352"/>
            <a:ext cx="11253216" cy="5146548"/>
          </a:xfrm>
        </p:spPr>
        <p:txBody>
          <a:bodyPr/>
          <a:lstStyle/>
          <a:p>
            <a:pPr marL="0" indent="0">
              <a:buNone/>
            </a:pPr>
            <a:endParaRPr lang="en-US" dirty="0" smtClean="0"/>
          </a:p>
          <a:p>
            <a:pPr marL="0" indent="0">
              <a:buNone/>
            </a:pPr>
            <a:endParaRPr lang="en-US" dirty="0"/>
          </a:p>
          <a:p>
            <a:pPr marL="0" indent="0">
              <a:buNone/>
            </a:pPr>
            <a:endParaRPr lang="en-US" dirty="0" smtClean="0"/>
          </a:p>
          <a:p>
            <a:pPr marL="0" indent="0">
              <a:buNone/>
            </a:pPr>
            <a:r>
              <a:rPr lang="en-US" dirty="0" smtClean="0"/>
              <a:t>Module Overview</a:t>
            </a:r>
          </a:p>
          <a:p>
            <a:pPr marL="0" indent="0">
              <a:buNone/>
            </a:pPr>
            <a:endParaRPr lang="en-US" dirty="0"/>
          </a:p>
          <a:p>
            <a:pPr marL="0" indent="0">
              <a:buNone/>
            </a:pPr>
            <a:r>
              <a:rPr lang="en-US" dirty="0" smtClean="0"/>
              <a:t>Understanding VM</a:t>
            </a:r>
          </a:p>
          <a:p>
            <a:pPr marL="0" indent="0">
              <a:buNone/>
            </a:pPr>
            <a:r>
              <a:rPr lang="en-US" dirty="0" smtClean="0"/>
              <a:t>VM availability</a:t>
            </a:r>
          </a:p>
          <a:p>
            <a:pPr marL="0" indent="0">
              <a:buNone/>
            </a:pPr>
            <a:r>
              <a:rPr lang="en-US" dirty="0" smtClean="0"/>
              <a:t>Understanding disks </a:t>
            </a:r>
          </a:p>
          <a:p>
            <a:pPr marL="0" indent="0">
              <a:buNone/>
            </a:pPr>
            <a:endParaRPr lang="en-US" dirty="0" smtClean="0"/>
          </a:p>
          <a:p>
            <a:pPr marL="0" indent="0">
              <a:buNone/>
            </a:pPr>
            <a:endParaRPr lang="en-US" dirty="0"/>
          </a:p>
          <a:p>
            <a:pPr marL="0" indent="0">
              <a:buNone/>
            </a:pPr>
            <a:endParaRPr lang="en-US" dirty="0" smtClean="0"/>
          </a:p>
        </p:txBody>
      </p:sp>
    </p:spTree>
    <p:extLst>
      <p:ext uri="{BB962C8B-B14F-4D97-AF65-F5344CB8AC3E}">
        <p14:creationId xmlns:p14="http://schemas.microsoft.com/office/powerpoint/2010/main" val="38788076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
            <a:ext cx="9144000" cy="7294305"/>
          </a:xfrm>
          <a:prstGeom prst="rect">
            <a:avLst/>
          </a:prstGeom>
        </p:spPr>
        <p:txBody>
          <a:bodyPr wrap="square">
            <a:spAutoFit/>
          </a:bodyPr>
          <a:lstStyle/>
          <a:p>
            <a:r>
              <a:rPr lang="en-IN" b="1" dirty="0">
                <a:effectLst>
                  <a:outerShdw blurRad="38100" dist="38100" dir="2700000" algn="tl">
                    <a:srgbClr val="000000">
                      <a:alpha val="43137"/>
                    </a:srgbClr>
                  </a:outerShdw>
                </a:effectLst>
              </a:rPr>
              <a:t>Topic 7: Azure Web Apps </a:t>
            </a:r>
          </a:p>
          <a:p>
            <a:r>
              <a:rPr lang="en-IN" dirty="0"/>
              <a:t>•	Understanding Web App tiers </a:t>
            </a:r>
          </a:p>
          <a:p>
            <a:r>
              <a:rPr lang="en-IN" dirty="0"/>
              <a:t>•	Understanding of Web Job Pricing , Security, Monitoring</a:t>
            </a:r>
          </a:p>
          <a:p>
            <a:r>
              <a:rPr lang="en-IN" dirty="0"/>
              <a:t>•	Resource Group and Web Hosting Plans in the New Preview portal </a:t>
            </a:r>
          </a:p>
          <a:p>
            <a:r>
              <a:rPr lang="en-IN" dirty="0"/>
              <a:t>•	Supported language </a:t>
            </a:r>
          </a:p>
          <a:p>
            <a:r>
              <a:rPr lang="en-IN" dirty="0"/>
              <a:t>•	Deploying Web App </a:t>
            </a:r>
          </a:p>
          <a:p>
            <a:r>
              <a:rPr lang="en-IN" dirty="0"/>
              <a:t>•	Deployment sources </a:t>
            </a:r>
            <a:endParaRPr lang="en-IN" dirty="0" smtClean="0"/>
          </a:p>
          <a:p>
            <a:r>
              <a:rPr lang="en-IN" dirty="0" smtClean="0"/>
              <a:t>•</a:t>
            </a:r>
            <a:r>
              <a:rPr lang="en-IN" dirty="0"/>
              <a:t>	Hand-on Lab: Create, Deploy, Manager </a:t>
            </a:r>
          </a:p>
          <a:p>
            <a:r>
              <a:rPr lang="en-IN" dirty="0"/>
              <a:t>•	Deployment </a:t>
            </a:r>
          </a:p>
          <a:p>
            <a:r>
              <a:rPr lang="en-IN" dirty="0"/>
              <a:t>•	Benefits </a:t>
            </a:r>
          </a:p>
          <a:p>
            <a:r>
              <a:rPr lang="en-IN" dirty="0"/>
              <a:t>•	Roles in Azure Cloud services</a:t>
            </a:r>
          </a:p>
          <a:p>
            <a:r>
              <a:rPr lang="en-IN" dirty="0"/>
              <a:t>•	Web Role and Worker Role</a:t>
            </a:r>
          </a:p>
          <a:p>
            <a:r>
              <a:rPr lang="en-IN" dirty="0"/>
              <a:t>•	Understanding Fault Domain and Upgrade Domain</a:t>
            </a:r>
          </a:p>
          <a:p>
            <a:r>
              <a:rPr lang="en-IN" dirty="0"/>
              <a:t>•	Deployment pipeline </a:t>
            </a:r>
          </a:p>
          <a:p>
            <a:r>
              <a:rPr lang="en-IN" dirty="0"/>
              <a:t>•	Hands-on Lab: Deploying Application package with Azure Cloud Services </a:t>
            </a:r>
          </a:p>
          <a:p>
            <a:endParaRPr lang="en-IN" dirty="0"/>
          </a:p>
          <a:p>
            <a:r>
              <a:rPr lang="en-IN" b="1" dirty="0">
                <a:effectLst>
                  <a:outerShdw blurRad="38100" dist="38100" dir="2700000" algn="tl">
                    <a:srgbClr val="000000">
                      <a:alpha val="43137"/>
                    </a:srgbClr>
                  </a:outerShdw>
                </a:effectLst>
              </a:rPr>
              <a:t>Topic 8: Azure Backup and Site Recovery</a:t>
            </a:r>
          </a:p>
          <a:p>
            <a:r>
              <a:rPr lang="en-IN" dirty="0"/>
              <a:t>•	Azure Vaults </a:t>
            </a:r>
          </a:p>
          <a:p>
            <a:r>
              <a:rPr lang="en-IN" dirty="0"/>
              <a:t>•	Configuring backups </a:t>
            </a:r>
          </a:p>
          <a:p>
            <a:r>
              <a:rPr lang="en-IN" dirty="0"/>
              <a:t>•	Data Protection Manager </a:t>
            </a:r>
          </a:p>
          <a:p>
            <a:r>
              <a:rPr lang="en-IN" dirty="0"/>
              <a:t>•	Azure Site Recovery and </a:t>
            </a:r>
            <a:r>
              <a:rPr lang="en-IN" dirty="0" smtClean="0"/>
              <a:t>Disaster </a:t>
            </a:r>
            <a:r>
              <a:rPr lang="en-IN" dirty="0"/>
              <a:t>Recovery </a:t>
            </a:r>
          </a:p>
          <a:p>
            <a:r>
              <a:rPr lang="en-IN" dirty="0" smtClean="0"/>
              <a:t>•</a:t>
            </a:r>
            <a:r>
              <a:rPr lang="en-IN" dirty="0"/>
              <a:t>	On Premise Migration using Recovery Services</a:t>
            </a:r>
          </a:p>
          <a:p>
            <a:r>
              <a:rPr lang="en-IN" dirty="0"/>
              <a:t>•	Hands-on Lab: Configure a vault and backup a server from on premise to cloud </a:t>
            </a:r>
          </a:p>
          <a:p>
            <a:r>
              <a:rPr lang="en-IN" dirty="0"/>
              <a:t>•	On-premise to on premise </a:t>
            </a:r>
          </a:p>
          <a:p>
            <a:r>
              <a:rPr lang="en-IN" dirty="0"/>
              <a:t>•	On-premise to Azure </a:t>
            </a:r>
          </a:p>
        </p:txBody>
      </p:sp>
    </p:spTree>
    <p:extLst>
      <p:ext uri="{BB962C8B-B14F-4D97-AF65-F5344CB8AC3E}">
        <p14:creationId xmlns:p14="http://schemas.microsoft.com/office/powerpoint/2010/main" val="334811945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858764"/>
          </a:xfrm>
        </p:spPr>
        <p:txBody>
          <a:bodyPr/>
          <a:lstStyle/>
          <a:p>
            <a:r>
              <a:rPr lang="en-US" dirty="0"/>
              <a:t>What are Azure VMs?</a:t>
            </a:r>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dirty="0"/>
              <a:t>U</a:t>
            </a:r>
            <a:r>
              <a:rPr lang="bs-Latn-BA" dirty="0"/>
              <a:t>se Azure VMs to:</a:t>
            </a:r>
          </a:p>
          <a:p>
            <a:pPr lvl="1"/>
            <a:r>
              <a:rPr lang="bs-Latn-BA" dirty="0"/>
              <a:t>E</a:t>
            </a:r>
            <a:r>
              <a:rPr lang="en-US" dirty="0"/>
              <a:t>xtend your datacenter to increase agility </a:t>
            </a:r>
          </a:p>
          <a:p>
            <a:pPr lvl="1"/>
            <a:r>
              <a:rPr lang="en-US" dirty="0"/>
              <a:t>Migrate your </a:t>
            </a:r>
            <a:r>
              <a:rPr lang="bs-Latn-BA" dirty="0"/>
              <a:t>workloads </a:t>
            </a:r>
            <a:r>
              <a:rPr lang="en-US" dirty="0"/>
              <a:t>from on-premises datacenters or from other cloud providers</a:t>
            </a:r>
          </a:p>
          <a:p>
            <a:pPr lvl="1"/>
            <a:r>
              <a:rPr lang="en-US" dirty="0"/>
              <a:t>Implement test or development</a:t>
            </a:r>
          </a:p>
          <a:p>
            <a:r>
              <a:rPr lang="bs-Latn-BA" dirty="0"/>
              <a:t>Key differences when using Azure VMs:</a:t>
            </a:r>
          </a:p>
          <a:p>
            <a:pPr lvl="1"/>
            <a:r>
              <a:rPr lang="en-US" dirty="0" smtClean="0"/>
              <a:t>Read-only </a:t>
            </a:r>
            <a:r>
              <a:rPr lang="en-US" dirty="0"/>
              <a:t>VM console access </a:t>
            </a:r>
          </a:p>
          <a:p>
            <a:r>
              <a:rPr lang="en-US" dirty="0"/>
              <a:t>You can create </a:t>
            </a:r>
            <a:r>
              <a:rPr lang="bs-Latn-BA" dirty="0"/>
              <a:t>Azure VMs </a:t>
            </a:r>
            <a:r>
              <a:rPr lang="en-US" dirty="0"/>
              <a:t>by using:</a:t>
            </a:r>
          </a:p>
          <a:p>
            <a:pPr lvl="1"/>
            <a:r>
              <a:rPr lang="en-US" dirty="0"/>
              <a:t>The Azure Portal</a:t>
            </a:r>
          </a:p>
          <a:p>
            <a:pPr lvl="1"/>
            <a:r>
              <a:rPr lang="en-US" dirty="0"/>
              <a:t>Azure PowerShell or Azure CLI</a:t>
            </a:r>
          </a:p>
          <a:p>
            <a:pPr lvl="1"/>
            <a:r>
              <a:rPr lang="en-US" dirty="0"/>
              <a:t>Azure Resource Manager templates</a:t>
            </a:r>
          </a:p>
          <a:p>
            <a:endParaRPr lang="bs-Latn-BA" sz="2400" dirty="0"/>
          </a:p>
          <a:p>
            <a:endParaRPr lang="en-US" dirty="0"/>
          </a:p>
        </p:txBody>
      </p:sp>
      <p:pic>
        <p:nvPicPr>
          <p:cNvPr id="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27611" y="6205745"/>
            <a:ext cx="371475"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0201143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858764"/>
          </a:xfrm>
        </p:spPr>
        <p:txBody>
          <a:bodyPr/>
          <a:lstStyle/>
          <a:p>
            <a:r>
              <a:rPr lang="en-US" dirty="0"/>
              <a:t>Azure VM sizes</a:t>
            </a:r>
          </a:p>
        </p:txBody>
      </p:sp>
      <p:pic>
        <p:nvPicPr>
          <p:cNvPr id="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45952" y="5890242"/>
            <a:ext cx="371475"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27310" y="5890241"/>
            <a:ext cx="371475"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a:buSzPct val="100000"/>
            </a:pPr>
            <a:r>
              <a:rPr lang="en-US" sz="2000" dirty="0"/>
              <a:t>A-series:</a:t>
            </a:r>
          </a:p>
          <a:p>
            <a:pPr lvl="1">
              <a:buSzPct val="100000"/>
            </a:pPr>
            <a:r>
              <a:rPr lang="en-US" sz="2000" dirty="0"/>
              <a:t>Basic: No load balancing or auto-scaling support</a:t>
            </a:r>
          </a:p>
          <a:p>
            <a:pPr lvl="1">
              <a:buSzPct val="100000"/>
            </a:pPr>
            <a:r>
              <a:rPr lang="en-US" sz="2000" dirty="0"/>
              <a:t>Standard:</a:t>
            </a:r>
          </a:p>
          <a:p>
            <a:pPr lvl="2">
              <a:buSzPct val="100000"/>
            </a:pPr>
            <a:r>
              <a:rPr lang="en-US" dirty="0"/>
              <a:t>A0-A7, general computing</a:t>
            </a:r>
          </a:p>
          <a:p>
            <a:pPr lvl="2">
              <a:buSzPct val="100000"/>
            </a:pPr>
            <a:r>
              <a:rPr lang="en-US" dirty="0"/>
              <a:t>A8-A11, compute intensive</a:t>
            </a:r>
          </a:p>
          <a:p>
            <a:pPr>
              <a:buSzPct val="100000"/>
            </a:pPr>
            <a:r>
              <a:rPr lang="en-US" sz="2000" dirty="0"/>
              <a:t>D-series:</a:t>
            </a:r>
          </a:p>
          <a:p>
            <a:pPr lvl="1">
              <a:buSzPct val="100000"/>
            </a:pPr>
            <a:r>
              <a:rPr lang="en-US" sz="2000" dirty="0"/>
              <a:t>Faster CPUs and local Hyper-V host SSD (temporary disk)</a:t>
            </a:r>
          </a:p>
          <a:p>
            <a:pPr>
              <a:buSzPct val="100000"/>
            </a:pPr>
            <a:r>
              <a:rPr lang="en-US" sz="2000" dirty="0"/>
              <a:t>Dv2 series: </a:t>
            </a:r>
          </a:p>
          <a:p>
            <a:pPr lvl="1">
              <a:buSzPct val="100000"/>
            </a:pPr>
            <a:r>
              <a:rPr lang="en-US" sz="2000" dirty="0"/>
              <a:t>35% faster CPU than D-series</a:t>
            </a:r>
          </a:p>
          <a:p>
            <a:pPr>
              <a:buSzPct val="100000"/>
            </a:pPr>
            <a:r>
              <a:rPr lang="en-US" sz="2000" dirty="0"/>
              <a:t>G-series: </a:t>
            </a:r>
          </a:p>
          <a:p>
            <a:pPr lvl="1">
              <a:buSzPct val="100000"/>
            </a:pPr>
            <a:r>
              <a:rPr lang="en-US" sz="2000" dirty="0"/>
              <a:t>Largest VMs (up to 448 GB of RAM and 64 data disks)</a:t>
            </a:r>
          </a:p>
          <a:p>
            <a:pPr>
              <a:buSzPct val="100000"/>
            </a:pPr>
            <a:r>
              <a:rPr lang="en-US" sz="2000" dirty="0"/>
              <a:t>DS, DSv2, and GS series: </a:t>
            </a:r>
          </a:p>
          <a:p>
            <a:pPr lvl="1">
              <a:buSzPct val="100000"/>
            </a:pPr>
            <a:r>
              <a:rPr lang="en-US" sz="2000" dirty="0"/>
              <a:t>Support for Premium Storage (SSD for operating system              and data disks)</a:t>
            </a:r>
          </a:p>
          <a:p>
            <a:endParaRPr lang="en-US" dirty="0"/>
          </a:p>
        </p:txBody>
      </p:sp>
    </p:spTree>
    <p:extLst>
      <p:ext uri="{BB962C8B-B14F-4D97-AF65-F5344CB8AC3E}">
        <p14:creationId xmlns:p14="http://schemas.microsoft.com/office/powerpoint/2010/main" val="210118162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587830" y="339634"/>
            <a:ext cx="11090364" cy="6518366"/>
          </a:xfrm>
          <a:prstGeom prst="rect">
            <a:avLst/>
          </a:prstGeom>
        </p:spPr>
      </p:pic>
    </p:spTree>
    <p:extLst>
      <p:ext uri="{BB962C8B-B14F-4D97-AF65-F5344CB8AC3E}">
        <p14:creationId xmlns:p14="http://schemas.microsoft.com/office/powerpoint/2010/main" val="393777144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56090"/>
          </a:xfrm>
        </p:spPr>
        <p:txBody>
          <a:bodyPr>
            <a:normAutofit fontScale="90000"/>
          </a:bodyPr>
          <a:lstStyle/>
          <a:p>
            <a:r>
              <a:rPr lang="en-US" dirty="0"/>
              <a:t>Create a VM by using the Azure Portal</a:t>
            </a:r>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a:buSzPct val="100000"/>
            </a:pPr>
            <a:r>
              <a:rPr lang="en-US" sz="1800" dirty="0" smtClean="0"/>
              <a:t>The </a:t>
            </a:r>
            <a:r>
              <a:rPr lang="en-US" sz="1800" dirty="0"/>
              <a:t>Azure Portal based experience:</a:t>
            </a:r>
          </a:p>
          <a:p>
            <a:pPr marL="457200" lvl="2">
              <a:buSzPct val="100000"/>
            </a:pPr>
            <a:r>
              <a:rPr lang="en-US" sz="1800" dirty="0"/>
              <a:t>VM name</a:t>
            </a:r>
          </a:p>
          <a:p>
            <a:pPr marL="457200" lvl="2">
              <a:buSzPct val="100000"/>
            </a:pPr>
            <a:r>
              <a:rPr lang="en-US" sz="1800" dirty="0"/>
              <a:t>Admin credentials</a:t>
            </a:r>
          </a:p>
          <a:p>
            <a:pPr marL="457200" lvl="2">
              <a:buSzPct val="100000"/>
            </a:pPr>
            <a:r>
              <a:rPr lang="en-US" sz="1800" dirty="0"/>
              <a:t>Target resource group, Azure datacenter, subscription</a:t>
            </a:r>
          </a:p>
          <a:p>
            <a:pPr marL="457200" lvl="2">
              <a:buSzPct val="100000"/>
            </a:pPr>
            <a:r>
              <a:rPr lang="en-US" sz="1800" dirty="0"/>
              <a:t>VM size</a:t>
            </a:r>
          </a:p>
          <a:p>
            <a:pPr marL="457200" lvl="2">
              <a:buSzPct val="100000"/>
            </a:pPr>
            <a:r>
              <a:rPr lang="en-US" sz="1800" dirty="0"/>
              <a:t>Target storage location (Azure Storage account)</a:t>
            </a:r>
          </a:p>
          <a:p>
            <a:pPr marL="457200" lvl="2">
              <a:buSzPct val="100000"/>
            </a:pPr>
            <a:r>
              <a:rPr lang="en-US" sz="1800" dirty="0"/>
              <a:t>Target virtual network and subnet (private IP) </a:t>
            </a:r>
          </a:p>
          <a:p>
            <a:pPr marL="457200" lvl="2">
              <a:buSzPct val="100000"/>
            </a:pPr>
            <a:r>
              <a:rPr lang="en-US" sz="1800" dirty="0"/>
              <a:t>Optional public (Internet-accessible) IP and DNS name</a:t>
            </a:r>
          </a:p>
          <a:p>
            <a:pPr marL="457200" lvl="2">
              <a:buSzPct val="100000"/>
            </a:pPr>
            <a:r>
              <a:rPr lang="en-US" sz="1800" dirty="0"/>
              <a:t>Network security group</a:t>
            </a:r>
          </a:p>
          <a:p>
            <a:pPr marL="457200" lvl="2">
              <a:buSzPct val="100000"/>
            </a:pPr>
            <a:r>
              <a:rPr lang="en-US" sz="1800" dirty="0"/>
              <a:t>Extensions</a:t>
            </a:r>
          </a:p>
          <a:p>
            <a:pPr marL="457200" lvl="2">
              <a:buSzPct val="100000"/>
            </a:pPr>
            <a:r>
              <a:rPr lang="en-US" sz="1800" dirty="0"/>
              <a:t>Monitoring (preferably by using another Azure Storage account)</a:t>
            </a:r>
          </a:p>
          <a:p>
            <a:pPr lvl="1"/>
            <a:endParaRPr lang="en-US" dirty="0"/>
          </a:p>
        </p:txBody>
      </p:sp>
    </p:spTree>
    <p:extLst>
      <p:ext uri="{BB962C8B-B14F-4D97-AF65-F5344CB8AC3E}">
        <p14:creationId xmlns:p14="http://schemas.microsoft.com/office/powerpoint/2010/main" val="281855557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Group 55"/>
          <p:cNvGrpSpPr/>
          <p:nvPr/>
        </p:nvGrpSpPr>
        <p:grpSpPr>
          <a:xfrm>
            <a:off x="7924378" y="1106904"/>
            <a:ext cx="3013424" cy="4856573"/>
            <a:chOff x="6075135" y="850500"/>
            <a:chExt cx="2687866" cy="4066610"/>
          </a:xfrm>
        </p:grpSpPr>
        <p:sp>
          <p:nvSpPr>
            <p:cNvPr id="62" name="Rectangle 61"/>
            <p:cNvSpPr/>
            <p:nvPr/>
          </p:nvSpPr>
          <p:spPr bwMode="auto">
            <a:xfrm>
              <a:off x="6075135" y="850500"/>
              <a:ext cx="2687866" cy="752474"/>
            </a:xfrm>
            <a:prstGeom prst="rect">
              <a:avLst/>
            </a:prstGeom>
            <a:solidFill>
              <a:srgbClr val="0071BC"/>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defTabSz="1219170">
                <a:lnSpc>
                  <a:spcPct val="90000"/>
                </a:lnSpc>
                <a:buSzPct val="90000"/>
                <a:defRPr/>
              </a:pPr>
              <a:r>
                <a:rPr lang="en-US" sz="2400" kern="0" dirty="0">
                  <a:gradFill>
                    <a:gsLst>
                      <a:gs pos="85000">
                        <a:srgbClr val="FFFFFF"/>
                      </a:gs>
                      <a:gs pos="0">
                        <a:srgbClr val="FFFFFF"/>
                      </a:gs>
                    </a:gsLst>
                    <a:lin ang="5400000" scaled="0"/>
                  </a:gradFill>
                  <a:ea typeface="Segoe UI" pitchFamily="34" charset="0"/>
                  <a:cs typeface="Segoe UI" pitchFamily="34" charset="0"/>
                </a:rPr>
                <a:t>New Disk Persisted in Storage</a:t>
              </a:r>
            </a:p>
          </p:txBody>
        </p:sp>
        <p:sp>
          <p:nvSpPr>
            <p:cNvPr id="63" name="Rectangle 62"/>
            <p:cNvSpPr/>
            <p:nvPr/>
          </p:nvSpPr>
          <p:spPr bwMode="auto">
            <a:xfrm>
              <a:off x="6079210" y="1624795"/>
              <a:ext cx="2683791" cy="3292315"/>
            </a:xfrm>
            <a:prstGeom prst="rect">
              <a:avLst/>
            </a:prstGeom>
            <a:solidFill>
              <a:srgbClr val="0071BC">
                <a:lumMod val="20000"/>
                <a:lumOff val="8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1013359" fontAlgn="base">
                <a:spcBef>
                  <a:spcPct val="0"/>
                </a:spcBef>
                <a:spcAft>
                  <a:spcPct val="0"/>
                </a:spcAft>
                <a:defRPr/>
              </a:pPr>
              <a:endParaRPr lang="en-US" sz="2400" kern="0" dirty="0">
                <a:gradFill>
                  <a:gsLst>
                    <a:gs pos="0">
                      <a:srgbClr val="FFFFFF"/>
                    </a:gs>
                    <a:gs pos="100000">
                      <a:srgbClr val="FFFFFF"/>
                    </a:gs>
                  </a:gsLst>
                  <a:lin ang="5400000" scaled="0"/>
                </a:gradFill>
              </a:endParaRPr>
            </a:p>
          </p:txBody>
        </p:sp>
        <p:sp>
          <p:nvSpPr>
            <p:cNvPr id="64"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65" name="Can 64"/>
            <p:cNvSpPr/>
            <p:nvPr>
              <p:custDataLst>
                <p:tags r:id="rId1"/>
              </p:custDataLst>
            </p:nvPr>
          </p:nvSpPr>
          <p:spPr>
            <a:xfrm>
              <a:off x="6317980" y="2876550"/>
              <a:ext cx="819758" cy="862368"/>
            </a:xfrm>
            <a:prstGeom prst="can">
              <a:avLst/>
            </a:prstGeom>
            <a:solidFill>
              <a:srgbClr val="0071BC"/>
            </a:solidFill>
            <a:ln w="12700" cap="flat" cmpd="sng" algn="ctr">
              <a:solidFill>
                <a:srgbClr val="FFFFFF"/>
              </a:solidFill>
              <a:prstDash val="solid"/>
            </a:ln>
            <a:effectLst/>
          </p:spPr>
          <p:txBody>
            <a:bodyPr lIns="68589" tIns="34295" rIns="68589" bIns="34295" rtlCol="0" anchor="ctr"/>
            <a:lstStyle/>
            <a:p>
              <a:pPr algn="ct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66" name="TextBox 65"/>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9170">
                <a:defRPr/>
              </a:pPr>
              <a:r>
                <a:rPr lang="en-US" sz="1700" dirty="0">
                  <a:solidFill>
                    <a:srgbClr val="0071BC">
                      <a:alpha val="99000"/>
                    </a:srgbClr>
                  </a:solidFill>
                  <a:latin typeface="+mn-lt"/>
                </a:rPr>
                <a:t>Cloud</a:t>
              </a:r>
            </a:p>
          </p:txBody>
        </p:sp>
      </p:grpSp>
      <p:sp>
        <p:nvSpPr>
          <p:cNvPr id="68" name="Rectangle 67"/>
          <p:cNvSpPr/>
          <p:nvPr/>
        </p:nvSpPr>
        <p:spPr bwMode="auto">
          <a:xfrm>
            <a:off x="4838131" y="1106905"/>
            <a:ext cx="3013424" cy="874032"/>
          </a:xfrm>
          <a:prstGeom prst="rect">
            <a:avLst/>
          </a:prstGeom>
          <a:solidFill>
            <a:srgbClr val="5F5F5F"/>
          </a:solidFill>
          <a:ln w="9525" cap="flat" cmpd="sng" algn="ctr">
            <a:noFill/>
            <a:prstDash val="solid"/>
            <a:headEnd type="none" w="med" len="med"/>
            <a:tailEnd type="none" w="med" len="med"/>
          </a:ln>
          <a:effectLst/>
        </p:spPr>
        <p:txBody>
          <a:bodyPr vert="horz" wrap="square" lIns="202772" tIns="50693" rIns="101387" bIns="50693" numCol="1" rtlCol="0" anchor="ctr" anchorCtr="0" compatLnSpc="1">
            <a:prstTxWarp prst="textNoShape">
              <a:avLst/>
            </a:prstTxWarp>
          </a:bodyPr>
          <a:lstStyle/>
          <a:p>
            <a:pPr defTabSz="1219170">
              <a:lnSpc>
                <a:spcPct val="90000"/>
              </a:lnSpc>
              <a:buSzPct val="90000"/>
              <a:defRPr/>
            </a:pPr>
            <a:r>
              <a:rPr lang="en-US" sz="2400" kern="0" dirty="0">
                <a:gradFill>
                  <a:gsLst>
                    <a:gs pos="85000">
                      <a:srgbClr val="FFFFFF"/>
                    </a:gs>
                    <a:gs pos="0">
                      <a:srgbClr val="FFFFFF"/>
                    </a:gs>
                  </a:gsLst>
                  <a:lin ang="5400000" scaled="0"/>
                </a:gradFill>
                <a:ea typeface="Segoe UI" pitchFamily="34" charset="0"/>
                <a:cs typeface="Segoe UI" pitchFamily="34" charset="0"/>
              </a:rPr>
              <a:t>Select Image </a:t>
            </a:r>
            <a:br>
              <a:rPr lang="en-US" sz="2400" kern="0" dirty="0">
                <a:gradFill>
                  <a:gsLst>
                    <a:gs pos="85000">
                      <a:srgbClr val="FFFFFF"/>
                    </a:gs>
                    <a:gs pos="0">
                      <a:srgbClr val="FFFFFF"/>
                    </a:gs>
                  </a:gsLst>
                  <a:lin ang="5400000" scaled="0"/>
                </a:gradFill>
                <a:ea typeface="Segoe UI" pitchFamily="34" charset="0"/>
                <a:cs typeface="Segoe UI" pitchFamily="34" charset="0"/>
              </a:rPr>
            </a:br>
            <a:r>
              <a:rPr lang="en-US" sz="2400" kern="0" dirty="0">
                <a:gradFill>
                  <a:gsLst>
                    <a:gs pos="85000">
                      <a:srgbClr val="FFFFFF"/>
                    </a:gs>
                    <a:gs pos="0">
                      <a:srgbClr val="FFFFFF"/>
                    </a:gs>
                  </a:gsLst>
                  <a:lin ang="5400000" scaled="0"/>
                </a:gradFill>
                <a:ea typeface="Segoe UI" pitchFamily="34" charset="0"/>
                <a:cs typeface="Segoe UI" pitchFamily="34" charset="0"/>
              </a:rPr>
              <a:t>and VM Size</a:t>
            </a:r>
          </a:p>
        </p:txBody>
      </p:sp>
      <p:sp>
        <p:nvSpPr>
          <p:cNvPr id="69" name="Rectangle 68"/>
          <p:cNvSpPr/>
          <p:nvPr/>
        </p:nvSpPr>
        <p:spPr bwMode="auto">
          <a:xfrm>
            <a:off x="4837739" y="1994886"/>
            <a:ext cx="3008856" cy="3968592"/>
          </a:xfrm>
          <a:prstGeom prst="rect">
            <a:avLst/>
          </a:prstGeom>
          <a:solidFill>
            <a:srgbClr val="5F5F5F">
              <a:lumMod val="20000"/>
              <a:lumOff val="80000"/>
            </a:srgbClr>
          </a:solidFill>
          <a:ln w="9525" cap="flat" cmpd="sng" algn="ctr">
            <a:noFill/>
            <a:prstDash val="solid"/>
            <a:headEnd type="none" w="med" len="med"/>
            <a:tailEnd type="none" w="med" len="med"/>
          </a:ln>
          <a:effectLst/>
        </p:spPr>
        <p:txBody>
          <a:bodyPr vert="horz" wrap="square" lIns="101381" tIns="50691" rIns="101381" bIns="50691" numCol="1" rtlCol="0" anchor="ctr" anchorCtr="0" compatLnSpc="1">
            <a:prstTxWarp prst="textNoShape">
              <a:avLst/>
            </a:prstTxWarp>
          </a:bodyPr>
          <a:lstStyle/>
          <a:p>
            <a:pPr algn="ctr" defTabSz="1013359" fontAlgn="base">
              <a:spcBef>
                <a:spcPct val="0"/>
              </a:spcBef>
              <a:spcAft>
                <a:spcPct val="0"/>
              </a:spcAft>
              <a:defRPr/>
            </a:pPr>
            <a:endParaRPr lang="en-US" sz="2400" kern="0" dirty="0">
              <a:gradFill>
                <a:gsLst>
                  <a:gs pos="0">
                    <a:srgbClr val="FFFFFF"/>
                  </a:gs>
                  <a:gs pos="100000">
                    <a:srgbClr val="FFFFFF"/>
                  </a:gs>
                </a:gsLst>
                <a:lin ang="5400000" scaled="0"/>
              </a:gradFill>
            </a:endParaRPr>
          </a:p>
        </p:txBody>
      </p:sp>
      <p:sp>
        <p:nvSpPr>
          <p:cNvPr id="71" name="Rectangle 70"/>
          <p:cNvSpPr/>
          <p:nvPr/>
        </p:nvSpPr>
        <p:spPr bwMode="auto">
          <a:xfrm>
            <a:off x="1714241" y="1106905"/>
            <a:ext cx="3013424" cy="876966"/>
          </a:xfrm>
          <a:prstGeom prst="rect">
            <a:avLst/>
          </a:prstGeom>
          <a:solidFill>
            <a:srgbClr val="8CC600"/>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defTabSz="1219170">
              <a:lnSpc>
                <a:spcPct val="90000"/>
              </a:lnSpc>
              <a:buSzPct val="90000"/>
              <a:defRPr/>
            </a:pPr>
            <a:r>
              <a:rPr lang="en-US" sz="2400" kern="0" dirty="0">
                <a:gradFill>
                  <a:gsLst>
                    <a:gs pos="85000">
                      <a:srgbClr val="FFFFFF"/>
                    </a:gs>
                    <a:gs pos="0">
                      <a:srgbClr val="FFFFFF"/>
                    </a:gs>
                  </a:gsLst>
                  <a:lin ang="5400000" scaled="0"/>
                </a:gradFill>
                <a:ea typeface="Segoe UI" pitchFamily="34" charset="0"/>
                <a:cs typeface="Segoe UI" pitchFamily="34" charset="0"/>
              </a:rPr>
              <a:t>Getting Started</a:t>
            </a:r>
          </a:p>
        </p:txBody>
      </p:sp>
      <p:sp>
        <p:nvSpPr>
          <p:cNvPr id="72" name="Rectangle 71"/>
          <p:cNvSpPr/>
          <p:nvPr/>
        </p:nvSpPr>
        <p:spPr bwMode="auto">
          <a:xfrm>
            <a:off x="1718810" y="1983871"/>
            <a:ext cx="3008855" cy="3979607"/>
          </a:xfrm>
          <a:prstGeom prst="rect">
            <a:avLst/>
          </a:prstGeom>
          <a:solidFill>
            <a:srgbClr val="8CC600">
              <a:lumMod val="20000"/>
              <a:lumOff val="8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1013359" fontAlgn="base">
              <a:spcBef>
                <a:spcPct val="0"/>
              </a:spcBef>
              <a:spcAft>
                <a:spcPct val="0"/>
              </a:spcAft>
              <a:defRPr/>
            </a:pPr>
            <a:endParaRPr lang="en-US" sz="2400" kern="0" dirty="0">
              <a:gradFill>
                <a:gsLst>
                  <a:gs pos="0">
                    <a:srgbClr val="FFFFFF"/>
                  </a:gs>
                  <a:gs pos="100000">
                    <a:srgbClr val="FFFFFF"/>
                  </a:gs>
                </a:gsLst>
                <a:lin ang="5400000" scaled="0"/>
              </a:gradFill>
            </a:endParaRPr>
          </a:p>
        </p:txBody>
      </p:sp>
      <p:grpSp>
        <p:nvGrpSpPr>
          <p:cNvPr id="73" name="Group 72"/>
          <p:cNvGrpSpPr/>
          <p:nvPr/>
        </p:nvGrpSpPr>
        <p:grpSpPr>
          <a:xfrm>
            <a:off x="2290733" y="2093317"/>
            <a:ext cx="1853888" cy="767521"/>
            <a:chOff x="469671" y="1675059"/>
            <a:chExt cx="2514600" cy="818902"/>
          </a:xfrm>
        </p:grpSpPr>
        <p:grpSp>
          <p:nvGrpSpPr>
            <p:cNvPr id="80" name="Group 79"/>
            <p:cNvGrpSpPr/>
            <p:nvPr/>
          </p:nvGrpSpPr>
          <p:grpSpPr>
            <a:xfrm>
              <a:off x="1420483" y="1675059"/>
              <a:ext cx="612976" cy="515693"/>
              <a:chOff x="1447800" y="1796830"/>
              <a:chExt cx="990599" cy="833383"/>
            </a:xfrm>
          </p:grpSpPr>
          <p:pic>
            <p:nvPicPr>
              <p:cNvPr id="82" name="Picture 3"/>
              <p:cNvPicPr>
                <a:picLocks noChangeAspect="1" noChangeArrowheads="1"/>
              </p:cNvPicPr>
              <p:nvPr/>
            </p:nvPicPr>
            <p:blipFill rotWithShape="1">
              <a:blip r:embed="rId4" cstate="print">
                <a:duotone>
                  <a:srgbClr val="8CC600">
                    <a:shade val="45000"/>
                    <a:satMod val="135000"/>
                  </a:srgbClr>
                  <a:prstClr val="white"/>
                </a:duotone>
                <a:extLst>
                  <a:ext uri="{28A0092B-C50C-407E-A947-70E740481C1C}">
                    <a14:useLocalDpi xmlns:a14="http://schemas.microsoft.com/office/drawing/2010/main" val="0"/>
                  </a:ext>
                </a:extLst>
              </a:blip>
              <a:srcRect r="28326"/>
              <a:stretch/>
            </p:blipFill>
            <p:spPr bwMode="auto">
              <a:xfrm>
                <a:off x="1447800" y="1796830"/>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3" name="Freeform 10"/>
              <p:cNvSpPr>
                <a:spLocks noEditPoints="1"/>
              </p:cNvSpPr>
              <p:nvPr/>
            </p:nvSpPr>
            <p:spPr bwMode="black">
              <a:xfrm>
                <a:off x="1639900" y="1962149"/>
                <a:ext cx="606401"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8CC600"/>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grpSp>
        <p:sp>
          <p:nvSpPr>
            <p:cNvPr id="81" name="TextBox 80"/>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200" dirty="0">
                  <a:solidFill>
                    <a:srgbClr val="5F5F5F">
                      <a:alpha val="99000"/>
                    </a:srgbClr>
                  </a:solidFill>
                  <a:latin typeface="+mn-lt"/>
                </a:rPr>
                <a:t>Management Portal(s)</a:t>
              </a:r>
            </a:p>
          </p:txBody>
        </p:sp>
      </p:grpSp>
      <p:grpSp>
        <p:nvGrpSpPr>
          <p:cNvPr id="74" name="Group 73"/>
          <p:cNvGrpSpPr/>
          <p:nvPr/>
        </p:nvGrpSpPr>
        <p:grpSpPr>
          <a:xfrm>
            <a:off x="1832587" y="2950615"/>
            <a:ext cx="2819172" cy="880755"/>
            <a:chOff x="486561" y="2594816"/>
            <a:chExt cx="2514600" cy="755726"/>
          </a:xfrm>
        </p:grpSpPr>
        <p:sp>
          <p:nvSpPr>
            <p:cNvPr id="78" name="Rectangle 77"/>
            <p:cNvSpPr/>
            <p:nvPr/>
          </p:nvSpPr>
          <p:spPr bwMode="auto">
            <a:xfrm>
              <a:off x="1503570" y="2594816"/>
              <a:ext cx="395011" cy="338952"/>
            </a:xfrm>
            <a:prstGeom prst="rect">
              <a:avLst/>
            </a:prstGeom>
            <a:solidFill>
              <a:srgbClr val="8CC600"/>
            </a:solid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013359" fontAlgn="base">
                <a:spcBef>
                  <a:spcPct val="0"/>
                </a:spcBef>
                <a:spcAft>
                  <a:spcPct val="0"/>
                </a:spcAft>
                <a:defRPr/>
              </a:pPr>
              <a:r>
                <a:rPr lang="en-US" sz="2400" kern="0" dirty="0">
                  <a:solidFill>
                    <a:srgbClr val="8CC600">
                      <a:lumMod val="20000"/>
                      <a:lumOff val="80000"/>
                    </a:srgbClr>
                  </a:solidFill>
                </a:rPr>
                <a:t>&gt;_</a:t>
              </a:r>
            </a:p>
          </p:txBody>
        </p:sp>
        <p:sp>
          <p:nvSpPr>
            <p:cNvPr id="79" name="TextBox 78"/>
            <p:cNvSpPr txBox="1"/>
            <p:nvPr/>
          </p:nvSpPr>
          <p:spPr>
            <a:xfrm>
              <a:off x="486561" y="3057374"/>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600" dirty="0">
                  <a:solidFill>
                    <a:srgbClr val="5F5F5F">
                      <a:alpha val="99000"/>
                    </a:srgbClr>
                  </a:solidFill>
                  <a:latin typeface="+mn-lt"/>
                </a:rPr>
                <a:t>Scripting </a:t>
              </a:r>
            </a:p>
            <a:p>
              <a:pPr algn="ctr" defTabSz="1219170">
                <a:defRPr/>
              </a:pPr>
              <a:r>
                <a:rPr lang="en-US" sz="1200" dirty="0">
                  <a:solidFill>
                    <a:srgbClr val="5F5F5F">
                      <a:alpha val="99000"/>
                    </a:srgbClr>
                  </a:solidFill>
                  <a:latin typeface="+mn-lt"/>
                </a:rPr>
                <a:t>(Windows, Linux and Mac) </a:t>
              </a:r>
            </a:p>
          </p:txBody>
        </p:sp>
      </p:grpSp>
      <p:grpSp>
        <p:nvGrpSpPr>
          <p:cNvPr id="75" name="Group 74"/>
          <p:cNvGrpSpPr/>
          <p:nvPr/>
        </p:nvGrpSpPr>
        <p:grpSpPr>
          <a:xfrm>
            <a:off x="2641845" y="5132619"/>
            <a:ext cx="1164842" cy="602259"/>
            <a:chOff x="1013352" y="3558014"/>
            <a:chExt cx="1433259" cy="747025"/>
          </a:xfrm>
        </p:grpSpPr>
        <p:sp>
          <p:nvSpPr>
            <p:cNvPr id="76" name="Freeform 87"/>
            <p:cNvSpPr>
              <a:spLocks noEditPoints="1"/>
            </p:cNvSpPr>
            <p:nvPr/>
          </p:nvSpPr>
          <p:spPr bwMode="black">
            <a:xfrm>
              <a:off x="1507374" y="3558014"/>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8CC600"/>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77" name="TextBox 76"/>
            <p:cNvSpPr txBox="1"/>
            <p:nvPr/>
          </p:nvSpPr>
          <p:spPr>
            <a:xfrm>
              <a:off x="1013352" y="4037031"/>
              <a:ext cx="1433259" cy="26800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400" dirty="0">
                  <a:solidFill>
                    <a:srgbClr val="5F5F5F">
                      <a:alpha val="99000"/>
                    </a:srgbClr>
                  </a:solidFill>
                  <a:latin typeface="+mn-lt"/>
                </a:rPr>
                <a:t>REST API</a:t>
              </a:r>
            </a:p>
          </p:txBody>
        </p:sp>
      </p:grpSp>
      <p:grpSp>
        <p:nvGrpSpPr>
          <p:cNvPr id="84" name="Group 83"/>
          <p:cNvGrpSpPr/>
          <p:nvPr/>
        </p:nvGrpSpPr>
        <p:grpSpPr>
          <a:xfrm>
            <a:off x="8092279" y="2412845"/>
            <a:ext cx="2837128" cy="1512136"/>
            <a:chOff x="6172200" y="2114550"/>
            <a:chExt cx="2530615" cy="1487469"/>
          </a:xfrm>
        </p:grpSpPr>
        <p:sp>
          <p:nvSpPr>
            <p:cNvPr id="85" name="TextBox 84"/>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700" dirty="0">
                  <a:solidFill>
                    <a:srgbClr val="5F5F5F">
                      <a:alpha val="99000"/>
                    </a:srgbClr>
                  </a:solidFill>
                  <a:latin typeface="+mn-lt"/>
                </a:rPr>
                <a:t>Boot VM from New Disk</a:t>
              </a:r>
            </a:p>
          </p:txBody>
        </p:sp>
        <p:sp>
          <p:nvSpPr>
            <p:cNvPr id="86" name="Freeform 24"/>
            <p:cNvSpPr>
              <a:spLocks noEditPoints="1"/>
            </p:cNvSpPr>
            <p:nvPr/>
          </p:nvSpPr>
          <p:spPr bwMode="black">
            <a:xfrm>
              <a:off x="7812155" y="3013449"/>
              <a:ext cx="762000" cy="5885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87" name="Right Arrow 86"/>
            <p:cNvSpPr/>
            <p:nvPr/>
          </p:nvSpPr>
          <p:spPr bwMode="auto">
            <a:xfrm>
              <a:off x="7259543" y="3093089"/>
              <a:ext cx="445847"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760121" fontAlgn="base">
                <a:spcBef>
                  <a:spcPts val="167"/>
                </a:spcBef>
                <a:spcAft>
                  <a:spcPct val="0"/>
                </a:spcAft>
                <a:defRPr/>
              </a:pPr>
              <a:endParaRPr lang="en-US" sz="2300" kern="0" dirty="0">
                <a:ln>
                  <a:solidFill>
                    <a:srgbClr val="FFFFFF">
                      <a:alpha val="0"/>
                    </a:srgbClr>
                  </a:solidFill>
                </a:ln>
                <a:solidFill>
                  <a:srgbClr val="FFFFFF"/>
                </a:solidFill>
              </a:endParaRPr>
            </a:p>
          </p:txBody>
        </p:sp>
      </p:grpSp>
      <p:pic>
        <p:nvPicPr>
          <p:cNvPr id="88" name="Picture 2" descr="https://windows.azure-test.net/Content/VirtualMachines/Images/Windows_12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89635" y="2219444"/>
            <a:ext cx="484468" cy="383988"/>
          </a:xfrm>
          <a:prstGeom prst="rect">
            <a:avLst/>
          </a:prstGeom>
          <a:noFill/>
          <a:extLst>
            <a:ext uri="{909E8E84-426E-40DD-AFC4-6F175D3DCCD1}">
              <a14:hiddenFill xmlns:a14="http://schemas.microsoft.com/office/drawing/2010/main">
                <a:solidFill>
                  <a:srgbClr val="FFFFFF"/>
                </a:solidFill>
              </a14:hiddenFill>
            </a:ext>
          </a:extLst>
        </p:spPr>
      </p:pic>
      <p:sp>
        <p:nvSpPr>
          <p:cNvPr id="89" name="TextBox 88"/>
          <p:cNvSpPr txBox="1"/>
          <p:nvPr/>
        </p:nvSpPr>
        <p:spPr>
          <a:xfrm>
            <a:off x="5515422" y="2316047"/>
            <a:ext cx="2115493" cy="318549"/>
          </a:xfrm>
          <a:prstGeom prst="rect">
            <a:avLst/>
          </a:prstGeom>
          <a:noFill/>
        </p:spPr>
        <p:txBody>
          <a:bodyPr wrap="square" lIns="0" tIns="0" rIns="0" bIns="0" rtlCol="0">
            <a:spAutoFit/>
          </a:bodyPr>
          <a:lstStyle/>
          <a:p>
            <a:pPr defTabSz="1219170">
              <a:lnSpc>
                <a:spcPct val="90000"/>
              </a:lnSpc>
              <a:spcBef>
                <a:spcPct val="20000"/>
              </a:spcBef>
              <a:buSzPct val="80000"/>
              <a:defRPr/>
            </a:pPr>
            <a:r>
              <a:rPr lang="en-US" sz="2300" kern="0"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90" name="Picture 4" descr="https://windows.azure-test.net/Content/VirtualMachines/Images/Linux_120.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55332" y="2605966"/>
            <a:ext cx="601183" cy="534385"/>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5540276" y="2805585"/>
            <a:ext cx="2115493" cy="318549"/>
          </a:xfrm>
          <a:prstGeom prst="rect">
            <a:avLst/>
          </a:prstGeom>
          <a:noFill/>
        </p:spPr>
        <p:txBody>
          <a:bodyPr wrap="square" lIns="0" tIns="0" rIns="0" bIns="0" rtlCol="0">
            <a:spAutoFit/>
          </a:bodyPr>
          <a:lstStyle/>
          <a:p>
            <a:pPr defTabSz="1219170">
              <a:lnSpc>
                <a:spcPct val="90000"/>
              </a:lnSpc>
              <a:spcBef>
                <a:spcPct val="20000"/>
              </a:spcBef>
              <a:buSzPct val="80000"/>
              <a:defRPr/>
            </a:pPr>
            <a:r>
              <a:rPr lang="en-US" sz="2300" kern="0" dirty="0">
                <a:gradFill>
                  <a:gsLst>
                    <a:gs pos="0">
                      <a:srgbClr val="292929">
                        <a:lumMod val="90000"/>
                        <a:lumOff val="10000"/>
                      </a:srgbClr>
                    </a:gs>
                    <a:gs pos="86000">
                      <a:srgbClr val="292929">
                        <a:lumMod val="90000"/>
                        <a:lumOff val="10000"/>
                      </a:srgbClr>
                    </a:gs>
                  </a:gsLst>
                  <a:lin ang="5400000" scaled="0"/>
                </a:gradFill>
              </a:rPr>
              <a:t>Linux</a:t>
            </a:r>
          </a:p>
        </p:txBody>
      </p:sp>
      <p:sp>
        <p:nvSpPr>
          <p:cNvPr id="92" name="TextBox 91"/>
          <p:cNvSpPr txBox="1"/>
          <p:nvPr/>
        </p:nvSpPr>
        <p:spPr>
          <a:xfrm>
            <a:off x="5543789" y="3293008"/>
            <a:ext cx="2287887" cy="221599"/>
          </a:xfrm>
          <a:prstGeom prst="rect">
            <a:avLst/>
          </a:prstGeom>
          <a:noFill/>
        </p:spPr>
        <p:txBody>
          <a:bodyPr wrap="square" lIns="0" tIns="0" rIns="0" bIns="0" rtlCol="0">
            <a:spAutoFit/>
          </a:bodyPr>
          <a:lstStyle/>
          <a:p>
            <a:pPr defTabSz="1219170">
              <a:lnSpc>
                <a:spcPct val="90000"/>
              </a:lnSpc>
              <a:spcBef>
                <a:spcPct val="20000"/>
              </a:spcBef>
              <a:buSzPct val="80000"/>
              <a:defRPr/>
            </a:pPr>
            <a:r>
              <a:rPr lang="en-US" sz="1600" kern="0" dirty="0">
                <a:gradFill>
                  <a:gsLst>
                    <a:gs pos="0">
                      <a:srgbClr val="292929">
                        <a:lumMod val="90000"/>
                        <a:lumOff val="10000"/>
                      </a:srgbClr>
                    </a:gs>
                    <a:gs pos="86000">
                      <a:srgbClr val="292929">
                        <a:lumMod val="90000"/>
                        <a:lumOff val="10000"/>
                      </a:srgbClr>
                    </a:gs>
                  </a:gsLst>
                  <a:lin ang="5400000" scaled="0"/>
                </a:gradFill>
              </a:rPr>
              <a:t>A0 – A11</a:t>
            </a:r>
          </a:p>
        </p:txBody>
      </p:sp>
      <p:sp>
        <p:nvSpPr>
          <p:cNvPr id="93" name="Freeform 6"/>
          <p:cNvSpPr>
            <a:spLocks noEditPoints="1"/>
          </p:cNvSpPr>
          <p:nvPr/>
        </p:nvSpPr>
        <p:spPr bwMode="auto">
          <a:xfrm>
            <a:off x="5112543" y="3275512"/>
            <a:ext cx="152864" cy="23273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76050" tIns="38026" rIns="76050" bIns="38026" numCol="1" anchor="t" anchorCtr="0" compatLnSpc="1">
            <a:prstTxWarp prst="textNoShape">
              <a:avLst/>
            </a:prstTxWarp>
          </a:bodyPr>
          <a:lstStyle/>
          <a:p>
            <a:pPr defTabSz="759834">
              <a:defRPr/>
            </a:pPr>
            <a:endParaRPr lang="en-US" sz="1600" kern="0" dirty="0">
              <a:solidFill>
                <a:srgbClr val="292929"/>
              </a:solidFill>
            </a:endParaRPr>
          </a:p>
        </p:txBody>
      </p:sp>
      <p:sp>
        <p:nvSpPr>
          <p:cNvPr id="2" name="Title 1"/>
          <p:cNvSpPr>
            <a:spLocks noGrp="1"/>
          </p:cNvSpPr>
          <p:nvPr>
            <p:ph type="title"/>
          </p:nvPr>
        </p:nvSpPr>
        <p:spPr>
          <a:xfrm>
            <a:off x="256032" y="3525"/>
            <a:ext cx="11274552" cy="685800"/>
          </a:xfrm>
        </p:spPr>
        <p:txBody>
          <a:bodyPr/>
          <a:lstStyle/>
          <a:p>
            <a:pPr lvl="0"/>
            <a:r>
              <a:rPr lang="en-US" dirty="0"/>
              <a:t>Provisioning to the Cloud</a:t>
            </a:r>
          </a:p>
        </p:txBody>
      </p:sp>
      <p:pic>
        <p:nvPicPr>
          <p:cNvPr id="36" name="Picture 3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22643" y="4033977"/>
            <a:ext cx="585868" cy="585868"/>
          </a:xfrm>
          <a:prstGeom prst="rect">
            <a:avLst/>
          </a:prstGeom>
          <a:solidFill>
            <a:schemeClr val="accent6"/>
          </a:solidFill>
        </p:spPr>
      </p:pic>
      <p:sp>
        <p:nvSpPr>
          <p:cNvPr id="37" name="TextBox 36"/>
          <p:cNvSpPr txBox="1"/>
          <p:nvPr/>
        </p:nvSpPr>
        <p:spPr>
          <a:xfrm>
            <a:off x="2426499" y="4759920"/>
            <a:ext cx="1606857" cy="31234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200" dirty="0">
                <a:solidFill>
                  <a:srgbClr val="5F5F5F">
                    <a:alpha val="99000"/>
                  </a:srgbClr>
                </a:solidFill>
                <a:latin typeface="+mn-lt"/>
              </a:rPr>
              <a:t>Azure Resource Manager (ARM)</a:t>
            </a:r>
          </a:p>
        </p:txBody>
      </p:sp>
      <p:sp>
        <p:nvSpPr>
          <p:cNvPr id="38" name="TextBox 37"/>
          <p:cNvSpPr txBox="1"/>
          <p:nvPr/>
        </p:nvSpPr>
        <p:spPr>
          <a:xfrm>
            <a:off x="5520825" y="3652087"/>
            <a:ext cx="2287887" cy="221599"/>
          </a:xfrm>
          <a:prstGeom prst="rect">
            <a:avLst/>
          </a:prstGeom>
          <a:noFill/>
        </p:spPr>
        <p:txBody>
          <a:bodyPr wrap="square" lIns="0" tIns="0" rIns="0" bIns="0" rtlCol="0">
            <a:spAutoFit/>
          </a:bodyPr>
          <a:lstStyle/>
          <a:p>
            <a:pPr defTabSz="1219170">
              <a:lnSpc>
                <a:spcPct val="90000"/>
              </a:lnSpc>
              <a:spcBef>
                <a:spcPct val="20000"/>
              </a:spcBef>
              <a:buSzPct val="80000"/>
              <a:defRPr/>
            </a:pPr>
            <a:r>
              <a:rPr lang="en-US" sz="1600" kern="0" dirty="0">
                <a:gradFill>
                  <a:gsLst>
                    <a:gs pos="0">
                      <a:srgbClr val="292929">
                        <a:lumMod val="90000"/>
                        <a:lumOff val="10000"/>
                      </a:srgbClr>
                    </a:gs>
                    <a:gs pos="86000">
                      <a:srgbClr val="292929">
                        <a:lumMod val="90000"/>
                        <a:lumOff val="10000"/>
                      </a:srgbClr>
                    </a:gs>
                  </a:gsLst>
                  <a:lin ang="5400000" scaled="0"/>
                </a:gradFill>
              </a:rPr>
              <a:t>D1 – D4/D11 – D14</a:t>
            </a:r>
          </a:p>
        </p:txBody>
      </p:sp>
      <p:sp>
        <p:nvSpPr>
          <p:cNvPr id="39" name="TextBox 38"/>
          <p:cNvSpPr txBox="1"/>
          <p:nvPr/>
        </p:nvSpPr>
        <p:spPr>
          <a:xfrm>
            <a:off x="5521685" y="4984071"/>
            <a:ext cx="2287887" cy="221599"/>
          </a:xfrm>
          <a:prstGeom prst="rect">
            <a:avLst/>
          </a:prstGeom>
          <a:noFill/>
        </p:spPr>
        <p:txBody>
          <a:bodyPr wrap="square" lIns="0" tIns="0" rIns="0" bIns="0" rtlCol="0">
            <a:spAutoFit/>
          </a:bodyPr>
          <a:lstStyle/>
          <a:p>
            <a:pPr defTabSz="1219170">
              <a:lnSpc>
                <a:spcPct val="90000"/>
              </a:lnSpc>
              <a:spcBef>
                <a:spcPct val="20000"/>
              </a:spcBef>
              <a:buSzPct val="80000"/>
              <a:defRPr/>
            </a:pPr>
            <a:r>
              <a:rPr lang="en-US" sz="1600" kern="0" dirty="0">
                <a:gradFill>
                  <a:gsLst>
                    <a:gs pos="0">
                      <a:srgbClr val="292929">
                        <a:lumMod val="90000"/>
                        <a:lumOff val="10000"/>
                      </a:srgbClr>
                    </a:gs>
                    <a:gs pos="86000">
                      <a:srgbClr val="292929">
                        <a:lumMod val="90000"/>
                        <a:lumOff val="10000"/>
                      </a:srgbClr>
                    </a:gs>
                  </a:gsLst>
                  <a:lin ang="5400000" scaled="0"/>
                </a:gradFill>
              </a:rPr>
              <a:t>G1 – G5</a:t>
            </a:r>
          </a:p>
        </p:txBody>
      </p:sp>
      <p:sp>
        <p:nvSpPr>
          <p:cNvPr id="40" name="Freeform 6"/>
          <p:cNvSpPr>
            <a:spLocks noEditPoints="1"/>
          </p:cNvSpPr>
          <p:nvPr/>
        </p:nvSpPr>
        <p:spPr bwMode="auto">
          <a:xfrm>
            <a:off x="5120894" y="3634591"/>
            <a:ext cx="152864" cy="23273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76050" tIns="38026" rIns="76050" bIns="38026" numCol="1" anchor="t" anchorCtr="0" compatLnSpc="1">
            <a:prstTxWarp prst="textNoShape">
              <a:avLst/>
            </a:prstTxWarp>
          </a:bodyPr>
          <a:lstStyle/>
          <a:p>
            <a:pPr defTabSz="759834">
              <a:defRPr/>
            </a:pPr>
            <a:endParaRPr lang="en-US" sz="1600" kern="0" dirty="0">
              <a:solidFill>
                <a:srgbClr val="292929"/>
              </a:solidFill>
            </a:endParaRPr>
          </a:p>
        </p:txBody>
      </p:sp>
      <p:sp>
        <p:nvSpPr>
          <p:cNvPr id="41" name="Freeform 6"/>
          <p:cNvSpPr>
            <a:spLocks noEditPoints="1"/>
          </p:cNvSpPr>
          <p:nvPr/>
        </p:nvSpPr>
        <p:spPr bwMode="auto">
          <a:xfrm>
            <a:off x="5127157" y="4966271"/>
            <a:ext cx="152864" cy="23273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76050" tIns="38026" rIns="76050" bIns="38026" numCol="1" anchor="t" anchorCtr="0" compatLnSpc="1">
            <a:prstTxWarp prst="textNoShape">
              <a:avLst/>
            </a:prstTxWarp>
          </a:bodyPr>
          <a:lstStyle/>
          <a:p>
            <a:pPr defTabSz="759834">
              <a:defRPr/>
            </a:pPr>
            <a:endParaRPr lang="en-US" sz="1600" kern="0" dirty="0">
              <a:solidFill>
                <a:srgbClr val="292929"/>
              </a:solidFill>
            </a:endParaRPr>
          </a:p>
        </p:txBody>
      </p:sp>
      <p:sp>
        <p:nvSpPr>
          <p:cNvPr id="42" name="TextBox 41"/>
          <p:cNvSpPr txBox="1"/>
          <p:nvPr/>
        </p:nvSpPr>
        <p:spPr>
          <a:xfrm>
            <a:off x="5522500" y="3975303"/>
            <a:ext cx="2287887" cy="221599"/>
          </a:xfrm>
          <a:prstGeom prst="rect">
            <a:avLst/>
          </a:prstGeom>
          <a:noFill/>
        </p:spPr>
        <p:txBody>
          <a:bodyPr wrap="square" lIns="0" tIns="0" rIns="0" bIns="0" rtlCol="0">
            <a:spAutoFit/>
          </a:bodyPr>
          <a:lstStyle/>
          <a:p>
            <a:pPr defTabSz="1219170">
              <a:lnSpc>
                <a:spcPct val="90000"/>
              </a:lnSpc>
              <a:spcBef>
                <a:spcPct val="20000"/>
              </a:spcBef>
              <a:buSzPct val="80000"/>
              <a:defRPr/>
            </a:pPr>
            <a:r>
              <a:rPr lang="en-US" sz="1600" kern="0" dirty="0">
                <a:gradFill>
                  <a:gsLst>
                    <a:gs pos="0">
                      <a:srgbClr val="292929">
                        <a:lumMod val="90000"/>
                        <a:lumOff val="10000"/>
                      </a:srgbClr>
                    </a:gs>
                    <a:gs pos="86000">
                      <a:srgbClr val="292929">
                        <a:lumMod val="90000"/>
                        <a:lumOff val="10000"/>
                      </a:srgbClr>
                    </a:gs>
                  </a:gsLst>
                  <a:lin ang="5400000" scaled="0"/>
                </a:gradFill>
              </a:rPr>
              <a:t>D1_v2 – D15_v2</a:t>
            </a:r>
          </a:p>
        </p:txBody>
      </p:sp>
      <p:sp>
        <p:nvSpPr>
          <p:cNvPr id="43" name="Freeform 6"/>
          <p:cNvSpPr>
            <a:spLocks noEditPoints="1"/>
          </p:cNvSpPr>
          <p:nvPr/>
        </p:nvSpPr>
        <p:spPr bwMode="auto">
          <a:xfrm>
            <a:off x="5122569" y="3957807"/>
            <a:ext cx="152864" cy="23273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76050" tIns="38026" rIns="76050" bIns="38026" numCol="1" anchor="t" anchorCtr="0" compatLnSpc="1">
            <a:prstTxWarp prst="textNoShape">
              <a:avLst/>
            </a:prstTxWarp>
          </a:bodyPr>
          <a:lstStyle/>
          <a:p>
            <a:pPr defTabSz="759834">
              <a:defRPr/>
            </a:pPr>
            <a:endParaRPr lang="en-US" sz="1600" kern="0" dirty="0">
              <a:solidFill>
                <a:srgbClr val="292929"/>
              </a:solidFill>
            </a:endParaRPr>
          </a:p>
        </p:txBody>
      </p:sp>
      <p:sp>
        <p:nvSpPr>
          <p:cNvPr id="44" name="TextBox 43"/>
          <p:cNvSpPr txBox="1"/>
          <p:nvPr/>
        </p:nvSpPr>
        <p:spPr>
          <a:xfrm>
            <a:off x="5522500" y="4342814"/>
            <a:ext cx="2287887" cy="221599"/>
          </a:xfrm>
          <a:prstGeom prst="rect">
            <a:avLst/>
          </a:prstGeom>
          <a:noFill/>
        </p:spPr>
        <p:txBody>
          <a:bodyPr wrap="square" lIns="0" tIns="0" rIns="0" bIns="0" rtlCol="0">
            <a:spAutoFit/>
          </a:bodyPr>
          <a:lstStyle/>
          <a:p>
            <a:pPr defTabSz="1219170">
              <a:lnSpc>
                <a:spcPct val="90000"/>
              </a:lnSpc>
              <a:spcBef>
                <a:spcPct val="20000"/>
              </a:spcBef>
              <a:buSzPct val="80000"/>
              <a:defRPr/>
            </a:pPr>
            <a:r>
              <a:rPr lang="en-US" sz="1600" kern="0" dirty="0">
                <a:gradFill>
                  <a:gsLst>
                    <a:gs pos="0">
                      <a:srgbClr val="292929">
                        <a:lumMod val="90000"/>
                        <a:lumOff val="10000"/>
                      </a:srgbClr>
                    </a:gs>
                    <a:gs pos="86000">
                      <a:srgbClr val="292929">
                        <a:lumMod val="90000"/>
                        <a:lumOff val="10000"/>
                      </a:srgbClr>
                    </a:gs>
                  </a:gsLst>
                  <a:lin ang="5400000" scaled="0"/>
                </a:gradFill>
              </a:rPr>
              <a:t>DS1 – DS4/DS11 – DS14</a:t>
            </a:r>
          </a:p>
        </p:txBody>
      </p:sp>
      <p:sp>
        <p:nvSpPr>
          <p:cNvPr id="45" name="Freeform 6"/>
          <p:cNvSpPr>
            <a:spLocks noEditPoints="1"/>
          </p:cNvSpPr>
          <p:nvPr/>
        </p:nvSpPr>
        <p:spPr bwMode="auto">
          <a:xfrm>
            <a:off x="5122569" y="4325318"/>
            <a:ext cx="152864" cy="23273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76050" tIns="38026" rIns="76050" bIns="38026" numCol="1" anchor="t" anchorCtr="0" compatLnSpc="1">
            <a:prstTxWarp prst="textNoShape">
              <a:avLst/>
            </a:prstTxWarp>
          </a:bodyPr>
          <a:lstStyle/>
          <a:p>
            <a:pPr defTabSz="759834">
              <a:defRPr/>
            </a:pPr>
            <a:endParaRPr lang="en-US" sz="1600" kern="0" dirty="0">
              <a:solidFill>
                <a:srgbClr val="292929"/>
              </a:solidFill>
            </a:endParaRPr>
          </a:p>
        </p:txBody>
      </p:sp>
      <p:sp>
        <p:nvSpPr>
          <p:cNvPr id="46" name="TextBox 45"/>
          <p:cNvSpPr txBox="1"/>
          <p:nvPr/>
        </p:nvSpPr>
        <p:spPr>
          <a:xfrm>
            <a:off x="5524180" y="4655982"/>
            <a:ext cx="2287887" cy="221599"/>
          </a:xfrm>
          <a:prstGeom prst="rect">
            <a:avLst/>
          </a:prstGeom>
          <a:noFill/>
        </p:spPr>
        <p:txBody>
          <a:bodyPr wrap="square" lIns="0" tIns="0" rIns="0" bIns="0" rtlCol="0">
            <a:spAutoFit/>
          </a:bodyPr>
          <a:lstStyle/>
          <a:p>
            <a:pPr defTabSz="1219170">
              <a:lnSpc>
                <a:spcPct val="90000"/>
              </a:lnSpc>
              <a:spcBef>
                <a:spcPct val="20000"/>
              </a:spcBef>
              <a:buSzPct val="80000"/>
              <a:defRPr/>
            </a:pPr>
            <a:r>
              <a:rPr lang="en-US" sz="1600" kern="0" dirty="0">
                <a:gradFill>
                  <a:gsLst>
                    <a:gs pos="0">
                      <a:srgbClr val="292929">
                        <a:lumMod val="90000"/>
                        <a:lumOff val="10000"/>
                      </a:srgbClr>
                    </a:gs>
                    <a:gs pos="86000">
                      <a:srgbClr val="292929">
                        <a:lumMod val="90000"/>
                        <a:lumOff val="10000"/>
                      </a:srgbClr>
                    </a:gs>
                  </a:gsLst>
                  <a:lin ang="5400000" scaled="0"/>
                </a:gradFill>
              </a:rPr>
              <a:t>DS1_v2 – DS15_v2</a:t>
            </a:r>
          </a:p>
        </p:txBody>
      </p:sp>
      <p:sp>
        <p:nvSpPr>
          <p:cNvPr id="47" name="Freeform 6"/>
          <p:cNvSpPr>
            <a:spLocks noEditPoints="1"/>
          </p:cNvSpPr>
          <p:nvPr/>
        </p:nvSpPr>
        <p:spPr bwMode="auto">
          <a:xfrm>
            <a:off x="5124249" y="4638486"/>
            <a:ext cx="152864" cy="23273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76050" tIns="38026" rIns="76050" bIns="38026" numCol="1" anchor="t" anchorCtr="0" compatLnSpc="1">
            <a:prstTxWarp prst="textNoShape">
              <a:avLst/>
            </a:prstTxWarp>
          </a:bodyPr>
          <a:lstStyle/>
          <a:p>
            <a:pPr defTabSz="759834">
              <a:defRPr/>
            </a:pPr>
            <a:endParaRPr lang="en-US" sz="1600" kern="0" dirty="0">
              <a:solidFill>
                <a:srgbClr val="292929"/>
              </a:solidFill>
            </a:endParaRPr>
          </a:p>
        </p:txBody>
      </p:sp>
      <p:sp>
        <p:nvSpPr>
          <p:cNvPr id="48" name="TextBox 47"/>
          <p:cNvSpPr txBox="1"/>
          <p:nvPr/>
        </p:nvSpPr>
        <p:spPr>
          <a:xfrm>
            <a:off x="5523365" y="5297239"/>
            <a:ext cx="2287887" cy="221599"/>
          </a:xfrm>
          <a:prstGeom prst="rect">
            <a:avLst/>
          </a:prstGeom>
          <a:noFill/>
        </p:spPr>
        <p:txBody>
          <a:bodyPr wrap="square" lIns="0" tIns="0" rIns="0" bIns="0" rtlCol="0">
            <a:spAutoFit/>
          </a:bodyPr>
          <a:lstStyle/>
          <a:p>
            <a:pPr defTabSz="1219170">
              <a:lnSpc>
                <a:spcPct val="90000"/>
              </a:lnSpc>
              <a:spcBef>
                <a:spcPct val="20000"/>
              </a:spcBef>
              <a:buSzPct val="80000"/>
              <a:defRPr/>
            </a:pPr>
            <a:r>
              <a:rPr lang="en-US" sz="1600" kern="0" dirty="0">
                <a:gradFill>
                  <a:gsLst>
                    <a:gs pos="0">
                      <a:srgbClr val="292929">
                        <a:lumMod val="90000"/>
                        <a:lumOff val="10000"/>
                      </a:srgbClr>
                    </a:gs>
                    <a:gs pos="86000">
                      <a:srgbClr val="292929">
                        <a:lumMod val="90000"/>
                        <a:lumOff val="10000"/>
                      </a:srgbClr>
                    </a:gs>
                  </a:gsLst>
                  <a:lin ang="5400000" scaled="0"/>
                </a:gradFill>
              </a:rPr>
              <a:t>GS1 – GS5</a:t>
            </a:r>
          </a:p>
        </p:txBody>
      </p:sp>
      <p:sp>
        <p:nvSpPr>
          <p:cNvPr id="49" name="Freeform 6"/>
          <p:cNvSpPr>
            <a:spLocks noEditPoints="1"/>
          </p:cNvSpPr>
          <p:nvPr/>
        </p:nvSpPr>
        <p:spPr bwMode="auto">
          <a:xfrm>
            <a:off x="5128837" y="5279439"/>
            <a:ext cx="152864" cy="23273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76050" tIns="38026" rIns="76050" bIns="38026" numCol="1" anchor="t" anchorCtr="0" compatLnSpc="1">
            <a:prstTxWarp prst="textNoShape">
              <a:avLst/>
            </a:prstTxWarp>
          </a:bodyPr>
          <a:lstStyle/>
          <a:p>
            <a:pPr defTabSz="759834">
              <a:defRPr/>
            </a:pPr>
            <a:endParaRPr lang="en-US" sz="1600" kern="0" dirty="0">
              <a:solidFill>
                <a:srgbClr val="292929"/>
              </a:solidFill>
            </a:endParaRPr>
          </a:p>
        </p:txBody>
      </p:sp>
    </p:spTree>
    <p:extLst>
      <p:ext uri="{BB962C8B-B14F-4D97-AF65-F5344CB8AC3E}">
        <p14:creationId xmlns:p14="http://schemas.microsoft.com/office/powerpoint/2010/main" val="2213185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500"/>
                                        <p:tgtEl>
                                          <p:spTgt spid="6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9"/>
                                        </p:tgtEl>
                                        <p:attrNameLst>
                                          <p:attrName>style.visibility</p:attrName>
                                        </p:attrNameLst>
                                      </p:cBhvr>
                                      <p:to>
                                        <p:strVal val="visible"/>
                                      </p:to>
                                    </p:set>
                                    <p:animEffect transition="in" filter="fade">
                                      <p:cBhvr>
                                        <p:cTn id="10" dur="500"/>
                                        <p:tgtEl>
                                          <p:spTgt spid="69"/>
                                        </p:tgtEl>
                                      </p:cBhvr>
                                    </p:animEffect>
                                  </p:childTnLst>
                                </p:cTn>
                              </p:par>
                              <p:par>
                                <p:cTn id="11" presetID="10" presetClass="entr" presetSubtype="0" fill="hold" nodeType="withEffect">
                                  <p:stCondLst>
                                    <p:cond delay="0"/>
                                  </p:stCondLst>
                                  <p:childTnLst>
                                    <p:set>
                                      <p:cBhvr>
                                        <p:cTn id="12" dur="1" fill="hold">
                                          <p:stCondLst>
                                            <p:cond delay="0"/>
                                          </p:stCondLst>
                                        </p:cTn>
                                        <p:tgtEl>
                                          <p:spTgt spid="88"/>
                                        </p:tgtEl>
                                        <p:attrNameLst>
                                          <p:attrName>style.visibility</p:attrName>
                                        </p:attrNameLst>
                                      </p:cBhvr>
                                      <p:to>
                                        <p:strVal val="visible"/>
                                      </p:to>
                                    </p:set>
                                    <p:animEffect transition="in" filter="fade">
                                      <p:cBhvr>
                                        <p:cTn id="13" dur="500"/>
                                        <p:tgtEl>
                                          <p:spTgt spid="8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9"/>
                                        </p:tgtEl>
                                        <p:attrNameLst>
                                          <p:attrName>style.visibility</p:attrName>
                                        </p:attrNameLst>
                                      </p:cBhvr>
                                      <p:to>
                                        <p:strVal val="visible"/>
                                      </p:to>
                                    </p:set>
                                    <p:animEffect transition="in" filter="fade">
                                      <p:cBhvr>
                                        <p:cTn id="16" dur="500"/>
                                        <p:tgtEl>
                                          <p:spTgt spid="89"/>
                                        </p:tgtEl>
                                      </p:cBhvr>
                                    </p:animEffect>
                                  </p:childTnLst>
                                </p:cTn>
                              </p:par>
                              <p:par>
                                <p:cTn id="17" presetID="10" presetClass="entr" presetSubtype="0" fill="hold" nodeType="withEffect">
                                  <p:stCondLst>
                                    <p:cond delay="0"/>
                                  </p:stCondLst>
                                  <p:childTnLst>
                                    <p:set>
                                      <p:cBhvr>
                                        <p:cTn id="18" dur="1" fill="hold">
                                          <p:stCondLst>
                                            <p:cond delay="0"/>
                                          </p:stCondLst>
                                        </p:cTn>
                                        <p:tgtEl>
                                          <p:spTgt spid="90"/>
                                        </p:tgtEl>
                                        <p:attrNameLst>
                                          <p:attrName>style.visibility</p:attrName>
                                        </p:attrNameLst>
                                      </p:cBhvr>
                                      <p:to>
                                        <p:strVal val="visible"/>
                                      </p:to>
                                    </p:set>
                                    <p:animEffect transition="in" filter="fade">
                                      <p:cBhvr>
                                        <p:cTn id="19" dur="500"/>
                                        <p:tgtEl>
                                          <p:spTgt spid="9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1"/>
                                        </p:tgtEl>
                                        <p:attrNameLst>
                                          <p:attrName>style.visibility</p:attrName>
                                        </p:attrNameLst>
                                      </p:cBhvr>
                                      <p:to>
                                        <p:strVal val="visible"/>
                                      </p:to>
                                    </p:set>
                                    <p:animEffect transition="in" filter="fade">
                                      <p:cBhvr>
                                        <p:cTn id="22" dur="500"/>
                                        <p:tgtEl>
                                          <p:spTgt spid="9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3"/>
                                        </p:tgtEl>
                                        <p:attrNameLst>
                                          <p:attrName>style.visibility</p:attrName>
                                        </p:attrNameLst>
                                      </p:cBhvr>
                                      <p:to>
                                        <p:strVal val="visible"/>
                                      </p:to>
                                    </p:set>
                                    <p:animEffect transition="in" filter="fade">
                                      <p:cBhvr>
                                        <p:cTn id="28" dur="500"/>
                                        <p:tgtEl>
                                          <p:spTgt spid="9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56"/>
                                        </p:tgtEl>
                                        <p:attrNameLst>
                                          <p:attrName>style.visibility</p:attrName>
                                        </p:attrNameLst>
                                      </p:cBhvr>
                                      <p:to>
                                        <p:strVal val="visible"/>
                                      </p:to>
                                    </p:set>
                                    <p:animEffect transition="in" filter="fade">
                                      <p:cBhvr>
                                        <p:cTn id="33" dur="500"/>
                                        <p:tgtEl>
                                          <p:spTgt spid="56"/>
                                        </p:tgtEl>
                                      </p:cBhvr>
                                    </p:animEffect>
                                  </p:childTnLst>
                                </p:cTn>
                              </p:par>
                              <p:par>
                                <p:cTn id="34" presetID="10" presetClass="entr" presetSubtype="0" fill="hold" nodeType="withEffect">
                                  <p:stCondLst>
                                    <p:cond delay="0"/>
                                  </p:stCondLst>
                                  <p:childTnLst>
                                    <p:set>
                                      <p:cBhvr>
                                        <p:cTn id="35" dur="1" fill="hold">
                                          <p:stCondLst>
                                            <p:cond delay="0"/>
                                          </p:stCondLst>
                                        </p:cTn>
                                        <p:tgtEl>
                                          <p:spTgt spid="84"/>
                                        </p:tgtEl>
                                        <p:attrNameLst>
                                          <p:attrName>style.visibility</p:attrName>
                                        </p:attrNameLst>
                                      </p:cBhvr>
                                      <p:to>
                                        <p:strVal val="visible"/>
                                      </p:to>
                                    </p:set>
                                    <p:animEffect transition="in" filter="fade">
                                      <p:cBhvr>
                                        <p:cTn id="36" dur="500"/>
                                        <p:tgtEl>
                                          <p:spTgt spid="84"/>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500"/>
                                        <p:tgtEl>
                                          <p:spTgt spid="3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9"/>
                                        </p:tgtEl>
                                        <p:attrNameLst>
                                          <p:attrName>style.visibility</p:attrName>
                                        </p:attrNameLst>
                                      </p:cBhvr>
                                      <p:to>
                                        <p:strVal val="visible"/>
                                      </p:to>
                                    </p:set>
                                    <p:animEffect transition="in" filter="fade">
                                      <p:cBhvr>
                                        <p:cTn id="42" dur="500"/>
                                        <p:tgtEl>
                                          <p:spTgt spid="3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fade">
                                      <p:cBhvr>
                                        <p:cTn id="45" dur="500"/>
                                        <p:tgtEl>
                                          <p:spTgt spid="4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1"/>
                                        </p:tgtEl>
                                        <p:attrNameLst>
                                          <p:attrName>style.visibility</p:attrName>
                                        </p:attrNameLst>
                                      </p:cBhvr>
                                      <p:to>
                                        <p:strVal val="visible"/>
                                      </p:to>
                                    </p:set>
                                    <p:animEffect transition="in" filter="fade">
                                      <p:cBhvr>
                                        <p:cTn id="48" dur="500"/>
                                        <p:tgtEl>
                                          <p:spTgt spid="41"/>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2"/>
                                        </p:tgtEl>
                                        <p:attrNameLst>
                                          <p:attrName>style.visibility</p:attrName>
                                        </p:attrNameLst>
                                      </p:cBhvr>
                                      <p:to>
                                        <p:strVal val="visible"/>
                                      </p:to>
                                    </p:set>
                                    <p:animEffect transition="in" filter="fade">
                                      <p:cBhvr>
                                        <p:cTn id="51" dur="500"/>
                                        <p:tgtEl>
                                          <p:spTgt spid="42"/>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43"/>
                                        </p:tgtEl>
                                        <p:attrNameLst>
                                          <p:attrName>style.visibility</p:attrName>
                                        </p:attrNameLst>
                                      </p:cBhvr>
                                      <p:to>
                                        <p:strVal val="visible"/>
                                      </p:to>
                                    </p:set>
                                    <p:animEffect transition="in" filter="fade">
                                      <p:cBhvr>
                                        <p:cTn id="54" dur="500"/>
                                        <p:tgtEl>
                                          <p:spTgt spid="43"/>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4"/>
                                        </p:tgtEl>
                                        <p:attrNameLst>
                                          <p:attrName>style.visibility</p:attrName>
                                        </p:attrNameLst>
                                      </p:cBhvr>
                                      <p:to>
                                        <p:strVal val="visible"/>
                                      </p:to>
                                    </p:set>
                                    <p:animEffect transition="in" filter="fade">
                                      <p:cBhvr>
                                        <p:cTn id="57" dur="500"/>
                                        <p:tgtEl>
                                          <p:spTgt spid="44"/>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45"/>
                                        </p:tgtEl>
                                        <p:attrNameLst>
                                          <p:attrName>style.visibility</p:attrName>
                                        </p:attrNameLst>
                                      </p:cBhvr>
                                      <p:to>
                                        <p:strVal val="visible"/>
                                      </p:to>
                                    </p:set>
                                    <p:animEffect transition="in" filter="fade">
                                      <p:cBhvr>
                                        <p:cTn id="60" dur="500"/>
                                        <p:tgtEl>
                                          <p:spTgt spid="45"/>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46"/>
                                        </p:tgtEl>
                                        <p:attrNameLst>
                                          <p:attrName>style.visibility</p:attrName>
                                        </p:attrNameLst>
                                      </p:cBhvr>
                                      <p:to>
                                        <p:strVal val="visible"/>
                                      </p:to>
                                    </p:set>
                                    <p:animEffect transition="in" filter="fade">
                                      <p:cBhvr>
                                        <p:cTn id="63" dur="500"/>
                                        <p:tgtEl>
                                          <p:spTgt spid="46"/>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47"/>
                                        </p:tgtEl>
                                        <p:attrNameLst>
                                          <p:attrName>style.visibility</p:attrName>
                                        </p:attrNameLst>
                                      </p:cBhvr>
                                      <p:to>
                                        <p:strVal val="visible"/>
                                      </p:to>
                                    </p:set>
                                    <p:animEffect transition="in" filter="fade">
                                      <p:cBhvr>
                                        <p:cTn id="66" dur="500"/>
                                        <p:tgtEl>
                                          <p:spTgt spid="47"/>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48"/>
                                        </p:tgtEl>
                                        <p:attrNameLst>
                                          <p:attrName>style.visibility</p:attrName>
                                        </p:attrNameLst>
                                      </p:cBhvr>
                                      <p:to>
                                        <p:strVal val="visible"/>
                                      </p:to>
                                    </p:set>
                                    <p:animEffect transition="in" filter="fade">
                                      <p:cBhvr>
                                        <p:cTn id="69" dur="500"/>
                                        <p:tgtEl>
                                          <p:spTgt spid="48"/>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49"/>
                                        </p:tgtEl>
                                        <p:attrNameLst>
                                          <p:attrName>style.visibility</p:attrName>
                                        </p:attrNameLst>
                                      </p:cBhvr>
                                      <p:to>
                                        <p:strVal val="visible"/>
                                      </p:to>
                                    </p:set>
                                    <p:animEffect transition="in" filter="fade">
                                      <p:cBhvr>
                                        <p:cTn id="7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69" grpId="0" animBg="1"/>
      <p:bldP spid="89" grpId="0"/>
      <p:bldP spid="91" grpId="0"/>
      <p:bldP spid="92" grpId="0"/>
      <p:bldP spid="93" grpId="0" animBg="1"/>
      <p:bldP spid="38" grpId="0"/>
      <p:bldP spid="39" grpId="0"/>
      <p:bldP spid="40" grpId="0" animBg="1"/>
      <p:bldP spid="41" grpId="0" animBg="1"/>
      <p:bldP spid="42" grpId="0"/>
      <p:bldP spid="43" grpId="0" animBg="1"/>
      <p:bldP spid="44" grpId="0"/>
      <p:bldP spid="45" grpId="0" animBg="1"/>
      <p:bldP spid="46" grpId="0"/>
      <p:bldP spid="47" grpId="0" animBg="1"/>
      <p:bldP spid="48" grpId="0"/>
      <p:bldP spid="49"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96128" y="1658741"/>
            <a:ext cx="9399071" cy="2859873"/>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algn="ctr"/>
            <a:endParaRPr lang="en-US"/>
          </a:p>
        </p:txBody>
      </p:sp>
      <p:sp>
        <p:nvSpPr>
          <p:cNvPr id="6" name="Title 5"/>
          <p:cNvSpPr>
            <a:spLocks noGrp="1"/>
          </p:cNvSpPr>
          <p:nvPr>
            <p:ph type="title"/>
          </p:nvPr>
        </p:nvSpPr>
        <p:spPr>
          <a:xfrm>
            <a:off x="301752" y="1043"/>
            <a:ext cx="11274552" cy="786748"/>
          </a:xfrm>
        </p:spPr>
        <p:txBody>
          <a:bodyPr/>
          <a:lstStyle/>
          <a:p>
            <a:r>
              <a:rPr lang="en-US" dirty="0"/>
              <a:t>Supported Windows Server Applications</a:t>
            </a:r>
          </a:p>
        </p:txBody>
      </p:sp>
      <p:sp>
        <p:nvSpPr>
          <p:cNvPr id="9" name="Content Placeholder 8"/>
          <p:cNvSpPr>
            <a:spLocks noGrp="1"/>
          </p:cNvSpPr>
          <p:nvPr>
            <p:ph type="body" sz="quarter" idx="13"/>
          </p:nvPr>
        </p:nvSpPr>
        <p:spPr>
          <a:xfrm>
            <a:off x="402336" y="787792"/>
            <a:ext cx="11173968" cy="4872780"/>
          </a:xfrm>
        </p:spPr>
        <p:txBody>
          <a:bodyPr>
            <a:noAutofit/>
          </a:bodyPr>
          <a:lstStyle/>
          <a:p>
            <a:pPr marL="0" lvl="0" indent="0">
              <a:buNone/>
            </a:pPr>
            <a:endParaRPr lang="en-US" sz="1200" dirty="0">
              <a:hlinkClick r:id="rId3"/>
            </a:endParaRPr>
          </a:p>
          <a:p>
            <a:r>
              <a:rPr lang="en-US" sz="1200" b="1" dirty="0">
                <a:solidFill>
                  <a:schemeClr val="tx1"/>
                </a:solidFill>
              </a:rPr>
              <a:t>Microsoft BizTalk Server</a:t>
            </a:r>
            <a:r>
              <a:rPr lang="en-US" sz="1200" dirty="0">
                <a:solidFill>
                  <a:schemeClr val="tx1"/>
                </a:solidFill>
              </a:rPr>
              <a:t> - Microsoft BizTalk Server 2013 and later versions</a:t>
            </a:r>
          </a:p>
          <a:p>
            <a:r>
              <a:rPr lang="en-US" sz="1200" b="1" dirty="0">
                <a:solidFill>
                  <a:schemeClr val="tx1"/>
                </a:solidFill>
              </a:rPr>
              <a:t>Microsoft Dynamics AX</a:t>
            </a:r>
            <a:r>
              <a:rPr lang="en-US" sz="1200" dirty="0">
                <a:solidFill>
                  <a:schemeClr val="tx1"/>
                </a:solidFill>
              </a:rPr>
              <a:t> - Microsoft Dynamics AX 2012 R3 and future updates </a:t>
            </a:r>
          </a:p>
          <a:p>
            <a:r>
              <a:rPr lang="en-US" sz="1200" b="1" dirty="0">
                <a:solidFill>
                  <a:schemeClr val="tx1"/>
                </a:solidFill>
              </a:rPr>
              <a:t>Microsoft Dynamics GP</a:t>
            </a:r>
            <a:r>
              <a:rPr lang="en-US" sz="1200" dirty="0">
                <a:solidFill>
                  <a:schemeClr val="tx1"/>
                </a:solidFill>
              </a:rPr>
              <a:t> - Microsoft Dynamics GP 2013 and later versions</a:t>
            </a:r>
          </a:p>
          <a:p>
            <a:r>
              <a:rPr lang="en-US" sz="1200" b="1" dirty="0">
                <a:solidFill>
                  <a:schemeClr val="tx1"/>
                </a:solidFill>
              </a:rPr>
              <a:t>Microsoft Dynamics NAV</a:t>
            </a:r>
            <a:r>
              <a:rPr lang="en-US" sz="1200" dirty="0">
                <a:solidFill>
                  <a:schemeClr val="tx1"/>
                </a:solidFill>
              </a:rPr>
              <a:t> - Microsoft Dynamics NAV 2013 and later versions</a:t>
            </a:r>
          </a:p>
          <a:p>
            <a:r>
              <a:rPr lang="en-US" sz="1200" b="1" dirty="0">
                <a:solidFill>
                  <a:schemeClr val="tx1"/>
                </a:solidFill>
              </a:rPr>
              <a:t>Microsoft Forefront Identity Manager</a:t>
            </a:r>
            <a:r>
              <a:rPr lang="en-US" sz="1200" dirty="0">
                <a:solidFill>
                  <a:schemeClr val="tx1"/>
                </a:solidFill>
              </a:rPr>
              <a:t> - Microsoft Forefront Identity Manager 2010 R2 SP1 and later versions</a:t>
            </a:r>
          </a:p>
          <a:p>
            <a:r>
              <a:rPr lang="en-US" sz="1200" b="1" dirty="0">
                <a:solidFill>
                  <a:schemeClr val="tx1"/>
                </a:solidFill>
              </a:rPr>
              <a:t>Microsoft HPC Pack</a:t>
            </a:r>
            <a:r>
              <a:rPr lang="en-US" sz="1200" dirty="0">
                <a:solidFill>
                  <a:schemeClr val="tx1"/>
                </a:solidFill>
              </a:rPr>
              <a:t> - Microsoft HPC Pack 2012 and later versions </a:t>
            </a:r>
          </a:p>
          <a:p>
            <a:r>
              <a:rPr lang="en-US" sz="1200" b="1" dirty="0">
                <a:solidFill>
                  <a:schemeClr val="tx1"/>
                </a:solidFill>
              </a:rPr>
              <a:t>Microsoft Project Server</a:t>
            </a:r>
            <a:r>
              <a:rPr lang="en-US" sz="1200" dirty="0">
                <a:solidFill>
                  <a:schemeClr val="tx1"/>
                </a:solidFill>
              </a:rPr>
              <a:t> - Microsoft Project Server 2013 and later versions</a:t>
            </a:r>
          </a:p>
          <a:p>
            <a:r>
              <a:rPr lang="en-US" sz="1200" b="1" dirty="0">
                <a:solidFill>
                  <a:schemeClr val="tx1"/>
                </a:solidFill>
              </a:rPr>
              <a:t>Microsoft SharePoint Server</a:t>
            </a:r>
            <a:r>
              <a:rPr lang="en-US" sz="1200" dirty="0">
                <a:solidFill>
                  <a:schemeClr val="tx1"/>
                </a:solidFill>
              </a:rPr>
              <a:t> - Microsoft SharePoint Server 2010 and later versions are supported on Windows Azure Virtual Machines. </a:t>
            </a:r>
          </a:p>
          <a:p>
            <a:r>
              <a:rPr lang="en-US" sz="1200" b="1" dirty="0">
                <a:solidFill>
                  <a:schemeClr val="tx1"/>
                </a:solidFill>
              </a:rPr>
              <a:t>Microsoft SQL Server</a:t>
            </a:r>
            <a:r>
              <a:rPr lang="en-US" sz="1200" dirty="0">
                <a:solidFill>
                  <a:schemeClr val="tx1"/>
                </a:solidFill>
              </a:rPr>
              <a:t> - 64-bit versions of Microsoft SQL Server 2008 and later versions </a:t>
            </a:r>
          </a:p>
          <a:p>
            <a:r>
              <a:rPr lang="en-US" sz="1200" b="1" dirty="0">
                <a:solidFill>
                  <a:schemeClr val="tx1"/>
                </a:solidFill>
              </a:rPr>
              <a:t>Microsoft System Center</a:t>
            </a:r>
            <a:r>
              <a:rPr lang="en-US" sz="1200" dirty="0">
                <a:solidFill>
                  <a:schemeClr val="tx1"/>
                </a:solidFill>
              </a:rPr>
              <a:t> - Microsoft System Center 2012 SP1 and later versions are supported for the following applications:</a:t>
            </a:r>
          </a:p>
          <a:p>
            <a:pPr lvl="1">
              <a:spcBef>
                <a:spcPts val="0"/>
              </a:spcBef>
            </a:pPr>
            <a:r>
              <a:rPr lang="en-US" sz="1100" dirty="0">
                <a:solidFill>
                  <a:schemeClr val="tx1"/>
                </a:solidFill>
              </a:rPr>
              <a:t>•App Controller</a:t>
            </a:r>
          </a:p>
          <a:p>
            <a:pPr lvl="1">
              <a:spcBef>
                <a:spcPts val="0"/>
              </a:spcBef>
            </a:pPr>
            <a:r>
              <a:rPr lang="en-US" sz="1100" dirty="0">
                <a:solidFill>
                  <a:schemeClr val="tx1"/>
                </a:solidFill>
              </a:rPr>
              <a:t>•Configuration Manager</a:t>
            </a:r>
          </a:p>
          <a:p>
            <a:pPr lvl="1">
              <a:spcBef>
                <a:spcPts val="0"/>
              </a:spcBef>
            </a:pPr>
            <a:r>
              <a:rPr lang="en-US" sz="1100" dirty="0">
                <a:solidFill>
                  <a:schemeClr val="tx1"/>
                </a:solidFill>
              </a:rPr>
              <a:t>•Endpoint Protection</a:t>
            </a:r>
          </a:p>
          <a:p>
            <a:pPr lvl="1">
              <a:spcBef>
                <a:spcPts val="0"/>
              </a:spcBef>
            </a:pPr>
            <a:r>
              <a:rPr lang="en-US" sz="1100" dirty="0">
                <a:solidFill>
                  <a:schemeClr val="tx1"/>
                </a:solidFill>
              </a:rPr>
              <a:t>•Operations Manager</a:t>
            </a:r>
          </a:p>
          <a:p>
            <a:pPr lvl="1">
              <a:spcBef>
                <a:spcPts val="0"/>
              </a:spcBef>
            </a:pPr>
            <a:r>
              <a:rPr lang="en-US" sz="1100" dirty="0">
                <a:solidFill>
                  <a:schemeClr val="tx1"/>
                </a:solidFill>
              </a:rPr>
              <a:t>•Orchestrator</a:t>
            </a:r>
          </a:p>
          <a:p>
            <a:pPr lvl="1">
              <a:spcBef>
                <a:spcPts val="0"/>
              </a:spcBef>
            </a:pPr>
            <a:r>
              <a:rPr lang="en-US" sz="1100" dirty="0">
                <a:solidFill>
                  <a:schemeClr val="tx1"/>
                </a:solidFill>
              </a:rPr>
              <a:t>•Server Application Virtualization</a:t>
            </a:r>
          </a:p>
          <a:p>
            <a:pPr lvl="1">
              <a:spcBef>
                <a:spcPts val="0"/>
              </a:spcBef>
            </a:pPr>
            <a:r>
              <a:rPr lang="en-US" sz="1100" dirty="0">
                <a:solidFill>
                  <a:schemeClr val="tx1"/>
                </a:solidFill>
              </a:rPr>
              <a:t>•Service Manager</a:t>
            </a:r>
          </a:p>
          <a:p>
            <a:pPr lvl="1">
              <a:spcBef>
                <a:spcPts val="0"/>
              </a:spcBef>
            </a:pPr>
            <a:endParaRPr lang="en-US" sz="1100" dirty="0">
              <a:solidFill>
                <a:schemeClr val="tx1"/>
              </a:solidFill>
            </a:endParaRPr>
          </a:p>
          <a:p>
            <a:r>
              <a:rPr lang="en-US" sz="1200" b="1" dirty="0">
                <a:solidFill>
                  <a:schemeClr val="tx1"/>
                </a:solidFill>
              </a:rPr>
              <a:t>Microsoft Team Foundation Server 2012</a:t>
            </a:r>
            <a:r>
              <a:rPr lang="en-US" sz="1200" dirty="0">
                <a:solidFill>
                  <a:schemeClr val="tx1"/>
                </a:solidFill>
              </a:rPr>
              <a:t> and later versions</a:t>
            </a:r>
          </a:p>
          <a:p>
            <a:r>
              <a:rPr lang="en-US" sz="1200" b="1" dirty="0">
                <a:solidFill>
                  <a:schemeClr val="tx1"/>
                </a:solidFill>
              </a:rPr>
              <a:t>Microsoft Exchange</a:t>
            </a:r>
          </a:p>
          <a:p>
            <a:r>
              <a:rPr lang="en-US" sz="1200" dirty="0">
                <a:solidFill>
                  <a:schemeClr val="tx1"/>
                </a:solidFill>
              </a:rPr>
              <a:t>For the most up to date list : </a:t>
            </a:r>
            <a:r>
              <a:rPr lang="en-US" sz="1200" b="1" dirty="0"/>
              <a:t>http://support.microsoft.com/kb/2721672</a:t>
            </a:r>
          </a:p>
          <a:p>
            <a:pPr marL="0" indent="0">
              <a:buNone/>
            </a:pPr>
            <a:endParaRPr lang="en-US" sz="1200" dirty="0">
              <a:solidFill>
                <a:schemeClr val="tx1"/>
              </a:solidFill>
            </a:endParaRPr>
          </a:p>
          <a:p>
            <a:endParaRPr lang="en-US" sz="1200" b="1" dirty="0"/>
          </a:p>
          <a:p>
            <a:pPr marL="0" lvl="0" indent="0">
              <a:buNone/>
            </a:pPr>
            <a:endParaRPr lang="en-US" sz="1200" dirty="0">
              <a:hlinkClick r:id="rId3"/>
            </a:endParaRPr>
          </a:p>
          <a:p>
            <a:pPr marL="0" lvl="0" indent="0">
              <a:buNone/>
            </a:pPr>
            <a:endParaRPr lang="en-US" sz="1200" dirty="0">
              <a:hlinkClick r:id="rId3"/>
            </a:endParaRPr>
          </a:p>
          <a:p>
            <a:pPr marL="0" lvl="0" indent="0">
              <a:buNone/>
            </a:pPr>
            <a:endParaRPr lang="en-US" sz="1200" dirty="0">
              <a:hlinkClick r:id="rId3"/>
            </a:endParaRPr>
          </a:p>
          <a:p>
            <a:pPr marL="0" lvl="0" indent="0">
              <a:buNone/>
            </a:pPr>
            <a:endParaRPr lang="en-US" sz="1200" dirty="0">
              <a:hlinkClick r:id="rId3"/>
            </a:endParaRPr>
          </a:p>
          <a:p>
            <a:pPr marL="0" lvl="0" indent="0">
              <a:buNone/>
            </a:pPr>
            <a:endParaRPr lang="en-US" sz="1200" dirty="0">
              <a:hlinkClick r:id="rId3"/>
            </a:endParaRPr>
          </a:p>
          <a:p>
            <a:pPr marL="0" lvl="0" indent="0">
              <a:buNone/>
            </a:pPr>
            <a:endParaRPr lang="en-US" sz="1200" dirty="0">
              <a:hlinkClick r:id="rId3"/>
            </a:endParaRPr>
          </a:p>
          <a:p>
            <a:pPr marL="0" lvl="0" indent="0">
              <a:buNone/>
            </a:pPr>
            <a:endParaRPr lang="en-US" sz="1200" dirty="0">
              <a:hlinkClick r:id="rId3"/>
            </a:endParaRPr>
          </a:p>
          <a:p>
            <a:pPr marL="0" lvl="0" indent="0">
              <a:buNone/>
            </a:pPr>
            <a:endParaRPr lang="en-US" sz="1200" dirty="0">
              <a:hlinkClick r:id="rId3"/>
            </a:endParaRPr>
          </a:p>
          <a:p>
            <a:pPr marL="0" lvl="0" indent="0">
              <a:buNone/>
            </a:pPr>
            <a:endParaRPr lang="en-US" sz="1200" dirty="0">
              <a:hlinkClick r:id="rId3"/>
            </a:endParaRPr>
          </a:p>
          <a:p>
            <a:pPr marL="0" lvl="0" indent="0">
              <a:buNone/>
            </a:pPr>
            <a:endParaRPr lang="en-US" sz="1200" dirty="0">
              <a:hlinkClick r:id="rId3"/>
            </a:endParaRPr>
          </a:p>
          <a:p>
            <a:pPr lvl="0"/>
            <a:r>
              <a:rPr lang="en-US" sz="1200" dirty="0">
                <a:hlinkClick r:id="rId3"/>
              </a:rPr>
              <a:t>http://support.microsoft.com/kb/2721672</a:t>
            </a:r>
            <a:r>
              <a:rPr lang="en-US" sz="1200" dirty="0"/>
              <a:t> </a:t>
            </a:r>
          </a:p>
        </p:txBody>
      </p:sp>
    </p:spTree>
    <p:extLst>
      <p:ext uri="{BB962C8B-B14F-4D97-AF65-F5344CB8AC3E}">
        <p14:creationId xmlns:p14="http://schemas.microsoft.com/office/powerpoint/2010/main" val="2056433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7" y="0"/>
            <a:ext cx="11151917" cy="747897"/>
          </a:xfrm>
        </p:spPr>
        <p:txBody>
          <a:bodyPr/>
          <a:lstStyle/>
          <a:p>
            <a:r>
              <a:rPr lang="de-DE" dirty="0"/>
              <a:t>Linux on Microsoft </a:t>
            </a:r>
            <a:r>
              <a:rPr lang="de-DE" dirty="0" err="1"/>
              <a:t>Azure</a:t>
            </a:r>
            <a:endParaRPr lang="de-DE" dirty="0"/>
          </a:p>
        </p:txBody>
      </p:sp>
      <p:sp>
        <p:nvSpPr>
          <p:cNvPr id="3" name="Text Placeholder 2"/>
          <p:cNvSpPr>
            <a:spLocks noGrp="1"/>
          </p:cNvSpPr>
          <p:nvPr>
            <p:ph type="body" sz="quarter" idx="10"/>
          </p:nvPr>
        </p:nvSpPr>
        <p:spPr>
          <a:xfrm>
            <a:off x="519248" y="1447800"/>
            <a:ext cx="11151917" cy="4475071"/>
          </a:xfrm>
        </p:spPr>
        <p:txBody>
          <a:bodyPr>
            <a:normAutofit fontScale="92500" lnSpcReduction="20000"/>
          </a:bodyPr>
          <a:lstStyle/>
          <a:p>
            <a:r>
              <a:rPr lang="en-US" sz="2000" dirty="0"/>
              <a:t>Supported Versions:</a:t>
            </a:r>
          </a:p>
          <a:p>
            <a:pPr lvl="1"/>
            <a:r>
              <a:rPr lang="en-US" sz="1600" dirty="0"/>
              <a:t>SUSE SLES 11 Service Pack 3+ (SP3), SLES 12+</a:t>
            </a:r>
          </a:p>
          <a:p>
            <a:pPr lvl="1"/>
            <a:r>
              <a:rPr lang="en-US" sz="1600" dirty="0" err="1"/>
              <a:t>openSUSE</a:t>
            </a:r>
            <a:r>
              <a:rPr lang="en-US" sz="1600" dirty="0"/>
              <a:t> 13.1+ </a:t>
            </a:r>
          </a:p>
          <a:p>
            <a:pPr lvl="1"/>
            <a:r>
              <a:rPr lang="en-US" sz="1600" dirty="0"/>
              <a:t>CentOS 6.3+,7.0+ by </a:t>
            </a:r>
            <a:r>
              <a:rPr lang="en-US" sz="1600" dirty="0" err="1"/>
              <a:t>OpenLogic</a:t>
            </a:r>
            <a:r>
              <a:rPr lang="en-US" sz="1600" dirty="0"/>
              <a:t>*</a:t>
            </a:r>
          </a:p>
          <a:p>
            <a:pPr lvl="1"/>
            <a:r>
              <a:rPr lang="en-US" sz="1600" dirty="0"/>
              <a:t>Ubuntu Server 12.04.1+,14.04, </a:t>
            </a:r>
            <a:r>
              <a:rPr lang="en-US" dirty="0"/>
              <a:t>1</a:t>
            </a:r>
            <a:r>
              <a:rPr lang="en-US" sz="1600" dirty="0"/>
              <a:t>5.10 and 16.04</a:t>
            </a:r>
          </a:p>
          <a:p>
            <a:pPr lvl="1"/>
            <a:r>
              <a:rPr lang="en-US" sz="1600" dirty="0"/>
              <a:t>Oracle Linux 6.4+, 7.0+</a:t>
            </a:r>
          </a:p>
          <a:p>
            <a:pPr lvl="1"/>
            <a:r>
              <a:rPr lang="en-US" dirty="0"/>
              <a:t>Red Hat Enterprise Linux RHEL 6.7+, 7.1+</a:t>
            </a:r>
          </a:p>
          <a:p>
            <a:pPr lvl="1"/>
            <a:r>
              <a:rPr lang="en-US" sz="1600" dirty="0"/>
              <a:t>CoreOS 494.4.0+</a:t>
            </a:r>
          </a:p>
          <a:p>
            <a:r>
              <a:rPr lang="en-US" sz="2000" dirty="0"/>
              <a:t>Specific versions are endorsed:</a:t>
            </a:r>
          </a:p>
          <a:p>
            <a:pPr lvl="1"/>
            <a:r>
              <a:rPr lang="en-US" sz="1600" dirty="0"/>
              <a:t>Integration Components</a:t>
            </a:r>
          </a:p>
          <a:p>
            <a:pPr lvl="1"/>
            <a:r>
              <a:rPr lang="en-US" sz="1600" dirty="0"/>
              <a:t>Testing and validation by partners</a:t>
            </a:r>
          </a:p>
          <a:p>
            <a:pPr lvl="1"/>
            <a:r>
              <a:rPr lang="en-US" sz="1600" dirty="0"/>
              <a:t>Bring other variants at your own risk**</a:t>
            </a:r>
          </a:p>
          <a:p>
            <a:endParaRPr lang="en-US" sz="2000" dirty="0"/>
          </a:p>
          <a:p>
            <a:r>
              <a:rPr lang="en-US" sz="2000" dirty="0"/>
              <a:t>*Image provided by </a:t>
            </a:r>
            <a:r>
              <a:rPr lang="en-US" sz="2000" dirty="0" err="1"/>
              <a:t>OpenLogic</a:t>
            </a:r>
            <a:r>
              <a:rPr lang="en-US" sz="2000" dirty="0"/>
              <a:t> based on CentOS 6.5 – 7.1</a:t>
            </a:r>
          </a:p>
          <a:p>
            <a:r>
              <a:rPr lang="en-US" sz="2000" dirty="0"/>
              <a:t>**Interoperation work will be Required</a:t>
            </a:r>
          </a:p>
          <a:p>
            <a:r>
              <a:rPr lang="en-US" sz="2000" dirty="0"/>
              <a:t>*** Only Linux VMs in the gallery </a:t>
            </a:r>
            <a:r>
              <a:rPr lang="en-US" sz="2000"/>
              <a:t>are supported</a:t>
            </a:r>
            <a:endParaRPr lang="en-US" sz="2000" dirty="0"/>
          </a:p>
          <a:p>
            <a:endParaRPr lang="de-DE" dirty="0"/>
          </a:p>
        </p:txBody>
      </p:sp>
      <p:pic>
        <p:nvPicPr>
          <p:cNvPr id="4" name="Picture 10" descr="http://t1.gstatic.com/images?q=tbn:ANd9GcSKCjha-gRtSSL5ZPRaclGXFgJhRdGQK-dl6jOZJCr_LuzIJQoPg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42" b="1045"/>
          <a:stretch/>
        </p:blipFill>
        <p:spPr bwMode="auto">
          <a:xfrm>
            <a:off x="6804444" y="3478821"/>
            <a:ext cx="2395863" cy="153549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94857" y="3023650"/>
            <a:ext cx="2150197" cy="2150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17459" y="1411370"/>
            <a:ext cx="2102547" cy="1354975"/>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59803" y="1401821"/>
            <a:ext cx="2240504" cy="1351416"/>
          </a:xfrm>
          <a:prstGeom prst="rect">
            <a:avLst/>
          </a:prstGeom>
        </p:spPr>
      </p:pic>
    </p:spTree>
    <p:extLst>
      <p:ext uri="{BB962C8B-B14F-4D97-AF65-F5344CB8AC3E}">
        <p14:creationId xmlns:p14="http://schemas.microsoft.com/office/powerpoint/2010/main" val="886589409"/>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0332" y="0"/>
            <a:ext cx="11274552" cy="685800"/>
          </a:xfrm>
        </p:spPr>
        <p:txBody>
          <a:bodyPr/>
          <a:lstStyle/>
          <a:p>
            <a:r>
              <a:rPr lang="en-US" dirty="0"/>
              <a:t>Windows Server Roles that are Not Supported</a:t>
            </a:r>
          </a:p>
        </p:txBody>
      </p:sp>
      <p:graphicFrame>
        <p:nvGraphicFramePr>
          <p:cNvPr id="3" name="Table 2"/>
          <p:cNvGraphicFramePr>
            <a:graphicFrameLocks noGrp="1"/>
          </p:cNvGraphicFramePr>
          <p:nvPr>
            <p:extLst/>
          </p:nvPr>
        </p:nvGraphicFramePr>
        <p:xfrm>
          <a:off x="3300600" y="1390393"/>
          <a:ext cx="4670583" cy="2858322"/>
        </p:xfrm>
        <a:graphic>
          <a:graphicData uri="http://schemas.openxmlformats.org/drawingml/2006/table">
            <a:tbl>
              <a:tblPr firstRow="1" bandRow="1">
                <a:tableStyleId>{5C22544A-7EE6-4342-B048-85BDC9FD1C3A}</a:tableStyleId>
              </a:tblPr>
              <a:tblGrid>
                <a:gridCol w="4670583">
                  <a:extLst>
                    <a:ext uri="{9D8B030D-6E8A-4147-A177-3AD203B41FA5}">
                      <a16:colId xmlns:a16="http://schemas.microsoft.com/office/drawing/2014/main" xmlns="" val="20000"/>
                    </a:ext>
                  </a:extLst>
                </a:gridCol>
              </a:tblGrid>
              <a:tr h="572322">
                <a:tc>
                  <a:txBody>
                    <a:bodyPr/>
                    <a:lstStyle/>
                    <a:p>
                      <a:pPr marL="0" marR="0" algn="ctr" defTabSz="914363" rtl="0" eaLnBrk="1" latinLnBrk="0" hangingPunct="1">
                        <a:lnSpc>
                          <a:spcPct val="100000"/>
                        </a:lnSpc>
                        <a:spcBef>
                          <a:spcPts val="0"/>
                        </a:spcBef>
                        <a:spcAft>
                          <a:spcPts val="0"/>
                        </a:spcAft>
                      </a:pPr>
                      <a:r>
                        <a:rPr lang="en-US" sz="1400" kern="1200" dirty="0">
                          <a:ln>
                            <a:solidFill>
                              <a:schemeClr val="tx1">
                                <a:alpha val="0"/>
                              </a:schemeClr>
                            </a:solidFill>
                          </a:ln>
                          <a:effectLst/>
                        </a:rPr>
                        <a:t>Server Role</a:t>
                      </a: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a16="http://schemas.microsoft.com/office/drawing/2014/main" xmlns="" val="10000"/>
                  </a:ext>
                </a:extLst>
              </a:tr>
              <a:tr h="392140">
                <a:tc>
                  <a:txBody>
                    <a:bodyPr/>
                    <a:lstStyle/>
                    <a:p>
                      <a:pPr marL="0" marR="0" lvl="1" algn="ctr" defTabSz="914363" rtl="0" eaLnBrk="1" fontAlgn="base" latinLnBrk="0" hangingPunct="1">
                        <a:lnSpc>
                          <a:spcPct val="100000"/>
                        </a:lnSpc>
                        <a:spcBef>
                          <a:spcPts val="0"/>
                        </a:spcBef>
                        <a:spcAft>
                          <a:spcPts val="0"/>
                        </a:spcAft>
                        <a:buSzPct val="80000"/>
                      </a:pPr>
                      <a:r>
                        <a:rPr lang="en-US" sz="1400" kern="1200" dirty="0">
                          <a:ln>
                            <a:solidFill>
                              <a:schemeClr val="tx1">
                                <a:alpha val="0"/>
                              </a:schemeClr>
                            </a:solidFill>
                          </a:ln>
                          <a:effectLst/>
                        </a:rPr>
                        <a:t>Hyper-V</a:t>
                      </a: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a16="http://schemas.microsoft.com/office/drawing/2014/main" xmlns="" val="10001"/>
                  </a:ext>
                </a:extLst>
              </a:tr>
              <a:tr h="392140">
                <a:tc>
                  <a:txBody>
                    <a:bodyPr/>
                    <a:lstStyle/>
                    <a:p>
                      <a:pPr marL="0" marR="0" lvl="1" indent="0" algn="ctr" defTabSz="914363" rtl="0" eaLnBrk="1" fontAlgn="base" latinLnBrk="0" hangingPunct="1">
                        <a:lnSpc>
                          <a:spcPct val="100000"/>
                        </a:lnSpc>
                        <a:spcBef>
                          <a:spcPts val="0"/>
                        </a:spcBef>
                        <a:spcAft>
                          <a:spcPts val="0"/>
                        </a:spcAft>
                        <a:buClrTx/>
                        <a:buSzPct val="80000"/>
                        <a:buFontTx/>
                        <a:buNone/>
                        <a:tabLst/>
                        <a:defRPr/>
                      </a:pPr>
                      <a:r>
                        <a:rPr lang="en-US" sz="1400" kern="1200" dirty="0">
                          <a:ln>
                            <a:solidFill>
                              <a:schemeClr val="tx1">
                                <a:alpha val="0"/>
                              </a:schemeClr>
                            </a:solidFill>
                          </a:ln>
                          <a:effectLst/>
                        </a:rPr>
                        <a:t>Windows</a:t>
                      </a:r>
                      <a:r>
                        <a:rPr lang="en-US" sz="1400" kern="1200" baseline="0" dirty="0">
                          <a:ln>
                            <a:solidFill>
                              <a:schemeClr val="tx1">
                                <a:alpha val="0"/>
                              </a:schemeClr>
                            </a:solidFill>
                          </a:ln>
                          <a:effectLst/>
                        </a:rPr>
                        <a:t> Deployment Services</a:t>
                      </a: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a16="http://schemas.microsoft.com/office/drawing/2014/main" xmlns="" val="10002"/>
                  </a:ext>
                </a:extLst>
              </a:tr>
              <a:tr h="392140">
                <a:tc>
                  <a:txBody>
                    <a:bodyPr/>
                    <a:lstStyle/>
                    <a:p>
                      <a:pPr marL="0" marR="0" lvl="1" algn="ctr" defTabSz="914363" rtl="0" eaLnBrk="1" fontAlgn="base" latinLnBrk="0" hangingPunct="1">
                        <a:lnSpc>
                          <a:spcPct val="100000"/>
                        </a:lnSpc>
                        <a:spcBef>
                          <a:spcPts val="0"/>
                        </a:spcBef>
                        <a:spcAft>
                          <a:spcPts val="0"/>
                        </a:spcAft>
                        <a:buSzPct val="80000"/>
                      </a:pPr>
                      <a:r>
                        <a:rPr lang="en-US" sz="1400" b="0" kern="1200" dirty="0">
                          <a:ln>
                            <a:solidFill>
                              <a:schemeClr val="tx1">
                                <a:alpha val="0"/>
                              </a:schemeClr>
                            </a:solidFill>
                          </a:ln>
                          <a:solidFill>
                            <a:schemeClr val="tx1"/>
                          </a:solidFill>
                          <a:effectLst/>
                          <a:latin typeface="+mn-lt"/>
                          <a:ea typeface="+mn-ea"/>
                          <a:cs typeface="+mn-cs"/>
                        </a:rPr>
                        <a:t>Remote Access (Direct Access, Routing)</a:t>
                      </a:r>
                    </a:p>
                  </a:txBody>
                  <a:tcPr marL="243840" marR="243840" marT="121920" marB="121920" anchor="ctr"/>
                </a:tc>
                <a:extLst>
                  <a:ext uri="{0D108BD9-81ED-4DB2-BD59-A6C34878D82A}">
                    <a16:rowId xmlns:a16="http://schemas.microsoft.com/office/drawing/2014/main" xmlns="" val="10003"/>
                  </a:ext>
                </a:extLst>
              </a:tr>
              <a:tr h="392140">
                <a:tc>
                  <a:txBody>
                    <a:bodyPr/>
                    <a:lstStyle/>
                    <a:p>
                      <a:pPr marL="0" marR="0" lvl="1" algn="ctr" defTabSz="914363" rtl="0" eaLnBrk="1" fontAlgn="base" latinLnBrk="0" hangingPunct="1">
                        <a:lnSpc>
                          <a:spcPct val="100000"/>
                        </a:lnSpc>
                        <a:spcBef>
                          <a:spcPts val="0"/>
                        </a:spcBef>
                        <a:spcAft>
                          <a:spcPts val="0"/>
                        </a:spcAft>
                        <a:buSzPct val="80000"/>
                      </a:pPr>
                      <a:r>
                        <a:rPr lang="en-US" sz="1400" kern="1200" dirty="0">
                          <a:ln>
                            <a:solidFill>
                              <a:schemeClr val="tx1">
                                <a:alpha val="0"/>
                              </a:schemeClr>
                            </a:solidFill>
                          </a:ln>
                          <a:effectLst/>
                        </a:rPr>
                        <a:t>Rights Management</a:t>
                      </a:r>
                      <a:r>
                        <a:rPr lang="en-US" sz="1400" kern="1200" baseline="0" dirty="0">
                          <a:ln>
                            <a:solidFill>
                              <a:schemeClr val="tx1">
                                <a:alpha val="0"/>
                              </a:schemeClr>
                            </a:solidFill>
                          </a:ln>
                          <a:effectLst/>
                        </a:rPr>
                        <a:t> Services</a:t>
                      </a: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a16="http://schemas.microsoft.com/office/drawing/2014/main" xmlns="" val="10004"/>
                  </a:ext>
                </a:extLst>
              </a:tr>
              <a:tr h="392140">
                <a:tc>
                  <a:txBody>
                    <a:bodyPr/>
                    <a:lstStyle/>
                    <a:p>
                      <a:pPr marL="0" marR="0" lvl="1" algn="ctr" defTabSz="914363" rtl="0" eaLnBrk="1" fontAlgn="base" latinLnBrk="0" hangingPunct="1">
                        <a:lnSpc>
                          <a:spcPct val="100000"/>
                        </a:lnSpc>
                        <a:spcBef>
                          <a:spcPts val="0"/>
                        </a:spcBef>
                        <a:spcAft>
                          <a:spcPts val="0"/>
                        </a:spcAft>
                        <a:buSzPct val="80000"/>
                      </a:pPr>
                      <a:r>
                        <a:rPr lang="en-US" sz="1400" b="0" kern="1200" dirty="0">
                          <a:ln>
                            <a:solidFill>
                              <a:schemeClr val="tx1">
                                <a:alpha val="0"/>
                              </a:schemeClr>
                            </a:solidFill>
                          </a:ln>
                          <a:solidFill>
                            <a:schemeClr val="tx1"/>
                          </a:solidFill>
                          <a:effectLst/>
                          <a:latin typeface="+mn-lt"/>
                          <a:ea typeface="+mn-ea"/>
                          <a:cs typeface="+mn-cs"/>
                        </a:rPr>
                        <a:t>Dynamic</a:t>
                      </a:r>
                      <a:r>
                        <a:rPr lang="en-US" sz="1400" b="0" kern="1200" baseline="0" dirty="0">
                          <a:ln>
                            <a:solidFill>
                              <a:schemeClr val="tx1">
                                <a:alpha val="0"/>
                              </a:schemeClr>
                            </a:solidFill>
                          </a:ln>
                          <a:solidFill>
                            <a:schemeClr val="tx1"/>
                          </a:solidFill>
                          <a:effectLst/>
                          <a:latin typeface="+mn-lt"/>
                          <a:ea typeface="+mn-ea"/>
                          <a:cs typeface="+mn-cs"/>
                        </a:rPr>
                        <a:t> Host Configuration Protocol Server</a:t>
                      </a: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a16="http://schemas.microsoft.com/office/drawing/2014/main" xmlns="" val="10005"/>
                  </a:ext>
                </a:extLst>
              </a:tr>
            </a:tbl>
          </a:graphicData>
        </a:graphic>
      </p:graphicFrame>
      <p:sp>
        <p:nvSpPr>
          <p:cNvPr id="4" name="TextBox 3"/>
          <p:cNvSpPr txBox="1"/>
          <p:nvPr/>
        </p:nvSpPr>
        <p:spPr>
          <a:xfrm>
            <a:off x="3518452" y="5327374"/>
            <a:ext cx="4183133" cy="369332"/>
          </a:xfrm>
          <a:prstGeom prst="rect">
            <a:avLst/>
          </a:prstGeom>
          <a:noFill/>
        </p:spPr>
        <p:txBody>
          <a:bodyPr wrap="none" rtlCol="0">
            <a:spAutoFit/>
          </a:bodyPr>
          <a:lstStyle/>
          <a:p>
            <a:r>
              <a:rPr lang="en-US" dirty="0"/>
              <a:t>http://support.microsoft.com/kb/2721672</a:t>
            </a:r>
          </a:p>
        </p:txBody>
      </p:sp>
    </p:spTree>
    <p:extLst>
      <p:ext uri="{BB962C8B-B14F-4D97-AF65-F5344CB8AC3E}">
        <p14:creationId xmlns:p14="http://schemas.microsoft.com/office/powerpoint/2010/main" val="2588624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892" y="0"/>
            <a:ext cx="11274552" cy="685800"/>
          </a:xfrm>
        </p:spPr>
        <p:txBody>
          <a:bodyPr>
            <a:normAutofit/>
          </a:bodyPr>
          <a:lstStyle/>
          <a:p>
            <a:r>
              <a:rPr lang="en-US" dirty="0"/>
              <a:t>Windows Server Features that are not Supported</a:t>
            </a:r>
          </a:p>
        </p:txBody>
      </p:sp>
      <p:graphicFrame>
        <p:nvGraphicFramePr>
          <p:cNvPr id="3" name="Table 2"/>
          <p:cNvGraphicFramePr>
            <a:graphicFrameLocks noGrp="1"/>
          </p:cNvGraphicFramePr>
          <p:nvPr>
            <p:extLst/>
          </p:nvPr>
        </p:nvGraphicFramePr>
        <p:xfrm>
          <a:off x="2992487" y="1023733"/>
          <a:ext cx="6350296" cy="5029200"/>
        </p:xfrm>
        <a:graphic>
          <a:graphicData uri="http://schemas.openxmlformats.org/drawingml/2006/table">
            <a:tbl>
              <a:tblPr firstRow="1" bandRow="1">
                <a:tableStyleId>{5C22544A-7EE6-4342-B048-85BDC9FD1C3A}</a:tableStyleId>
              </a:tblPr>
              <a:tblGrid>
                <a:gridCol w="6350296">
                  <a:extLst>
                    <a:ext uri="{9D8B030D-6E8A-4147-A177-3AD203B41FA5}">
                      <a16:colId xmlns:a16="http://schemas.microsoft.com/office/drawing/2014/main" xmlns="" val="20000"/>
                    </a:ext>
                  </a:extLst>
                </a:gridCol>
              </a:tblGrid>
              <a:tr h="457160">
                <a:tc>
                  <a:txBody>
                    <a:bodyPr/>
                    <a:lstStyle/>
                    <a:p>
                      <a:pPr marL="0" marR="0" algn="ctr" defTabSz="914363" rtl="0" eaLnBrk="1" latinLnBrk="0" hangingPunct="1">
                        <a:lnSpc>
                          <a:spcPct val="100000"/>
                        </a:lnSpc>
                        <a:spcBef>
                          <a:spcPts val="0"/>
                        </a:spcBef>
                        <a:spcAft>
                          <a:spcPts val="0"/>
                        </a:spcAft>
                      </a:pPr>
                      <a:r>
                        <a:rPr lang="en-US" sz="1400" kern="1200" dirty="0">
                          <a:ln>
                            <a:solidFill>
                              <a:schemeClr val="tx1">
                                <a:alpha val="0"/>
                              </a:schemeClr>
                            </a:solidFill>
                          </a:ln>
                          <a:effectLst/>
                        </a:rPr>
                        <a:t>Server Feature</a:t>
                      </a: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a16="http://schemas.microsoft.com/office/drawing/2014/main" xmlns="" val="10000"/>
                  </a:ext>
                </a:extLst>
              </a:tr>
              <a:tr h="416453">
                <a:tc>
                  <a:txBody>
                    <a:bodyPr/>
                    <a:lstStyle/>
                    <a:p>
                      <a:pPr marL="0" marR="0" lvl="1" algn="ctr" defTabSz="914363" rtl="0" eaLnBrk="1" fontAlgn="base" latinLnBrk="0" hangingPunct="1">
                        <a:lnSpc>
                          <a:spcPct val="100000"/>
                        </a:lnSpc>
                        <a:spcBef>
                          <a:spcPts val="0"/>
                        </a:spcBef>
                        <a:spcAft>
                          <a:spcPts val="0"/>
                        </a:spcAft>
                        <a:buSzPct val="80000"/>
                      </a:pPr>
                      <a:r>
                        <a:rPr lang="en-US" sz="1400" kern="1200" dirty="0">
                          <a:ln>
                            <a:solidFill>
                              <a:schemeClr val="tx1">
                                <a:alpha val="0"/>
                              </a:schemeClr>
                            </a:solidFill>
                          </a:ln>
                          <a:effectLst/>
                        </a:rPr>
                        <a:t>BitLocker Drive Encryption (C: Drive only)</a:t>
                      </a: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a16="http://schemas.microsoft.com/office/drawing/2014/main" xmlns="" val="10001"/>
                  </a:ext>
                </a:extLst>
              </a:tr>
              <a:tr h="416453">
                <a:tc>
                  <a:txBody>
                    <a:bodyPr/>
                    <a:lstStyle/>
                    <a:p>
                      <a:pPr marL="0" marR="0" lvl="1" indent="0" algn="ctr" defTabSz="914363" rtl="0" eaLnBrk="1" fontAlgn="base" latinLnBrk="0" hangingPunct="1">
                        <a:lnSpc>
                          <a:spcPct val="100000"/>
                        </a:lnSpc>
                        <a:spcBef>
                          <a:spcPts val="0"/>
                        </a:spcBef>
                        <a:spcAft>
                          <a:spcPts val="0"/>
                        </a:spcAft>
                        <a:buClrTx/>
                        <a:buSzPct val="80000"/>
                        <a:buFontTx/>
                        <a:buNone/>
                        <a:tabLst/>
                        <a:defRPr/>
                      </a:pPr>
                      <a:r>
                        <a:rPr lang="en-US" sz="1400" kern="1200" dirty="0">
                          <a:ln>
                            <a:solidFill>
                              <a:schemeClr val="tx1">
                                <a:alpha val="0"/>
                              </a:schemeClr>
                            </a:solidFill>
                          </a:ln>
                          <a:effectLst/>
                        </a:rPr>
                        <a:t>Internet Storage Name Server</a:t>
                      </a: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a16="http://schemas.microsoft.com/office/drawing/2014/main" xmlns="" val="10002"/>
                  </a:ext>
                </a:extLst>
              </a:tr>
              <a:tr h="416453">
                <a:tc>
                  <a:txBody>
                    <a:bodyPr/>
                    <a:lstStyle/>
                    <a:p>
                      <a:pPr marL="0" marR="0" lvl="1" indent="0" algn="ctr" defTabSz="914363" rtl="0" eaLnBrk="1" fontAlgn="base" latinLnBrk="0" hangingPunct="1">
                        <a:lnSpc>
                          <a:spcPct val="100000"/>
                        </a:lnSpc>
                        <a:spcBef>
                          <a:spcPts val="0"/>
                        </a:spcBef>
                        <a:spcAft>
                          <a:spcPts val="0"/>
                        </a:spcAft>
                        <a:buClrTx/>
                        <a:buSzPct val="80000"/>
                        <a:buFontTx/>
                        <a:buNone/>
                        <a:tabLst/>
                        <a:defRPr/>
                      </a:pPr>
                      <a:r>
                        <a:rPr lang="en-US" sz="1400" kern="1200" dirty="0">
                          <a:ln>
                            <a:solidFill>
                              <a:schemeClr val="tx1">
                                <a:alpha val="0"/>
                              </a:schemeClr>
                            </a:solidFill>
                          </a:ln>
                          <a:effectLst/>
                        </a:rPr>
                        <a:t>Multipath I/O</a:t>
                      </a: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a16="http://schemas.microsoft.com/office/drawing/2014/main" xmlns="" val="10003"/>
                  </a:ext>
                </a:extLst>
              </a:tr>
              <a:tr h="416453">
                <a:tc>
                  <a:txBody>
                    <a:bodyPr/>
                    <a:lstStyle/>
                    <a:p>
                      <a:pPr marL="0" marR="0" lvl="1" algn="ctr" defTabSz="914363" rtl="0" eaLnBrk="1" fontAlgn="base" latinLnBrk="0" hangingPunct="1">
                        <a:lnSpc>
                          <a:spcPct val="100000"/>
                        </a:lnSpc>
                        <a:spcBef>
                          <a:spcPts val="0"/>
                        </a:spcBef>
                        <a:spcAft>
                          <a:spcPts val="0"/>
                        </a:spcAft>
                        <a:buSzPct val="80000"/>
                      </a:pPr>
                      <a:r>
                        <a:rPr lang="en-US" sz="1400" kern="1200" dirty="0">
                          <a:ln>
                            <a:solidFill>
                              <a:schemeClr val="tx1">
                                <a:alpha val="0"/>
                              </a:schemeClr>
                            </a:solidFill>
                          </a:ln>
                          <a:effectLst/>
                        </a:rPr>
                        <a:t>Network Load Balancing</a:t>
                      </a: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a16="http://schemas.microsoft.com/office/drawing/2014/main" xmlns="" val="10004"/>
                  </a:ext>
                </a:extLst>
              </a:tr>
              <a:tr h="416453">
                <a:tc>
                  <a:txBody>
                    <a:bodyPr/>
                    <a:lstStyle/>
                    <a:p>
                      <a:pPr marL="0" marR="0" lvl="1" algn="ctr" defTabSz="914363" rtl="0" eaLnBrk="1" fontAlgn="base" latinLnBrk="0" hangingPunct="1">
                        <a:lnSpc>
                          <a:spcPct val="100000"/>
                        </a:lnSpc>
                        <a:spcBef>
                          <a:spcPts val="0"/>
                        </a:spcBef>
                        <a:spcAft>
                          <a:spcPts val="0"/>
                        </a:spcAft>
                        <a:buSzPct val="80000"/>
                      </a:pPr>
                      <a:r>
                        <a:rPr lang="en-US" sz="1400" kern="1200" dirty="0">
                          <a:ln>
                            <a:solidFill>
                              <a:schemeClr val="tx1">
                                <a:alpha val="0"/>
                              </a:schemeClr>
                            </a:solidFill>
                          </a:ln>
                          <a:effectLst/>
                        </a:rPr>
                        <a:t>Peer Name Resolution Protocol</a:t>
                      </a: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a16="http://schemas.microsoft.com/office/drawing/2014/main" xmlns="" val="10005"/>
                  </a:ext>
                </a:extLst>
              </a:tr>
              <a:tr h="416453">
                <a:tc>
                  <a:txBody>
                    <a:bodyPr/>
                    <a:lstStyle/>
                    <a:p>
                      <a:pPr marL="0" marR="0" lvl="1" algn="ctr" defTabSz="914363" rtl="0" eaLnBrk="1" fontAlgn="base" latinLnBrk="0" hangingPunct="1">
                        <a:lnSpc>
                          <a:spcPct val="100000"/>
                        </a:lnSpc>
                        <a:spcBef>
                          <a:spcPts val="0"/>
                        </a:spcBef>
                        <a:spcAft>
                          <a:spcPts val="0"/>
                        </a:spcAft>
                        <a:buSzPct val="80000"/>
                      </a:pPr>
                      <a:r>
                        <a:rPr lang="en-US" sz="1400" b="0" kern="1200" dirty="0">
                          <a:ln>
                            <a:solidFill>
                              <a:schemeClr val="tx1">
                                <a:alpha val="0"/>
                              </a:schemeClr>
                            </a:solidFill>
                          </a:ln>
                          <a:solidFill>
                            <a:schemeClr val="tx1"/>
                          </a:solidFill>
                          <a:effectLst/>
                          <a:latin typeface="+mn-lt"/>
                          <a:ea typeface="+mn-ea"/>
                          <a:cs typeface="+mn-cs"/>
                        </a:rPr>
                        <a:t>SNMP Services</a:t>
                      </a:r>
                    </a:p>
                  </a:txBody>
                  <a:tcPr marL="243840" marR="243840" marT="121920" marB="121920" anchor="ctr"/>
                </a:tc>
                <a:extLst>
                  <a:ext uri="{0D108BD9-81ED-4DB2-BD59-A6C34878D82A}">
                    <a16:rowId xmlns:a16="http://schemas.microsoft.com/office/drawing/2014/main" xmlns="" val="10006"/>
                  </a:ext>
                </a:extLst>
              </a:tr>
              <a:tr h="416453">
                <a:tc>
                  <a:txBody>
                    <a:bodyPr/>
                    <a:lstStyle/>
                    <a:p>
                      <a:pPr marL="0" marR="0" lvl="1" algn="ctr" defTabSz="914363" rtl="0" eaLnBrk="1" fontAlgn="base" latinLnBrk="0" hangingPunct="1">
                        <a:lnSpc>
                          <a:spcPct val="100000"/>
                        </a:lnSpc>
                        <a:spcBef>
                          <a:spcPts val="0"/>
                        </a:spcBef>
                        <a:spcAft>
                          <a:spcPts val="0"/>
                        </a:spcAft>
                        <a:buSzPct val="80000"/>
                      </a:pPr>
                      <a:r>
                        <a:rPr lang="en-US" sz="1400" b="0" kern="1200" dirty="0">
                          <a:ln>
                            <a:solidFill>
                              <a:schemeClr val="tx1">
                                <a:alpha val="0"/>
                              </a:schemeClr>
                            </a:solidFill>
                          </a:ln>
                          <a:solidFill>
                            <a:schemeClr val="tx1"/>
                          </a:solidFill>
                          <a:effectLst/>
                          <a:latin typeface="+mn-lt"/>
                          <a:ea typeface="+mn-ea"/>
                          <a:cs typeface="+mn-cs"/>
                        </a:rPr>
                        <a:t>Storage Manager for SANs</a:t>
                      </a:r>
                    </a:p>
                  </a:txBody>
                  <a:tcPr marL="243840" marR="243840" marT="121920" marB="121920" anchor="ctr"/>
                </a:tc>
                <a:extLst>
                  <a:ext uri="{0D108BD9-81ED-4DB2-BD59-A6C34878D82A}">
                    <a16:rowId xmlns:a16="http://schemas.microsoft.com/office/drawing/2014/main" xmlns="" val="10007"/>
                  </a:ext>
                </a:extLst>
              </a:tr>
              <a:tr h="416453">
                <a:tc>
                  <a:txBody>
                    <a:bodyPr/>
                    <a:lstStyle/>
                    <a:p>
                      <a:pPr marL="0" marR="0" lvl="1" algn="ctr" defTabSz="914363" rtl="0" eaLnBrk="1" fontAlgn="base" latinLnBrk="0" hangingPunct="1">
                        <a:lnSpc>
                          <a:spcPct val="100000"/>
                        </a:lnSpc>
                        <a:spcBef>
                          <a:spcPts val="0"/>
                        </a:spcBef>
                        <a:spcAft>
                          <a:spcPts val="0"/>
                        </a:spcAft>
                        <a:buSzPct val="80000"/>
                      </a:pPr>
                      <a:r>
                        <a:rPr lang="en-US" sz="1400" b="0" kern="1200" dirty="0">
                          <a:ln>
                            <a:solidFill>
                              <a:schemeClr val="tx1">
                                <a:alpha val="0"/>
                              </a:schemeClr>
                            </a:solidFill>
                          </a:ln>
                          <a:solidFill>
                            <a:schemeClr val="tx1"/>
                          </a:solidFill>
                          <a:effectLst/>
                          <a:latin typeface="+mn-lt"/>
                          <a:ea typeface="+mn-ea"/>
                          <a:cs typeface="+mn-cs"/>
                        </a:rPr>
                        <a:t>Windows Internet Name Service</a:t>
                      </a:r>
                    </a:p>
                  </a:txBody>
                  <a:tcPr marL="243840" marR="243840" marT="121920" marB="121920" anchor="ctr"/>
                </a:tc>
                <a:extLst>
                  <a:ext uri="{0D108BD9-81ED-4DB2-BD59-A6C34878D82A}">
                    <a16:rowId xmlns:a16="http://schemas.microsoft.com/office/drawing/2014/main" xmlns="" val="10008"/>
                  </a:ext>
                </a:extLst>
              </a:tr>
              <a:tr h="416453">
                <a:tc>
                  <a:txBody>
                    <a:bodyPr/>
                    <a:lstStyle/>
                    <a:p>
                      <a:pPr marL="0" marR="0" lvl="1" algn="ctr" defTabSz="914363" rtl="0" eaLnBrk="1" fontAlgn="base" latinLnBrk="0" hangingPunct="1">
                        <a:lnSpc>
                          <a:spcPct val="100000"/>
                        </a:lnSpc>
                        <a:spcBef>
                          <a:spcPts val="0"/>
                        </a:spcBef>
                        <a:spcAft>
                          <a:spcPts val="0"/>
                        </a:spcAft>
                        <a:buSzPct val="80000"/>
                      </a:pPr>
                      <a:r>
                        <a:rPr lang="en-US" sz="1400" b="0" kern="1200" dirty="0">
                          <a:ln>
                            <a:solidFill>
                              <a:schemeClr val="tx1">
                                <a:alpha val="0"/>
                              </a:schemeClr>
                            </a:solidFill>
                          </a:ln>
                          <a:solidFill>
                            <a:schemeClr val="tx1"/>
                          </a:solidFill>
                          <a:effectLst/>
                          <a:latin typeface="+mn-lt"/>
                          <a:ea typeface="+mn-ea"/>
                          <a:cs typeface="+mn-cs"/>
                        </a:rPr>
                        <a:t>Wireless LAN Service</a:t>
                      </a:r>
                    </a:p>
                  </a:txBody>
                  <a:tcPr marL="243840" marR="243840" marT="121920" marB="121920" anchor="ctr"/>
                </a:tc>
                <a:extLst>
                  <a:ext uri="{0D108BD9-81ED-4DB2-BD59-A6C34878D82A}">
                    <a16:rowId xmlns:a16="http://schemas.microsoft.com/office/drawing/2014/main" xmlns="" val="10009"/>
                  </a:ext>
                </a:extLst>
              </a:tr>
              <a:tr h="416453">
                <a:tc>
                  <a:txBody>
                    <a:bodyPr/>
                    <a:lstStyle/>
                    <a:p>
                      <a:pPr marL="0" marR="0" lvl="1" algn="ctr" defTabSz="914363" rtl="0" eaLnBrk="1" fontAlgn="base" latinLnBrk="0" hangingPunct="1">
                        <a:lnSpc>
                          <a:spcPct val="100000"/>
                        </a:lnSpc>
                        <a:spcBef>
                          <a:spcPts val="0"/>
                        </a:spcBef>
                        <a:spcAft>
                          <a:spcPts val="0"/>
                        </a:spcAft>
                        <a:buSzPct val="80000"/>
                      </a:pP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a16="http://schemas.microsoft.com/office/drawing/2014/main" xmlns="" val="10010"/>
                  </a:ext>
                </a:extLst>
              </a:tr>
            </a:tbl>
          </a:graphicData>
        </a:graphic>
      </p:graphicFrame>
    </p:spTree>
    <p:extLst>
      <p:ext uri="{BB962C8B-B14F-4D97-AF65-F5344CB8AC3E}">
        <p14:creationId xmlns:p14="http://schemas.microsoft.com/office/powerpoint/2010/main" val="2878893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752" y="160020"/>
            <a:ext cx="11274552" cy="690372"/>
          </a:xfrm>
        </p:spPr>
        <p:txBody>
          <a:bodyPr/>
          <a:lstStyle/>
          <a:p>
            <a:r>
              <a:rPr lang="en-US" b="1" u="sng" dirty="0">
                <a:effectLst>
                  <a:outerShdw blurRad="38100" dist="38100" dir="2700000" algn="tl">
                    <a:srgbClr val="000000">
                      <a:alpha val="43137"/>
                    </a:srgbClr>
                  </a:outerShdw>
                </a:effectLst>
              </a:rPr>
              <a:t>Azure VM Agent and Extensions</a:t>
            </a:r>
          </a:p>
        </p:txBody>
      </p:sp>
      <p:sp>
        <p:nvSpPr>
          <p:cNvPr id="4" name="Text Placeholder 3"/>
          <p:cNvSpPr>
            <a:spLocks noGrp="1"/>
          </p:cNvSpPr>
          <p:nvPr>
            <p:ph type="body" sz="quarter" idx="13"/>
          </p:nvPr>
        </p:nvSpPr>
        <p:spPr/>
        <p:txBody>
          <a:bodyPr/>
          <a:lstStyle/>
          <a:p>
            <a:r>
              <a:rPr lang="en-US" dirty="0"/>
              <a:t>VM Agent is used to install, configure, manage and run Azure VM Extensions</a:t>
            </a:r>
          </a:p>
          <a:p>
            <a:pPr lvl="1"/>
            <a:r>
              <a:rPr lang="en-US" dirty="0"/>
              <a:t>Installs, configures, and removes VM extensions on instances of Azure VMs </a:t>
            </a:r>
          </a:p>
          <a:p>
            <a:pPr lvl="1"/>
            <a:r>
              <a:rPr lang="en-US" dirty="0"/>
              <a:t>Enable via Portal or PowerShell</a:t>
            </a:r>
          </a:p>
          <a:p>
            <a:pPr lvl="1"/>
            <a:r>
              <a:rPr lang="en-US" dirty="0"/>
              <a:t>Available for Windows and Linux</a:t>
            </a:r>
          </a:p>
          <a:p>
            <a:r>
              <a:rPr lang="en-US" dirty="0"/>
              <a:t>VM Extensions provide dynamic features that Microsoft and other third parties provide</a:t>
            </a:r>
          </a:p>
          <a:p>
            <a:pPr lvl="1"/>
            <a:r>
              <a:rPr lang="en-US" dirty="0"/>
              <a:t>Modify security and identity features, such as resetting account values and using antimalware</a:t>
            </a:r>
          </a:p>
          <a:p>
            <a:pPr lvl="1"/>
            <a:r>
              <a:rPr lang="en-US" dirty="0"/>
              <a:t>Start, stop, or configure monitoring and diagnostics</a:t>
            </a:r>
          </a:p>
          <a:p>
            <a:pPr lvl="1"/>
            <a:r>
              <a:rPr lang="en-US" dirty="0"/>
              <a:t>Reset or install connectivity features, such as RDP and SSH</a:t>
            </a:r>
          </a:p>
          <a:p>
            <a:pPr lvl="1"/>
            <a:r>
              <a:rPr lang="en-US" dirty="0"/>
              <a:t>Diagnose, monitor, and manage your VMs</a:t>
            </a:r>
          </a:p>
          <a:p>
            <a:pPr lvl="1"/>
            <a:endParaRPr lang="en-US" dirty="0"/>
          </a:p>
        </p:txBody>
      </p:sp>
    </p:spTree>
    <p:extLst>
      <p:ext uri="{BB962C8B-B14F-4D97-AF65-F5344CB8AC3E}">
        <p14:creationId xmlns:p14="http://schemas.microsoft.com/office/powerpoint/2010/main" val="274194393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u="sng" dirty="0" smtClean="0">
                <a:effectLst>
                  <a:outerShdw blurRad="38100" dist="38100" dir="2700000" algn="tl">
                    <a:srgbClr val="000000">
                      <a:alpha val="43137"/>
                    </a:srgbClr>
                  </a:outerShdw>
                </a:effectLst>
              </a:rPr>
              <a:t>Module 1 </a:t>
            </a:r>
            <a:r>
              <a:rPr lang="en-US" b="1" u="sng" dirty="0">
                <a:effectLst>
                  <a:outerShdw blurRad="38100" dist="38100" dir="2700000" algn="tl">
                    <a:srgbClr val="000000">
                      <a:alpha val="43137"/>
                    </a:srgbClr>
                  </a:outerShdw>
                </a:effectLst>
              </a:rPr>
              <a:t>Azure Fundamentals  </a:t>
            </a:r>
          </a:p>
        </p:txBody>
      </p:sp>
      <p:sp>
        <p:nvSpPr>
          <p:cNvPr id="3" name="Content Placeholder 2"/>
          <p:cNvSpPr>
            <a:spLocks noGrp="1"/>
          </p:cNvSpPr>
          <p:nvPr>
            <p:ph idx="1"/>
          </p:nvPr>
        </p:nvSpPr>
        <p:spPr>
          <a:xfrm>
            <a:off x="475488" y="911351"/>
            <a:ext cx="11253216" cy="4970833"/>
          </a:xfrm>
        </p:spPr>
        <p:txBody>
          <a:bodyPr/>
          <a:lstStyle/>
          <a:p>
            <a:pPr marL="0" indent="0">
              <a:buNone/>
            </a:pPr>
            <a:endParaRPr lang="en-US" dirty="0" smtClean="0"/>
          </a:p>
          <a:p>
            <a:pPr marL="0" indent="0">
              <a:buNone/>
            </a:pPr>
            <a:endParaRPr lang="en-US" dirty="0"/>
          </a:p>
          <a:p>
            <a:pPr marL="0" indent="0">
              <a:buNone/>
            </a:pPr>
            <a:endParaRPr lang="en-US" dirty="0" smtClean="0"/>
          </a:p>
          <a:p>
            <a:pPr marL="0" indent="0">
              <a:buNone/>
            </a:pPr>
            <a:r>
              <a:rPr lang="en-US" dirty="0" smtClean="0"/>
              <a:t>Module Overview</a:t>
            </a:r>
          </a:p>
          <a:p>
            <a:pPr marL="0" indent="0">
              <a:buNone/>
            </a:pPr>
            <a:endParaRPr lang="en-US" dirty="0"/>
          </a:p>
          <a:p>
            <a:pPr marL="0" indent="0">
              <a:buNone/>
            </a:pPr>
            <a:r>
              <a:rPr lang="en-US" dirty="0" smtClean="0"/>
              <a:t>Lesson 1:What is cloud computing</a:t>
            </a:r>
          </a:p>
          <a:p>
            <a:pPr marL="0" indent="0">
              <a:buNone/>
            </a:pPr>
            <a:r>
              <a:rPr lang="en-US" dirty="0" smtClean="0"/>
              <a:t>Lesson 2: What is Azure </a:t>
            </a:r>
          </a:p>
          <a:p>
            <a:pPr marL="0" indent="0">
              <a:buNone/>
            </a:pPr>
            <a:endParaRPr lang="en-US" dirty="0" smtClean="0"/>
          </a:p>
        </p:txBody>
      </p:sp>
    </p:spTree>
    <p:extLst>
      <p:ext uri="{BB962C8B-B14F-4D97-AF65-F5344CB8AC3E}">
        <p14:creationId xmlns:p14="http://schemas.microsoft.com/office/powerpoint/2010/main" val="279315996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idx="1"/>
          </p:nvPr>
        </p:nvSpPr>
        <p:spPr>
          <a:xfrm>
            <a:off x="2423864" y="1509229"/>
            <a:ext cx="11253216" cy="914400"/>
          </a:xfrm>
        </p:spPr>
        <p:txBody>
          <a:bodyPr>
            <a:normAutofit fontScale="85000" lnSpcReduction="20000"/>
          </a:bodyPr>
          <a:lstStyle/>
          <a:p>
            <a:pPr marL="0" indent="0">
              <a:buNone/>
            </a:pPr>
            <a:r>
              <a:rPr lang="en-US" sz="8800" dirty="0" smtClean="0"/>
              <a:t>VM availability </a:t>
            </a:r>
            <a:endParaRPr lang="en-US" sz="8800" dirty="0"/>
          </a:p>
        </p:txBody>
      </p:sp>
    </p:spTree>
    <p:extLst>
      <p:ext uri="{BB962C8B-B14F-4D97-AF65-F5344CB8AC3E}">
        <p14:creationId xmlns:p14="http://schemas.microsoft.com/office/powerpoint/2010/main" val="1997358487"/>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40895" y="268705"/>
            <a:ext cx="10515600" cy="6176963"/>
          </a:xfrm>
        </p:spPr>
        <p:txBody>
          <a:bodyPr>
            <a:normAutofit/>
          </a:bodyPr>
          <a:lstStyle/>
          <a:p>
            <a:r>
              <a:rPr lang="en-IN" sz="1600" dirty="0"/>
              <a:t>"</a:t>
            </a:r>
            <a:r>
              <a:rPr lang="en-IN" sz="1600" b="1" dirty="0"/>
              <a:t>Announced Single Instance Maintenance</a:t>
            </a:r>
            <a:r>
              <a:rPr lang="en-IN" sz="1600" dirty="0"/>
              <a:t>" means periods of Downtime related to network, hardware, or Service maintenance or upgrades impacting Single Instances. We will publish notice or notify you at least five (5) days prior to the commencement of such Downtime</a:t>
            </a:r>
            <a:r>
              <a:rPr lang="en-IN" sz="1600" dirty="0" smtClean="0"/>
              <a:t>.</a:t>
            </a:r>
          </a:p>
          <a:p>
            <a:pPr marL="0" indent="0">
              <a:buNone/>
            </a:pPr>
            <a:endParaRPr lang="en-IN" sz="1600" dirty="0"/>
          </a:p>
          <a:p>
            <a:r>
              <a:rPr lang="en-IN" sz="1600" dirty="0"/>
              <a:t>"</a:t>
            </a:r>
            <a:r>
              <a:rPr lang="en-IN" sz="1600" b="1" dirty="0"/>
              <a:t>Availability Set</a:t>
            </a:r>
            <a:r>
              <a:rPr lang="en-IN" sz="1600" dirty="0"/>
              <a:t>" refers to two or more Virtual Machines deployed across different Fault Domains to avoid a single point of failure</a:t>
            </a:r>
            <a:r>
              <a:rPr lang="en-IN" sz="1600" dirty="0" smtClean="0"/>
              <a:t>.</a:t>
            </a:r>
          </a:p>
          <a:p>
            <a:pPr marL="0" indent="0">
              <a:buNone/>
            </a:pPr>
            <a:endParaRPr lang="en-IN" sz="1600" dirty="0"/>
          </a:p>
          <a:p>
            <a:r>
              <a:rPr lang="en-IN" sz="1600" dirty="0"/>
              <a:t>"</a:t>
            </a:r>
            <a:r>
              <a:rPr lang="en-IN" sz="1600" b="1" dirty="0"/>
              <a:t>Data Disk</a:t>
            </a:r>
            <a:r>
              <a:rPr lang="en-IN" sz="1600" dirty="0"/>
              <a:t>" is a persistent virtual hard disk, attached to a Virtual Machine, used to store application data</a:t>
            </a:r>
            <a:r>
              <a:rPr lang="en-IN" sz="1600" dirty="0" smtClean="0"/>
              <a:t>.</a:t>
            </a:r>
          </a:p>
          <a:p>
            <a:pPr marL="0" indent="0">
              <a:buNone/>
            </a:pPr>
            <a:endParaRPr lang="en-IN" sz="1600" dirty="0"/>
          </a:p>
          <a:p>
            <a:r>
              <a:rPr lang="en-IN" sz="1600" dirty="0"/>
              <a:t>"</a:t>
            </a:r>
            <a:r>
              <a:rPr lang="en-IN" sz="1600" b="1" dirty="0"/>
              <a:t>Fault Domain</a:t>
            </a:r>
            <a:r>
              <a:rPr lang="en-IN" sz="1600" dirty="0"/>
              <a:t>" is a collection of servers that share common resources such as power and network connectivity</a:t>
            </a:r>
            <a:r>
              <a:rPr lang="en-IN" sz="1600" dirty="0" smtClean="0"/>
              <a:t>.</a:t>
            </a:r>
          </a:p>
          <a:p>
            <a:pPr marL="0" indent="0">
              <a:buNone/>
            </a:pPr>
            <a:endParaRPr lang="en-IN" sz="1600" dirty="0"/>
          </a:p>
          <a:p>
            <a:r>
              <a:rPr lang="en-IN" sz="1600" dirty="0"/>
              <a:t>"</a:t>
            </a:r>
            <a:r>
              <a:rPr lang="en-IN" sz="1600" b="1" dirty="0"/>
              <a:t>Operating System Disk</a:t>
            </a:r>
            <a:r>
              <a:rPr lang="en-IN" sz="1600" dirty="0"/>
              <a:t>" is a persistent virtual hard disk, attached to a Virtual Machine, used to store the Virtual Machine’s operating system</a:t>
            </a:r>
            <a:r>
              <a:rPr lang="en-IN" sz="1600" dirty="0" smtClean="0"/>
              <a:t>.</a:t>
            </a:r>
          </a:p>
          <a:p>
            <a:pPr marL="0" indent="0">
              <a:buNone/>
            </a:pPr>
            <a:endParaRPr lang="en-IN" sz="1600" dirty="0"/>
          </a:p>
          <a:p>
            <a:r>
              <a:rPr lang="en-IN" sz="1600" dirty="0"/>
              <a:t>"</a:t>
            </a:r>
            <a:r>
              <a:rPr lang="en-IN" sz="1600" b="1" dirty="0"/>
              <a:t>Single Instance</a:t>
            </a:r>
            <a:r>
              <a:rPr lang="en-IN" sz="1600" dirty="0"/>
              <a:t>" is defined as any single Microsoft Azure Virtual Machine that either is not deployed in an Availability Set or has only one instance deployed in an Availability Set</a:t>
            </a:r>
            <a:r>
              <a:rPr lang="en-IN" sz="1600" dirty="0" smtClean="0"/>
              <a:t>.</a:t>
            </a:r>
          </a:p>
          <a:p>
            <a:pPr marL="0" indent="0">
              <a:buNone/>
            </a:pPr>
            <a:endParaRPr lang="en-IN" sz="1600" dirty="0"/>
          </a:p>
          <a:p>
            <a:r>
              <a:rPr lang="en-IN" sz="1600" dirty="0"/>
              <a:t>"</a:t>
            </a:r>
            <a:r>
              <a:rPr lang="en-IN" sz="1600" b="1" dirty="0"/>
              <a:t>Virtual Machine</a:t>
            </a:r>
            <a:r>
              <a:rPr lang="en-IN" sz="1600" dirty="0"/>
              <a:t>" refers to persistent instance types that can be deployed individually or as part of an Availability Set.</a:t>
            </a:r>
          </a:p>
          <a:p>
            <a:endParaRPr lang="en-IN" sz="1600" dirty="0"/>
          </a:p>
        </p:txBody>
      </p:sp>
    </p:spTree>
    <p:extLst>
      <p:ext uri="{BB962C8B-B14F-4D97-AF65-F5344CB8AC3E}">
        <p14:creationId xmlns:p14="http://schemas.microsoft.com/office/powerpoint/2010/main" val="3981711265"/>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8" y="57027"/>
            <a:ext cx="11151917" cy="747898"/>
          </a:xfrm>
        </p:spPr>
        <p:txBody>
          <a:bodyPr/>
          <a:lstStyle/>
          <a:p>
            <a:r>
              <a:rPr lang="de-DE" b="1" u="sng" dirty="0" smtClean="0">
                <a:effectLst>
                  <a:outerShdw blurRad="38100" dist="38100" dir="2700000" algn="tl">
                    <a:srgbClr val="000000">
                      <a:alpha val="43137"/>
                    </a:srgbClr>
                  </a:outerShdw>
                </a:effectLst>
              </a:rPr>
              <a:t>Service </a:t>
            </a:r>
            <a:r>
              <a:rPr lang="de-DE" b="1" u="sng" dirty="0">
                <a:effectLst>
                  <a:outerShdw blurRad="38100" dist="38100" dir="2700000" algn="tl">
                    <a:srgbClr val="000000">
                      <a:alpha val="43137"/>
                    </a:srgbClr>
                  </a:outerShdw>
                </a:effectLst>
              </a:rPr>
              <a:t>Level Agreements (SLA)</a:t>
            </a:r>
          </a:p>
        </p:txBody>
      </p:sp>
      <p:sp>
        <p:nvSpPr>
          <p:cNvPr id="3" name="Text Placeholder 2"/>
          <p:cNvSpPr>
            <a:spLocks noGrp="1"/>
          </p:cNvSpPr>
          <p:nvPr>
            <p:ph type="body" sz="quarter" idx="10"/>
          </p:nvPr>
        </p:nvSpPr>
        <p:spPr>
          <a:xfrm>
            <a:off x="519248" y="1398598"/>
            <a:ext cx="6712825" cy="4236889"/>
          </a:xfrm>
        </p:spPr>
        <p:txBody>
          <a:bodyPr>
            <a:noAutofit/>
          </a:bodyPr>
          <a:lstStyle/>
          <a:p>
            <a:r>
              <a:rPr lang="en-US" sz="2000" dirty="0">
                <a:solidFill>
                  <a:schemeClr val="tx1">
                    <a:lumMod val="75000"/>
                    <a:lumOff val="25000"/>
                  </a:schemeClr>
                </a:solidFill>
              </a:rPr>
              <a:t>For Cloud Services, we guarantee that when you deploy two or more role instances in different fault and upgrade domains, your Internet facing roles will have external connectivity at least 99.95% of the time.</a:t>
            </a:r>
          </a:p>
          <a:p>
            <a:endParaRPr lang="en-US" sz="2000" dirty="0">
              <a:solidFill>
                <a:schemeClr val="tx1">
                  <a:lumMod val="75000"/>
                  <a:lumOff val="25000"/>
                </a:schemeClr>
              </a:solidFill>
            </a:endParaRPr>
          </a:p>
          <a:p>
            <a:r>
              <a:rPr lang="en-US" sz="2000" dirty="0">
                <a:solidFill>
                  <a:schemeClr val="tx1">
                    <a:lumMod val="75000"/>
                    <a:lumOff val="25000"/>
                  </a:schemeClr>
                </a:solidFill>
              </a:rPr>
              <a:t>For all Internet facing Virtual Machines that have two or more instances deployed in the same Availability Set, we guarantee you will have external connectivity at least 99.95% of the time. </a:t>
            </a:r>
          </a:p>
          <a:p>
            <a:endParaRPr lang="en-US" sz="2000" dirty="0">
              <a:solidFill>
                <a:schemeClr val="tx1">
                  <a:lumMod val="75000"/>
                  <a:lumOff val="25000"/>
                </a:schemeClr>
              </a:solidFill>
            </a:endParaRPr>
          </a:p>
          <a:p>
            <a:r>
              <a:rPr lang="en-US" sz="2000" dirty="0">
                <a:solidFill>
                  <a:schemeClr val="tx1">
                    <a:lumMod val="75000"/>
                    <a:lumOff val="25000"/>
                  </a:schemeClr>
                </a:solidFill>
              </a:rPr>
              <a:t>For Virtual Network, we guarantee a 99.9% Virtual Network Gateway availability.</a:t>
            </a:r>
          </a:p>
          <a:p>
            <a:endParaRPr lang="en-US" sz="2000" dirty="0">
              <a:solidFill>
                <a:schemeClr val="tx1">
                  <a:lumMod val="75000"/>
                  <a:lumOff val="25000"/>
                </a:schemeClr>
              </a:solidFill>
            </a:endParaRPr>
          </a:p>
          <a:p>
            <a:r>
              <a:rPr lang="en-US" sz="2000" dirty="0">
                <a:solidFill>
                  <a:schemeClr val="tx1">
                    <a:lumMod val="75000"/>
                    <a:lumOff val="25000"/>
                  </a:schemeClr>
                </a:solidFill>
              </a:rPr>
              <a:t>"NO SLA" under the single instance</a:t>
            </a:r>
          </a:p>
        </p:txBody>
      </p:sp>
      <p:sp>
        <p:nvSpPr>
          <p:cNvPr id="5" name="Rectangle 4"/>
          <p:cNvSpPr/>
          <p:nvPr/>
        </p:nvSpPr>
        <p:spPr bwMode="auto">
          <a:xfrm>
            <a:off x="7413365" y="1398598"/>
            <a:ext cx="3408712" cy="3029967"/>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49049" tIns="49049" rIns="49049" bIns="49049" numCol="1" spcCol="0" rtlCol="0" fromWordArt="0" anchor="ctr" anchorCtr="0" forceAA="0" compatLnSpc="1">
            <a:prstTxWarp prst="textNoShape">
              <a:avLst/>
            </a:prstTxWarp>
            <a:noAutofit/>
          </a:bodyPr>
          <a:lstStyle/>
          <a:p>
            <a:pPr algn="ctr" defTabSz="980679" fontAlgn="base">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bwMode="black">
          <a:xfrm>
            <a:off x="7997926" y="1838046"/>
            <a:ext cx="2239589" cy="2048925"/>
            <a:chOff x="3422650" y="3467100"/>
            <a:chExt cx="533400" cy="549275"/>
          </a:xfrm>
          <a:solidFill>
            <a:srgbClr val="FFFFFF"/>
          </a:solidFill>
        </p:grpSpPr>
        <p:sp>
          <p:nvSpPr>
            <p:cNvPr id="7"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40" tIns="45720" rIns="91440" bIns="45720" numCol="1" anchor="t" anchorCtr="0" compatLnSpc="1">
              <a:prstTxWarp prst="textNoShape">
                <a:avLst/>
              </a:prstTxWarp>
            </a:bodyPr>
            <a:lstStyle/>
            <a:p>
              <a:pPr defTabSz="1219170">
                <a:defRPr/>
              </a:pPr>
              <a:endParaRPr lang="en-US" sz="1300" kern="0" dirty="0">
                <a:solidFill>
                  <a:sysClr val="windowText" lastClr="000000"/>
                </a:solidFill>
              </a:endParaRPr>
            </a:p>
          </p:txBody>
        </p:sp>
        <p:sp>
          <p:nvSpPr>
            <p:cNvPr id="8"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40" tIns="45720" rIns="91440" bIns="45720" numCol="1" anchor="t" anchorCtr="0" compatLnSpc="1">
              <a:prstTxWarp prst="textNoShape">
                <a:avLst/>
              </a:prstTxWarp>
            </a:bodyPr>
            <a:lstStyle/>
            <a:p>
              <a:pPr defTabSz="1219170">
                <a:defRPr/>
              </a:pPr>
              <a:endParaRPr lang="en-US" sz="1300" kern="0" dirty="0">
                <a:solidFill>
                  <a:sysClr val="windowText" lastClr="000000"/>
                </a:solidFill>
              </a:endParaRPr>
            </a:p>
          </p:txBody>
        </p:sp>
      </p:grpSp>
    </p:spTree>
    <p:extLst>
      <p:ext uri="{BB962C8B-B14F-4D97-AF65-F5344CB8AC3E}">
        <p14:creationId xmlns:p14="http://schemas.microsoft.com/office/powerpoint/2010/main" val="3488496713"/>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8" y="446966"/>
            <a:ext cx="11151917" cy="747897"/>
          </a:xfrm>
        </p:spPr>
        <p:txBody>
          <a:bodyPr>
            <a:normAutofit fontScale="90000"/>
          </a:bodyPr>
          <a:lstStyle/>
          <a:p>
            <a:r>
              <a:rPr lang="en-US" b="1" u="sng" dirty="0">
                <a:effectLst>
                  <a:outerShdw blurRad="38100" dist="38100" dir="2700000" algn="tl">
                    <a:srgbClr val="000000">
                      <a:alpha val="43137"/>
                    </a:srgbClr>
                  </a:outerShdw>
                </a:effectLst>
              </a:rPr>
              <a:t>VM Availability</a:t>
            </a:r>
            <a:r>
              <a:rPr lang="en-US" dirty="0"/>
              <a:t/>
            </a:r>
            <a:br>
              <a:rPr lang="en-US" dirty="0"/>
            </a:br>
            <a:endParaRPr lang="en-US" dirty="0"/>
          </a:p>
        </p:txBody>
      </p:sp>
      <p:sp>
        <p:nvSpPr>
          <p:cNvPr id="3" name="Text Placeholder 2"/>
          <p:cNvSpPr>
            <a:spLocks noGrp="1"/>
          </p:cNvSpPr>
          <p:nvPr>
            <p:ph type="body" sz="quarter" idx="10"/>
          </p:nvPr>
        </p:nvSpPr>
        <p:spPr/>
        <p:txBody>
          <a:bodyPr>
            <a:normAutofit/>
          </a:bodyPr>
          <a:lstStyle/>
          <a:p>
            <a:r>
              <a:rPr lang="en-US" sz="2000" dirty="0" smtClean="0"/>
              <a:t>To</a:t>
            </a:r>
            <a:r>
              <a:rPr lang="en-US" sz="2000" dirty="0"/>
              <a:t> </a:t>
            </a:r>
            <a:r>
              <a:rPr lang="en-US" sz="2000" b="1" i="1" dirty="0"/>
              <a:t>ensure high availability</a:t>
            </a:r>
            <a:r>
              <a:rPr lang="en-US" sz="2000" dirty="0"/>
              <a:t> of an application, Azure places VMs into a logical grouping called a </a:t>
            </a:r>
            <a:r>
              <a:rPr lang="en-US" sz="2000" b="1" i="1" dirty="0"/>
              <a:t>Availability Set</a:t>
            </a:r>
            <a:r>
              <a:rPr lang="en-US" sz="2000" dirty="0"/>
              <a:t>.</a:t>
            </a:r>
          </a:p>
          <a:p>
            <a:r>
              <a:rPr lang="en-US" sz="2000" dirty="0"/>
              <a:t>When deployed with a service, Azure ensures that the VMs in the Availability set are arranged across Fault Domains on different Racks. In case of a maintenance event or failure of one fault domain, at least one VM keeps running.</a:t>
            </a:r>
          </a:p>
          <a:p>
            <a:r>
              <a:rPr lang="en-US" sz="2000" dirty="0"/>
              <a:t>Along with Load balancers, availability sets can provide up to 99.9% SLA for VMs.</a:t>
            </a:r>
          </a:p>
          <a:p>
            <a:pPr marL="0" indent="0">
              <a:buNone/>
            </a:pPr>
            <a:endParaRPr lang="en-US" sz="2000" dirty="0"/>
          </a:p>
        </p:txBody>
      </p:sp>
    </p:spTree>
    <p:extLst>
      <p:ext uri="{BB962C8B-B14F-4D97-AF65-F5344CB8AC3E}">
        <p14:creationId xmlns:p14="http://schemas.microsoft.com/office/powerpoint/2010/main" val="1521016440"/>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8" y="-122830"/>
            <a:ext cx="11151917" cy="1358635"/>
          </a:xfrm>
        </p:spPr>
        <p:txBody>
          <a:bodyPr>
            <a:normAutofit/>
          </a:bodyPr>
          <a:lstStyle/>
          <a:p>
            <a:r>
              <a:rPr lang="en-US" sz="2000" b="1" dirty="0"/>
              <a:t>VM Availability - Fault </a:t>
            </a:r>
            <a:r>
              <a:rPr lang="en-US" sz="2000" b="1" dirty="0" smtClean="0"/>
              <a:t>Domain: </a:t>
            </a:r>
            <a:r>
              <a:rPr lang="en-US" sz="1800" dirty="0" smtClean="0"/>
              <a:t>A </a:t>
            </a:r>
            <a:r>
              <a:rPr lang="en-US" sz="1800" dirty="0"/>
              <a:t>fault domain is a set of hardware components (rack of resources like servers, power, etc.) that share a single point of failure. Web, worker and Virtual Machines are arranged in this hardware.</a:t>
            </a:r>
            <a:br>
              <a:rPr lang="en-US" sz="1800" dirty="0"/>
            </a:br>
            <a:r>
              <a:rPr lang="en-US" sz="1800" dirty="0"/>
              <a:t>Azure deploys an application or service across multiple fault domains</a:t>
            </a:r>
            <a:br>
              <a:rPr lang="en-US" sz="1800" dirty="0"/>
            </a:br>
            <a:r>
              <a:rPr lang="en-US" sz="1400" dirty="0"/>
              <a:t/>
            </a:r>
            <a:br>
              <a:rPr lang="en-US" sz="1400" dirty="0"/>
            </a:br>
            <a:endParaRPr lang="en-US" sz="1400" dirty="0"/>
          </a:p>
        </p:txBody>
      </p:sp>
      <p:pic>
        <p:nvPicPr>
          <p:cNvPr id="6" name="FaultDomainV2">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2666206" y="1195252"/>
            <a:ext cx="6858000" cy="5715000"/>
          </a:xfrm>
          <a:prstGeom prst="rect">
            <a:avLst/>
          </a:prstGeom>
        </p:spPr>
      </p:pic>
    </p:spTree>
    <p:extLst>
      <p:ext uri="{BB962C8B-B14F-4D97-AF65-F5344CB8AC3E}">
        <p14:creationId xmlns:p14="http://schemas.microsoft.com/office/powerpoint/2010/main" val="1692206134"/>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6"/>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6"/>
                                        </p:tgtEl>
                                      </p:cBhvr>
                                    </p:cmd>
                                  </p:childTnLst>
                                </p:cTn>
                              </p:par>
                            </p:childTnLst>
                          </p:cTn>
                        </p:par>
                      </p:childTnLst>
                    </p:cTn>
                  </p:par>
                </p:childTnLst>
              </p:cTn>
              <p:nextCondLst>
                <p:cond evt="onClick" delay="0">
                  <p:tgtEl>
                    <p:spTgt spid="6"/>
                  </p:tgtEl>
                </p:cond>
              </p:nextCondLst>
            </p:seq>
            <p:video>
              <p:cMediaNode vol="80000">
                <p:cTn id="7" fill="hold" display="0">
                  <p:stCondLst>
                    <p:cond delay="indefinite"/>
                  </p:stCondLst>
                </p:cTn>
                <p:tgtEl>
                  <p:spTgt spid="6"/>
                </p:tgtEl>
              </p:cMediaNode>
            </p:video>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0" y="91440"/>
            <a:ext cx="12192000" cy="6766560"/>
          </a:xfrm>
        </p:spPr>
        <p:txBody>
          <a:bodyPr>
            <a:normAutofit/>
          </a:bodyPr>
          <a:lstStyle/>
          <a:p>
            <a:pPr marL="0" indent="0">
              <a:buNone/>
            </a:pPr>
            <a:r>
              <a:rPr lang="en-US" sz="2400" b="1" dirty="0"/>
              <a:t>VM Availability - Fault Domain</a:t>
            </a:r>
            <a:endParaRPr lang="en-IN" sz="2400" dirty="0" smtClean="0"/>
          </a:p>
          <a:p>
            <a:r>
              <a:rPr lang="en-IN" sz="2400" dirty="0" smtClean="0"/>
              <a:t>When </a:t>
            </a:r>
            <a:r>
              <a:rPr lang="en-IN" sz="2400" dirty="0"/>
              <a:t>you put VMs in to an availability set, Azure guarantees to spread them across Fault Domains and Update Domains. A Fault Domain (FD) is essentially a rack of servers. It consumes subsystems like network, power, cooling etc. So 2 VMs in the same availability set means Azure will provision them in to 2 different racks so that if say, the network or the power failed, only one rack would be affected.</a:t>
            </a:r>
          </a:p>
          <a:p>
            <a:r>
              <a:rPr lang="en-IN" sz="2400" dirty="0" smtClean="0"/>
              <a:t>there </a:t>
            </a:r>
            <a:r>
              <a:rPr lang="en-IN" sz="2400" dirty="0"/>
              <a:t>are always only </a:t>
            </a:r>
            <a:r>
              <a:rPr lang="en-IN" sz="2400" dirty="0" smtClean="0"/>
              <a:t>3 </a:t>
            </a:r>
            <a:r>
              <a:rPr lang="en-IN" sz="2400" dirty="0"/>
              <a:t>fault domains: FD0 </a:t>
            </a:r>
            <a:r>
              <a:rPr lang="en-IN" sz="2400" dirty="0" smtClean="0"/>
              <a:t>,FD1 and FD2. </a:t>
            </a:r>
            <a:r>
              <a:rPr lang="en-IN" sz="2400" dirty="0"/>
              <a:t>It makes it seem like your VMs only get spread across </a:t>
            </a:r>
            <a:r>
              <a:rPr lang="en-IN" sz="2400" dirty="0" smtClean="0"/>
              <a:t>3 </a:t>
            </a:r>
            <a:r>
              <a:rPr lang="en-IN" sz="2400" dirty="0"/>
              <a:t>racks but that’s not the case. They can be spread across more racks if you’ve got lots of VMs. But as far as your availability set is concerned FD0 and FD1 are a way of saying “This bit of infrastructure (FD0) is </a:t>
            </a:r>
            <a:r>
              <a:rPr lang="en-IN" sz="2400" b="1" dirty="0"/>
              <a:t>different</a:t>
            </a:r>
            <a:r>
              <a:rPr lang="en-IN" sz="2400" dirty="0"/>
              <a:t> to this bit (FD1).  As you boot VMs in to an availability set, they get allocated like this – FD0, FD1, </a:t>
            </a:r>
            <a:r>
              <a:rPr lang="en-IN" sz="2400" dirty="0" smtClean="0"/>
              <a:t>FD2, FD0, FD1, FD2 </a:t>
            </a:r>
            <a:r>
              <a:rPr lang="en-IN" sz="2400" dirty="0"/>
              <a:t>and so on. The pattern never changes. You’ve probably seen this diagram hundreds of </a:t>
            </a:r>
            <a:r>
              <a:rPr lang="en-IN" sz="2400" dirty="0" smtClean="0"/>
              <a:t>times</a:t>
            </a:r>
          </a:p>
          <a:p>
            <a:endParaRPr lang="en-IN" sz="2400" dirty="0"/>
          </a:p>
          <a:p>
            <a:endParaRPr lang="en-IN" sz="2400" dirty="0"/>
          </a:p>
        </p:txBody>
      </p:sp>
    </p:spTree>
    <p:extLst>
      <p:ext uri="{BB962C8B-B14F-4D97-AF65-F5344CB8AC3E}">
        <p14:creationId xmlns:p14="http://schemas.microsoft.com/office/powerpoint/2010/main" val="4058567228"/>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 y="0"/>
            <a:ext cx="12192000" cy="6858000"/>
          </a:xfrm>
        </p:spPr>
        <p:txBody>
          <a:bodyPr/>
          <a:lstStyle/>
          <a:p>
            <a:pPr marL="0" indent="0">
              <a:buNone/>
            </a:pPr>
            <a:r>
              <a:rPr lang="en-US" sz="1800" b="1" dirty="0" smtClean="0"/>
              <a:t>VM </a:t>
            </a:r>
            <a:r>
              <a:rPr lang="en-US" sz="1800" b="1" dirty="0"/>
              <a:t>Availability - Update </a:t>
            </a:r>
            <a:r>
              <a:rPr lang="en-US" sz="1800" b="1" dirty="0" smtClean="0"/>
              <a:t>Domain : </a:t>
            </a:r>
            <a:r>
              <a:rPr lang="en-US" sz="1800" dirty="0"/>
              <a:t>Update domain in Azure means, that all physical servers in one update domain will get host </a:t>
            </a:r>
            <a:r>
              <a:rPr lang="en-US" sz="1800" dirty="0" smtClean="0"/>
              <a:t>       updates </a:t>
            </a:r>
            <a:r>
              <a:rPr lang="en-US" sz="1800" dirty="0"/>
              <a:t>like firmware, drivers and OS updates at the same time.</a:t>
            </a:r>
          </a:p>
          <a:p>
            <a:r>
              <a:rPr lang="en-US" sz="1800" dirty="0"/>
              <a:t>In the Illustration UD#1 is getting updated but the user can access the content from UD#2.</a:t>
            </a:r>
          </a:p>
          <a:p>
            <a:r>
              <a:rPr lang="en-US" sz="1800" dirty="0"/>
              <a:t>It provides Web or Worker role (within rack) instances with high availability by ensuring that only one of the Instances is down for an update at one time.</a:t>
            </a:r>
          </a:p>
          <a:p>
            <a:pPr marL="0" indent="0">
              <a:buNone/>
            </a:pPr>
            <a:endParaRPr lang="en-US" sz="1800" dirty="0"/>
          </a:p>
          <a:p>
            <a:endParaRPr lang="en-US" dirty="0"/>
          </a:p>
          <a:p>
            <a:endParaRPr lang="en-US" dirty="0"/>
          </a:p>
        </p:txBody>
      </p:sp>
      <p:pic>
        <p:nvPicPr>
          <p:cNvPr id="4" name="UpdateDomainV1">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3062786" y="1376718"/>
            <a:ext cx="6858000" cy="5715000"/>
          </a:xfrm>
          <a:prstGeom prst="rect">
            <a:avLst/>
          </a:prstGeom>
        </p:spPr>
      </p:pic>
    </p:spTree>
    <p:extLst>
      <p:ext uri="{BB962C8B-B14F-4D97-AF65-F5344CB8AC3E}">
        <p14:creationId xmlns:p14="http://schemas.microsoft.com/office/powerpoint/2010/main" val="3689764761"/>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p:cTn id="7" fill="hold" display="0">
                  <p:stCondLst>
                    <p:cond delay="indefinite"/>
                  </p:stCondLst>
                </p:cTn>
                <p:tgtEl>
                  <p:spTgt spid="4"/>
                </p:tgtEl>
              </p:cMediaNode>
            </p:video>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0" y="0"/>
            <a:ext cx="12192000" cy="6858000"/>
          </a:xfrm>
        </p:spPr>
        <p:txBody>
          <a:bodyPr>
            <a:normAutofit/>
          </a:bodyPr>
          <a:lstStyle/>
          <a:p>
            <a:pPr marL="0" indent="0">
              <a:buNone/>
            </a:pPr>
            <a:r>
              <a:rPr lang="en-IN" b="1" dirty="0"/>
              <a:t>Update Domains</a:t>
            </a:r>
          </a:p>
          <a:p>
            <a:r>
              <a:rPr lang="en-IN" sz="2400" dirty="0"/>
              <a:t>Sometimes you need to update your app, or Microsoft needs to update the host on which your VM(s) are running. Note that with IaaS VMs, Microsoft does not automatically update your VMs. You have complete control (and responsibility) over that. But say if a serious security vulnerability is identified and a patch created. It’s in </a:t>
            </a:r>
            <a:r>
              <a:rPr lang="en-IN" sz="2400" dirty="0" err="1"/>
              <a:t>Microosft’s</a:t>
            </a:r>
            <a:r>
              <a:rPr lang="en-IN" sz="2400" dirty="0"/>
              <a:t> interest to get that applied to the host underneath your VM as soon as possible. So how is that done without taking your service offline? Update Domains. It’s similar to the FD methods, only this time, instead of an accidental failure, there is a purposeful move to take down one (or more) of your servers. So to make sure your service doesn’t go offline because of an update, it will walk through your update domains one after the other</a:t>
            </a:r>
            <a:r>
              <a:rPr lang="en-IN" sz="2400" dirty="0" smtClean="0"/>
              <a:t>.</a:t>
            </a:r>
          </a:p>
          <a:p>
            <a:endParaRPr lang="en-IN" sz="2400" dirty="0"/>
          </a:p>
        </p:txBody>
      </p:sp>
      <p:graphicFrame>
        <p:nvGraphicFramePr>
          <p:cNvPr id="4" name="Table 3"/>
          <p:cNvGraphicFramePr>
            <a:graphicFrameLocks noGrp="1"/>
          </p:cNvGraphicFramePr>
          <p:nvPr>
            <p:extLst>
              <p:ext uri="{D42A27DB-BD31-4B8C-83A1-F6EECF244321}">
                <p14:modId xmlns:p14="http://schemas.microsoft.com/office/powerpoint/2010/main" val="646899807"/>
              </p:ext>
            </p:extLst>
          </p:nvPr>
        </p:nvGraphicFramePr>
        <p:xfrm>
          <a:off x="1418136" y="3894070"/>
          <a:ext cx="8104686" cy="2186940"/>
        </p:xfrm>
        <a:graphic>
          <a:graphicData uri="http://schemas.openxmlformats.org/drawingml/2006/table">
            <a:tbl>
              <a:tblPr/>
              <a:tblGrid>
                <a:gridCol w="2701562">
                  <a:extLst>
                    <a:ext uri="{9D8B030D-6E8A-4147-A177-3AD203B41FA5}">
                      <a16:colId xmlns:a16="http://schemas.microsoft.com/office/drawing/2014/main" xmlns="" val="2584706032"/>
                    </a:ext>
                  </a:extLst>
                </a:gridCol>
                <a:gridCol w="2701562">
                  <a:extLst>
                    <a:ext uri="{9D8B030D-6E8A-4147-A177-3AD203B41FA5}">
                      <a16:colId xmlns:a16="http://schemas.microsoft.com/office/drawing/2014/main" xmlns="" val="3102702787"/>
                    </a:ext>
                  </a:extLst>
                </a:gridCol>
                <a:gridCol w="2701562">
                  <a:extLst>
                    <a:ext uri="{9D8B030D-6E8A-4147-A177-3AD203B41FA5}">
                      <a16:colId xmlns:a16="http://schemas.microsoft.com/office/drawing/2014/main" xmlns="" val="2062517037"/>
                    </a:ext>
                  </a:extLst>
                </a:gridCol>
              </a:tblGrid>
              <a:tr h="0">
                <a:tc>
                  <a:txBody>
                    <a:bodyPr/>
                    <a:lstStyle/>
                    <a:p>
                      <a:r>
                        <a:rPr lang="en-IN" b="1">
                          <a:effectLst/>
                        </a:rPr>
                        <a:t>VM</a:t>
                      </a:r>
                    </a:p>
                  </a:txBody>
                  <a:tcPr marL="19050" marR="19050" marT="19050" marB="19050">
                    <a:lnL>
                      <a:noFill/>
                    </a:lnL>
                    <a:lnR>
                      <a:noFill/>
                    </a:lnR>
                    <a:lnT>
                      <a:noFill/>
                    </a:lnT>
                    <a:lnB>
                      <a:noFill/>
                    </a:lnB>
                    <a:solidFill>
                      <a:srgbClr val="FFFFFF"/>
                    </a:solidFill>
                  </a:tcPr>
                </a:tc>
                <a:tc>
                  <a:txBody>
                    <a:bodyPr/>
                    <a:lstStyle/>
                    <a:p>
                      <a:r>
                        <a:rPr lang="en-IN" b="1" dirty="0">
                          <a:effectLst/>
                        </a:rPr>
                        <a:t>Fault Domain</a:t>
                      </a:r>
                    </a:p>
                  </a:txBody>
                  <a:tcPr marL="19050" marR="19050" marT="19050" marB="19050">
                    <a:lnL>
                      <a:noFill/>
                    </a:lnL>
                    <a:lnR>
                      <a:noFill/>
                    </a:lnR>
                    <a:lnT>
                      <a:noFill/>
                    </a:lnT>
                    <a:lnB>
                      <a:noFill/>
                    </a:lnB>
                    <a:solidFill>
                      <a:srgbClr val="FFFFFF"/>
                    </a:solidFill>
                  </a:tcPr>
                </a:tc>
                <a:tc>
                  <a:txBody>
                    <a:bodyPr/>
                    <a:lstStyle/>
                    <a:p>
                      <a:r>
                        <a:rPr lang="en-IN" b="1" dirty="0">
                          <a:effectLst/>
                        </a:rPr>
                        <a:t>Update Domain</a:t>
                      </a:r>
                    </a:p>
                  </a:txBody>
                  <a:tcPr marL="19050" marR="19050" marT="19050" marB="19050">
                    <a:lnL>
                      <a:noFill/>
                    </a:lnL>
                    <a:lnR>
                      <a:noFill/>
                    </a:lnR>
                    <a:lnT>
                      <a:noFill/>
                    </a:lnT>
                    <a:lnB>
                      <a:noFill/>
                    </a:lnB>
                    <a:solidFill>
                      <a:srgbClr val="FFFFFF"/>
                    </a:solidFill>
                  </a:tcPr>
                </a:tc>
                <a:extLst>
                  <a:ext uri="{0D108BD9-81ED-4DB2-BD59-A6C34878D82A}">
                    <a16:rowId xmlns:a16="http://schemas.microsoft.com/office/drawing/2014/main" xmlns="" val="711256773"/>
                  </a:ext>
                </a:extLst>
              </a:tr>
              <a:tr h="0">
                <a:tc>
                  <a:txBody>
                    <a:bodyPr/>
                    <a:lstStyle/>
                    <a:p>
                      <a:r>
                        <a:rPr lang="en-IN" dirty="0" smtClean="0">
                          <a:effectLst/>
                        </a:rPr>
                        <a:t>VM0</a:t>
                      </a:r>
                      <a:endParaRPr lang="en-IN" dirty="0">
                        <a:effectLst/>
                      </a:endParaRPr>
                    </a:p>
                  </a:txBody>
                  <a:tcPr marL="19050" marR="19050" marT="19050" marB="19050">
                    <a:lnL>
                      <a:noFill/>
                    </a:lnL>
                    <a:lnR>
                      <a:noFill/>
                    </a:lnR>
                    <a:lnT>
                      <a:noFill/>
                    </a:lnT>
                    <a:lnB>
                      <a:noFill/>
                    </a:lnB>
                    <a:solidFill>
                      <a:srgbClr val="FFFFFF"/>
                    </a:solidFill>
                  </a:tcPr>
                </a:tc>
                <a:tc>
                  <a:txBody>
                    <a:bodyPr/>
                    <a:lstStyle/>
                    <a:p>
                      <a:r>
                        <a:rPr lang="en-IN">
                          <a:effectLst/>
                        </a:rPr>
                        <a:t>0</a:t>
                      </a:r>
                    </a:p>
                  </a:txBody>
                  <a:tcPr marL="19050" marR="19050" marT="19050" marB="19050">
                    <a:lnL>
                      <a:noFill/>
                    </a:lnL>
                    <a:lnR>
                      <a:noFill/>
                    </a:lnR>
                    <a:lnT>
                      <a:noFill/>
                    </a:lnT>
                    <a:lnB>
                      <a:noFill/>
                    </a:lnB>
                    <a:solidFill>
                      <a:srgbClr val="FFFFFF"/>
                    </a:solidFill>
                  </a:tcPr>
                </a:tc>
                <a:tc>
                  <a:txBody>
                    <a:bodyPr/>
                    <a:lstStyle/>
                    <a:p>
                      <a:r>
                        <a:rPr lang="en-IN" dirty="0">
                          <a:effectLst/>
                        </a:rPr>
                        <a:t>0</a:t>
                      </a:r>
                    </a:p>
                  </a:txBody>
                  <a:tcPr marL="19050" marR="19050" marT="19050" marB="19050">
                    <a:lnL>
                      <a:noFill/>
                    </a:lnL>
                    <a:lnR>
                      <a:noFill/>
                    </a:lnR>
                    <a:lnT>
                      <a:noFill/>
                    </a:lnT>
                    <a:lnB>
                      <a:noFill/>
                    </a:lnB>
                    <a:solidFill>
                      <a:srgbClr val="FFFFFF"/>
                    </a:solidFill>
                  </a:tcPr>
                </a:tc>
                <a:extLst>
                  <a:ext uri="{0D108BD9-81ED-4DB2-BD59-A6C34878D82A}">
                    <a16:rowId xmlns:a16="http://schemas.microsoft.com/office/drawing/2014/main" xmlns="" val="2373817311"/>
                  </a:ext>
                </a:extLst>
              </a:tr>
              <a:tr h="0">
                <a:tc>
                  <a:txBody>
                    <a:bodyPr/>
                    <a:lstStyle/>
                    <a:p>
                      <a:r>
                        <a:rPr lang="en-IN" dirty="0" smtClean="0">
                          <a:effectLst/>
                        </a:rPr>
                        <a:t>VM1</a:t>
                      </a:r>
                      <a:endParaRPr lang="en-IN" dirty="0">
                        <a:effectLst/>
                      </a:endParaRPr>
                    </a:p>
                  </a:txBody>
                  <a:tcPr marL="19050" marR="19050" marT="19050" marB="19050">
                    <a:lnL>
                      <a:noFill/>
                    </a:lnL>
                    <a:lnR>
                      <a:noFill/>
                    </a:lnR>
                    <a:lnT>
                      <a:noFill/>
                    </a:lnT>
                    <a:lnB>
                      <a:noFill/>
                    </a:lnB>
                    <a:solidFill>
                      <a:srgbClr val="FFFFFF"/>
                    </a:solidFill>
                  </a:tcPr>
                </a:tc>
                <a:tc>
                  <a:txBody>
                    <a:bodyPr/>
                    <a:lstStyle/>
                    <a:p>
                      <a:r>
                        <a:rPr lang="en-IN">
                          <a:effectLst/>
                        </a:rPr>
                        <a:t>1</a:t>
                      </a:r>
                    </a:p>
                  </a:txBody>
                  <a:tcPr marL="19050" marR="19050" marT="19050" marB="19050">
                    <a:lnL>
                      <a:noFill/>
                    </a:lnL>
                    <a:lnR>
                      <a:noFill/>
                    </a:lnR>
                    <a:lnT>
                      <a:noFill/>
                    </a:lnT>
                    <a:lnB>
                      <a:noFill/>
                    </a:lnB>
                    <a:solidFill>
                      <a:srgbClr val="FFFFFF"/>
                    </a:solidFill>
                  </a:tcPr>
                </a:tc>
                <a:tc>
                  <a:txBody>
                    <a:bodyPr/>
                    <a:lstStyle/>
                    <a:p>
                      <a:r>
                        <a:rPr lang="en-IN">
                          <a:effectLst/>
                        </a:rPr>
                        <a:t>1</a:t>
                      </a:r>
                    </a:p>
                  </a:txBody>
                  <a:tcPr marL="19050" marR="19050" marT="19050" marB="19050">
                    <a:lnL>
                      <a:noFill/>
                    </a:lnL>
                    <a:lnR>
                      <a:noFill/>
                    </a:lnR>
                    <a:lnT>
                      <a:noFill/>
                    </a:lnT>
                    <a:lnB>
                      <a:noFill/>
                    </a:lnB>
                    <a:solidFill>
                      <a:srgbClr val="FFFFFF"/>
                    </a:solidFill>
                  </a:tcPr>
                </a:tc>
                <a:extLst>
                  <a:ext uri="{0D108BD9-81ED-4DB2-BD59-A6C34878D82A}">
                    <a16:rowId xmlns:a16="http://schemas.microsoft.com/office/drawing/2014/main" xmlns="" val="3846108764"/>
                  </a:ext>
                </a:extLst>
              </a:tr>
              <a:tr h="0">
                <a:tc>
                  <a:txBody>
                    <a:bodyPr/>
                    <a:lstStyle/>
                    <a:p>
                      <a:r>
                        <a:rPr lang="en-IN" dirty="0" smtClean="0">
                          <a:effectLst/>
                        </a:rPr>
                        <a:t>SVM2</a:t>
                      </a:r>
                      <a:endParaRPr lang="en-IN" dirty="0">
                        <a:effectLst/>
                      </a:endParaRPr>
                    </a:p>
                  </a:txBody>
                  <a:tcPr marL="19050" marR="19050" marT="19050" marB="19050">
                    <a:lnL>
                      <a:noFill/>
                    </a:lnL>
                    <a:lnR>
                      <a:noFill/>
                    </a:lnR>
                    <a:lnT>
                      <a:noFill/>
                    </a:lnT>
                    <a:lnB>
                      <a:noFill/>
                    </a:lnB>
                    <a:solidFill>
                      <a:srgbClr val="FFFFFF"/>
                    </a:solidFill>
                  </a:tcPr>
                </a:tc>
                <a:tc>
                  <a:txBody>
                    <a:bodyPr/>
                    <a:lstStyle/>
                    <a:p>
                      <a:r>
                        <a:rPr lang="en-IN" dirty="0" smtClean="0">
                          <a:effectLst/>
                        </a:rPr>
                        <a:t>2</a:t>
                      </a:r>
                      <a:endParaRPr lang="en-IN" dirty="0">
                        <a:effectLst/>
                      </a:endParaRPr>
                    </a:p>
                  </a:txBody>
                  <a:tcPr marL="19050" marR="19050" marT="19050" marB="19050">
                    <a:lnL>
                      <a:noFill/>
                    </a:lnL>
                    <a:lnR>
                      <a:noFill/>
                    </a:lnR>
                    <a:lnT>
                      <a:noFill/>
                    </a:lnT>
                    <a:lnB>
                      <a:noFill/>
                    </a:lnB>
                    <a:solidFill>
                      <a:srgbClr val="FFFFFF"/>
                    </a:solidFill>
                  </a:tcPr>
                </a:tc>
                <a:tc>
                  <a:txBody>
                    <a:bodyPr/>
                    <a:lstStyle/>
                    <a:p>
                      <a:r>
                        <a:rPr lang="en-IN" dirty="0">
                          <a:effectLst/>
                        </a:rPr>
                        <a:t>2</a:t>
                      </a:r>
                    </a:p>
                  </a:txBody>
                  <a:tcPr marL="19050" marR="19050" marT="19050" marB="19050">
                    <a:lnL>
                      <a:noFill/>
                    </a:lnL>
                    <a:lnR>
                      <a:noFill/>
                    </a:lnR>
                    <a:lnT>
                      <a:noFill/>
                    </a:lnT>
                    <a:lnB>
                      <a:noFill/>
                    </a:lnB>
                    <a:solidFill>
                      <a:srgbClr val="FFFFFF"/>
                    </a:solidFill>
                  </a:tcPr>
                </a:tc>
                <a:extLst>
                  <a:ext uri="{0D108BD9-81ED-4DB2-BD59-A6C34878D82A}">
                    <a16:rowId xmlns:a16="http://schemas.microsoft.com/office/drawing/2014/main" xmlns="" val="249623909"/>
                  </a:ext>
                </a:extLst>
              </a:tr>
              <a:tr h="0">
                <a:tc>
                  <a:txBody>
                    <a:bodyPr/>
                    <a:lstStyle/>
                    <a:p>
                      <a:r>
                        <a:rPr lang="en-IN" dirty="0" smtClean="0">
                          <a:effectLst/>
                        </a:rPr>
                        <a:t>VM3</a:t>
                      </a:r>
                      <a:endParaRPr lang="en-IN" dirty="0">
                        <a:effectLst/>
                      </a:endParaRPr>
                    </a:p>
                  </a:txBody>
                  <a:tcPr marL="19050" marR="19050" marT="19050" marB="19050">
                    <a:lnL>
                      <a:noFill/>
                    </a:lnL>
                    <a:lnR>
                      <a:noFill/>
                    </a:lnR>
                    <a:lnT>
                      <a:noFill/>
                    </a:lnT>
                    <a:lnB>
                      <a:noFill/>
                    </a:lnB>
                    <a:solidFill>
                      <a:srgbClr val="FFFFFF"/>
                    </a:solidFill>
                  </a:tcPr>
                </a:tc>
                <a:tc>
                  <a:txBody>
                    <a:bodyPr/>
                    <a:lstStyle/>
                    <a:p>
                      <a:r>
                        <a:rPr lang="en-IN" dirty="0" smtClean="0">
                          <a:effectLst/>
                        </a:rPr>
                        <a:t>0</a:t>
                      </a:r>
                      <a:endParaRPr lang="en-IN" dirty="0">
                        <a:effectLst/>
                      </a:endParaRPr>
                    </a:p>
                  </a:txBody>
                  <a:tcPr marL="19050" marR="19050" marT="19050" marB="19050">
                    <a:lnL>
                      <a:noFill/>
                    </a:lnL>
                    <a:lnR>
                      <a:noFill/>
                    </a:lnR>
                    <a:lnT>
                      <a:noFill/>
                    </a:lnT>
                    <a:lnB>
                      <a:noFill/>
                    </a:lnB>
                    <a:solidFill>
                      <a:srgbClr val="FFFFFF"/>
                    </a:solidFill>
                  </a:tcPr>
                </a:tc>
                <a:tc>
                  <a:txBody>
                    <a:bodyPr/>
                    <a:lstStyle/>
                    <a:p>
                      <a:r>
                        <a:rPr lang="en-IN">
                          <a:effectLst/>
                        </a:rPr>
                        <a:t>3</a:t>
                      </a:r>
                    </a:p>
                  </a:txBody>
                  <a:tcPr marL="19050" marR="19050" marT="19050" marB="19050">
                    <a:lnL>
                      <a:noFill/>
                    </a:lnL>
                    <a:lnR>
                      <a:noFill/>
                    </a:lnR>
                    <a:lnT>
                      <a:noFill/>
                    </a:lnT>
                    <a:lnB>
                      <a:noFill/>
                    </a:lnB>
                    <a:solidFill>
                      <a:srgbClr val="FFFFFF"/>
                    </a:solidFill>
                  </a:tcPr>
                </a:tc>
                <a:extLst>
                  <a:ext uri="{0D108BD9-81ED-4DB2-BD59-A6C34878D82A}">
                    <a16:rowId xmlns:a16="http://schemas.microsoft.com/office/drawing/2014/main" xmlns="" val="1983291268"/>
                  </a:ext>
                </a:extLst>
              </a:tr>
              <a:tr h="0">
                <a:tc>
                  <a:txBody>
                    <a:bodyPr/>
                    <a:lstStyle/>
                    <a:p>
                      <a:r>
                        <a:rPr lang="en-IN" dirty="0" smtClean="0">
                          <a:effectLst/>
                        </a:rPr>
                        <a:t>VM4</a:t>
                      </a:r>
                      <a:endParaRPr lang="en-IN" dirty="0">
                        <a:effectLst/>
                      </a:endParaRPr>
                    </a:p>
                  </a:txBody>
                  <a:tcPr marL="19050" marR="19050" marT="19050" marB="19050">
                    <a:lnL>
                      <a:noFill/>
                    </a:lnL>
                    <a:lnR>
                      <a:noFill/>
                    </a:lnR>
                    <a:lnT>
                      <a:noFill/>
                    </a:lnT>
                    <a:lnB>
                      <a:noFill/>
                    </a:lnB>
                    <a:solidFill>
                      <a:srgbClr val="FFFFFF"/>
                    </a:solidFill>
                  </a:tcPr>
                </a:tc>
                <a:tc>
                  <a:txBody>
                    <a:bodyPr/>
                    <a:lstStyle/>
                    <a:p>
                      <a:r>
                        <a:rPr lang="en-IN" dirty="0" smtClean="0">
                          <a:effectLst/>
                        </a:rPr>
                        <a:t>1</a:t>
                      </a:r>
                      <a:endParaRPr lang="en-IN" dirty="0">
                        <a:effectLst/>
                      </a:endParaRPr>
                    </a:p>
                  </a:txBody>
                  <a:tcPr marL="19050" marR="19050" marT="19050" marB="19050">
                    <a:lnL>
                      <a:noFill/>
                    </a:lnL>
                    <a:lnR>
                      <a:noFill/>
                    </a:lnR>
                    <a:lnT>
                      <a:noFill/>
                    </a:lnT>
                    <a:lnB>
                      <a:noFill/>
                    </a:lnB>
                    <a:solidFill>
                      <a:srgbClr val="FFFFFF"/>
                    </a:solidFill>
                  </a:tcPr>
                </a:tc>
                <a:tc>
                  <a:txBody>
                    <a:bodyPr/>
                    <a:lstStyle/>
                    <a:p>
                      <a:r>
                        <a:rPr lang="en-IN">
                          <a:effectLst/>
                        </a:rPr>
                        <a:t>4</a:t>
                      </a:r>
                    </a:p>
                  </a:txBody>
                  <a:tcPr marL="19050" marR="19050" marT="19050" marB="19050">
                    <a:lnL>
                      <a:noFill/>
                    </a:lnL>
                    <a:lnR>
                      <a:noFill/>
                    </a:lnR>
                    <a:lnT>
                      <a:noFill/>
                    </a:lnT>
                    <a:lnB>
                      <a:noFill/>
                    </a:lnB>
                    <a:solidFill>
                      <a:srgbClr val="FFFFFF"/>
                    </a:solidFill>
                  </a:tcPr>
                </a:tc>
                <a:extLst>
                  <a:ext uri="{0D108BD9-81ED-4DB2-BD59-A6C34878D82A}">
                    <a16:rowId xmlns:a16="http://schemas.microsoft.com/office/drawing/2014/main" xmlns="" val="213049606"/>
                  </a:ext>
                </a:extLst>
              </a:tr>
              <a:tr h="0">
                <a:tc>
                  <a:txBody>
                    <a:bodyPr/>
                    <a:lstStyle/>
                    <a:p>
                      <a:r>
                        <a:rPr lang="en-IN" dirty="0" smtClean="0">
                          <a:effectLst/>
                        </a:rPr>
                        <a:t>VM5</a:t>
                      </a:r>
                      <a:endParaRPr lang="en-IN" dirty="0">
                        <a:effectLst/>
                      </a:endParaRPr>
                    </a:p>
                  </a:txBody>
                  <a:tcPr marL="19050" marR="19050" marT="19050" marB="19050">
                    <a:lnL>
                      <a:noFill/>
                    </a:lnL>
                    <a:lnR>
                      <a:noFill/>
                    </a:lnR>
                    <a:lnT>
                      <a:noFill/>
                    </a:lnT>
                    <a:lnB>
                      <a:noFill/>
                    </a:lnB>
                    <a:solidFill>
                      <a:srgbClr val="FFFFFF"/>
                    </a:solidFill>
                  </a:tcPr>
                </a:tc>
                <a:tc>
                  <a:txBody>
                    <a:bodyPr/>
                    <a:lstStyle/>
                    <a:p>
                      <a:r>
                        <a:rPr lang="en-IN" dirty="0" smtClean="0">
                          <a:effectLst/>
                        </a:rPr>
                        <a:t>2</a:t>
                      </a:r>
                      <a:endParaRPr lang="en-IN" dirty="0">
                        <a:effectLst/>
                      </a:endParaRPr>
                    </a:p>
                  </a:txBody>
                  <a:tcPr marL="19050" marR="19050" marT="19050" marB="19050">
                    <a:lnL>
                      <a:noFill/>
                    </a:lnL>
                    <a:lnR>
                      <a:noFill/>
                    </a:lnR>
                    <a:lnT>
                      <a:noFill/>
                    </a:lnT>
                    <a:lnB>
                      <a:noFill/>
                    </a:lnB>
                    <a:solidFill>
                      <a:srgbClr val="FFFFFF"/>
                    </a:solidFill>
                  </a:tcPr>
                </a:tc>
                <a:tc>
                  <a:txBody>
                    <a:bodyPr/>
                    <a:lstStyle/>
                    <a:p>
                      <a:r>
                        <a:rPr lang="en-IN" dirty="0">
                          <a:effectLst/>
                        </a:rPr>
                        <a:t>0</a:t>
                      </a:r>
                    </a:p>
                  </a:txBody>
                  <a:tcPr marL="19050" marR="19050" marT="19050" marB="19050">
                    <a:lnL>
                      <a:noFill/>
                    </a:lnL>
                    <a:lnR>
                      <a:noFill/>
                    </a:lnR>
                    <a:lnT>
                      <a:noFill/>
                    </a:lnT>
                    <a:lnB>
                      <a:noFill/>
                    </a:lnB>
                    <a:solidFill>
                      <a:srgbClr val="FFFFFF"/>
                    </a:solidFill>
                  </a:tcPr>
                </a:tc>
                <a:extLst>
                  <a:ext uri="{0D108BD9-81ED-4DB2-BD59-A6C34878D82A}">
                    <a16:rowId xmlns:a16="http://schemas.microsoft.com/office/drawing/2014/main" xmlns="" val="1586649511"/>
                  </a:ext>
                </a:extLst>
              </a:tr>
            </a:tbl>
          </a:graphicData>
        </a:graphic>
      </p:graphicFrame>
    </p:spTree>
    <p:extLst>
      <p:ext uri="{BB962C8B-B14F-4D97-AF65-F5344CB8AC3E}">
        <p14:creationId xmlns:p14="http://schemas.microsoft.com/office/powerpoint/2010/main" val="1637531963"/>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752" y="0"/>
            <a:ext cx="11274552" cy="713232"/>
          </a:xfrm>
        </p:spPr>
        <p:txBody>
          <a:bodyPr/>
          <a:lstStyle/>
          <a:p>
            <a:r>
              <a:rPr lang="en-NZ" b="1" u="sng" dirty="0">
                <a:effectLst>
                  <a:outerShdw blurRad="38100" dist="38100" dir="2700000" algn="tl">
                    <a:srgbClr val="000000">
                      <a:alpha val="43137"/>
                    </a:srgbClr>
                  </a:outerShdw>
                </a:effectLst>
              </a:rPr>
              <a:t>Fault and Update Domains</a:t>
            </a:r>
          </a:p>
        </p:txBody>
      </p:sp>
      <p:sp>
        <p:nvSpPr>
          <p:cNvPr id="9" name="Text Placeholder 8"/>
          <p:cNvSpPr>
            <a:spLocks noGrp="1"/>
          </p:cNvSpPr>
          <p:nvPr>
            <p:ph type="body" sz="quarter" idx="13"/>
          </p:nvPr>
        </p:nvSpPr>
        <p:spPr/>
        <p:txBody>
          <a:bodyPr>
            <a:normAutofit fontScale="92500" lnSpcReduction="10000"/>
          </a:bodyPr>
          <a:lstStyle/>
          <a:p>
            <a:r>
              <a:rPr lang="en-NZ" dirty="0"/>
              <a:t>Fault domains:</a:t>
            </a:r>
          </a:p>
          <a:p>
            <a:pPr lvl="1"/>
            <a:r>
              <a:rPr lang="en-NZ" dirty="0"/>
              <a:t>Represent groups of  resources anticipated to fail together, i.e. same rack, same server</a:t>
            </a:r>
          </a:p>
          <a:p>
            <a:pPr lvl="1"/>
            <a:r>
              <a:rPr lang="en-NZ" dirty="0"/>
              <a:t>Fabric spreads instances across fault at least two fault domains</a:t>
            </a:r>
          </a:p>
          <a:p>
            <a:pPr lvl="1"/>
            <a:r>
              <a:rPr lang="en-NZ" dirty="0"/>
              <a:t>The number of fault domains is controlled by the Azure Fabric</a:t>
            </a:r>
          </a:p>
          <a:p>
            <a:pPr lvl="1"/>
            <a:r>
              <a:rPr lang="en-NZ" dirty="0"/>
              <a:t>Anticipated to fail together: share power source </a:t>
            </a:r>
            <a:r>
              <a:rPr lang="en-NZ" sz="2200" dirty="0"/>
              <a:t>and network switch</a:t>
            </a:r>
          </a:p>
          <a:p>
            <a:pPr lvl="1"/>
            <a:r>
              <a:rPr lang="en-NZ" dirty="0"/>
              <a:t>3 fault domains by default</a:t>
            </a:r>
          </a:p>
          <a:p>
            <a:r>
              <a:rPr lang="en-NZ" dirty="0"/>
              <a:t>Update domains:</a:t>
            </a:r>
          </a:p>
          <a:p>
            <a:pPr lvl="1"/>
            <a:r>
              <a:rPr lang="en-NZ" dirty="0"/>
              <a:t>Represents groups of resources that will be updated together</a:t>
            </a:r>
          </a:p>
          <a:p>
            <a:pPr lvl="1"/>
            <a:r>
              <a:rPr lang="en-NZ" dirty="0"/>
              <a:t>Host OS updates </a:t>
            </a:r>
            <a:r>
              <a:rPr lang="en-NZ" dirty="0" smtClean="0"/>
              <a:t>honour </a:t>
            </a:r>
            <a:r>
              <a:rPr lang="en-NZ" dirty="0"/>
              <a:t>service update domains</a:t>
            </a:r>
          </a:p>
          <a:p>
            <a:pPr lvl="1"/>
            <a:r>
              <a:rPr lang="en-NZ" dirty="0"/>
              <a:t>Specified in service definition</a:t>
            </a:r>
          </a:p>
          <a:p>
            <a:pPr lvl="1"/>
            <a:r>
              <a:rPr lang="en-NZ" dirty="0"/>
              <a:t>Default of five (up to 5)</a:t>
            </a:r>
          </a:p>
          <a:p>
            <a:pPr lvl="1"/>
            <a:r>
              <a:rPr lang="en-NZ" dirty="0"/>
              <a:t>More than 5 update domains allowed</a:t>
            </a:r>
          </a:p>
          <a:p>
            <a:r>
              <a:rPr lang="en-NZ" dirty="0"/>
              <a:t>Fabric spreads role instances across update domains and fault domains</a:t>
            </a:r>
          </a:p>
        </p:txBody>
      </p:sp>
      <p:grpSp>
        <p:nvGrpSpPr>
          <p:cNvPr id="10" name="Group 9"/>
          <p:cNvGrpSpPr/>
          <p:nvPr/>
        </p:nvGrpSpPr>
        <p:grpSpPr>
          <a:xfrm>
            <a:off x="8783288" y="2418187"/>
            <a:ext cx="3408712" cy="3029967"/>
            <a:chOff x="389436" y="1066800"/>
            <a:chExt cx="1371600" cy="1371600"/>
          </a:xfrm>
        </p:grpSpPr>
        <p:sp>
          <p:nvSpPr>
            <p:cNvPr id="11" name="Rectangle 10"/>
            <p:cNvSpPr/>
            <p:nvPr/>
          </p:nvSpPr>
          <p:spPr bwMode="auto">
            <a:xfrm>
              <a:off x="389436" y="1066800"/>
              <a:ext cx="1371600" cy="1371600"/>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80679" fontAlgn="base">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pPr defTabSz="1219170">
                <a:defRPr/>
              </a:pPr>
              <a:endParaRPr lang="en-US" sz="1300" kern="0" dirty="0">
                <a:solidFill>
                  <a:sysClr val="windowText" lastClr="000000"/>
                </a:solidFill>
              </a:endParaRPr>
            </a:p>
          </p:txBody>
        </p:sp>
      </p:grpSp>
    </p:spTree>
    <p:extLst>
      <p:ext uri="{BB962C8B-B14F-4D97-AF65-F5344CB8AC3E}">
        <p14:creationId xmlns:p14="http://schemas.microsoft.com/office/powerpoint/2010/main" val="3922318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a:xfrm>
            <a:off x="2871395" y="1829409"/>
            <a:ext cx="6519429" cy="3727845"/>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algn="ctr"/>
            <a:endParaRPr lang="en-US"/>
          </a:p>
        </p:txBody>
      </p:sp>
      <p:sp>
        <p:nvSpPr>
          <p:cNvPr id="31" name="Title 30"/>
          <p:cNvSpPr>
            <a:spLocks noGrp="1"/>
          </p:cNvSpPr>
          <p:nvPr>
            <p:ph type="title"/>
          </p:nvPr>
        </p:nvSpPr>
        <p:spPr>
          <a:xfrm>
            <a:off x="301752" y="123081"/>
            <a:ext cx="11274552" cy="685800"/>
          </a:xfrm>
        </p:spPr>
        <p:txBody>
          <a:bodyPr>
            <a:normAutofit/>
          </a:bodyPr>
          <a:lstStyle/>
          <a:p>
            <a:r>
              <a:rPr lang="en-NZ" dirty="0"/>
              <a:t>VM Availability Sets</a:t>
            </a:r>
          </a:p>
        </p:txBody>
      </p:sp>
      <p:sp>
        <p:nvSpPr>
          <p:cNvPr id="15" name="Text Placeholder 14"/>
          <p:cNvSpPr>
            <a:spLocks noGrp="1"/>
          </p:cNvSpPr>
          <p:nvPr>
            <p:ph type="body" sz="quarter" idx="13"/>
          </p:nvPr>
        </p:nvSpPr>
        <p:spPr/>
        <p:txBody>
          <a:bodyPr/>
          <a:lstStyle/>
          <a:p>
            <a:r>
              <a:rPr lang="en-US" dirty="0"/>
              <a:t>Update domains are honored by host OS updates</a:t>
            </a:r>
          </a:p>
        </p:txBody>
      </p:sp>
      <p:sp>
        <p:nvSpPr>
          <p:cNvPr id="28" name="Rectangle 27"/>
          <p:cNvSpPr/>
          <p:nvPr>
            <p:custDataLst>
              <p:tags r:id="rId1"/>
            </p:custDataLst>
          </p:nvPr>
        </p:nvSpPr>
        <p:spPr bwMode="auto">
          <a:xfrm>
            <a:off x="3119709" y="1996645"/>
            <a:ext cx="2098740" cy="3309888"/>
          </a:xfrm>
          <a:prstGeom prst="rect">
            <a:avLst/>
          </a:prstGeom>
          <a:solidFill>
            <a:srgbClr val="FFFFFF"/>
          </a:solidFill>
          <a:ln w="12700" cap="flat" cmpd="sng" algn="ctr">
            <a:solidFill>
              <a:srgbClr val="5F5F5F"/>
            </a:solidFill>
            <a:prstDash val="dash"/>
            <a:headEnd type="none" w="med" len="med"/>
            <a:tailEnd type="none" w="med" len="med"/>
          </a:ln>
          <a:effectLst/>
        </p:spPr>
        <p:txBody>
          <a:bodyPr vert="horz" wrap="square" lIns="73563" tIns="36782" rIns="73563" bIns="36782" numCol="1" rtlCol="0" anchor="t" anchorCtr="0" compatLnSpc="1">
            <a:prstTxWarp prst="textNoShape">
              <a:avLst/>
            </a:prstTxWarp>
          </a:bodyPr>
          <a:lstStyle/>
          <a:p>
            <a:pPr algn="ctr" defTabSz="1219170" fontAlgn="base">
              <a:spcBef>
                <a:spcPct val="0"/>
              </a:spcBef>
              <a:spcAft>
                <a:spcPct val="0"/>
              </a:spcAft>
              <a:defRPr/>
            </a:pPr>
            <a:r>
              <a:rPr lang="en-US" sz="2100" kern="0" dirty="0">
                <a:ln>
                  <a:solidFill>
                    <a:srgbClr val="FFFFFF">
                      <a:alpha val="0"/>
                    </a:srgbClr>
                  </a:solidFill>
                </a:ln>
                <a:solidFill>
                  <a:srgbClr val="595959"/>
                </a:solidFill>
              </a:rPr>
              <a:t>Fault Domain</a:t>
            </a:r>
          </a:p>
        </p:txBody>
      </p:sp>
      <p:sp>
        <p:nvSpPr>
          <p:cNvPr id="29" name="Rectangle 28"/>
          <p:cNvSpPr/>
          <p:nvPr>
            <p:custDataLst>
              <p:tags r:id="rId2"/>
            </p:custDataLst>
          </p:nvPr>
        </p:nvSpPr>
        <p:spPr bwMode="auto">
          <a:xfrm>
            <a:off x="3244722" y="2327915"/>
            <a:ext cx="1872721" cy="2913260"/>
          </a:xfrm>
          <a:prstGeom prst="rect">
            <a:avLst/>
          </a:prstGeom>
          <a:solidFill>
            <a:srgbClr val="DDDDDD"/>
          </a:solidFill>
          <a:ln w="9525" cap="flat" cmpd="sng" algn="ctr">
            <a:noFill/>
            <a:prstDash val="solid"/>
            <a:headEnd type="none" w="med" len="med"/>
            <a:tailEnd type="none" w="med" len="med"/>
          </a:ln>
          <a:effectLst/>
        </p:spPr>
        <p:txBody>
          <a:bodyPr vert="horz" wrap="square" lIns="73537" tIns="36783" rIns="73537" bIns="36768" numCol="1" spcCol="0" rtlCol="0" anchor="t" anchorCtr="0" compatLnSpc="1">
            <a:prstTxWarp prst="textNoShape">
              <a:avLst/>
            </a:prstTxWarp>
          </a:bodyPr>
          <a:lstStyle/>
          <a:p>
            <a:pPr algn="ctr" defTabSz="735174" fontAlgn="base">
              <a:spcBef>
                <a:spcPts val="965"/>
              </a:spcBef>
              <a:spcAft>
                <a:spcPct val="0"/>
              </a:spcAft>
              <a:defRPr/>
            </a:pPr>
            <a:r>
              <a:rPr lang="en-US" sz="2100" kern="0" dirty="0">
                <a:ln>
                  <a:solidFill>
                    <a:srgbClr val="FFFFFF">
                      <a:alpha val="0"/>
                    </a:srgbClr>
                  </a:solidFill>
                </a:ln>
                <a:solidFill>
                  <a:srgbClr val="595959"/>
                </a:solidFill>
              </a:rPr>
              <a:t>Rack</a:t>
            </a:r>
            <a:endParaRPr lang="en-US" sz="1100" kern="0" dirty="0">
              <a:ln>
                <a:solidFill>
                  <a:srgbClr val="FFFFFF">
                    <a:alpha val="0"/>
                  </a:srgbClr>
                </a:solidFill>
              </a:ln>
              <a:solidFill>
                <a:srgbClr val="595959"/>
              </a:solidFill>
            </a:endParaRPr>
          </a:p>
        </p:txBody>
      </p:sp>
      <p:sp>
        <p:nvSpPr>
          <p:cNvPr id="30" name="Rectangle 29"/>
          <p:cNvSpPr/>
          <p:nvPr>
            <p:custDataLst>
              <p:tags r:id="rId3"/>
            </p:custDataLst>
          </p:nvPr>
        </p:nvSpPr>
        <p:spPr bwMode="auto">
          <a:xfrm>
            <a:off x="7046937" y="1996645"/>
            <a:ext cx="2098740" cy="3309888"/>
          </a:xfrm>
          <a:prstGeom prst="rect">
            <a:avLst/>
          </a:prstGeom>
          <a:solidFill>
            <a:srgbClr val="FFFFFF"/>
          </a:solidFill>
          <a:ln w="12700" cap="flat" cmpd="sng" algn="ctr">
            <a:solidFill>
              <a:srgbClr val="5F5F5F"/>
            </a:solidFill>
            <a:prstDash val="dash"/>
            <a:headEnd type="none" w="med" len="med"/>
            <a:tailEnd type="none" w="med" len="med"/>
          </a:ln>
          <a:effectLst/>
        </p:spPr>
        <p:txBody>
          <a:bodyPr vert="horz" wrap="square" lIns="73563" tIns="36782" rIns="73563" bIns="36782" numCol="1" rtlCol="0" anchor="t" anchorCtr="0" compatLnSpc="1">
            <a:prstTxWarp prst="textNoShape">
              <a:avLst/>
            </a:prstTxWarp>
          </a:bodyPr>
          <a:lstStyle/>
          <a:p>
            <a:pPr algn="ctr" defTabSz="1219170" fontAlgn="base">
              <a:spcBef>
                <a:spcPct val="0"/>
              </a:spcBef>
              <a:spcAft>
                <a:spcPct val="0"/>
              </a:spcAft>
              <a:defRPr/>
            </a:pPr>
            <a:r>
              <a:rPr lang="en-US" sz="2100" kern="0" dirty="0">
                <a:ln>
                  <a:solidFill>
                    <a:srgbClr val="FFFFFF">
                      <a:alpha val="0"/>
                    </a:srgbClr>
                  </a:solidFill>
                </a:ln>
                <a:solidFill>
                  <a:srgbClr val="595959"/>
                </a:solidFill>
              </a:rPr>
              <a:t>Fault Domain</a:t>
            </a:r>
          </a:p>
        </p:txBody>
      </p:sp>
      <p:sp>
        <p:nvSpPr>
          <p:cNvPr id="32" name="Rectangle 31"/>
          <p:cNvSpPr/>
          <p:nvPr>
            <p:custDataLst>
              <p:tags r:id="rId4"/>
            </p:custDataLst>
          </p:nvPr>
        </p:nvSpPr>
        <p:spPr bwMode="auto">
          <a:xfrm>
            <a:off x="7171952" y="2327915"/>
            <a:ext cx="1872721" cy="2913260"/>
          </a:xfrm>
          <a:prstGeom prst="rect">
            <a:avLst/>
          </a:prstGeom>
          <a:solidFill>
            <a:srgbClr val="DDDDDD"/>
          </a:solidFill>
          <a:ln w="9525" cap="flat" cmpd="sng" algn="ctr">
            <a:noFill/>
            <a:prstDash val="solid"/>
            <a:headEnd type="none" w="med" len="med"/>
            <a:tailEnd type="none" w="med" len="med"/>
          </a:ln>
          <a:effectLst/>
        </p:spPr>
        <p:txBody>
          <a:bodyPr vert="horz" wrap="square" lIns="73537" tIns="36783" rIns="73537" bIns="36768" numCol="1" spcCol="0" rtlCol="0" anchor="t" anchorCtr="0" compatLnSpc="1">
            <a:prstTxWarp prst="textNoShape">
              <a:avLst/>
            </a:prstTxWarp>
          </a:bodyPr>
          <a:lstStyle/>
          <a:p>
            <a:pPr algn="ctr" defTabSz="735174" fontAlgn="base">
              <a:spcBef>
                <a:spcPts val="965"/>
              </a:spcBef>
              <a:spcAft>
                <a:spcPct val="0"/>
              </a:spcAft>
              <a:defRPr/>
            </a:pPr>
            <a:r>
              <a:rPr lang="en-US" sz="2100" kern="0" dirty="0">
                <a:ln>
                  <a:solidFill>
                    <a:srgbClr val="FFFFFF">
                      <a:alpha val="0"/>
                    </a:srgbClr>
                  </a:solidFill>
                </a:ln>
                <a:solidFill>
                  <a:srgbClr val="595959"/>
                </a:solidFill>
              </a:rPr>
              <a:t>Rack</a:t>
            </a:r>
            <a:endParaRPr lang="en-US" sz="1100" kern="0" dirty="0">
              <a:ln>
                <a:solidFill>
                  <a:srgbClr val="FFFFFF">
                    <a:alpha val="0"/>
                  </a:srgbClr>
                </a:solidFill>
              </a:ln>
              <a:solidFill>
                <a:srgbClr val="595959"/>
              </a:solidFill>
            </a:endParaRPr>
          </a:p>
        </p:txBody>
      </p:sp>
      <p:sp>
        <p:nvSpPr>
          <p:cNvPr id="33" name="Rectangle 32"/>
          <p:cNvSpPr/>
          <p:nvPr>
            <p:custDataLst>
              <p:tags r:id="rId5"/>
            </p:custDataLst>
          </p:nvPr>
        </p:nvSpPr>
        <p:spPr bwMode="auto">
          <a:xfrm>
            <a:off x="3183974" y="2664884"/>
            <a:ext cx="5909476" cy="1119660"/>
          </a:xfrm>
          <a:prstGeom prst="rect">
            <a:avLst/>
          </a:prstGeom>
          <a:solidFill>
            <a:srgbClr val="00AEEF">
              <a:lumMod val="60000"/>
              <a:lumOff val="40000"/>
            </a:srgbClr>
          </a:solidFill>
          <a:ln w="19050" cap="flat" cmpd="sng" algn="ctr">
            <a:solidFill>
              <a:srgbClr val="FF0000">
                <a:lumMod val="75000"/>
              </a:srgbClr>
            </a:solidFill>
            <a:prstDash val="dash"/>
            <a:headEnd type="none" w="med" len="med"/>
            <a:tailEnd type="none" w="med" len="med"/>
          </a:ln>
          <a:effectLst/>
        </p:spPr>
        <p:txBody>
          <a:bodyPr vert="horz" wrap="square" lIns="73563" tIns="36782" rIns="73563" bIns="36782" numCol="1" rtlCol="0" anchor="ctr" anchorCtr="0" compatLnSpc="1">
            <a:prstTxWarp prst="textNoShape">
              <a:avLst/>
            </a:prstTxWarp>
          </a:bodyPr>
          <a:lstStyle/>
          <a:p>
            <a:pPr algn="ctr" defTabSz="735424" fontAlgn="base">
              <a:spcBef>
                <a:spcPct val="0"/>
              </a:spcBef>
              <a:spcAft>
                <a:spcPct val="0"/>
              </a:spcAft>
              <a:defRPr/>
            </a:pPr>
            <a:r>
              <a:rPr lang="en-US" sz="1600" kern="0" dirty="0">
                <a:ln>
                  <a:solidFill>
                    <a:srgbClr val="FFFFFF">
                      <a:alpha val="0"/>
                    </a:srgbClr>
                  </a:solidFill>
                </a:ln>
                <a:solidFill>
                  <a:srgbClr val="FFFFFF"/>
                </a:solidFill>
              </a:rPr>
              <a:t>Availability Set</a:t>
            </a:r>
          </a:p>
        </p:txBody>
      </p:sp>
      <p:sp>
        <p:nvSpPr>
          <p:cNvPr id="34" name="Rectangle 33"/>
          <p:cNvSpPr/>
          <p:nvPr>
            <p:custDataLst>
              <p:tags r:id="rId6"/>
            </p:custDataLst>
          </p:nvPr>
        </p:nvSpPr>
        <p:spPr bwMode="auto">
          <a:xfrm>
            <a:off x="3183974" y="3964775"/>
            <a:ext cx="5909476" cy="1153167"/>
          </a:xfrm>
          <a:prstGeom prst="rect">
            <a:avLst/>
          </a:prstGeom>
          <a:solidFill>
            <a:srgbClr val="8CC600">
              <a:lumMod val="75000"/>
            </a:srgbClr>
          </a:solidFill>
          <a:ln w="19050" cap="flat" cmpd="sng" algn="ctr">
            <a:solidFill>
              <a:srgbClr val="FF0000">
                <a:lumMod val="75000"/>
              </a:srgbClr>
            </a:solidFill>
            <a:prstDash val="dash"/>
            <a:headEnd type="none" w="med" len="med"/>
            <a:tailEnd type="none" w="med" len="med"/>
          </a:ln>
          <a:effectLst/>
        </p:spPr>
        <p:txBody>
          <a:bodyPr vert="horz" wrap="square" lIns="73563" tIns="36782" rIns="73563" bIns="36782" numCol="1" rtlCol="0" anchor="ctr" anchorCtr="0" compatLnSpc="1">
            <a:prstTxWarp prst="textNoShape">
              <a:avLst/>
            </a:prstTxWarp>
          </a:bodyPr>
          <a:lstStyle/>
          <a:p>
            <a:pPr algn="ctr" defTabSz="735424" fontAlgn="base">
              <a:spcBef>
                <a:spcPct val="0"/>
              </a:spcBef>
              <a:spcAft>
                <a:spcPct val="0"/>
              </a:spcAft>
              <a:defRPr/>
            </a:pPr>
            <a:r>
              <a:rPr lang="en-US" sz="1600" kern="0" dirty="0">
                <a:ln>
                  <a:solidFill>
                    <a:srgbClr val="FFFFFF">
                      <a:alpha val="0"/>
                    </a:srgbClr>
                  </a:solidFill>
                </a:ln>
                <a:solidFill>
                  <a:srgbClr val="FFFFFF"/>
                </a:solidFill>
              </a:rPr>
              <a:t>Availability Set</a:t>
            </a:r>
          </a:p>
        </p:txBody>
      </p:sp>
      <p:sp>
        <p:nvSpPr>
          <p:cNvPr id="35" name="Rectangle 34"/>
          <p:cNvSpPr/>
          <p:nvPr>
            <p:custDataLst>
              <p:tags r:id="rId7"/>
            </p:custDataLst>
          </p:nvPr>
        </p:nvSpPr>
        <p:spPr bwMode="auto">
          <a:xfrm>
            <a:off x="3376773" y="2664880"/>
            <a:ext cx="1584611" cy="1153167"/>
          </a:xfrm>
          <a:prstGeom prst="rect">
            <a:avLst/>
          </a:prstGeom>
          <a:solidFill>
            <a:srgbClr val="00AEEF"/>
          </a:solidFill>
          <a:ln w="9525" cap="flat" cmpd="sng" algn="ctr">
            <a:noFill/>
            <a:prstDash val="solid"/>
            <a:headEnd type="none" w="med" len="med"/>
            <a:tailEnd type="none" w="med" len="med"/>
          </a:ln>
          <a:effectLst/>
        </p:spPr>
        <p:txBody>
          <a:bodyPr vert="horz" wrap="square" lIns="73563" tIns="36782" rIns="73563" bIns="36782" numCol="1" rtlCol="0" anchor="t" anchorCtr="0" compatLnSpc="1">
            <a:prstTxWarp prst="textNoShape">
              <a:avLst/>
            </a:prstTxWarp>
          </a:bodyPr>
          <a:lstStyle/>
          <a:p>
            <a:pPr algn="ctr" defTabSz="735424" fontAlgn="base">
              <a:spcBef>
                <a:spcPct val="0"/>
              </a:spcBef>
              <a:spcAft>
                <a:spcPct val="0"/>
              </a:spcAft>
              <a:defRPr/>
            </a:pPr>
            <a:r>
              <a:rPr lang="en-US" sz="1600" kern="0" dirty="0">
                <a:ln>
                  <a:solidFill>
                    <a:srgbClr val="FFFFFF">
                      <a:alpha val="0"/>
                    </a:srgbClr>
                  </a:solidFill>
                </a:ln>
                <a:solidFill>
                  <a:srgbClr val="FFFFFF"/>
                </a:solidFill>
              </a:rPr>
              <a:t>VM</a:t>
            </a:r>
          </a:p>
        </p:txBody>
      </p:sp>
      <p:sp>
        <p:nvSpPr>
          <p:cNvPr id="36" name="Rectangle 35"/>
          <p:cNvSpPr/>
          <p:nvPr>
            <p:custDataLst>
              <p:tags r:id="rId8"/>
            </p:custDataLst>
          </p:nvPr>
        </p:nvSpPr>
        <p:spPr bwMode="auto">
          <a:xfrm>
            <a:off x="3376773" y="3964775"/>
            <a:ext cx="1584611" cy="1153167"/>
          </a:xfrm>
          <a:prstGeom prst="rect">
            <a:avLst/>
          </a:prstGeom>
          <a:solidFill>
            <a:srgbClr val="8CC600"/>
          </a:solidFill>
          <a:ln w="9525" cap="flat" cmpd="sng" algn="ctr">
            <a:noFill/>
            <a:prstDash val="solid"/>
            <a:headEnd type="none" w="med" len="med"/>
            <a:tailEnd type="none" w="med" len="med"/>
          </a:ln>
          <a:effectLst/>
        </p:spPr>
        <p:txBody>
          <a:bodyPr vert="horz" wrap="square" lIns="73563" tIns="36782" rIns="73563" bIns="36782" numCol="1" rtlCol="0" anchor="t" anchorCtr="0" compatLnSpc="1">
            <a:prstTxWarp prst="textNoShape">
              <a:avLst/>
            </a:prstTxWarp>
          </a:bodyPr>
          <a:lstStyle/>
          <a:p>
            <a:pPr algn="ctr" defTabSz="735424" fontAlgn="base">
              <a:spcBef>
                <a:spcPct val="0"/>
              </a:spcBef>
              <a:spcAft>
                <a:spcPct val="0"/>
              </a:spcAft>
              <a:defRPr/>
            </a:pPr>
            <a:r>
              <a:rPr lang="en-US" sz="1600" kern="0" dirty="0">
                <a:ln>
                  <a:solidFill>
                    <a:srgbClr val="FFFFFF">
                      <a:alpha val="0"/>
                    </a:srgbClr>
                  </a:solidFill>
                </a:ln>
                <a:solidFill>
                  <a:srgbClr val="FFFFFF"/>
                </a:solidFill>
              </a:rPr>
              <a:t>VM</a:t>
            </a:r>
          </a:p>
        </p:txBody>
      </p:sp>
      <p:sp>
        <p:nvSpPr>
          <p:cNvPr id="37" name="Rectangle 36"/>
          <p:cNvSpPr/>
          <p:nvPr>
            <p:custDataLst>
              <p:tags r:id="rId9"/>
            </p:custDataLst>
          </p:nvPr>
        </p:nvSpPr>
        <p:spPr bwMode="auto">
          <a:xfrm>
            <a:off x="7304000" y="2664880"/>
            <a:ext cx="1584611" cy="1153167"/>
          </a:xfrm>
          <a:prstGeom prst="rect">
            <a:avLst/>
          </a:prstGeom>
          <a:solidFill>
            <a:srgbClr val="00AEEF"/>
          </a:solidFill>
          <a:ln w="9525" cap="flat" cmpd="sng" algn="ctr">
            <a:noFill/>
            <a:prstDash val="solid"/>
            <a:headEnd type="none" w="med" len="med"/>
            <a:tailEnd type="none" w="med" len="med"/>
          </a:ln>
          <a:effectLst/>
        </p:spPr>
        <p:txBody>
          <a:bodyPr vert="horz" wrap="square" lIns="73563" tIns="36782" rIns="73563" bIns="36782" numCol="1" rtlCol="0" anchor="t" anchorCtr="0" compatLnSpc="1">
            <a:prstTxWarp prst="textNoShape">
              <a:avLst/>
            </a:prstTxWarp>
          </a:bodyPr>
          <a:lstStyle/>
          <a:p>
            <a:pPr algn="ctr" defTabSz="735424" fontAlgn="base">
              <a:spcBef>
                <a:spcPct val="0"/>
              </a:spcBef>
              <a:spcAft>
                <a:spcPct val="0"/>
              </a:spcAft>
              <a:defRPr/>
            </a:pPr>
            <a:r>
              <a:rPr lang="en-US" sz="1600" kern="0" dirty="0">
                <a:ln>
                  <a:solidFill>
                    <a:srgbClr val="FFFFFF">
                      <a:alpha val="0"/>
                    </a:srgbClr>
                  </a:solidFill>
                </a:ln>
                <a:solidFill>
                  <a:srgbClr val="FFFFFF"/>
                </a:solidFill>
              </a:rPr>
              <a:t>VM</a:t>
            </a:r>
          </a:p>
        </p:txBody>
      </p:sp>
      <p:sp>
        <p:nvSpPr>
          <p:cNvPr id="38" name="Rectangle 37"/>
          <p:cNvSpPr/>
          <p:nvPr>
            <p:custDataLst>
              <p:tags r:id="rId10"/>
            </p:custDataLst>
          </p:nvPr>
        </p:nvSpPr>
        <p:spPr bwMode="auto">
          <a:xfrm>
            <a:off x="7304000" y="3964775"/>
            <a:ext cx="1584611" cy="1153167"/>
          </a:xfrm>
          <a:prstGeom prst="rect">
            <a:avLst/>
          </a:prstGeom>
          <a:solidFill>
            <a:srgbClr val="8CC600"/>
          </a:solidFill>
          <a:ln w="9525" cap="flat" cmpd="sng" algn="ctr">
            <a:noFill/>
            <a:prstDash val="solid"/>
            <a:headEnd type="none" w="med" len="med"/>
            <a:tailEnd type="none" w="med" len="med"/>
          </a:ln>
          <a:effectLst/>
        </p:spPr>
        <p:txBody>
          <a:bodyPr vert="horz" wrap="square" lIns="73563" tIns="36782" rIns="73563" bIns="36782" numCol="1" rtlCol="0" anchor="t" anchorCtr="0" compatLnSpc="1">
            <a:prstTxWarp prst="textNoShape">
              <a:avLst/>
            </a:prstTxWarp>
          </a:bodyPr>
          <a:lstStyle/>
          <a:p>
            <a:pPr algn="ctr" defTabSz="735424" fontAlgn="base">
              <a:spcBef>
                <a:spcPct val="0"/>
              </a:spcBef>
              <a:spcAft>
                <a:spcPct val="0"/>
              </a:spcAft>
              <a:defRPr/>
            </a:pPr>
            <a:r>
              <a:rPr lang="en-US" sz="1600" kern="0" dirty="0">
                <a:ln>
                  <a:solidFill>
                    <a:srgbClr val="FFFFFF">
                      <a:alpha val="0"/>
                    </a:srgbClr>
                  </a:solidFill>
                </a:ln>
                <a:solidFill>
                  <a:srgbClr val="FFFFFF"/>
                </a:solidFill>
              </a:rPr>
              <a:t>VM</a:t>
            </a:r>
          </a:p>
        </p:txBody>
      </p:sp>
      <p:sp>
        <p:nvSpPr>
          <p:cNvPr id="39" name="Rectangle 38"/>
          <p:cNvSpPr/>
          <p:nvPr>
            <p:custDataLst>
              <p:tags r:id="rId11"/>
            </p:custDataLst>
          </p:nvPr>
        </p:nvSpPr>
        <p:spPr bwMode="auto">
          <a:xfrm>
            <a:off x="3592855" y="2980468"/>
            <a:ext cx="1152444" cy="704179"/>
          </a:xfrm>
          <a:prstGeom prst="rect">
            <a:avLst/>
          </a:prstGeom>
          <a:solidFill>
            <a:srgbClr val="FFFFFF">
              <a:lumMod val="95000"/>
            </a:srgbClr>
          </a:solidFill>
          <a:ln w="9525" cap="flat" cmpd="sng" algn="ctr">
            <a:noFill/>
            <a:prstDash val="solid"/>
            <a:headEnd type="none" w="med" len="med"/>
            <a:tailEnd type="none" w="med" len="med"/>
          </a:ln>
          <a:effectLst/>
        </p:spPr>
        <p:txBody>
          <a:bodyPr vert="horz" wrap="square" lIns="294353" tIns="73589" rIns="73563" bIns="36782" numCol="1" rtlCol="0" anchor="ctr" anchorCtr="0" compatLnSpc="1">
            <a:prstTxWarp prst="textNoShape">
              <a:avLst/>
            </a:prstTxWarp>
          </a:bodyPr>
          <a:lstStyle/>
          <a:p>
            <a:pPr algn="ctr" defTabSz="735424" fontAlgn="base">
              <a:spcBef>
                <a:spcPct val="0"/>
              </a:spcBef>
              <a:spcAft>
                <a:spcPct val="0"/>
              </a:spcAft>
              <a:defRPr/>
            </a:pPr>
            <a:r>
              <a:rPr lang="en-NZ" sz="1600" kern="0" dirty="0">
                <a:ln>
                  <a:solidFill>
                    <a:srgbClr val="FFFFFF">
                      <a:alpha val="0"/>
                    </a:srgbClr>
                  </a:solidFill>
                </a:ln>
                <a:solidFill>
                  <a:srgbClr val="595959"/>
                </a:solidFill>
              </a:rPr>
              <a:t>IIS1</a:t>
            </a:r>
          </a:p>
          <a:p>
            <a:pPr algn="ctr" defTabSz="735424" fontAlgn="base">
              <a:spcBef>
                <a:spcPct val="0"/>
              </a:spcBef>
              <a:spcAft>
                <a:spcPct val="0"/>
              </a:spcAft>
              <a:defRPr/>
            </a:pPr>
            <a:endParaRPr lang="en-NZ" sz="1600" kern="0" dirty="0">
              <a:ln>
                <a:solidFill>
                  <a:srgbClr val="FFFFFF">
                    <a:alpha val="0"/>
                  </a:srgbClr>
                </a:solidFill>
              </a:ln>
              <a:solidFill>
                <a:srgbClr val="595959"/>
              </a:solidFill>
            </a:endParaRPr>
          </a:p>
        </p:txBody>
      </p:sp>
      <p:sp>
        <p:nvSpPr>
          <p:cNvPr id="40" name="Rectangle 39"/>
          <p:cNvSpPr/>
          <p:nvPr>
            <p:custDataLst>
              <p:tags r:id="rId12"/>
            </p:custDataLst>
          </p:nvPr>
        </p:nvSpPr>
        <p:spPr bwMode="auto">
          <a:xfrm>
            <a:off x="3592855" y="4280362"/>
            <a:ext cx="1152444" cy="741131"/>
          </a:xfrm>
          <a:prstGeom prst="rect">
            <a:avLst/>
          </a:prstGeom>
          <a:solidFill>
            <a:srgbClr val="FFFFFF">
              <a:lumMod val="95000"/>
            </a:srgbClr>
          </a:solidFill>
          <a:ln w="9525" cap="flat" cmpd="sng" algn="ctr">
            <a:noFill/>
            <a:prstDash val="solid"/>
            <a:headEnd type="none" w="med" len="med"/>
            <a:tailEnd type="none" w="med" len="med"/>
          </a:ln>
          <a:effectLst/>
        </p:spPr>
        <p:txBody>
          <a:bodyPr vert="horz" wrap="square" lIns="294353" tIns="73589" rIns="73563" bIns="36782" numCol="1" rtlCol="0" anchor="ctr" anchorCtr="0" compatLnSpc="1">
            <a:prstTxWarp prst="textNoShape">
              <a:avLst/>
            </a:prstTxWarp>
          </a:bodyPr>
          <a:lstStyle/>
          <a:p>
            <a:pPr algn="ctr" defTabSz="735424" fontAlgn="base">
              <a:spcBef>
                <a:spcPct val="0"/>
              </a:spcBef>
              <a:spcAft>
                <a:spcPct val="0"/>
              </a:spcAft>
              <a:defRPr/>
            </a:pPr>
            <a:r>
              <a:rPr lang="en-NZ" sz="1600" kern="0" dirty="0">
                <a:ln>
                  <a:solidFill>
                    <a:srgbClr val="FFFFFF">
                      <a:alpha val="0"/>
                    </a:srgbClr>
                  </a:solidFill>
                </a:ln>
                <a:solidFill>
                  <a:srgbClr val="595959"/>
                </a:solidFill>
              </a:rPr>
              <a:t>SQL1</a:t>
            </a:r>
          </a:p>
          <a:p>
            <a:pPr algn="ctr" defTabSz="735424" fontAlgn="base">
              <a:spcBef>
                <a:spcPct val="0"/>
              </a:spcBef>
              <a:spcAft>
                <a:spcPct val="0"/>
              </a:spcAft>
              <a:defRPr/>
            </a:pPr>
            <a:endParaRPr lang="en-NZ" sz="1600" kern="0" dirty="0">
              <a:ln>
                <a:solidFill>
                  <a:srgbClr val="FFFFFF">
                    <a:alpha val="0"/>
                  </a:srgbClr>
                </a:solidFill>
              </a:ln>
              <a:solidFill>
                <a:srgbClr val="595959"/>
              </a:solidFill>
            </a:endParaRPr>
          </a:p>
        </p:txBody>
      </p:sp>
      <p:sp>
        <p:nvSpPr>
          <p:cNvPr id="41" name="Rectangle 40"/>
          <p:cNvSpPr/>
          <p:nvPr>
            <p:custDataLst>
              <p:tags r:id="rId13"/>
            </p:custDataLst>
          </p:nvPr>
        </p:nvSpPr>
        <p:spPr bwMode="auto">
          <a:xfrm>
            <a:off x="7520083" y="2972965"/>
            <a:ext cx="1152444" cy="711677"/>
          </a:xfrm>
          <a:prstGeom prst="rect">
            <a:avLst/>
          </a:prstGeom>
          <a:solidFill>
            <a:srgbClr val="FFFFFF">
              <a:lumMod val="95000"/>
            </a:srgbClr>
          </a:solidFill>
          <a:ln w="9525" cap="flat" cmpd="sng" algn="ctr">
            <a:noFill/>
            <a:prstDash val="solid"/>
            <a:headEnd type="none" w="med" len="med"/>
            <a:tailEnd type="none" w="med" len="med"/>
          </a:ln>
          <a:effectLst/>
        </p:spPr>
        <p:txBody>
          <a:bodyPr vert="horz" wrap="square" lIns="294353" tIns="73589" rIns="73563" bIns="36782" numCol="1" rtlCol="0" anchor="ctr" anchorCtr="0" compatLnSpc="1">
            <a:prstTxWarp prst="textNoShape">
              <a:avLst/>
            </a:prstTxWarp>
          </a:bodyPr>
          <a:lstStyle/>
          <a:p>
            <a:pPr algn="ctr" defTabSz="735424" fontAlgn="base">
              <a:spcBef>
                <a:spcPct val="0"/>
              </a:spcBef>
              <a:spcAft>
                <a:spcPct val="0"/>
              </a:spcAft>
              <a:defRPr/>
            </a:pPr>
            <a:r>
              <a:rPr lang="en-NZ" sz="1600" kern="0" dirty="0">
                <a:ln>
                  <a:solidFill>
                    <a:srgbClr val="FFFFFF">
                      <a:alpha val="0"/>
                    </a:srgbClr>
                  </a:solidFill>
                </a:ln>
                <a:solidFill>
                  <a:srgbClr val="595959"/>
                </a:solidFill>
              </a:rPr>
              <a:t>IIS2</a:t>
            </a:r>
          </a:p>
          <a:p>
            <a:pPr algn="ctr" defTabSz="735424" fontAlgn="base">
              <a:spcBef>
                <a:spcPct val="0"/>
              </a:spcBef>
              <a:spcAft>
                <a:spcPct val="0"/>
              </a:spcAft>
              <a:defRPr/>
            </a:pPr>
            <a:endParaRPr lang="en-NZ" sz="1600" kern="0" dirty="0">
              <a:ln>
                <a:solidFill>
                  <a:srgbClr val="FFFFFF">
                    <a:alpha val="0"/>
                  </a:srgbClr>
                </a:solidFill>
              </a:ln>
              <a:solidFill>
                <a:srgbClr val="595959"/>
              </a:solidFill>
            </a:endParaRPr>
          </a:p>
        </p:txBody>
      </p:sp>
      <p:sp>
        <p:nvSpPr>
          <p:cNvPr id="42" name="Rectangle 41"/>
          <p:cNvSpPr/>
          <p:nvPr>
            <p:custDataLst>
              <p:tags r:id="rId14"/>
            </p:custDataLst>
          </p:nvPr>
        </p:nvSpPr>
        <p:spPr bwMode="auto">
          <a:xfrm>
            <a:off x="7520083" y="4280362"/>
            <a:ext cx="1152444" cy="741131"/>
          </a:xfrm>
          <a:prstGeom prst="rect">
            <a:avLst/>
          </a:prstGeom>
          <a:solidFill>
            <a:srgbClr val="FFFFFF">
              <a:lumMod val="95000"/>
            </a:srgbClr>
          </a:solidFill>
          <a:ln w="9525" cap="flat" cmpd="sng" algn="ctr">
            <a:noFill/>
            <a:prstDash val="solid"/>
            <a:headEnd type="none" w="med" len="med"/>
            <a:tailEnd type="none" w="med" len="med"/>
          </a:ln>
          <a:effectLst/>
        </p:spPr>
        <p:txBody>
          <a:bodyPr vert="horz" wrap="square" lIns="294353" tIns="73589" rIns="73563" bIns="36782" numCol="1" rtlCol="0" anchor="ctr" anchorCtr="0" compatLnSpc="1">
            <a:prstTxWarp prst="textNoShape">
              <a:avLst/>
            </a:prstTxWarp>
          </a:bodyPr>
          <a:lstStyle/>
          <a:p>
            <a:pPr algn="ctr" defTabSz="735424" fontAlgn="base">
              <a:spcBef>
                <a:spcPct val="0"/>
              </a:spcBef>
              <a:spcAft>
                <a:spcPct val="0"/>
              </a:spcAft>
              <a:defRPr/>
            </a:pPr>
            <a:r>
              <a:rPr lang="en-NZ" sz="1600" kern="0" dirty="0">
                <a:ln>
                  <a:solidFill>
                    <a:srgbClr val="FFFFFF">
                      <a:alpha val="0"/>
                    </a:srgbClr>
                  </a:solidFill>
                </a:ln>
                <a:solidFill>
                  <a:srgbClr val="595959"/>
                </a:solidFill>
              </a:rPr>
              <a:t>SQL2</a:t>
            </a:r>
          </a:p>
          <a:p>
            <a:pPr algn="ctr" defTabSz="735424" fontAlgn="base">
              <a:spcBef>
                <a:spcPct val="0"/>
              </a:spcBef>
              <a:spcAft>
                <a:spcPct val="0"/>
              </a:spcAft>
              <a:defRPr/>
            </a:pPr>
            <a:endParaRPr lang="en-NZ" sz="1600" kern="0" dirty="0">
              <a:ln>
                <a:solidFill>
                  <a:srgbClr val="FFFFFF">
                    <a:alpha val="0"/>
                  </a:srgbClr>
                </a:solidFill>
              </a:ln>
              <a:solidFill>
                <a:srgbClr val="595959"/>
              </a:solidFill>
            </a:endParaRPr>
          </a:p>
        </p:txBody>
      </p:sp>
      <p:sp>
        <p:nvSpPr>
          <p:cNvPr id="43" name="Rectangle 42"/>
          <p:cNvSpPr/>
          <p:nvPr/>
        </p:nvSpPr>
        <p:spPr>
          <a:xfrm>
            <a:off x="7753590" y="3429003"/>
            <a:ext cx="709439" cy="345261"/>
          </a:xfrm>
          <a:prstGeom prst="rect">
            <a:avLst/>
          </a:prstGeom>
        </p:spPr>
        <p:txBody>
          <a:bodyPr wrap="none" lIns="98083" tIns="49041" rIns="98083" bIns="49041">
            <a:spAutoFit/>
          </a:bodyPr>
          <a:lstStyle/>
          <a:p>
            <a:pPr algn="ctr" defTabSz="735486" fontAlgn="base">
              <a:spcBef>
                <a:spcPct val="0"/>
              </a:spcBef>
              <a:spcAft>
                <a:spcPct val="0"/>
              </a:spcAft>
              <a:defRPr/>
            </a:pPr>
            <a:r>
              <a:rPr lang="en-US" sz="1600" kern="0" dirty="0">
                <a:ln>
                  <a:solidFill>
                    <a:srgbClr val="FFFFFF">
                      <a:alpha val="0"/>
                    </a:srgbClr>
                  </a:solidFill>
                </a:ln>
                <a:solidFill>
                  <a:srgbClr val="595959"/>
                </a:solidFill>
              </a:rPr>
              <a:t>UD #2</a:t>
            </a:r>
          </a:p>
        </p:txBody>
      </p:sp>
      <p:sp>
        <p:nvSpPr>
          <p:cNvPr id="44" name="Rectangle 43"/>
          <p:cNvSpPr/>
          <p:nvPr/>
        </p:nvSpPr>
        <p:spPr>
          <a:xfrm>
            <a:off x="7741583" y="4696661"/>
            <a:ext cx="709439" cy="345261"/>
          </a:xfrm>
          <a:prstGeom prst="rect">
            <a:avLst/>
          </a:prstGeom>
        </p:spPr>
        <p:txBody>
          <a:bodyPr wrap="none" lIns="98083" tIns="49041" rIns="98083" bIns="49041">
            <a:spAutoFit/>
          </a:bodyPr>
          <a:lstStyle/>
          <a:p>
            <a:pPr algn="ctr" defTabSz="735486" fontAlgn="base">
              <a:spcBef>
                <a:spcPct val="0"/>
              </a:spcBef>
              <a:spcAft>
                <a:spcPct val="0"/>
              </a:spcAft>
              <a:defRPr/>
            </a:pPr>
            <a:r>
              <a:rPr lang="en-US" sz="1600" kern="0" dirty="0">
                <a:ln>
                  <a:solidFill>
                    <a:srgbClr val="FFFFFF">
                      <a:alpha val="0"/>
                    </a:srgbClr>
                  </a:solidFill>
                </a:ln>
                <a:solidFill>
                  <a:srgbClr val="595959"/>
                </a:solidFill>
              </a:rPr>
              <a:t>UD #2</a:t>
            </a:r>
          </a:p>
        </p:txBody>
      </p:sp>
      <p:sp>
        <p:nvSpPr>
          <p:cNvPr id="45" name="TextBox 44"/>
          <p:cNvSpPr txBox="1"/>
          <p:nvPr/>
        </p:nvSpPr>
        <p:spPr>
          <a:xfrm>
            <a:off x="3867799" y="3482320"/>
            <a:ext cx="511358" cy="221599"/>
          </a:xfrm>
          <a:prstGeom prst="rect">
            <a:avLst/>
          </a:prstGeom>
          <a:noFill/>
        </p:spPr>
        <p:txBody>
          <a:bodyPr wrap="none" lIns="0" tIns="0" rIns="0" bIns="0" rtlCol="0">
            <a:spAutoFit/>
          </a:bodyPr>
          <a:lstStyle/>
          <a:p>
            <a:pPr defTabSz="1219170">
              <a:lnSpc>
                <a:spcPct val="90000"/>
              </a:lnSpc>
              <a:spcBef>
                <a:spcPct val="20000"/>
              </a:spcBef>
              <a:buSzPct val="80000"/>
              <a:defRPr/>
            </a:pPr>
            <a:r>
              <a:rPr lang="en-US" sz="1600" kern="0" dirty="0">
                <a:ln>
                  <a:solidFill>
                    <a:srgbClr val="FFFFFF">
                      <a:alpha val="0"/>
                    </a:srgbClr>
                  </a:solidFill>
                </a:ln>
                <a:solidFill>
                  <a:srgbClr val="595959"/>
                </a:solidFill>
              </a:rPr>
              <a:t>UD #1</a:t>
            </a:r>
            <a:endParaRPr lang="en-US" sz="1600" kern="0" dirty="0">
              <a:gradFill>
                <a:gsLst>
                  <a:gs pos="0">
                    <a:srgbClr val="292929">
                      <a:lumMod val="90000"/>
                      <a:lumOff val="10000"/>
                    </a:srgbClr>
                  </a:gs>
                  <a:gs pos="86000">
                    <a:srgbClr val="292929">
                      <a:lumMod val="90000"/>
                      <a:lumOff val="10000"/>
                    </a:srgbClr>
                  </a:gs>
                </a:gsLst>
                <a:lin ang="5400000" scaled="0"/>
              </a:gradFill>
            </a:endParaRPr>
          </a:p>
        </p:txBody>
      </p:sp>
      <p:sp>
        <p:nvSpPr>
          <p:cNvPr id="46" name="Rectangle 45"/>
          <p:cNvSpPr/>
          <p:nvPr/>
        </p:nvSpPr>
        <p:spPr>
          <a:xfrm>
            <a:off x="3826362" y="4682030"/>
            <a:ext cx="709439" cy="345261"/>
          </a:xfrm>
          <a:prstGeom prst="rect">
            <a:avLst/>
          </a:prstGeom>
        </p:spPr>
        <p:txBody>
          <a:bodyPr wrap="none" lIns="98083" tIns="49041" rIns="98083" bIns="49041">
            <a:spAutoFit/>
          </a:bodyPr>
          <a:lstStyle/>
          <a:p>
            <a:pPr algn="ctr" defTabSz="735486" fontAlgn="base">
              <a:spcBef>
                <a:spcPct val="0"/>
              </a:spcBef>
              <a:spcAft>
                <a:spcPct val="0"/>
              </a:spcAft>
              <a:defRPr/>
            </a:pPr>
            <a:r>
              <a:rPr lang="en-US" sz="1600" kern="0" dirty="0">
                <a:ln>
                  <a:solidFill>
                    <a:srgbClr val="FFFFFF">
                      <a:alpha val="0"/>
                    </a:srgbClr>
                  </a:solidFill>
                </a:ln>
                <a:solidFill>
                  <a:srgbClr val="595959"/>
                </a:solidFill>
              </a:rPr>
              <a:t>UD #1</a:t>
            </a:r>
          </a:p>
        </p:txBody>
      </p:sp>
      <p:sp>
        <p:nvSpPr>
          <p:cNvPr id="47" name="Freeform 62"/>
          <p:cNvSpPr>
            <a:spLocks noEditPoints="1"/>
          </p:cNvSpPr>
          <p:nvPr/>
        </p:nvSpPr>
        <p:spPr bwMode="black">
          <a:xfrm>
            <a:off x="3670328" y="3093796"/>
            <a:ext cx="311400" cy="27665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292929"/>
          </a:solidFill>
          <a:ln>
            <a:noFill/>
          </a:ln>
        </p:spPr>
        <p:txBody>
          <a:bodyPr vert="horz" wrap="square" lIns="66236" tIns="33119" rIns="66236" bIns="33119" numCol="1" anchor="t" anchorCtr="0" compatLnSpc="1">
            <a:prstTxWarp prst="textNoShape">
              <a:avLst/>
            </a:prstTxWarp>
          </a:bodyPr>
          <a:lstStyle/>
          <a:p>
            <a:pPr defTabSz="1219170">
              <a:defRPr/>
            </a:pPr>
            <a:endParaRPr lang="en-US" sz="1300" kern="0">
              <a:solidFill>
                <a:sysClr val="windowText" lastClr="000000"/>
              </a:solidFill>
            </a:endParaRPr>
          </a:p>
        </p:txBody>
      </p:sp>
      <p:sp>
        <p:nvSpPr>
          <p:cNvPr id="48" name="Freeform 62"/>
          <p:cNvSpPr>
            <a:spLocks noEditPoints="1"/>
          </p:cNvSpPr>
          <p:nvPr/>
        </p:nvSpPr>
        <p:spPr bwMode="black">
          <a:xfrm>
            <a:off x="7587327" y="3103137"/>
            <a:ext cx="311400" cy="27665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292929"/>
          </a:solidFill>
          <a:ln>
            <a:noFill/>
          </a:ln>
        </p:spPr>
        <p:txBody>
          <a:bodyPr vert="horz" wrap="square" lIns="66236" tIns="33119" rIns="66236" bIns="33119" numCol="1" anchor="t" anchorCtr="0" compatLnSpc="1">
            <a:prstTxWarp prst="textNoShape">
              <a:avLst/>
            </a:prstTxWarp>
          </a:bodyPr>
          <a:lstStyle/>
          <a:p>
            <a:pPr defTabSz="1219170">
              <a:defRPr/>
            </a:pPr>
            <a:endParaRPr lang="en-US" sz="1300" kern="0">
              <a:solidFill>
                <a:sysClr val="windowText" lastClr="000000"/>
              </a:solidFill>
            </a:endParaRPr>
          </a:p>
        </p:txBody>
      </p:sp>
      <p:sp>
        <p:nvSpPr>
          <p:cNvPr id="49" name="Freeform 34"/>
          <p:cNvSpPr>
            <a:spLocks noEditPoints="1"/>
          </p:cNvSpPr>
          <p:nvPr/>
        </p:nvSpPr>
        <p:spPr bwMode="auto">
          <a:xfrm>
            <a:off x="3679225" y="4412643"/>
            <a:ext cx="293615" cy="256043"/>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292929"/>
          </a:solidFill>
          <a:ln w="25400" cap="flat" cmpd="sng" algn="ctr">
            <a:noFill/>
            <a:prstDash val="solid"/>
            <a:headEnd type="none" w="med" len="med"/>
            <a:tailEnd type="none" w="med" len="med"/>
          </a:ln>
          <a:effectLst/>
        </p:spPr>
        <p:txBody>
          <a:bodyPr vert="horz" wrap="square" lIns="66234" tIns="33117" rIns="66234" bIns="33117" numCol="1" rtlCol="0" anchor="ctr" anchorCtr="0" compatLnSpc="1">
            <a:prstTxWarp prst="textNoShape">
              <a:avLst/>
            </a:prstTxWarp>
          </a:bodyPr>
          <a:lstStyle/>
          <a:p>
            <a:pPr defTabSz="595950">
              <a:defRPr/>
            </a:pPr>
            <a:endParaRPr lang="en-US" sz="2400" kern="0" spc="-100">
              <a:solidFill>
                <a:srgbClr val="292929">
                  <a:lumMod val="50000"/>
                </a:srgbClr>
              </a:solidFill>
            </a:endParaRPr>
          </a:p>
        </p:txBody>
      </p:sp>
      <p:sp>
        <p:nvSpPr>
          <p:cNvPr id="50" name="Freeform 34"/>
          <p:cNvSpPr>
            <a:spLocks noEditPoints="1"/>
          </p:cNvSpPr>
          <p:nvPr/>
        </p:nvSpPr>
        <p:spPr bwMode="auto">
          <a:xfrm>
            <a:off x="7605117" y="4412643"/>
            <a:ext cx="293615" cy="256043"/>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292929"/>
          </a:solidFill>
          <a:ln w="25400" cap="flat" cmpd="sng" algn="ctr">
            <a:noFill/>
            <a:prstDash val="solid"/>
            <a:headEnd type="none" w="med" len="med"/>
            <a:tailEnd type="none" w="med" len="med"/>
          </a:ln>
          <a:effectLst/>
        </p:spPr>
        <p:txBody>
          <a:bodyPr vert="horz" wrap="square" lIns="66234" tIns="33117" rIns="66234" bIns="33117" numCol="1" rtlCol="0" anchor="ctr" anchorCtr="0" compatLnSpc="1">
            <a:prstTxWarp prst="textNoShape">
              <a:avLst/>
            </a:prstTxWarp>
          </a:bodyPr>
          <a:lstStyle/>
          <a:p>
            <a:pPr defTabSz="595950">
              <a:defRPr/>
            </a:pPr>
            <a:endParaRPr lang="en-US" sz="2400" kern="0" spc="-100">
              <a:solidFill>
                <a:srgbClr val="292929">
                  <a:lumMod val="50000"/>
                </a:srgbClr>
              </a:solidFill>
            </a:endParaRPr>
          </a:p>
        </p:txBody>
      </p:sp>
    </p:spTree>
    <p:extLst>
      <p:ext uri="{BB962C8B-B14F-4D97-AF65-F5344CB8AC3E}">
        <p14:creationId xmlns:p14="http://schemas.microsoft.com/office/powerpoint/2010/main" val="2684250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fade">
                                      <p:cBhvr>
                                        <p:cTn id="18" dur="500"/>
                                        <p:tgtEl>
                                          <p:spTgt spid="3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5"/>
                                        </p:tgtEl>
                                        <p:attrNameLst>
                                          <p:attrName>style.visibility</p:attrName>
                                        </p:attrNameLst>
                                      </p:cBhvr>
                                      <p:to>
                                        <p:strVal val="visible"/>
                                      </p:to>
                                    </p:set>
                                    <p:animEffect transition="in" filter="fade">
                                      <p:cBhvr>
                                        <p:cTn id="31" dur="500"/>
                                        <p:tgtEl>
                                          <p:spTgt spid="4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3"/>
                                        </p:tgtEl>
                                        <p:attrNameLst>
                                          <p:attrName>style.visibility</p:attrName>
                                        </p:attrNameLst>
                                      </p:cBhvr>
                                      <p:to>
                                        <p:strVal val="visible"/>
                                      </p:to>
                                    </p:set>
                                    <p:animEffect transition="in" filter="fade">
                                      <p:cBhvr>
                                        <p:cTn id="34" dur="500"/>
                                        <p:tgtEl>
                                          <p:spTgt spid="43"/>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fade">
                                      <p:cBhvr>
                                        <p:cTn id="39" dur="500"/>
                                        <p:tgtEl>
                                          <p:spTgt spid="4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4"/>
                                        </p:tgtEl>
                                        <p:attrNameLst>
                                          <p:attrName>style.visibility</p:attrName>
                                        </p:attrNameLst>
                                      </p:cBhvr>
                                      <p:to>
                                        <p:strVal val="visible"/>
                                      </p:to>
                                    </p:set>
                                    <p:animEffect transition="in" filter="fade">
                                      <p:cBhvr>
                                        <p:cTn id="42"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P spid="32" grpId="0" animBg="1"/>
      <p:bldP spid="33" grpId="0" animBg="1"/>
      <p:bldP spid="34" grpId="0" animBg="1"/>
      <p:bldP spid="43" grpId="0"/>
      <p:bldP spid="44" grpId="0"/>
      <p:bldP spid="45" grpId="0"/>
      <p:bldP spid="4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u="sng" dirty="0" smtClean="0">
                <a:effectLst>
                  <a:outerShdw blurRad="38100" dist="38100" dir="2700000" algn="tl">
                    <a:srgbClr val="000000">
                      <a:alpha val="43137"/>
                    </a:srgbClr>
                  </a:outerShdw>
                </a:effectLst>
              </a:rPr>
              <a:t>Lesson 1: What is cloud computing </a:t>
            </a:r>
            <a:endParaRPr lang="en-US" b="1" u="sng"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475488" y="911352"/>
            <a:ext cx="11253216" cy="4575048"/>
          </a:xfrm>
        </p:spPr>
        <p:txBody>
          <a:bodyPr/>
          <a:lstStyle/>
          <a:p>
            <a:endParaRPr lang="en-US" dirty="0" smtClean="0"/>
          </a:p>
          <a:p>
            <a:endParaRPr lang="en-US" dirty="0" smtClean="0"/>
          </a:p>
          <a:p>
            <a:endParaRPr lang="en-US" dirty="0"/>
          </a:p>
          <a:p>
            <a:endParaRPr lang="en-US" dirty="0" smtClean="0"/>
          </a:p>
          <a:p>
            <a:r>
              <a:rPr lang="en-US" dirty="0" smtClean="0"/>
              <a:t>Overview of cloud computing</a:t>
            </a:r>
          </a:p>
          <a:p>
            <a:r>
              <a:rPr lang="en-US" dirty="0" smtClean="0"/>
              <a:t>Cloud-computing models</a:t>
            </a:r>
          </a:p>
          <a:p>
            <a:r>
              <a:rPr lang="en-US" dirty="0" smtClean="0"/>
              <a:t>Types of cloud services</a:t>
            </a:r>
          </a:p>
          <a:p>
            <a:pPr marL="0" indent="0">
              <a:buNone/>
            </a:pPr>
            <a:endParaRPr lang="en-US" dirty="0"/>
          </a:p>
        </p:txBody>
      </p:sp>
    </p:spTree>
    <p:extLst>
      <p:ext uri="{BB962C8B-B14F-4D97-AF65-F5344CB8AC3E}">
        <p14:creationId xmlns:p14="http://schemas.microsoft.com/office/powerpoint/2010/main" val="1086085995"/>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 y="6"/>
          <a:ext cx="158792" cy="158751"/>
        </p:xfrm>
        <a:graphic>
          <a:graphicData uri="http://schemas.openxmlformats.org/presentationml/2006/ole">
            <mc:AlternateContent xmlns:mc="http://schemas.openxmlformats.org/markup-compatibility/2006">
              <mc:Choice xmlns:v="urn:schemas-microsoft-com:vml" Requires="v">
                <p:oleObj spid="_x0000_s1291" name="think-cell Slide" r:id="rId11" imgW="360" imgH="360" progId="">
                  <p:embed/>
                </p:oleObj>
              </mc:Choice>
              <mc:Fallback>
                <p:oleObj name="think-cell Slide" r:id="rId11" imgW="360" imgH="360" progId="">
                  <p:embed/>
                  <p:pic>
                    <p:nvPicPr>
                      <p:cNvPr id="0" name="Picture 26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6"/>
                        <a:ext cx="158792"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3"/>
          <p:cNvSpPr>
            <a:spLocks noGrp="1"/>
          </p:cNvSpPr>
          <p:nvPr>
            <p:ph type="title"/>
            <p:custDataLst>
              <p:tags r:id="rId3"/>
            </p:custDataLst>
          </p:nvPr>
        </p:nvSpPr>
        <p:spPr>
          <a:xfrm>
            <a:off x="391035" y="52583"/>
            <a:ext cx="11274552" cy="685800"/>
          </a:xfrm>
        </p:spPr>
        <p:txBody>
          <a:bodyPr/>
          <a:lstStyle/>
          <a:p>
            <a:r>
              <a:rPr lang="en-US" dirty="0"/>
              <a:t>How Does this Relate to the SLA?</a:t>
            </a:r>
          </a:p>
        </p:txBody>
      </p:sp>
      <p:sp>
        <p:nvSpPr>
          <p:cNvPr id="22" name="Rectangle 21"/>
          <p:cNvSpPr/>
          <p:nvPr>
            <p:custDataLst>
              <p:tags r:id="rId4"/>
            </p:custDataLst>
          </p:nvPr>
        </p:nvSpPr>
        <p:spPr bwMode="auto">
          <a:xfrm>
            <a:off x="5161259" y="2229154"/>
            <a:ext cx="4091245" cy="2138007"/>
          </a:xfrm>
          <a:prstGeom prst="rect">
            <a:avLst/>
          </a:prstGeom>
          <a:solidFill>
            <a:srgbClr val="00AEEF"/>
          </a:solidFill>
          <a:ln w="9525" cap="flat" cmpd="sng" algn="ctr">
            <a:noFill/>
            <a:prstDash val="solid"/>
            <a:headEnd type="none" w="med" len="med"/>
            <a:tailEnd type="none" w="med" len="med"/>
          </a:ln>
          <a:effectLst/>
        </p:spPr>
        <p:txBody>
          <a:bodyPr vert="horz" wrap="square" lIns="73546" tIns="36775" rIns="73546" bIns="36775" numCol="1" spcCol="0" rtlCol="0" anchor="ctr" anchorCtr="0" compatLnSpc="1">
            <a:prstTxWarp prst="textNoShape">
              <a:avLst/>
            </a:prstTxWarp>
          </a:bodyPr>
          <a:lstStyle/>
          <a:p>
            <a:pPr algn="ctr" defTabSz="735264" fontAlgn="base">
              <a:spcBef>
                <a:spcPct val="0"/>
              </a:spcBef>
              <a:spcAft>
                <a:spcPct val="0"/>
              </a:spcAft>
              <a:defRPr/>
            </a:pPr>
            <a:endParaRPr lang="en-US" sz="1600" kern="0" dirty="0">
              <a:gradFill>
                <a:gsLst>
                  <a:gs pos="0">
                    <a:srgbClr val="FFFFFF"/>
                  </a:gs>
                  <a:gs pos="100000">
                    <a:srgbClr val="FFFFFF"/>
                  </a:gs>
                </a:gsLst>
                <a:lin ang="5400000" scaled="0"/>
              </a:gradFill>
            </a:endParaRPr>
          </a:p>
        </p:txBody>
      </p:sp>
      <p:sp>
        <p:nvSpPr>
          <p:cNvPr id="23" name="Rectangle 22"/>
          <p:cNvSpPr/>
          <p:nvPr>
            <p:custDataLst>
              <p:tags r:id="rId5"/>
            </p:custDataLst>
          </p:nvPr>
        </p:nvSpPr>
        <p:spPr bwMode="auto">
          <a:xfrm>
            <a:off x="2680046" y="2229152"/>
            <a:ext cx="2400300" cy="2133600"/>
          </a:xfrm>
          <a:prstGeom prst="rect">
            <a:avLst/>
          </a:prstGeom>
          <a:solidFill>
            <a:srgbClr val="00AEEF"/>
          </a:solidFill>
          <a:ln w="9525" cap="flat" cmpd="sng" algn="ctr">
            <a:noFill/>
            <a:prstDash val="solid"/>
            <a:headEnd type="none" w="med" len="med"/>
            <a:tailEnd type="none" w="med" len="med"/>
          </a:ln>
          <a:effectLst/>
        </p:spPr>
        <p:txBody>
          <a:bodyPr vert="horz" wrap="square" lIns="73546" tIns="36775" rIns="73546" bIns="36775" numCol="1" spcCol="0" rtlCol="0" anchor="ctr" anchorCtr="0" compatLnSpc="1">
            <a:prstTxWarp prst="textNoShape">
              <a:avLst/>
            </a:prstTxWarp>
          </a:bodyPr>
          <a:lstStyle/>
          <a:p>
            <a:pPr algn="ctr" defTabSz="735264" fontAlgn="base">
              <a:spcBef>
                <a:spcPct val="0"/>
              </a:spcBef>
              <a:spcAft>
                <a:spcPct val="0"/>
              </a:spcAft>
              <a:defRPr/>
            </a:pPr>
            <a:endParaRPr lang="en-US" sz="1600" kern="0" dirty="0">
              <a:gradFill>
                <a:gsLst>
                  <a:gs pos="0">
                    <a:srgbClr val="FFFFFF"/>
                  </a:gs>
                  <a:gs pos="100000">
                    <a:srgbClr val="FFFFFF"/>
                  </a:gs>
                </a:gsLst>
                <a:lin ang="5400000" scaled="0"/>
              </a:gradFill>
            </a:endParaRPr>
          </a:p>
        </p:txBody>
      </p:sp>
      <p:sp>
        <p:nvSpPr>
          <p:cNvPr id="25" name="Rectangle 24"/>
          <p:cNvSpPr/>
          <p:nvPr/>
        </p:nvSpPr>
        <p:spPr bwMode="auto">
          <a:xfrm>
            <a:off x="3005471" y="2532008"/>
            <a:ext cx="1728216" cy="1536192"/>
          </a:xfrm>
          <a:prstGeom prst="rect">
            <a:avLst/>
          </a:prstGeom>
          <a:solidFill>
            <a:srgbClr val="DDDDDD"/>
          </a:solidFill>
          <a:ln w="9525" cap="flat" cmpd="sng" algn="ctr">
            <a:noFill/>
            <a:prstDash val="solid"/>
            <a:headEnd type="none" w="med" len="med"/>
            <a:tailEnd type="none" w="med" len="med"/>
          </a:ln>
          <a:effectLst/>
        </p:spPr>
        <p:txBody>
          <a:bodyPr vert="horz" wrap="square" lIns="98056" tIns="49029" rIns="98056" bIns="98096" numCol="1" spcCol="0" rtlCol="0" anchor="b" anchorCtr="0" compatLnSpc="1">
            <a:prstTxWarp prst="textNoShape">
              <a:avLst/>
            </a:prstTxWarp>
          </a:bodyPr>
          <a:lstStyle/>
          <a:p>
            <a:pPr algn="ctr" defTabSz="735264" fontAlgn="base">
              <a:spcBef>
                <a:spcPct val="0"/>
              </a:spcBef>
              <a:spcAft>
                <a:spcPct val="0"/>
              </a:spcAft>
              <a:defRPr/>
            </a:pPr>
            <a:endParaRPr lang="en-US" sz="1200" b="1" kern="0" dirty="0">
              <a:ln>
                <a:solidFill>
                  <a:srgbClr val="FFFFFF">
                    <a:alpha val="0"/>
                  </a:srgbClr>
                </a:solidFill>
              </a:ln>
              <a:solidFill>
                <a:srgbClr val="5F5F5F"/>
              </a:solidFill>
            </a:endParaRPr>
          </a:p>
        </p:txBody>
      </p:sp>
      <p:sp>
        <p:nvSpPr>
          <p:cNvPr id="26" name="Rectangle 25"/>
          <p:cNvSpPr/>
          <p:nvPr/>
        </p:nvSpPr>
        <p:spPr bwMode="auto">
          <a:xfrm>
            <a:off x="5405573" y="2532008"/>
            <a:ext cx="1728216" cy="1536192"/>
          </a:xfrm>
          <a:prstGeom prst="rect">
            <a:avLst/>
          </a:prstGeom>
          <a:solidFill>
            <a:srgbClr val="DDDDDD"/>
          </a:solidFill>
          <a:ln w="9525" cap="flat" cmpd="sng" algn="ctr">
            <a:noFill/>
            <a:prstDash val="solid"/>
            <a:headEnd type="none" w="med" len="med"/>
            <a:tailEnd type="none" w="med" len="med"/>
          </a:ln>
          <a:effectLst/>
        </p:spPr>
        <p:txBody>
          <a:bodyPr vert="horz" wrap="square" lIns="98056" tIns="49029" rIns="98056" bIns="98096" numCol="1" spcCol="0" rtlCol="0" anchor="b" anchorCtr="0" compatLnSpc="1">
            <a:prstTxWarp prst="textNoShape">
              <a:avLst/>
            </a:prstTxWarp>
          </a:bodyPr>
          <a:lstStyle/>
          <a:p>
            <a:pPr algn="ctr" defTabSz="735264" fontAlgn="base">
              <a:spcBef>
                <a:spcPct val="0"/>
              </a:spcBef>
              <a:spcAft>
                <a:spcPct val="0"/>
              </a:spcAft>
              <a:defRPr/>
            </a:pPr>
            <a:endParaRPr lang="en-US" sz="1200" b="1" kern="0" dirty="0">
              <a:ln>
                <a:solidFill>
                  <a:srgbClr val="FFFFFF">
                    <a:alpha val="0"/>
                  </a:srgbClr>
                </a:solidFill>
              </a:ln>
              <a:solidFill>
                <a:srgbClr val="5F5F5F"/>
              </a:solidFill>
            </a:endParaRPr>
          </a:p>
        </p:txBody>
      </p:sp>
      <p:sp>
        <p:nvSpPr>
          <p:cNvPr id="28" name="Rectangle 27"/>
          <p:cNvSpPr/>
          <p:nvPr/>
        </p:nvSpPr>
        <p:spPr bwMode="auto">
          <a:xfrm>
            <a:off x="7179221" y="2532008"/>
            <a:ext cx="1728216" cy="1536192"/>
          </a:xfrm>
          <a:prstGeom prst="rect">
            <a:avLst/>
          </a:prstGeom>
          <a:solidFill>
            <a:srgbClr val="DDDDDD"/>
          </a:solidFill>
          <a:ln w="9525" cap="flat" cmpd="sng" algn="ctr">
            <a:noFill/>
            <a:prstDash val="solid"/>
            <a:headEnd type="none" w="med" len="med"/>
            <a:tailEnd type="none" w="med" len="med"/>
          </a:ln>
          <a:effectLst/>
        </p:spPr>
        <p:txBody>
          <a:bodyPr vert="horz" wrap="square" lIns="98056" tIns="49029" rIns="98056" bIns="98096" numCol="1" spcCol="0" rtlCol="0" anchor="b" anchorCtr="0" compatLnSpc="1">
            <a:prstTxWarp prst="textNoShape">
              <a:avLst/>
            </a:prstTxWarp>
          </a:bodyPr>
          <a:lstStyle/>
          <a:p>
            <a:pPr algn="ctr" defTabSz="735264" fontAlgn="base">
              <a:spcBef>
                <a:spcPct val="0"/>
              </a:spcBef>
              <a:spcAft>
                <a:spcPct val="0"/>
              </a:spcAft>
              <a:defRPr/>
            </a:pPr>
            <a:endParaRPr lang="en-US" sz="1200" b="1" kern="0" dirty="0">
              <a:ln>
                <a:solidFill>
                  <a:srgbClr val="FFFFFF">
                    <a:alpha val="0"/>
                  </a:srgbClr>
                </a:solidFill>
              </a:ln>
              <a:solidFill>
                <a:srgbClr val="5F5F5F"/>
              </a:solidFill>
            </a:endParaRPr>
          </a:p>
        </p:txBody>
      </p:sp>
      <p:grpSp>
        <p:nvGrpSpPr>
          <p:cNvPr id="30" name="Group 29"/>
          <p:cNvGrpSpPr/>
          <p:nvPr/>
        </p:nvGrpSpPr>
        <p:grpSpPr>
          <a:xfrm>
            <a:off x="3142049" y="2731643"/>
            <a:ext cx="1367568" cy="974771"/>
            <a:chOff x="1" y="2703286"/>
            <a:chExt cx="1520439" cy="1219200"/>
          </a:xfrm>
        </p:grpSpPr>
        <p:pic>
          <p:nvPicPr>
            <p:cNvPr id="32" name="Picture 3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33"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defTabSz="1219170">
                <a:lnSpc>
                  <a:spcPct val="90000"/>
                </a:lnSpc>
                <a:defRPr/>
              </a:pPr>
              <a:r>
                <a:rPr lang="en-US" sz="1500" kern="0" dirty="0">
                  <a:solidFill>
                    <a:srgbClr val="292929">
                      <a:alpha val="99000"/>
                    </a:srgbClr>
                  </a:solidFill>
                </a:rPr>
                <a:t>VM </a:t>
              </a:r>
            </a:p>
          </p:txBody>
        </p:sp>
      </p:grpSp>
      <p:sp>
        <p:nvSpPr>
          <p:cNvPr id="36" name="Rectangle 35"/>
          <p:cNvSpPr/>
          <p:nvPr>
            <p:custDataLst>
              <p:tags r:id="rId6"/>
            </p:custDataLst>
          </p:nvPr>
        </p:nvSpPr>
        <p:spPr bwMode="auto">
          <a:xfrm>
            <a:off x="2680046" y="4367160"/>
            <a:ext cx="2400300" cy="432568"/>
          </a:xfrm>
          <a:prstGeom prst="rect">
            <a:avLst/>
          </a:prstGeom>
          <a:solidFill>
            <a:srgbClr val="0071BC"/>
          </a:solidFill>
          <a:ln w="9525" cap="flat" cmpd="sng" algn="ctr">
            <a:noFill/>
            <a:prstDash val="solid"/>
            <a:headEnd type="none" w="med" len="med"/>
            <a:tailEnd type="none" w="med" len="med"/>
          </a:ln>
          <a:effectLst/>
        </p:spPr>
        <p:txBody>
          <a:bodyPr vert="horz" wrap="square" lIns="73546" tIns="36775" rIns="73546" bIns="36775" numCol="1" spcCol="0" rtlCol="0" anchor="ctr" anchorCtr="0" compatLnSpc="1">
            <a:prstTxWarp prst="textNoShape">
              <a:avLst/>
            </a:prstTxWarp>
          </a:bodyPr>
          <a:lstStyle/>
          <a:p>
            <a:pPr algn="ctr" defTabSz="735264" fontAlgn="base">
              <a:spcBef>
                <a:spcPct val="0"/>
              </a:spcBef>
              <a:spcAft>
                <a:spcPct val="0"/>
              </a:spcAft>
              <a:defRPr/>
            </a:pPr>
            <a:r>
              <a:rPr lang="en-US" sz="1600" kern="0">
                <a:gradFill>
                  <a:gsLst>
                    <a:gs pos="0">
                      <a:srgbClr val="FFFFFF"/>
                    </a:gs>
                    <a:gs pos="100000">
                      <a:srgbClr val="FFFFFF"/>
                    </a:gs>
                  </a:gsLst>
                  <a:lin ang="5400000" scaled="0"/>
                </a:gradFill>
              </a:rPr>
              <a:t>No SLA*</a:t>
            </a:r>
            <a:endParaRPr lang="en-US" sz="1600" kern="0" dirty="0">
              <a:gradFill>
                <a:gsLst>
                  <a:gs pos="0">
                    <a:srgbClr val="FFFFFF"/>
                  </a:gs>
                  <a:gs pos="100000">
                    <a:srgbClr val="FFFFFF"/>
                  </a:gs>
                </a:gsLst>
                <a:lin ang="5400000" scaled="0"/>
              </a:gradFill>
            </a:endParaRPr>
          </a:p>
        </p:txBody>
      </p:sp>
      <p:sp>
        <p:nvSpPr>
          <p:cNvPr id="37" name="Rectangle 36"/>
          <p:cNvSpPr/>
          <p:nvPr>
            <p:custDataLst>
              <p:tags r:id="rId7"/>
            </p:custDataLst>
          </p:nvPr>
        </p:nvSpPr>
        <p:spPr bwMode="auto">
          <a:xfrm>
            <a:off x="5161260" y="4362753"/>
            <a:ext cx="4091243" cy="432568"/>
          </a:xfrm>
          <a:prstGeom prst="rect">
            <a:avLst/>
          </a:prstGeom>
          <a:solidFill>
            <a:srgbClr val="0071BC"/>
          </a:solidFill>
          <a:ln w="9525" cap="flat" cmpd="sng" algn="ctr">
            <a:noFill/>
            <a:prstDash val="solid"/>
            <a:headEnd type="none" w="med" len="med"/>
            <a:tailEnd type="none" w="med" len="med"/>
          </a:ln>
          <a:effectLst/>
        </p:spPr>
        <p:txBody>
          <a:bodyPr vert="horz" wrap="square" lIns="73546" tIns="36775" rIns="73546" bIns="36775" numCol="1" spcCol="0" rtlCol="0" anchor="ctr" anchorCtr="0" compatLnSpc="1">
            <a:prstTxWarp prst="textNoShape">
              <a:avLst/>
            </a:prstTxWarp>
          </a:bodyPr>
          <a:lstStyle/>
          <a:p>
            <a:pPr algn="ctr" defTabSz="735264" fontAlgn="base">
              <a:spcBef>
                <a:spcPct val="0"/>
              </a:spcBef>
              <a:spcAft>
                <a:spcPct val="0"/>
              </a:spcAft>
              <a:defRPr/>
            </a:pPr>
            <a:r>
              <a:rPr lang="en-US" sz="1600" kern="0" dirty="0">
                <a:gradFill>
                  <a:gsLst>
                    <a:gs pos="0">
                      <a:srgbClr val="FFFFFF"/>
                    </a:gs>
                    <a:gs pos="100000">
                      <a:srgbClr val="FFFFFF"/>
                    </a:gs>
                  </a:gsLst>
                  <a:lin ang="5400000" scaled="0"/>
                </a:gradFill>
              </a:rPr>
              <a:t>SLA 99.95</a:t>
            </a:r>
          </a:p>
        </p:txBody>
      </p:sp>
      <p:grpSp>
        <p:nvGrpSpPr>
          <p:cNvPr id="46" name="Group 45"/>
          <p:cNvGrpSpPr/>
          <p:nvPr/>
        </p:nvGrpSpPr>
        <p:grpSpPr>
          <a:xfrm>
            <a:off x="5518999" y="2770596"/>
            <a:ext cx="1367568" cy="974771"/>
            <a:chOff x="1" y="2703286"/>
            <a:chExt cx="1520439" cy="1219200"/>
          </a:xfrm>
        </p:grpSpPr>
        <p:pic>
          <p:nvPicPr>
            <p:cNvPr id="47" name="Picture 4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8"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defTabSz="1219170">
                <a:lnSpc>
                  <a:spcPct val="90000"/>
                </a:lnSpc>
                <a:defRPr/>
              </a:pPr>
              <a:r>
                <a:rPr lang="en-US" sz="1500" kern="0" dirty="0">
                  <a:solidFill>
                    <a:srgbClr val="292929">
                      <a:alpha val="99000"/>
                    </a:srgbClr>
                  </a:solidFill>
                </a:rPr>
                <a:t>VM</a:t>
              </a:r>
            </a:p>
          </p:txBody>
        </p:sp>
      </p:grpSp>
      <p:grpSp>
        <p:nvGrpSpPr>
          <p:cNvPr id="49" name="Group 48"/>
          <p:cNvGrpSpPr/>
          <p:nvPr/>
        </p:nvGrpSpPr>
        <p:grpSpPr>
          <a:xfrm>
            <a:off x="7343745" y="2782679"/>
            <a:ext cx="1367568" cy="974771"/>
            <a:chOff x="1" y="2703286"/>
            <a:chExt cx="1520439" cy="1219200"/>
          </a:xfrm>
        </p:grpSpPr>
        <p:pic>
          <p:nvPicPr>
            <p:cNvPr id="50" name="Picture 4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51"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defTabSz="1219170">
                <a:lnSpc>
                  <a:spcPct val="90000"/>
                </a:lnSpc>
                <a:defRPr/>
              </a:pPr>
              <a:r>
                <a:rPr lang="en-US" sz="1500" kern="0" dirty="0">
                  <a:solidFill>
                    <a:srgbClr val="292929">
                      <a:alpha val="99000"/>
                    </a:srgbClr>
                  </a:solidFill>
                </a:rPr>
                <a:t>VM</a:t>
              </a:r>
            </a:p>
          </p:txBody>
        </p:sp>
      </p:grpSp>
      <p:sp>
        <p:nvSpPr>
          <p:cNvPr id="52" name="Rectangle 51"/>
          <p:cNvSpPr/>
          <p:nvPr>
            <p:custDataLst>
              <p:tags r:id="rId8"/>
            </p:custDataLst>
          </p:nvPr>
        </p:nvSpPr>
        <p:spPr bwMode="auto">
          <a:xfrm>
            <a:off x="5161260" y="1802317"/>
            <a:ext cx="4091243" cy="432568"/>
          </a:xfrm>
          <a:prstGeom prst="rect">
            <a:avLst/>
          </a:prstGeom>
          <a:solidFill>
            <a:srgbClr val="8CC600"/>
          </a:solidFill>
          <a:ln w="9525" cap="flat" cmpd="sng" algn="ctr">
            <a:noFill/>
            <a:prstDash val="solid"/>
            <a:headEnd type="none" w="med" len="med"/>
            <a:tailEnd type="none" w="med" len="med"/>
          </a:ln>
          <a:effectLst/>
        </p:spPr>
        <p:txBody>
          <a:bodyPr vert="horz" wrap="square" lIns="73546" tIns="36775" rIns="73546" bIns="36775" numCol="1" spcCol="0" rtlCol="0" anchor="ctr" anchorCtr="0" compatLnSpc="1">
            <a:prstTxWarp prst="textNoShape">
              <a:avLst/>
            </a:prstTxWarp>
          </a:bodyPr>
          <a:lstStyle/>
          <a:p>
            <a:pPr algn="ctr" defTabSz="735264" fontAlgn="base">
              <a:spcBef>
                <a:spcPct val="0"/>
              </a:spcBef>
              <a:spcAft>
                <a:spcPct val="0"/>
              </a:spcAft>
              <a:defRPr/>
            </a:pPr>
            <a:r>
              <a:rPr lang="en-US" sz="1600" b="1" kern="0" dirty="0">
                <a:gradFill>
                  <a:gsLst>
                    <a:gs pos="0">
                      <a:srgbClr val="FFFFFF"/>
                    </a:gs>
                    <a:gs pos="100000">
                      <a:srgbClr val="FFFFFF"/>
                    </a:gs>
                  </a:gsLst>
                  <a:lin ang="5400000" scaled="0"/>
                </a:gradFill>
              </a:rPr>
              <a:t>Availability Set</a:t>
            </a:r>
          </a:p>
        </p:txBody>
      </p:sp>
      <p:sp>
        <p:nvSpPr>
          <p:cNvPr id="3" name="TextBox 2"/>
          <p:cNvSpPr txBox="1"/>
          <p:nvPr/>
        </p:nvSpPr>
        <p:spPr>
          <a:xfrm>
            <a:off x="1756372" y="5667469"/>
            <a:ext cx="4271939" cy="369332"/>
          </a:xfrm>
          <a:prstGeom prst="rect">
            <a:avLst/>
          </a:prstGeom>
          <a:noFill/>
        </p:spPr>
        <p:txBody>
          <a:bodyPr wrap="none" rtlCol="0">
            <a:spAutoFit/>
          </a:bodyPr>
          <a:lstStyle/>
          <a:p>
            <a:r>
              <a:rPr lang="en-US" dirty="0"/>
              <a:t>* No guaranteed SLA for single VM instance</a:t>
            </a:r>
          </a:p>
        </p:txBody>
      </p:sp>
    </p:spTree>
    <p:extLst>
      <p:ext uri="{BB962C8B-B14F-4D97-AF65-F5344CB8AC3E}">
        <p14:creationId xmlns:p14="http://schemas.microsoft.com/office/powerpoint/2010/main" val="1687829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p:cNvSpPr/>
          <p:nvPr/>
        </p:nvSpPr>
        <p:spPr>
          <a:xfrm>
            <a:off x="1605227" y="1668942"/>
            <a:ext cx="8952327" cy="4159039"/>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algn="ctr"/>
            <a:endParaRPr lang="en-US"/>
          </a:p>
        </p:txBody>
      </p:sp>
      <p:sp>
        <p:nvSpPr>
          <p:cNvPr id="2" name="Title 1"/>
          <p:cNvSpPr>
            <a:spLocks noGrp="1"/>
          </p:cNvSpPr>
          <p:nvPr>
            <p:ph type="title"/>
          </p:nvPr>
        </p:nvSpPr>
        <p:spPr>
          <a:xfrm>
            <a:off x="301752" y="75290"/>
            <a:ext cx="11274552" cy="685800"/>
          </a:xfrm>
        </p:spPr>
        <p:txBody>
          <a:bodyPr/>
          <a:lstStyle/>
          <a:p>
            <a:r>
              <a:rPr lang="en-US" dirty="0"/>
              <a:t>End-to-End Highly Available Solution</a:t>
            </a:r>
          </a:p>
        </p:txBody>
      </p:sp>
      <p:sp>
        <p:nvSpPr>
          <p:cNvPr id="8" name="Text Placeholder 7"/>
          <p:cNvSpPr>
            <a:spLocks noGrp="1"/>
          </p:cNvSpPr>
          <p:nvPr>
            <p:ph type="body" sz="quarter" idx="13"/>
          </p:nvPr>
        </p:nvSpPr>
        <p:spPr/>
        <p:txBody>
          <a:bodyPr/>
          <a:lstStyle/>
          <a:p>
            <a:r>
              <a:rPr lang="en-US" dirty="0"/>
              <a:t>Redundancy at every level</a:t>
            </a:r>
          </a:p>
        </p:txBody>
      </p:sp>
      <p:sp>
        <p:nvSpPr>
          <p:cNvPr id="30" name="Rectangle 29"/>
          <p:cNvSpPr/>
          <p:nvPr/>
        </p:nvSpPr>
        <p:spPr bwMode="auto">
          <a:xfrm>
            <a:off x="7709419" y="4305388"/>
            <a:ext cx="1848767" cy="1237265"/>
          </a:xfrm>
          <a:prstGeom prst="rect">
            <a:avLst/>
          </a:prstGeom>
          <a:solidFill>
            <a:srgbClr val="FFFFFF">
              <a:lumMod val="95000"/>
            </a:srgbClr>
          </a:solidFill>
          <a:ln w="9525" cap="flat" cmpd="sng" algn="ctr">
            <a:noFill/>
            <a:prstDash val="solid"/>
            <a:headEnd type="none" w="med" len="med"/>
            <a:tailEnd type="none" w="med" len="med"/>
          </a:ln>
          <a:effectLst/>
        </p:spPr>
        <p:txBody>
          <a:bodyPr vert="horz" wrap="square" lIns="73555" tIns="36779" rIns="73555" bIns="36779" numCol="1" spcCol="0" rtlCol="0" anchor="b" anchorCtr="0" compatLnSpc="1">
            <a:prstTxWarp prst="textNoShape">
              <a:avLst/>
            </a:prstTxWarp>
          </a:bodyPr>
          <a:lstStyle/>
          <a:p>
            <a:pPr defTabSz="981002">
              <a:lnSpc>
                <a:spcPct val="90000"/>
              </a:lnSpc>
              <a:spcBef>
                <a:spcPct val="20000"/>
              </a:spcBef>
              <a:buSzPct val="80000"/>
              <a:defRPr/>
            </a:pPr>
            <a:endParaRPr lang="en-US" sz="1600" kern="0" dirty="0">
              <a:gradFill>
                <a:gsLst>
                  <a:gs pos="0">
                    <a:srgbClr val="292929">
                      <a:lumMod val="90000"/>
                      <a:lumOff val="10000"/>
                    </a:srgbClr>
                  </a:gs>
                  <a:gs pos="86000">
                    <a:srgbClr val="292929">
                      <a:lumMod val="90000"/>
                      <a:lumOff val="10000"/>
                    </a:srgbClr>
                  </a:gs>
                </a:gsLst>
                <a:lin ang="5400000" scaled="0"/>
              </a:gradFill>
              <a:latin typeface="Segoe UI"/>
            </a:endParaRPr>
          </a:p>
        </p:txBody>
      </p:sp>
      <p:sp>
        <p:nvSpPr>
          <p:cNvPr id="31" name="Rectangle 30"/>
          <p:cNvSpPr/>
          <p:nvPr/>
        </p:nvSpPr>
        <p:spPr bwMode="auto">
          <a:xfrm>
            <a:off x="7709419" y="2170668"/>
            <a:ext cx="1848767" cy="1237265"/>
          </a:xfrm>
          <a:prstGeom prst="rect">
            <a:avLst/>
          </a:prstGeom>
          <a:solidFill>
            <a:srgbClr val="FFFFFF">
              <a:lumMod val="95000"/>
            </a:srgbClr>
          </a:solidFill>
          <a:ln w="9525" cap="flat" cmpd="sng" algn="ctr">
            <a:noFill/>
            <a:prstDash val="solid"/>
            <a:headEnd type="none" w="med" len="med"/>
            <a:tailEnd type="none" w="med" len="med"/>
          </a:ln>
          <a:effectLst/>
        </p:spPr>
        <p:txBody>
          <a:bodyPr vert="horz" wrap="square" lIns="73555" tIns="36779" rIns="73555" bIns="36779" numCol="1" spcCol="0" rtlCol="0" anchor="b" anchorCtr="0" compatLnSpc="1">
            <a:prstTxWarp prst="textNoShape">
              <a:avLst/>
            </a:prstTxWarp>
          </a:bodyPr>
          <a:lstStyle/>
          <a:p>
            <a:pPr defTabSz="981002">
              <a:lnSpc>
                <a:spcPct val="90000"/>
              </a:lnSpc>
              <a:spcBef>
                <a:spcPct val="20000"/>
              </a:spcBef>
              <a:buSzPct val="80000"/>
              <a:defRPr/>
            </a:pPr>
            <a:endParaRPr lang="en-US" sz="1600" kern="0" dirty="0">
              <a:gradFill>
                <a:gsLst>
                  <a:gs pos="0">
                    <a:srgbClr val="292929">
                      <a:lumMod val="90000"/>
                      <a:lumOff val="10000"/>
                    </a:srgbClr>
                  </a:gs>
                  <a:gs pos="86000">
                    <a:srgbClr val="292929">
                      <a:lumMod val="90000"/>
                      <a:lumOff val="10000"/>
                    </a:srgbClr>
                  </a:gs>
                </a:gsLst>
                <a:lin ang="5400000" scaled="0"/>
              </a:gradFill>
              <a:latin typeface="Segoe UI"/>
            </a:endParaRPr>
          </a:p>
        </p:txBody>
      </p:sp>
      <p:sp>
        <p:nvSpPr>
          <p:cNvPr id="32" name="Down Arrow 31"/>
          <p:cNvSpPr/>
          <p:nvPr/>
        </p:nvSpPr>
        <p:spPr bwMode="auto">
          <a:xfrm rot="16200000">
            <a:off x="3626960" y="3668077"/>
            <a:ext cx="334297" cy="754683"/>
          </a:xfrm>
          <a:prstGeom prst="downArrow">
            <a:avLst/>
          </a:prstGeom>
          <a:solidFill>
            <a:srgbClr val="FFFFFF">
              <a:lumMod val="50000"/>
            </a:srgbClr>
          </a:solidFill>
          <a:ln w="9525" cap="flat" cmpd="sng" algn="ctr">
            <a:noFill/>
            <a:prstDash val="solid"/>
            <a:headEnd type="none" w="med" len="med"/>
            <a:tailEnd type="none" w="med" len="med"/>
          </a:ln>
          <a:effectLst/>
        </p:spPr>
        <p:txBody>
          <a:bodyPr vert="horz" wrap="none" lIns="73582" tIns="36791" rIns="73582" bIns="36791" numCol="1" rtlCol="0" anchor="ctr" anchorCtr="0" compatLnSpc="1">
            <a:prstTxWarp prst="textNoShape">
              <a:avLst/>
            </a:prstTxWarp>
          </a:bodyPr>
          <a:lstStyle/>
          <a:p>
            <a:pPr algn="ctr" defTabSz="735607" fontAlgn="base">
              <a:spcBef>
                <a:spcPct val="0"/>
              </a:spcBef>
              <a:spcAft>
                <a:spcPct val="0"/>
              </a:spcAft>
              <a:defRPr/>
            </a:pPr>
            <a:endParaRPr lang="en-US" sz="800" kern="0" dirty="0">
              <a:ln>
                <a:solidFill>
                  <a:srgbClr val="FFFFFF">
                    <a:alpha val="0"/>
                  </a:srgbClr>
                </a:solidFill>
              </a:ln>
              <a:solidFill>
                <a:srgbClr val="FFFFFF"/>
              </a:solidFill>
              <a:latin typeface="Segoe UI"/>
            </a:endParaRPr>
          </a:p>
        </p:txBody>
      </p:sp>
      <p:sp>
        <p:nvSpPr>
          <p:cNvPr id="33" name="Rectangle 32"/>
          <p:cNvSpPr/>
          <p:nvPr/>
        </p:nvSpPr>
        <p:spPr bwMode="auto">
          <a:xfrm>
            <a:off x="4768430" y="3930125"/>
            <a:ext cx="1707451" cy="1237265"/>
          </a:xfrm>
          <a:prstGeom prst="rect">
            <a:avLst/>
          </a:prstGeom>
          <a:solidFill>
            <a:srgbClr val="FFFFFF">
              <a:lumMod val="95000"/>
            </a:srgbClr>
          </a:solidFill>
          <a:ln w="9525" cap="flat" cmpd="sng" algn="ctr">
            <a:noFill/>
            <a:prstDash val="solid"/>
            <a:headEnd type="none" w="med" len="med"/>
            <a:tailEnd type="none" w="med" len="med"/>
          </a:ln>
          <a:effectLst/>
        </p:spPr>
        <p:txBody>
          <a:bodyPr vert="horz" wrap="square" lIns="73555" tIns="73585" rIns="73555" bIns="36779" numCol="1" spcCol="0" rtlCol="0" anchor="t" anchorCtr="0" compatLnSpc="1">
            <a:prstTxWarp prst="textNoShape">
              <a:avLst/>
            </a:prstTxWarp>
          </a:bodyPr>
          <a:lstStyle/>
          <a:p>
            <a:pPr defTabSz="981002">
              <a:lnSpc>
                <a:spcPct val="90000"/>
              </a:lnSpc>
              <a:spcBef>
                <a:spcPct val="20000"/>
              </a:spcBef>
              <a:buSzPct val="80000"/>
              <a:defRPr/>
            </a:pPr>
            <a:r>
              <a:rPr lang="en-US" sz="1600" kern="0" dirty="0">
                <a:gradFill>
                  <a:gsLst>
                    <a:gs pos="0">
                      <a:srgbClr val="292929">
                        <a:lumMod val="90000"/>
                        <a:lumOff val="10000"/>
                      </a:srgbClr>
                    </a:gs>
                    <a:gs pos="86000">
                      <a:srgbClr val="292929">
                        <a:lumMod val="90000"/>
                        <a:lumOff val="10000"/>
                      </a:srgbClr>
                    </a:gs>
                  </a:gsLst>
                  <a:lin ang="5400000" scaled="0"/>
                </a:gradFill>
                <a:latin typeface="Segoe UI"/>
              </a:rPr>
              <a:t>IIS Web Application</a:t>
            </a:r>
          </a:p>
        </p:txBody>
      </p:sp>
      <p:sp>
        <p:nvSpPr>
          <p:cNvPr id="34" name="Rectangle 33"/>
          <p:cNvSpPr/>
          <p:nvPr/>
        </p:nvSpPr>
        <p:spPr bwMode="auto">
          <a:xfrm>
            <a:off x="4819703" y="4548758"/>
            <a:ext cx="1543975" cy="477239"/>
          </a:xfrm>
          <a:prstGeom prst="rect">
            <a:avLst/>
          </a:prstGeom>
          <a:solidFill>
            <a:srgbClr val="00AEEF"/>
          </a:solidFill>
          <a:ln w="9525" cap="flat" cmpd="sng" algn="ctr">
            <a:noFill/>
            <a:prstDash val="solid"/>
          </a:ln>
          <a:effectLst/>
        </p:spPr>
        <p:txBody>
          <a:bodyPr lIns="73585" tIns="36792" rIns="73585" bIns="73585" rtlCol="0" anchor="ctr" anchorCtr="0"/>
          <a:lstStyle/>
          <a:p>
            <a:pPr marL="0" lvl="1" algn="ctr" defTabSz="735546" fontAlgn="base">
              <a:spcBef>
                <a:spcPct val="0"/>
              </a:spcBef>
              <a:spcAft>
                <a:spcPct val="0"/>
              </a:spcAft>
              <a:buClr>
                <a:srgbClr val="FFC000"/>
              </a:buClr>
              <a:defRPr/>
            </a:pPr>
            <a:r>
              <a:rPr lang="en-US" sz="2400" kern="0" spc="-41" dirty="0">
                <a:solidFill>
                  <a:srgbClr val="FFFFFF">
                    <a:alpha val="99000"/>
                  </a:srgbClr>
                </a:solidFill>
                <a:ea typeface="Segoe UI" pitchFamily="34" charset="0"/>
                <a:cs typeface="Segoe UI" pitchFamily="34" charset="0"/>
              </a:rPr>
              <a:t>Web VM</a:t>
            </a:r>
          </a:p>
        </p:txBody>
      </p:sp>
      <p:sp>
        <p:nvSpPr>
          <p:cNvPr id="35" name="Rectangle 34"/>
          <p:cNvSpPr/>
          <p:nvPr/>
        </p:nvSpPr>
        <p:spPr bwMode="auto">
          <a:xfrm>
            <a:off x="4768430" y="2561122"/>
            <a:ext cx="1707451" cy="1237265"/>
          </a:xfrm>
          <a:prstGeom prst="rect">
            <a:avLst/>
          </a:prstGeom>
          <a:solidFill>
            <a:srgbClr val="FFFFFF">
              <a:lumMod val="95000"/>
            </a:srgbClr>
          </a:solidFill>
          <a:ln w="9525" cap="flat" cmpd="sng" algn="ctr">
            <a:noFill/>
            <a:prstDash val="solid"/>
            <a:headEnd type="none" w="med" len="med"/>
            <a:tailEnd type="none" w="med" len="med"/>
          </a:ln>
          <a:effectLst/>
        </p:spPr>
        <p:txBody>
          <a:bodyPr vert="horz" wrap="square" lIns="73555" tIns="73585" rIns="73555" bIns="36779" numCol="1" spcCol="0" rtlCol="0" anchor="t" anchorCtr="0" compatLnSpc="1">
            <a:prstTxWarp prst="textNoShape">
              <a:avLst/>
            </a:prstTxWarp>
          </a:bodyPr>
          <a:lstStyle/>
          <a:p>
            <a:pPr defTabSz="981002">
              <a:lnSpc>
                <a:spcPct val="90000"/>
              </a:lnSpc>
              <a:spcBef>
                <a:spcPct val="20000"/>
              </a:spcBef>
              <a:buSzPct val="80000"/>
              <a:defRPr/>
            </a:pPr>
            <a:r>
              <a:rPr lang="en-US" sz="1600" kern="0" dirty="0">
                <a:gradFill>
                  <a:gsLst>
                    <a:gs pos="0">
                      <a:srgbClr val="292929">
                        <a:lumMod val="90000"/>
                        <a:lumOff val="10000"/>
                      </a:srgbClr>
                    </a:gs>
                    <a:gs pos="86000">
                      <a:srgbClr val="292929">
                        <a:lumMod val="90000"/>
                        <a:lumOff val="10000"/>
                      </a:srgbClr>
                    </a:gs>
                  </a:gsLst>
                  <a:lin ang="5400000" scaled="0"/>
                </a:gradFill>
                <a:latin typeface="Segoe UI"/>
              </a:rPr>
              <a:t>IIS Web Application</a:t>
            </a:r>
          </a:p>
        </p:txBody>
      </p:sp>
      <p:sp>
        <p:nvSpPr>
          <p:cNvPr id="37" name="Rectangle 36"/>
          <p:cNvSpPr/>
          <p:nvPr/>
        </p:nvSpPr>
        <p:spPr bwMode="auto">
          <a:xfrm>
            <a:off x="4819703" y="3179754"/>
            <a:ext cx="1543975" cy="477239"/>
          </a:xfrm>
          <a:prstGeom prst="rect">
            <a:avLst/>
          </a:prstGeom>
          <a:solidFill>
            <a:srgbClr val="00AEEF"/>
          </a:solidFill>
          <a:ln w="9525" cap="flat" cmpd="sng" algn="ctr">
            <a:noFill/>
            <a:prstDash val="solid"/>
          </a:ln>
          <a:effectLst/>
        </p:spPr>
        <p:txBody>
          <a:bodyPr lIns="73585" tIns="36792" rIns="73585" bIns="73585" rtlCol="0" anchor="ctr" anchorCtr="0"/>
          <a:lstStyle/>
          <a:p>
            <a:pPr marL="0" lvl="1" algn="ctr" defTabSz="735546" fontAlgn="base">
              <a:spcBef>
                <a:spcPct val="0"/>
              </a:spcBef>
              <a:spcAft>
                <a:spcPct val="0"/>
              </a:spcAft>
              <a:buClr>
                <a:srgbClr val="FFC000"/>
              </a:buClr>
              <a:defRPr/>
            </a:pPr>
            <a:r>
              <a:rPr lang="en-US" sz="2400" kern="0" spc="-41" dirty="0">
                <a:solidFill>
                  <a:srgbClr val="FFFFFF">
                    <a:alpha val="99000"/>
                  </a:srgbClr>
                </a:solidFill>
                <a:ea typeface="Segoe UI" pitchFamily="34" charset="0"/>
                <a:cs typeface="Segoe UI" pitchFamily="34" charset="0"/>
              </a:rPr>
              <a:t>Web VM</a:t>
            </a:r>
          </a:p>
        </p:txBody>
      </p:sp>
      <p:sp>
        <p:nvSpPr>
          <p:cNvPr id="40" name="TextBox 39"/>
          <p:cNvSpPr txBox="1"/>
          <p:nvPr/>
        </p:nvSpPr>
        <p:spPr>
          <a:xfrm>
            <a:off x="4257699" y="3817147"/>
            <a:ext cx="292075" cy="664797"/>
          </a:xfrm>
          <a:prstGeom prst="rect">
            <a:avLst/>
          </a:prstGeom>
          <a:noFill/>
        </p:spPr>
        <p:txBody>
          <a:bodyPr wrap="square" lIns="0" tIns="0" rIns="0" bIns="0" rtlCol="0">
            <a:spAutoFit/>
          </a:bodyPr>
          <a:lstStyle/>
          <a:p>
            <a:pPr defTabSz="981002">
              <a:lnSpc>
                <a:spcPct val="90000"/>
              </a:lnSpc>
              <a:spcBef>
                <a:spcPct val="20000"/>
              </a:spcBef>
              <a:buSzPct val="80000"/>
              <a:defRPr/>
            </a:pPr>
            <a:r>
              <a:rPr lang="en-US" sz="2400" kern="0" dirty="0">
                <a:gradFill>
                  <a:gsLst>
                    <a:gs pos="0">
                      <a:srgbClr val="292929">
                        <a:lumMod val="90000"/>
                        <a:lumOff val="10000"/>
                      </a:srgbClr>
                    </a:gs>
                    <a:gs pos="86000">
                      <a:srgbClr val="292929">
                        <a:lumMod val="90000"/>
                        <a:lumOff val="10000"/>
                      </a:srgbClr>
                    </a:gs>
                  </a:gsLst>
                  <a:lin ang="5400000" scaled="0"/>
                </a:gradFill>
              </a:rPr>
              <a:t>LB</a:t>
            </a:r>
          </a:p>
        </p:txBody>
      </p:sp>
      <p:cxnSp>
        <p:nvCxnSpPr>
          <p:cNvPr id="41" name="Elbow Connector 15"/>
          <p:cNvCxnSpPr>
            <a:stCxn id="40" idx="3"/>
          </p:cNvCxnSpPr>
          <p:nvPr/>
        </p:nvCxnSpPr>
        <p:spPr>
          <a:xfrm flipV="1">
            <a:off x="4549774" y="3435467"/>
            <a:ext cx="269930" cy="714079"/>
          </a:xfrm>
          <a:prstGeom prst="straightConnector1">
            <a:avLst/>
          </a:prstGeom>
          <a:noFill/>
          <a:ln w="31750" cap="flat" cmpd="sng" algn="ctr">
            <a:solidFill>
              <a:srgbClr val="FFFFFF">
                <a:lumMod val="50000"/>
              </a:srgbClr>
            </a:solidFill>
            <a:prstDash val="solid"/>
            <a:tailEnd type="triangle" w="med" len="med"/>
          </a:ln>
          <a:effectLst/>
        </p:spPr>
      </p:cxnSp>
      <p:cxnSp>
        <p:nvCxnSpPr>
          <p:cNvPr id="42" name="Elbow Connector 15"/>
          <p:cNvCxnSpPr>
            <a:stCxn id="40" idx="3"/>
            <a:endCxn id="34" idx="1"/>
          </p:cNvCxnSpPr>
          <p:nvPr/>
        </p:nvCxnSpPr>
        <p:spPr>
          <a:xfrm>
            <a:off x="4549774" y="4149546"/>
            <a:ext cx="269929" cy="637832"/>
          </a:xfrm>
          <a:prstGeom prst="straightConnector1">
            <a:avLst/>
          </a:prstGeom>
          <a:noFill/>
          <a:ln w="31750" cap="flat" cmpd="sng" algn="ctr">
            <a:solidFill>
              <a:srgbClr val="FFFFFF">
                <a:lumMod val="50000"/>
              </a:srgbClr>
            </a:solidFill>
            <a:prstDash val="solid"/>
            <a:tailEnd type="triangle" w="med" len="med"/>
          </a:ln>
          <a:effectLst/>
        </p:spPr>
      </p:cxnSp>
      <p:sp>
        <p:nvSpPr>
          <p:cNvPr id="43" name="Up-Down Arrow 42"/>
          <p:cNvSpPr/>
          <p:nvPr/>
        </p:nvSpPr>
        <p:spPr bwMode="auto">
          <a:xfrm>
            <a:off x="8469971" y="3396887"/>
            <a:ext cx="275324" cy="920501"/>
          </a:xfrm>
          <a:prstGeom prst="upDownArrow">
            <a:avLst/>
          </a:prstGeom>
          <a:solidFill>
            <a:srgbClr val="FFFFFF">
              <a:lumMod val="50000"/>
            </a:srgbClr>
          </a:solidFill>
          <a:ln w="9525" cap="flat" cmpd="sng" algn="ctr">
            <a:noFill/>
            <a:prstDash val="solid"/>
            <a:headEnd type="none" w="med" len="med"/>
            <a:tailEnd type="none" w="med" len="med"/>
          </a:ln>
          <a:effectLst/>
        </p:spPr>
        <p:txBody>
          <a:bodyPr vert="horz" wrap="none" lIns="73582" tIns="36791" rIns="73582" bIns="36791" numCol="1" rtlCol="0" anchor="ctr" anchorCtr="0" compatLnSpc="1">
            <a:prstTxWarp prst="textNoShape">
              <a:avLst/>
            </a:prstTxWarp>
          </a:bodyPr>
          <a:lstStyle/>
          <a:p>
            <a:pPr algn="ctr" defTabSz="735607" fontAlgn="base">
              <a:spcBef>
                <a:spcPct val="0"/>
              </a:spcBef>
              <a:spcAft>
                <a:spcPct val="0"/>
              </a:spcAft>
              <a:defRPr/>
            </a:pPr>
            <a:endParaRPr lang="en-US" sz="800" kern="0" dirty="0">
              <a:ln>
                <a:solidFill>
                  <a:srgbClr val="FFFFFF">
                    <a:alpha val="0"/>
                  </a:srgbClr>
                </a:solidFill>
              </a:ln>
              <a:solidFill>
                <a:srgbClr val="FFFFFF"/>
              </a:solidFill>
              <a:latin typeface="Segoe UI"/>
            </a:endParaRPr>
          </a:p>
        </p:txBody>
      </p:sp>
      <p:sp>
        <p:nvSpPr>
          <p:cNvPr id="46" name="Rectangle 45"/>
          <p:cNvSpPr/>
          <p:nvPr/>
        </p:nvSpPr>
        <p:spPr bwMode="auto">
          <a:xfrm>
            <a:off x="9015067" y="3407934"/>
            <a:ext cx="426780" cy="897261"/>
          </a:xfrm>
          <a:prstGeom prst="rect">
            <a:avLst/>
          </a:prstGeom>
          <a:solidFill>
            <a:srgbClr val="FFFFFF">
              <a:lumMod val="50000"/>
            </a:srgbClr>
          </a:solidFill>
          <a:ln w="9525" cap="flat" cmpd="sng" algn="ctr">
            <a:noFill/>
            <a:prstDash val="solid"/>
            <a:headEnd type="none" w="med" len="med"/>
            <a:tailEnd type="none" w="med" len="med"/>
          </a:ln>
          <a:effectLst/>
        </p:spPr>
        <p:txBody>
          <a:bodyPr vert="vert270" wrap="none" lIns="73582" tIns="36791" rIns="73582" bIns="36791" numCol="1" rtlCol="0" anchor="ctr" anchorCtr="0" compatLnSpc="1">
            <a:prstTxWarp prst="textNoShape">
              <a:avLst/>
            </a:prstTxWarp>
          </a:bodyPr>
          <a:lstStyle/>
          <a:p>
            <a:pPr marL="0" lvl="1" algn="ctr" defTabSz="735546" fontAlgn="base">
              <a:spcBef>
                <a:spcPct val="0"/>
              </a:spcBef>
              <a:spcAft>
                <a:spcPct val="0"/>
              </a:spcAft>
              <a:buClr>
                <a:srgbClr val="FFC000"/>
              </a:buClr>
              <a:defRPr/>
            </a:pPr>
            <a:r>
              <a:rPr lang="en-US" sz="1300" kern="0" spc="-41" dirty="0">
                <a:solidFill>
                  <a:srgbClr val="FFFFFF">
                    <a:alpha val="99000"/>
                  </a:srgbClr>
                </a:solidFill>
                <a:latin typeface="Segoe UI"/>
                <a:ea typeface="Segoe UI" pitchFamily="34" charset="0"/>
                <a:cs typeface="Segoe UI" pitchFamily="34" charset="0"/>
              </a:rPr>
              <a:t>SQL Mirroring</a:t>
            </a:r>
          </a:p>
        </p:txBody>
      </p:sp>
      <p:sp>
        <p:nvSpPr>
          <p:cNvPr id="49" name="Rectangle 48"/>
          <p:cNvSpPr/>
          <p:nvPr/>
        </p:nvSpPr>
        <p:spPr bwMode="auto">
          <a:xfrm>
            <a:off x="7692467" y="2170546"/>
            <a:ext cx="1865712" cy="3372109"/>
          </a:xfrm>
          <a:prstGeom prst="rect">
            <a:avLst/>
          </a:prstGeom>
          <a:noFill/>
          <a:ln w="19050" cap="flat" cmpd="sng" algn="ctr">
            <a:solidFill>
              <a:srgbClr val="FF0000"/>
            </a:solidFill>
            <a:prstDash val="dash"/>
            <a:miter lim="800000"/>
            <a:headEnd type="none" w="med" len="med"/>
            <a:tailEnd type="none" w="med" len="med"/>
          </a:ln>
          <a:effectLst/>
        </p:spPr>
        <p:txBody>
          <a:bodyPr vert="horz" wrap="square" lIns="73582" tIns="36791" rIns="73582" bIns="36791" numCol="1" rtlCol="0" anchor="ctr" anchorCtr="0" compatLnSpc="1">
            <a:prstTxWarp prst="textNoShape">
              <a:avLst/>
            </a:prstTxWarp>
          </a:bodyPr>
          <a:lstStyle/>
          <a:p>
            <a:pPr algn="ctr" defTabSz="735607" fontAlgn="base">
              <a:spcBef>
                <a:spcPct val="0"/>
              </a:spcBef>
              <a:spcAft>
                <a:spcPct val="0"/>
              </a:spcAft>
              <a:defRPr/>
            </a:pPr>
            <a:endParaRPr lang="en-US" sz="1900" kern="0" dirty="0">
              <a:gradFill>
                <a:gsLst>
                  <a:gs pos="0">
                    <a:srgbClr val="FFFFFF"/>
                  </a:gs>
                  <a:gs pos="100000">
                    <a:srgbClr val="FFFFFF"/>
                  </a:gs>
                </a:gsLst>
                <a:lin ang="5400000" scaled="0"/>
              </a:gradFill>
              <a:latin typeface="Segoe UI"/>
            </a:endParaRPr>
          </a:p>
        </p:txBody>
      </p:sp>
      <p:sp>
        <p:nvSpPr>
          <p:cNvPr id="50" name="Rectangle 49"/>
          <p:cNvSpPr/>
          <p:nvPr/>
        </p:nvSpPr>
        <p:spPr bwMode="auto">
          <a:xfrm>
            <a:off x="4768430" y="2561124"/>
            <a:ext cx="1707451" cy="2606269"/>
          </a:xfrm>
          <a:prstGeom prst="rect">
            <a:avLst/>
          </a:prstGeom>
          <a:noFill/>
          <a:ln w="19050" cap="flat" cmpd="sng" algn="ctr">
            <a:solidFill>
              <a:srgbClr val="FF0000"/>
            </a:solidFill>
            <a:prstDash val="dash"/>
            <a:miter lim="800000"/>
            <a:headEnd type="none" w="med" len="med"/>
            <a:tailEnd type="none" w="med" len="med"/>
          </a:ln>
          <a:effectLst/>
        </p:spPr>
        <p:txBody>
          <a:bodyPr vert="horz" wrap="square" lIns="73582" tIns="36791" rIns="73582" bIns="36791" numCol="1" rtlCol="0" anchor="ctr" anchorCtr="0" compatLnSpc="1">
            <a:prstTxWarp prst="textNoShape">
              <a:avLst/>
            </a:prstTxWarp>
          </a:bodyPr>
          <a:lstStyle/>
          <a:p>
            <a:pPr algn="ctr" defTabSz="735607" fontAlgn="base">
              <a:spcBef>
                <a:spcPct val="0"/>
              </a:spcBef>
              <a:spcAft>
                <a:spcPct val="0"/>
              </a:spcAft>
              <a:defRPr/>
            </a:pPr>
            <a:endParaRPr lang="en-US" sz="1900" kern="0" dirty="0">
              <a:gradFill>
                <a:gsLst>
                  <a:gs pos="0">
                    <a:srgbClr val="FFFFFF"/>
                  </a:gs>
                  <a:gs pos="100000">
                    <a:srgbClr val="FFFFFF"/>
                  </a:gs>
                </a:gsLst>
                <a:lin ang="5400000" scaled="0"/>
              </a:gradFill>
              <a:latin typeface="Segoe UI"/>
            </a:endParaRPr>
          </a:p>
        </p:txBody>
      </p:sp>
      <p:grpSp>
        <p:nvGrpSpPr>
          <p:cNvPr id="52" name="Group 51"/>
          <p:cNvGrpSpPr/>
          <p:nvPr/>
        </p:nvGrpSpPr>
        <p:grpSpPr>
          <a:xfrm>
            <a:off x="1808427" y="3145742"/>
            <a:ext cx="1417689" cy="1259839"/>
            <a:chOff x="508000" y="2203271"/>
            <a:chExt cx="1799771" cy="1799771"/>
          </a:xfrm>
        </p:grpSpPr>
        <p:sp>
          <p:nvSpPr>
            <p:cNvPr id="56" name="Rectangle 55"/>
            <p:cNvSpPr/>
            <p:nvPr/>
          </p:nvSpPr>
          <p:spPr bwMode="auto">
            <a:xfrm>
              <a:off x="508000" y="2203271"/>
              <a:ext cx="1799771" cy="1799771"/>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735639" fontAlgn="base">
                <a:spcBef>
                  <a:spcPct val="0"/>
                </a:spcBef>
                <a:spcAft>
                  <a:spcPct val="0"/>
                </a:spcAft>
                <a:defRPr/>
              </a:pPr>
              <a:r>
                <a:rPr lang="en-US" sz="2400" kern="0" dirty="0">
                  <a:gradFill>
                    <a:gsLst>
                      <a:gs pos="0">
                        <a:srgbClr val="FFFFFF"/>
                      </a:gs>
                      <a:gs pos="100000">
                        <a:srgbClr val="FFFFFF"/>
                      </a:gs>
                    </a:gsLst>
                    <a:lin ang="5400000" scaled="0"/>
                  </a:gradFill>
                  <a:latin typeface="Segoe UI"/>
                  <a:ea typeface="Segoe UI" pitchFamily="34" charset="0"/>
                  <a:cs typeface="Segoe UI" pitchFamily="34" charset="0"/>
                </a:rPr>
                <a:t>Internet</a:t>
              </a:r>
            </a:p>
          </p:txBody>
        </p:sp>
        <p:grpSp>
          <p:nvGrpSpPr>
            <p:cNvPr id="57" name="Group 56"/>
            <p:cNvGrpSpPr/>
            <p:nvPr/>
          </p:nvGrpSpPr>
          <p:grpSpPr>
            <a:xfrm>
              <a:off x="748459" y="2603641"/>
              <a:ext cx="1318853" cy="744211"/>
              <a:chOff x="7683468" y="2188241"/>
              <a:chExt cx="1543891" cy="871196"/>
            </a:xfrm>
          </p:grpSpPr>
          <p:pic>
            <p:nvPicPr>
              <p:cNvPr id="58"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9"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algn="ctr" defTabSz="981002">
                  <a:defRPr/>
                </a:pPr>
                <a:endParaRPr lang="en-US" sz="2400" kern="0">
                  <a:solidFill>
                    <a:srgbClr val="292929"/>
                  </a:solidFill>
                </a:endParaRPr>
              </a:p>
            </p:txBody>
          </p:sp>
        </p:grpSp>
      </p:grpSp>
      <p:cxnSp>
        <p:nvCxnSpPr>
          <p:cNvPr id="63" name="Straight Arrow Connector 62"/>
          <p:cNvCxnSpPr>
            <a:stCxn id="50" idx="3"/>
            <a:endCxn id="49" idx="1"/>
          </p:cNvCxnSpPr>
          <p:nvPr/>
        </p:nvCxnSpPr>
        <p:spPr>
          <a:xfrm flipV="1">
            <a:off x="6475879" y="3856601"/>
            <a:ext cx="1216587" cy="7657"/>
          </a:xfrm>
          <a:prstGeom prst="straightConnector1">
            <a:avLst/>
          </a:prstGeom>
          <a:noFill/>
          <a:ln w="31750" cap="flat" cmpd="sng" algn="ctr">
            <a:solidFill>
              <a:srgbClr val="FFFFFF">
                <a:lumMod val="50000"/>
              </a:srgbClr>
            </a:solidFill>
            <a:prstDash val="solid"/>
            <a:tailEnd type="triangle" w="med" len="med"/>
          </a:ln>
          <a:effectLst/>
        </p:spPr>
      </p:cxnSp>
      <p:sp>
        <p:nvSpPr>
          <p:cNvPr id="64" name="TextBox 63"/>
          <p:cNvSpPr txBox="1"/>
          <p:nvPr/>
        </p:nvSpPr>
        <p:spPr>
          <a:xfrm>
            <a:off x="9630451" y="2177013"/>
            <a:ext cx="742191" cy="180049"/>
          </a:xfrm>
          <a:prstGeom prst="rect">
            <a:avLst/>
          </a:prstGeom>
          <a:noFill/>
        </p:spPr>
        <p:txBody>
          <a:bodyPr wrap="none" lIns="0" tIns="0" rIns="0" bIns="0" rtlCol="0">
            <a:spAutoFit/>
          </a:bodyPr>
          <a:lstStyle/>
          <a:p>
            <a:pPr defTabSz="1219170">
              <a:lnSpc>
                <a:spcPct val="90000"/>
              </a:lnSpc>
              <a:spcBef>
                <a:spcPct val="20000"/>
              </a:spcBef>
              <a:buSzPct val="80000"/>
              <a:defRPr/>
            </a:pPr>
            <a:r>
              <a:rPr lang="en-US" sz="1300" kern="0" dirty="0">
                <a:solidFill>
                  <a:srgbClr val="FF0000">
                    <a:alpha val="99000"/>
                  </a:srgbClr>
                </a:solidFill>
              </a:rPr>
              <a:t>SQL-AVSET</a:t>
            </a:r>
          </a:p>
        </p:txBody>
      </p:sp>
      <p:sp>
        <p:nvSpPr>
          <p:cNvPr id="67" name="TextBox 66"/>
          <p:cNvSpPr txBox="1"/>
          <p:nvPr/>
        </p:nvSpPr>
        <p:spPr>
          <a:xfrm>
            <a:off x="6593604" y="2557044"/>
            <a:ext cx="642805" cy="180049"/>
          </a:xfrm>
          <a:prstGeom prst="rect">
            <a:avLst/>
          </a:prstGeom>
          <a:noFill/>
        </p:spPr>
        <p:txBody>
          <a:bodyPr wrap="none" lIns="0" tIns="0" rIns="0" bIns="0" rtlCol="0">
            <a:spAutoFit/>
          </a:bodyPr>
          <a:lstStyle/>
          <a:p>
            <a:pPr defTabSz="1219170">
              <a:lnSpc>
                <a:spcPct val="90000"/>
              </a:lnSpc>
              <a:spcBef>
                <a:spcPct val="20000"/>
              </a:spcBef>
              <a:buSzPct val="80000"/>
              <a:defRPr/>
            </a:pPr>
            <a:r>
              <a:rPr lang="en-US" sz="1300" kern="0" dirty="0">
                <a:solidFill>
                  <a:srgbClr val="FF0000">
                    <a:alpha val="99000"/>
                  </a:srgbClr>
                </a:solidFill>
              </a:rPr>
              <a:t>IIS-AVSET</a:t>
            </a:r>
          </a:p>
        </p:txBody>
      </p:sp>
      <p:sp>
        <p:nvSpPr>
          <p:cNvPr id="69" name="Freeform 68"/>
          <p:cNvSpPr>
            <a:spLocks noEditPoints="1"/>
          </p:cNvSpPr>
          <p:nvPr/>
        </p:nvSpPr>
        <p:spPr bwMode="auto">
          <a:xfrm flipH="1">
            <a:off x="8249293" y="4497880"/>
            <a:ext cx="675532" cy="70198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0071BC"/>
          </a:solidFill>
          <a:ln w="12700" cap="flat" cmpd="sng" algn="ctr">
            <a:noFill/>
            <a:prstDash val="solid"/>
          </a:ln>
          <a:effectLst/>
        </p:spPr>
        <p:txBody>
          <a:bodyPr lIns="55199" tIns="147175" rIns="55199" bIns="27601" rtlCol="0" anchor="ctr"/>
          <a:lstStyle/>
          <a:p>
            <a:pP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latin typeface="Segoe UI"/>
                <a:ea typeface="Segoe UI" pitchFamily="34" charset="0"/>
                <a:cs typeface="Segoe UI" pitchFamily="34" charset="0"/>
              </a:rPr>
              <a:t>SQL</a:t>
            </a:r>
          </a:p>
          <a:p>
            <a:pP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latin typeface="Segoe UI"/>
                <a:ea typeface="Segoe UI" pitchFamily="34" charset="0"/>
                <a:cs typeface="Segoe UI" pitchFamily="34" charset="0"/>
              </a:rPr>
              <a:t>Server</a:t>
            </a:r>
          </a:p>
        </p:txBody>
      </p:sp>
      <p:sp>
        <p:nvSpPr>
          <p:cNvPr id="72" name="Freeform 71"/>
          <p:cNvSpPr>
            <a:spLocks noEditPoints="1"/>
          </p:cNvSpPr>
          <p:nvPr/>
        </p:nvSpPr>
        <p:spPr bwMode="auto">
          <a:xfrm flipH="1">
            <a:off x="8249293" y="2381913"/>
            <a:ext cx="675532" cy="70198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0071BC"/>
          </a:solidFill>
          <a:ln w="12700" cap="flat" cmpd="sng" algn="ctr">
            <a:noFill/>
            <a:prstDash val="solid"/>
          </a:ln>
          <a:effectLst/>
        </p:spPr>
        <p:txBody>
          <a:bodyPr lIns="55199" tIns="147175" rIns="55199" bIns="27601" rtlCol="0" anchor="ctr"/>
          <a:lstStyle/>
          <a:p>
            <a:pP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latin typeface="Segoe UI"/>
                <a:ea typeface="Segoe UI" pitchFamily="34" charset="0"/>
                <a:cs typeface="Segoe UI" pitchFamily="34" charset="0"/>
              </a:rPr>
              <a:t>SQL</a:t>
            </a:r>
          </a:p>
          <a:p>
            <a:pP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latin typeface="Segoe UI"/>
                <a:ea typeface="Segoe UI" pitchFamily="34" charset="0"/>
                <a:cs typeface="Segoe UI" pitchFamily="34" charset="0"/>
              </a:rPr>
              <a:t>Server</a:t>
            </a:r>
          </a:p>
        </p:txBody>
      </p:sp>
    </p:spTree>
    <p:extLst>
      <p:ext uri="{BB962C8B-B14F-4D97-AF65-F5344CB8AC3E}">
        <p14:creationId xmlns:p14="http://schemas.microsoft.com/office/powerpoint/2010/main" val="204668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animEffect transition="in" filter="fade">
                                      <p:cBhvr>
                                        <p:cTn id="9" dur="500"/>
                                        <p:tgtEl>
                                          <p:spTgt spid="64"/>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50"/>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7"/>
                                        </p:tgtEl>
                                        <p:attrNameLst>
                                          <p:attrName>style.visibility</p:attrName>
                                        </p:attrNameLst>
                                      </p:cBhvr>
                                      <p:to>
                                        <p:strVal val="visible"/>
                                      </p:to>
                                    </p:set>
                                    <p:animEffect transition="in" filter="fade">
                                      <p:cBhvr>
                                        <p:cTn id="16" dur="500"/>
                                        <p:tgtEl>
                                          <p:spTgt spid="6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2"/>
                                        </p:tgtEl>
                                        <p:attrNameLst>
                                          <p:attrName>style.visibility</p:attrName>
                                        </p:attrNameLst>
                                      </p:cBhvr>
                                      <p:to>
                                        <p:strVal val="visible"/>
                                      </p:to>
                                    </p:set>
                                    <p:animEffect transition="in" filter="fade">
                                      <p:cBhvr>
                                        <p:cTn id="21" dur="500"/>
                                        <p:tgtEl>
                                          <p:spTgt spid="3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par>
                                <p:cTn id="25" presetID="10" presetClass="entr" presetSubtype="0" fill="hold"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fade">
                                      <p:cBhvr>
                                        <p:cTn id="27" dur="500"/>
                                        <p:tgtEl>
                                          <p:spTgt spid="41"/>
                                        </p:tgtEl>
                                      </p:cBhvr>
                                    </p:animEffect>
                                  </p:childTnLst>
                                </p:cTn>
                              </p:par>
                              <p:par>
                                <p:cTn id="28" presetID="10" presetClass="entr" presetSubtype="0" fill="hold"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fade">
                                      <p:cBhvr>
                                        <p:cTn id="30" dur="500"/>
                                        <p:tgtEl>
                                          <p:spTgt spid="42"/>
                                        </p:tgtEl>
                                      </p:cBhvr>
                                    </p:animEffect>
                                  </p:childTnLst>
                                </p:cTn>
                              </p:par>
                              <p:par>
                                <p:cTn id="31" presetID="10" presetClass="entr" presetSubtype="0" fill="hold" nodeType="withEffect">
                                  <p:stCondLst>
                                    <p:cond delay="0"/>
                                  </p:stCondLst>
                                  <p:childTnLst>
                                    <p:set>
                                      <p:cBhvr>
                                        <p:cTn id="32" dur="1" fill="hold">
                                          <p:stCondLst>
                                            <p:cond delay="0"/>
                                          </p:stCondLst>
                                        </p:cTn>
                                        <p:tgtEl>
                                          <p:spTgt spid="52"/>
                                        </p:tgtEl>
                                        <p:attrNameLst>
                                          <p:attrName>style.visibility</p:attrName>
                                        </p:attrNameLst>
                                      </p:cBhvr>
                                      <p:to>
                                        <p:strVal val="visible"/>
                                      </p:to>
                                    </p:set>
                                    <p:animEffect transition="in" filter="fade">
                                      <p:cBhvr>
                                        <p:cTn id="33"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40" grpId="0"/>
      <p:bldP spid="49" grpId="0" animBg="1"/>
      <p:bldP spid="50" grpId="0" animBg="1"/>
      <p:bldP spid="64" grpId="0"/>
      <p:bldP spid="67"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IN" sz="4400" b="1" u="sng" dirty="0" smtClean="0">
                <a:effectLst>
                  <a:outerShdw blurRad="38100" dist="38100" dir="2700000" algn="tl">
                    <a:srgbClr val="000000">
                      <a:alpha val="43137"/>
                    </a:srgbClr>
                  </a:outerShdw>
                </a:effectLst>
              </a:rPr>
              <a:t>Deploying Azure VM using Scale Sets &amp; Templates</a:t>
            </a:r>
            <a:endParaRPr lang="en-IN" sz="4400" b="1" u="sng" dirty="0">
              <a:effectLst>
                <a:outerShdw blurRad="38100" dist="38100" dir="2700000" algn="tl">
                  <a:srgbClr val="000000">
                    <a:alpha val="43137"/>
                  </a:srgbClr>
                </a:outerShdw>
              </a:effectLst>
            </a:endParaRPr>
          </a:p>
        </p:txBody>
      </p:sp>
      <p:sp>
        <p:nvSpPr>
          <p:cNvPr id="3" name="Text Placeholder 2"/>
          <p:cNvSpPr>
            <a:spLocks noGrp="1"/>
          </p:cNvSpPr>
          <p:nvPr>
            <p:ph type="body" sz="quarter" idx="13"/>
          </p:nvPr>
        </p:nvSpPr>
        <p:spPr/>
        <p:txBody>
          <a:bodyPr/>
          <a:lstStyle/>
          <a:p>
            <a:pPr marL="0" indent="0">
              <a:buNone/>
            </a:pPr>
            <a:endParaRPr lang="en-IN" dirty="0" smtClean="0"/>
          </a:p>
          <a:p>
            <a:pPr marL="0" indent="0">
              <a:buNone/>
            </a:pPr>
            <a:r>
              <a:rPr lang="en-IN" dirty="0" smtClean="0"/>
              <a:t>Virtual </a:t>
            </a:r>
            <a:r>
              <a:rPr lang="en-IN" dirty="0"/>
              <a:t>machine scale sets are an Azure compute resource that you can use to deploy and manage a set of identical VMs. With all VMs configured the same, scale sets are designed to support true </a:t>
            </a:r>
            <a:r>
              <a:rPr lang="en-IN" dirty="0" err="1"/>
              <a:t>autoscale</a:t>
            </a:r>
            <a:r>
              <a:rPr lang="en-IN" dirty="0"/>
              <a:t>, and no pre-provisioning of VMs is required. So it's easier to build large-scale services that target big compute, big data, and containerized workloads.</a:t>
            </a:r>
          </a:p>
        </p:txBody>
      </p:sp>
    </p:spTree>
    <p:extLst>
      <p:ext uri="{BB962C8B-B14F-4D97-AF65-F5344CB8AC3E}">
        <p14:creationId xmlns:p14="http://schemas.microsoft.com/office/powerpoint/2010/main" val="300887314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13773" y="642466"/>
            <a:ext cx="10515600" cy="1325563"/>
          </a:xfrm>
        </p:spPr>
        <p:txBody>
          <a:bodyPr/>
          <a:lstStyle/>
          <a:p>
            <a:r>
              <a:rPr lang="en-US" b="1" u="sng" dirty="0">
                <a:effectLst>
                  <a:outerShdw blurRad="38100" dist="38100" dir="2700000" algn="tl">
                    <a:srgbClr val="000000">
                      <a:alpha val="43137"/>
                    </a:srgbClr>
                  </a:outerShdw>
                </a:effectLst>
              </a:rPr>
              <a:t>Understanding Disks</a:t>
            </a:r>
            <a:br>
              <a:rPr lang="en-US" b="1" u="sng" dirty="0">
                <a:effectLst>
                  <a:outerShdw blurRad="38100" dist="38100" dir="2700000" algn="tl">
                    <a:srgbClr val="000000">
                      <a:alpha val="43137"/>
                    </a:srgbClr>
                  </a:outerShdw>
                </a:effectLst>
              </a:rPr>
            </a:br>
            <a:endParaRPr lang="en-US" b="1" u="sng" dirty="0">
              <a:effectLst>
                <a:outerShdw blurRad="38100" dist="38100" dir="2700000" algn="tl">
                  <a:srgbClr val="000000">
                    <a:alpha val="43137"/>
                  </a:srgbClr>
                </a:outerShdw>
              </a:effectLst>
            </a:endParaRPr>
          </a:p>
        </p:txBody>
      </p:sp>
      <p:sp>
        <p:nvSpPr>
          <p:cNvPr id="3" name="Text Placeholder 2"/>
          <p:cNvSpPr>
            <a:spLocks noGrp="1"/>
          </p:cNvSpPr>
          <p:nvPr>
            <p:ph idx="1"/>
          </p:nvPr>
        </p:nvSpPr>
        <p:spPr>
          <a:xfrm>
            <a:off x="475488" y="911352"/>
            <a:ext cx="11253216" cy="4140708"/>
          </a:xfrm>
        </p:spPr>
        <p:txBody>
          <a:bodyPr/>
          <a:lstStyle/>
          <a:p>
            <a:pPr marL="0" indent="0">
              <a:buNone/>
            </a:pPr>
            <a:endParaRPr lang="en-US" dirty="0" smtClean="0"/>
          </a:p>
          <a:p>
            <a:pPr marL="0" indent="0">
              <a:buNone/>
            </a:pPr>
            <a:endParaRPr lang="en-US" dirty="0"/>
          </a:p>
          <a:p>
            <a:pPr marL="0" indent="0">
              <a:buNone/>
            </a:pPr>
            <a:endParaRPr lang="en-US" dirty="0" smtClean="0"/>
          </a:p>
        </p:txBody>
      </p:sp>
    </p:spTree>
    <p:extLst>
      <p:ext uri="{BB962C8B-B14F-4D97-AF65-F5344CB8AC3E}">
        <p14:creationId xmlns:p14="http://schemas.microsoft.com/office/powerpoint/2010/main" val="1807157018"/>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4"/>
          <a:stretch>
            <a:fillRect/>
          </a:stretch>
        </p:blipFill>
        <p:spPr>
          <a:xfrm>
            <a:off x="186407" y="2919798"/>
            <a:ext cx="9323809" cy="2866667"/>
          </a:xfrm>
          <a:prstGeom prst="rect">
            <a:avLst/>
          </a:prstGeom>
        </p:spPr>
      </p:pic>
      <p:pic>
        <p:nvPicPr>
          <p:cNvPr id="5" name="Picture 4"/>
          <p:cNvPicPr>
            <a:picLocks noChangeAspect="1"/>
          </p:cNvPicPr>
          <p:nvPr/>
        </p:nvPicPr>
        <p:blipFill>
          <a:blip r:embed="rId5"/>
          <a:stretch>
            <a:fillRect/>
          </a:stretch>
        </p:blipFill>
        <p:spPr>
          <a:xfrm>
            <a:off x="1962666" y="881176"/>
            <a:ext cx="8266667" cy="2685714"/>
          </a:xfrm>
          <a:prstGeom prst="rect">
            <a:avLst/>
          </a:prstGeom>
        </p:spPr>
      </p:pic>
      <p:cxnSp>
        <p:nvCxnSpPr>
          <p:cNvPr id="21" name="Straight Arrow Connector 20"/>
          <p:cNvCxnSpPr/>
          <p:nvPr/>
        </p:nvCxnSpPr>
        <p:spPr>
          <a:xfrm flipH="1" flipV="1">
            <a:off x="3811509" y="2559720"/>
            <a:ext cx="1302150" cy="1859997"/>
          </a:xfrm>
          <a:prstGeom prst="straightConnector1">
            <a:avLst/>
          </a:prstGeom>
          <a:noFill/>
          <a:ln w="57150" cap="flat" cmpd="sng" algn="ctr">
            <a:solidFill>
              <a:srgbClr val="FF8A00"/>
            </a:solidFill>
            <a:prstDash val="solid"/>
            <a:tailEnd type="arrow"/>
          </a:ln>
          <a:effectLst>
            <a:outerShdw blurRad="40000" dist="23000" dir="5400000" rotWithShape="0">
              <a:srgbClr val="000000">
                <a:alpha val="35000"/>
              </a:srgbClr>
            </a:outerShdw>
          </a:effectLst>
        </p:spPr>
      </p:cxnSp>
      <p:sp>
        <p:nvSpPr>
          <p:cNvPr id="22" name="Rectangle 21"/>
          <p:cNvSpPr/>
          <p:nvPr/>
        </p:nvSpPr>
        <p:spPr bwMode="auto">
          <a:xfrm>
            <a:off x="6448937" y="957157"/>
            <a:ext cx="3149705" cy="1386117"/>
          </a:xfrm>
          <a:prstGeom prst="rect">
            <a:avLst/>
          </a:prstGeom>
          <a:solidFill>
            <a:srgbClr val="5F5F5F"/>
          </a:solidFill>
          <a:ln w="9525" cap="flat" cmpd="sng" algn="ctr">
            <a:solidFill>
              <a:srgbClr val="00AEE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vert="horz" wrap="square" lIns="80919" tIns="40460" rIns="80919" bIns="40460" numCol="1" rtlCol="0" anchor="ctr" anchorCtr="0" compatLnSpc="1">
            <a:prstTxWarp prst="textNoShape">
              <a:avLst/>
            </a:prstTxWarp>
          </a:bodyPr>
          <a:lstStyle/>
          <a:p>
            <a:pPr defTabSz="808973">
              <a:defRPr/>
            </a:pPr>
            <a:r>
              <a:rPr lang="en-US" sz="2000" b="1" kern="0" dirty="0">
                <a:solidFill>
                  <a:srgbClr val="FFFFFF">
                    <a:alpha val="98824"/>
                  </a:srgbClr>
                </a:solidFill>
                <a:latin typeface="Segoe UI" pitchFamily="34" charset="0"/>
                <a:ea typeface="Segoe UI" pitchFamily="34" charset="0"/>
                <a:cs typeface="Segoe UI" pitchFamily="34" charset="0"/>
              </a:rPr>
              <a:t>OS Disk</a:t>
            </a:r>
          </a:p>
          <a:p>
            <a:pPr marL="303466" indent="-303466" defTabSz="808973">
              <a:buFont typeface="Arial" pitchFamily="34" charset="0"/>
              <a:buChar char="•"/>
              <a:defRPr/>
            </a:pPr>
            <a:r>
              <a:rPr lang="en-US" sz="2000" kern="0" dirty="0">
                <a:solidFill>
                  <a:srgbClr val="FFFFFF">
                    <a:alpha val="98824"/>
                  </a:srgbClr>
                </a:solidFill>
                <a:latin typeface="Segoe UI" pitchFamily="34" charset="0"/>
                <a:ea typeface="Segoe UI" pitchFamily="34" charset="0"/>
                <a:cs typeface="Segoe UI" pitchFamily="34" charset="0"/>
              </a:rPr>
              <a:t>Persistent</a:t>
            </a:r>
          </a:p>
          <a:p>
            <a:pPr marL="303466" indent="-303466" defTabSz="808973">
              <a:buFont typeface="Arial" pitchFamily="34" charset="0"/>
              <a:buChar char="•"/>
              <a:defRPr/>
            </a:pPr>
            <a:r>
              <a:rPr lang="en-US" sz="2000" kern="0" dirty="0">
                <a:solidFill>
                  <a:srgbClr val="FFFFFF">
                    <a:alpha val="98824"/>
                  </a:srgbClr>
                </a:solidFill>
                <a:latin typeface="Segoe UI" pitchFamily="34" charset="0"/>
                <a:ea typeface="Segoe UI" pitchFamily="34" charset="0"/>
                <a:cs typeface="Segoe UI" pitchFamily="34" charset="0"/>
              </a:rPr>
              <a:t>SATA</a:t>
            </a:r>
          </a:p>
          <a:p>
            <a:pPr marL="303466" indent="-303466" defTabSz="808973">
              <a:buFont typeface="Arial" pitchFamily="34" charset="0"/>
              <a:buChar char="•"/>
              <a:defRPr/>
            </a:pPr>
            <a:r>
              <a:rPr lang="en-US" sz="2000" b="1" kern="0" dirty="0">
                <a:solidFill>
                  <a:srgbClr val="FFFFFF">
                    <a:alpha val="98824"/>
                  </a:srgbClr>
                </a:solidFill>
                <a:latin typeface="Segoe UI" pitchFamily="34" charset="0"/>
                <a:ea typeface="Segoe UI" pitchFamily="34" charset="0"/>
                <a:cs typeface="Segoe UI" pitchFamily="34" charset="0"/>
              </a:rPr>
              <a:t>Drive C:</a:t>
            </a:r>
          </a:p>
        </p:txBody>
      </p:sp>
      <p:cxnSp>
        <p:nvCxnSpPr>
          <p:cNvPr id="24" name="Straight Arrow Connector 23"/>
          <p:cNvCxnSpPr/>
          <p:nvPr/>
        </p:nvCxnSpPr>
        <p:spPr>
          <a:xfrm flipH="1">
            <a:off x="5426579" y="2224033"/>
            <a:ext cx="1347994" cy="2210321"/>
          </a:xfrm>
          <a:prstGeom prst="straightConnector1">
            <a:avLst/>
          </a:prstGeom>
          <a:noFill/>
          <a:ln w="57150" cap="flat" cmpd="sng" algn="ctr">
            <a:solidFill>
              <a:srgbClr val="FF8A00"/>
            </a:solidFill>
            <a:prstDash val="solid"/>
            <a:tailEnd type="arrow"/>
          </a:ln>
          <a:effectLst>
            <a:outerShdw blurRad="40000" dist="23000" dir="5400000" rotWithShape="0">
              <a:srgbClr val="000000">
                <a:alpha val="35000"/>
              </a:srgbClr>
            </a:outerShdw>
          </a:effectLst>
        </p:spPr>
      </p:cxnSp>
      <p:sp>
        <p:nvSpPr>
          <p:cNvPr id="6" name="Title 5"/>
          <p:cNvSpPr>
            <a:spLocks noGrp="1"/>
          </p:cNvSpPr>
          <p:nvPr>
            <p:ph type="title"/>
          </p:nvPr>
        </p:nvSpPr>
        <p:spPr>
          <a:xfrm>
            <a:off x="458723" y="-19822"/>
            <a:ext cx="11274552" cy="736092"/>
          </a:xfrm>
        </p:spPr>
        <p:txBody>
          <a:bodyPr/>
          <a:lstStyle/>
          <a:p>
            <a:r>
              <a:rPr lang="en-US" dirty="0"/>
              <a:t>VM Disk Layout – Windows OS</a:t>
            </a:r>
          </a:p>
        </p:txBody>
      </p:sp>
      <p:sp>
        <p:nvSpPr>
          <p:cNvPr id="2" name="Rectangle 1"/>
          <p:cNvSpPr/>
          <p:nvPr/>
        </p:nvSpPr>
        <p:spPr>
          <a:xfrm>
            <a:off x="4149213" y="4916129"/>
            <a:ext cx="3116826" cy="580103"/>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 name="TextBox 2"/>
          <p:cNvSpPr txBox="1"/>
          <p:nvPr/>
        </p:nvSpPr>
        <p:spPr>
          <a:xfrm>
            <a:off x="3183400" y="5982631"/>
            <a:ext cx="3329822" cy="369332"/>
          </a:xfrm>
          <a:prstGeom prst="rect">
            <a:avLst/>
          </a:prstGeom>
          <a:noFill/>
        </p:spPr>
        <p:txBody>
          <a:bodyPr wrap="none" rtlCol="0">
            <a:spAutoFit/>
          </a:bodyPr>
          <a:lstStyle/>
          <a:p>
            <a:r>
              <a:rPr lang="en-US" dirty="0"/>
              <a:t>* Max. size of C:\ drive – 1,023GB</a:t>
            </a:r>
          </a:p>
        </p:txBody>
      </p:sp>
    </p:spTree>
    <p:custDataLst>
      <p:tags r:id="rId1"/>
    </p:custDataLst>
    <p:extLst>
      <p:ext uri="{BB962C8B-B14F-4D97-AF65-F5344CB8AC3E}">
        <p14:creationId xmlns:p14="http://schemas.microsoft.com/office/powerpoint/2010/main" val="297536970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animEffect transition="in" filter="fade">
                                      <p:cBhvr>
                                        <p:cTn id="9" dur="500"/>
                                        <p:tgtEl>
                                          <p:spTgt spid="22"/>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5"/>
                                        </p:tgtEl>
                                        <p:attrNameLst>
                                          <p:attrName>style.visibility</p:attrName>
                                        </p:attrNameLst>
                                      </p:cBhvr>
                                      <p:to>
                                        <p:strVal val="visible"/>
                                      </p:to>
                                    </p:set>
                                  </p:childTnLst>
                                </p:cTn>
                              </p:par>
                              <p:par>
                                <p:cTn id="18" presetID="10" presetClass="entr" presetSubtype="0" fill="hold" nodeType="with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4"/>
          <a:stretch>
            <a:fillRect/>
          </a:stretch>
        </p:blipFill>
        <p:spPr>
          <a:xfrm>
            <a:off x="1537154" y="1860450"/>
            <a:ext cx="8266667" cy="2685714"/>
          </a:xfrm>
          <a:prstGeom prst="rect">
            <a:avLst/>
          </a:prstGeom>
        </p:spPr>
      </p:pic>
      <p:pic>
        <p:nvPicPr>
          <p:cNvPr id="3" name="Picture 2"/>
          <p:cNvPicPr>
            <a:picLocks noChangeAspect="1"/>
          </p:cNvPicPr>
          <p:nvPr/>
        </p:nvPicPr>
        <p:blipFill>
          <a:blip r:embed="rId5"/>
          <a:stretch>
            <a:fillRect/>
          </a:stretch>
        </p:blipFill>
        <p:spPr>
          <a:xfrm>
            <a:off x="1277123" y="3577819"/>
            <a:ext cx="9323809" cy="2866667"/>
          </a:xfrm>
          <a:prstGeom prst="rect">
            <a:avLst/>
          </a:prstGeom>
        </p:spPr>
      </p:pic>
      <p:sp>
        <p:nvSpPr>
          <p:cNvPr id="14" name="Rectangle 13"/>
          <p:cNvSpPr/>
          <p:nvPr/>
        </p:nvSpPr>
        <p:spPr bwMode="auto">
          <a:xfrm>
            <a:off x="6424192" y="1518884"/>
            <a:ext cx="3149705" cy="1210777"/>
          </a:xfrm>
          <a:prstGeom prst="rect">
            <a:avLst/>
          </a:prstGeom>
          <a:solidFill>
            <a:srgbClr val="5F5F5F"/>
          </a:solidFill>
          <a:ln w="9525" cap="flat" cmpd="sng" algn="ctr">
            <a:solidFill>
              <a:srgbClr val="00AEE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vert="horz" wrap="square" lIns="80919" tIns="40460" rIns="80919" bIns="40460" numCol="1" rtlCol="0" anchor="ctr" anchorCtr="0" compatLnSpc="1">
            <a:prstTxWarp prst="textNoShape">
              <a:avLst/>
            </a:prstTxWarp>
          </a:bodyPr>
          <a:lstStyle/>
          <a:p>
            <a:pPr defTabSz="808973">
              <a:defRPr/>
            </a:pPr>
            <a:r>
              <a:rPr lang="en-US" sz="2000" b="1" kern="0" dirty="0">
                <a:solidFill>
                  <a:srgbClr val="FFFFFF">
                    <a:alpha val="98824"/>
                  </a:srgbClr>
                </a:solidFill>
                <a:latin typeface="Segoe UI" pitchFamily="34" charset="0"/>
                <a:ea typeface="Segoe UI" pitchFamily="34" charset="0"/>
                <a:cs typeface="Segoe UI" pitchFamily="34" charset="0"/>
              </a:rPr>
              <a:t>Temporary Storage Disk</a:t>
            </a:r>
          </a:p>
          <a:p>
            <a:pPr marL="303466" indent="-303466" defTabSz="808973">
              <a:buFont typeface="Arial" pitchFamily="34" charset="0"/>
              <a:buChar char="•"/>
              <a:defRPr/>
            </a:pPr>
            <a:r>
              <a:rPr lang="en-US" sz="2000" kern="0" dirty="0">
                <a:solidFill>
                  <a:srgbClr val="FFFFFF">
                    <a:alpha val="98824"/>
                  </a:srgbClr>
                </a:solidFill>
                <a:latin typeface="Segoe UI" pitchFamily="34" charset="0"/>
                <a:ea typeface="Segoe UI" pitchFamily="34" charset="0"/>
                <a:cs typeface="Segoe UI" pitchFamily="34" charset="0"/>
              </a:rPr>
              <a:t>Local (Not Persistent)</a:t>
            </a:r>
          </a:p>
          <a:p>
            <a:pPr marL="303466" indent="-303466" defTabSz="808973">
              <a:buFont typeface="Arial" pitchFamily="34" charset="0"/>
              <a:buChar char="•"/>
              <a:defRPr/>
            </a:pPr>
            <a:r>
              <a:rPr lang="en-US" sz="2000" kern="0" dirty="0">
                <a:solidFill>
                  <a:srgbClr val="FFFFFF">
                    <a:alpha val="98824"/>
                  </a:srgbClr>
                </a:solidFill>
                <a:latin typeface="Segoe UI" pitchFamily="34" charset="0"/>
                <a:ea typeface="Segoe UI" pitchFamily="34" charset="0"/>
                <a:cs typeface="Segoe UI" pitchFamily="34" charset="0"/>
              </a:rPr>
              <a:t>SATA/SSD</a:t>
            </a:r>
          </a:p>
          <a:p>
            <a:pPr marL="303466" indent="-303466" defTabSz="808973">
              <a:buFont typeface="Arial" pitchFamily="34" charset="0"/>
              <a:buChar char="•"/>
              <a:defRPr/>
            </a:pPr>
            <a:r>
              <a:rPr lang="en-US" sz="2000" b="1" kern="0" dirty="0">
                <a:solidFill>
                  <a:srgbClr val="FFFFFF">
                    <a:alpha val="98824"/>
                  </a:srgbClr>
                </a:solidFill>
                <a:latin typeface="Segoe UI" pitchFamily="34" charset="0"/>
                <a:ea typeface="Segoe UI" pitchFamily="34" charset="0"/>
                <a:cs typeface="Segoe UI" pitchFamily="34" charset="0"/>
              </a:rPr>
              <a:t>Drive D:</a:t>
            </a:r>
          </a:p>
        </p:txBody>
      </p:sp>
      <p:cxnSp>
        <p:nvCxnSpPr>
          <p:cNvPr id="12" name="Straight Arrow Connector 11"/>
          <p:cNvCxnSpPr/>
          <p:nvPr/>
        </p:nvCxnSpPr>
        <p:spPr>
          <a:xfrm flipV="1">
            <a:off x="7664624" y="2643161"/>
            <a:ext cx="334421" cy="1047892"/>
          </a:xfrm>
          <a:prstGeom prst="straightConnector1">
            <a:avLst/>
          </a:prstGeom>
          <a:noFill/>
          <a:ln w="57150" cap="flat" cmpd="sng" algn="ctr">
            <a:solidFill>
              <a:srgbClr val="FF8A00">
                <a:alpha val="92157"/>
              </a:srgbClr>
            </a:solidFill>
            <a:prstDash val="solid"/>
            <a:tailEnd type="arrow"/>
          </a:ln>
          <a:effectLst>
            <a:outerShdw blurRad="40000" dist="23000" dir="5400000" rotWithShape="0">
              <a:srgbClr val="000000">
                <a:alpha val="35000"/>
              </a:srgbClr>
            </a:outerShdw>
          </a:effectLst>
        </p:spPr>
      </p:cxnSp>
      <p:cxnSp>
        <p:nvCxnSpPr>
          <p:cNvPr id="16" name="Straight Arrow Connector 15"/>
          <p:cNvCxnSpPr/>
          <p:nvPr/>
        </p:nvCxnSpPr>
        <p:spPr>
          <a:xfrm>
            <a:off x="7999047" y="2643160"/>
            <a:ext cx="1116662" cy="2453941"/>
          </a:xfrm>
          <a:prstGeom prst="straightConnector1">
            <a:avLst/>
          </a:prstGeom>
          <a:noFill/>
          <a:ln w="57150" cap="flat" cmpd="sng" algn="ctr">
            <a:solidFill>
              <a:srgbClr val="FF8A00">
                <a:alpha val="92157"/>
              </a:srgbClr>
            </a:solidFill>
            <a:prstDash val="solid"/>
            <a:tailEnd type="arrow"/>
          </a:ln>
          <a:effectLst>
            <a:outerShdw blurRad="40000" dist="23000" dir="5400000" rotWithShape="0">
              <a:srgbClr val="000000">
                <a:alpha val="35000"/>
              </a:srgbClr>
            </a:outerShdw>
          </a:effectLst>
        </p:spPr>
      </p:cxnSp>
      <p:sp>
        <p:nvSpPr>
          <p:cNvPr id="5" name="Title 4"/>
          <p:cNvSpPr>
            <a:spLocks noGrp="1"/>
          </p:cNvSpPr>
          <p:nvPr>
            <p:ph type="title"/>
          </p:nvPr>
        </p:nvSpPr>
        <p:spPr>
          <a:xfrm>
            <a:off x="256031" y="125349"/>
            <a:ext cx="11274552" cy="662301"/>
          </a:xfrm>
        </p:spPr>
        <p:txBody>
          <a:bodyPr/>
          <a:lstStyle/>
          <a:p>
            <a:r>
              <a:rPr lang="en-US" dirty="0"/>
              <a:t>VM Disk Layout – Windows OS (continued)</a:t>
            </a:r>
          </a:p>
        </p:txBody>
      </p:sp>
      <p:sp>
        <p:nvSpPr>
          <p:cNvPr id="2" name="Rectangle 1"/>
          <p:cNvSpPr/>
          <p:nvPr/>
        </p:nvSpPr>
        <p:spPr>
          <a:xfrm>
            <a:off x="5270090" y="5584723"/>
            <a:ext cx="2585884" cy="530942"/>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850131963"/>
      </p:ext>
    </p:extLst>
  </p:cSld>
  <p:clrMapOvr>
    <a:masterClrMapping/>
  </p:clrMapOvr>
  <p:transition advTm="3610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12"/>
                                        </p:tgtEl>
                                      </p:cBhvr>
                                    </p:animEffect>
                                    <p:set>
                                      <p:cBhvr>
                                        <p:cTn id="15" dur="1" fill="hold">
                                          <p:stCondLst>
                                            <p:cond delay="499"/>
                                          </p:stCondLst>
                                        </p:cTn>
                                        <p:tgtEl>
                                          <p:spTgt spid="12"/>
                                        </p:tgtEl>
                                        <p:attrNameLst>
                                          <p:attrName>style.visibility</p:attrName>
                                        </p:attrNameLst>
                                      </p:cBhvr>
                                      <p:to>
                                        <p:strVal val="hidden"/>
                                      </p:to>
                                    </p:set>
                                  </p:childTnLst>
                                </p:cTn>
                              </p:par>
                              <p:par>
                                <p:cTn id="16" presetID="1" presetClass="entr" presetSubtype="0" fill="hold" nodeType="withEffect">
                                  <p:stCondLst>
                                    <p:cond delay="0"/>
                                  </p:stCondLst>
                                  <p:childTnLst>
                                    <p:set>
                                      <p:cBhvr>
                                        <p:cTn id="17" dur="1" fill="hold">
                                          <p:stCondLst>
                                            <p:cond delay="0"/>
                                          </p:stCondLst>
                                        </p:cTn>
                                        <p:tgtEl>
                                          <p:spTgt spid="3"/>
                                        </p:tgtEl>
                                        <p:attrNameLst>
                                          <p:attrName>style.visibility</p:attrName>
                                        </p:attrNameLst>
                                      </p:cBhvr>
                                      <p:to>
                                        <p:strVal val="visible"/>
                                      </p:to>
                                    </p:se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4"/>
          <a:stretch>
            <a:fillRect/>
          </a:stretch>
        </p:blipFill>
        <p:spPr>
          <a:xfrm>
            <a:off x="1962666" y="1859812"/>
            <a:ext cx="8266667" cy="2685714"/>
          </a:xfrm>
          <a:prstGeom prst="rect">
            <a:avLst/>
          </a:prstGeom>
        </p:spPr>
      </p:pic>
      <p:sp>
        <p:nvSpPr>
          <p:cNvPr id="14" name="Rectangle 13"/>
          <p:cNvSpPr/>
          <p:nvPr/>
        </p:nvSpPr>
        <p:spPr bwMode="auto">
          <a:xfrm>
            <a:off x="7924696" y="1439399"/>
            <a:ext cx="3149705" cy="1547386"/>
          </a:xfrm>
          <a:prstGeom prst="rect">
            <a:avLst/>
          </a:prstGeom>
          <a:solidFill>
            <a:srgbClr val="5F5F5F"/>
          </a:solidFill>
          <a:ln w="9525" cap="flat" cmpd="sng" algn="ctr">
            <a:solidFill>
              <a:srgbClr val="00AEE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vert="horz" wrap="square" lIns="80919" tIns="40460" rIns="80919" bIns="40460" numCol="1" rtlCol="0" anchor="ctr" anchorCtr="0" compatLnSpc="1">
            <a:prstTxWarp prst="textNoShape">
              <a:avLst/>
            </a:prstTxWarp>
          </a:bodyPr>
          <a:lstStyle/>
          <a:p>
            <a:pPr defTabSz="808973">
              <a:defRPr/>
            </a:pPr>
            <a:r>
              <a:rPr lang="en-US" sz="2000" b="1" kern="0" dirty="0">
                <a:solidFill>
                  <a:srgbClr val="FFFFFF">
                    <a:alpha val="98824"/>
                  </a:srgbClr>
                </a:solidFill>
                <a:latin typeface="Segoe UI" pitchFamily="34" charset="0"/>
                <a:ea typeface="Segoe UI" pitchFamily="34" charset="0"/>
                <a:cs typeface="Segoe UI" pitchFamily="34" charset="0"/>
              </a:rPr>
              <a:t>Data Disk(s)</a:t>
            </a:r>
          </a:p>
          <a:p>
            <a:pPr marL="303466" indent="-303466" defTabSz="808973">
              <a:buFont typeface="Arial" pitchFamily="34" charset="0"/>
              <a:buChar char="•"/>
              <a:defRPr/>
            </a:pPr>
            <a:r>
              <a:rPr lang="en-US" sz="2000" kern="0" dirty="0">
                <a:solidFill>
                  <a:srgbClr val="FFFFFF">
                    <a:alpha val="98824"/>
                  </a:srgbClr>
                </a:solidFill>
                <a:latin typeface="Segoe UI" pitchFamily="34" charset="0"/>
                <a:ea typeface="Segoe UI" pitchFamily="34" charset="0"/>
                <a:cs typeface="Segoe UI" pitchFamily="34" charset="0"/>
              </a:rPr>
              <a:t>Persistent</a:t>
            </a:r>
          </a:p>
          <a:p>
            <a:pPr marL="303466" indent="-303466" defTabSz="808973">
              <a:buFont typeface="Arial" pitchFamily="34" charset="0"/>
              <a:buChar char="•"/>
              <a:defRPr/>
            </a:pPr>
            <a:r>
              <a:rPr lang="en-US" sz="2000" kern="0" dirty="0">
                <a:solidFill>
                  <a:srgbClr val="FFFFFF">
                    <a:alpha val="98824"/>
                  </a:srgbClr>
                </a:solidFill>
                <a:latin typeface="Segoe UI" pitchFamily="34" charset="0"/>
                <a:ea typeface="Segoe UI" pitchFamily="34" charset="0"/>
                <a:cs typeface="Segoe UI" pitchFamily="34" charset="0"/>
              </a:rPr>
              <a:t>SCSI</a:t>
            </a:r>
          </a:p>
          <a:p>
            <a:pPr marL="303466" indent="-303466" defTabSz="808973">
              <a:buFont typeface="Arial" pitchFamily="34" charset="0"/>
              <a:buChar char="•"/>
              <a:defRPr/>
            </a:pPr>
            <a:r>
              <a:rPr lang="en-US" sz="2000" b="1" kern="0" dirty="0">
                <a:solidFill>
                  <a:srgbClr val="FFFFFF">
                    <a:alpha val="98824"/>
                  </a:srgbClr>
                </a:solidFill>
                <a:latin typeface="Segoe UI" pitchFamily="34" charset="0"/>
                <a:ea typeface="Segoe UI" pitchFamily="34" charset="0"/>
                <a:cs typeface="Segoe UI" pitchFamily="34" charset="0"/>
              </a:rPr>
              <a:t>Customer-defined Letter</a:t>
            </a:r>
          </a:p>
        </p:txBody>
      </p:sp>
      <p:sp>
        <p:nvSpPr>
          <p:cNvPr id="2" name="Title 1"/>
          <p:cNvSpPr>
            <a:spLocks noGrp="1"/>
          </p:cNvSpPr>
          <p:nvPr>
            <p:ph type="title"/>
          </p:nvPr>
        </p:nvSpPr>
        <p:spPr>
          <a:xfrm>
            <a:off x="301751" y="41086"/>
            <a:ext cx="11274552" cy="685800"/>
          </a:xfrm>
        </p:spPr>
        <p:txBody>
          <a:bodyPr/>
          <a:lstStyle/>
          <a:p>
            <a:r>
              <a:rPr lang="en-US" dirty="0"/>
              <a:t>VM Disk Layout – Windows OS(continued)</a:t>
            </a:r>
          </a:p>
        </p:txBody>
      </p:sp>
      <p:cxnSp>
        <p:nvCxnSpPr>
          <p:cNvPr id="12" name="Straight Arrow Connector 11"/>
          <p:cNvCxnSpPr/>
          <p:nvPr/>
        </p:nvCxnSpPr>
        <p:spPr>
          <a:xfrm flipV="1">
            <a:off x="7385388" y="2688879"/>
            <a:ext cx="744624" cy="1201825"/>
          </a:xfrm>
          <a:prstGeom prst="straightConnector1">
            <a:avLst/>
          </a:prstGeom>
          <a:noFill/>
          <a:ln w="57150" cap="flat" cmpd="sng" algn="ctr">
            <a:solidFill>
              <a:srgbClr val="FF8A00">
                <a:alpha val="89804"/>
              </a:srgbClr>
            </a:solidFill>
            <a:prstDash val="solid"/>
            <a:tailEnd type="arrow"/>
          </a:ln>
          <a:effectLst>
            <a:outerShdw blurRad="40000" dist="23000" dir="5400000" rotWithShape="0">
              <a:srgbClr val="000000">
                <a:alpha val="35000"/>
              </a:srgbClr>
            </a:outerShdw>
          </a:effectLst>
        </p:spPr>
      </p:cxnSp>
      <p:pic>
        <p:nvPicPr>
          <p:cNvPr id="4" name="Picture 3"/>
          <p:cNvPicPr>
            <a:picLocks noChangeAspect="1"/>
          </p:cNvPicPr>
          <p:nvPr/>
        </p:nvPicPr>
        <p:blipFill>
          <a:blip r:embed="rId5"/>
          <a:stretch>
            <a:fillRect/>
          </a:stretch>
        </p:blipFill>
        <p:spPr>
          <a:xfrm>
            <a:off x="1277123" y="3726012"/>
            <a:ext cx="9323809" cy="2866667"/>
          </a:xfrm>
          <a:prstGeom prst="rect">
            <a:avLst/>
          </a:prstGeom>
        </p:spPr>
      </p:pic>
      <p:cxnSp>
        <p:nvCxnSpPr>
          <p:cNvPr id="17" name="Straight Arrow Connector 16"/>
          <p:cNvCxnSpPr/>
          <p:nvPr/>
        </p:nvCxnSpPr>
        <p:spPr>
          <a:xfrm flipH="1">
            <a:off x="7478163" y="2853752"/>
            <a:ext cx="760490" cy="2763371"/>
          </a:xfrm>
          <a:prstGeom prst="straightConnector1">
            <a:avLst/>
          </a:prstGeom>
          <a:noFill/>
          <a:ln w="57150" cap="flat" cmpd="sng" algn="ctr">
            <a:solidFill>
              <a:srgbClr val="FF8A00">
                <a:alpha val="89804"/>
              </a:srgbClr>
            </a:solidFill>
            <a:prstDash val="solid"/>
            <a:tailEnd type="arrow"/>
          </a:ln>
          <a:effectLst>
            <a:outerShdw blurRad="40000" dist="23000" dir="5400000" rotWithShape="0">
              <a:srgbClr val="000000">
                <a:alpha val="35000"/>
              </a:srgbClr>
            </a:outerShdw>
          </a:effectLst>
        </p:spPr>
      </p:cxnSp>
    </p:spTree>
    <p:custDataLst>
      <p:tags r:id="rId1"/>
    </p:custDataLst>
    <p:extLst>
      <p:ext uri="{BB962C8B-B14F-4D97-AF65-F5344CB8AC3E}">
        <p14:creationId xmlns:p14="http://schemas.microsoft.com/office/powerpoint/2010/main" val="1614565047"/>
      </p:ext>
    </p:extLst>
  </p:cSld>
  <p:clrMapOvr>
    <a:masterClrMapping/>
  </p:clrMapOvr>
  <p:transition advTm="47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12"/>
                                        </p:tgtEl>
                                      </p:cBhvr>
                                    </p:animEffect>
                                    <p:set>
                                      <p:cBhvr>
                                        <p:cTn id="15" dur="1" fill="hold">
                                          <p:stCondLst>
                                            <p:cond delay="499"/>
                                          </p:stCondLst>
                                        </p:cTn>
                                        <p:tgtEl>
                                          <p:spTgt spid="12"/>
                                        </p:tgtEl>
                                        <p:attrNameLst>
                                          <p:attrName>style.visibility</p:attrName>
                                        </p:attrNameLst>
                                      </p:cBhvr>
                                      <p:to>
                                        <p:strVal val="hidden"/>
                                      </p:to>
                                    </p:se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par>
                                <p:cTn id="20" presetID="1" presetClass="entr" presetSubtype="0" fill="hold" nodeType="withEffect">
                                  <p:stCondLst>
                                    <p:cond delay="0"/>
                                  </p:stCondLst>
                                  <p:childTnLst>
                                    <p:set>
                                      <p:cBhvr>
                                        <p:cTn id="21"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752" y="0"/>
            <a:ext cx="11274552" cy="685800"/>
          </a:xfrm>
        </p:spPr>
        <p:txBody>
          <a:bodyPr/>
          <a:lstStyle/>
          <a:p>
            <a:r>
              <a:rPr lang="en-US" dirty="0"/>
              <a:t>Persistent Disk Management – Windows OS</a:t>
            </a:r>
          </a:p>
        </p:txBody>
      </p:sp>
      <p:sp>
        <p:nvSpPr>
          <p:cNvPr id="4" name="Text Placeholder 3"/>
          <p:cNvSpPr>
            <a:spLocks noGrp="1"/>
          </p:cNvSpPr>
          <p:nvPr>
            <p:ph type="body" sz="quarter" idx="13"/>
          </p:nvPr>
        </p:nvSpPr>
        <p:spPr/>
        <p:txBody>
          <a:bodyPr/>
          <a:lstStyle/>
          <a:p>
            <a:r>
              <a:rPr lang="en-US" i="1" dirty="0"/>
              <a:t>C:\ </a:t>
            </a:r>
            <a:r>
              <a:rPr lang="en-US" dirty="0"/>
              <a:t>= OS Disk</a:t>
            </a:r>
          </a:p>
          <a:p>
            <a:r>
              <a:rPr lang="en-US" i="1" dirty="0"/>
              <a:t>D:\ </a:t>
            </a:r>
            <a:r>
              <a:rPr lang="en-US" dirty="0"/>
              <a:t>= Non-Persistent Cache Disk</a:t>
            </a:r>
          </a:p>
          <a:p>
            <a:r>
              <a:rPr lang="en-US" i="1" dirty="0"/>
              <a:t>E:\, F:\. G:\ </a:t>
            </a:r>
            <a:r>
              <a:rPr lang="en-US" dirty="0"/>
              <a:t>and all subsequent Data Disks—you will need to attach and format them</a:t>
            </a:r>
          </a:p>
        </p:txBody>
      </p:sp>
      <p:graphicFrame>
        <p:nvGraphicFramePr>
          <p:cNvPr id="5" name="Table 4"/>
          <p:cNvGraphicFramePr>
            <a:graphicFrameLocks noGrp="1"/>
          </p:cNvGraphicFramePr>
          <p:nvPr>
            <p:extLst/>
          </p:nvPr>
        </p:nvGraphicFramePr>
        <p:xfrm>
          <a:off x="2424000" y="2989537"/>
          <a:ext cx="7844262" cy="2316480"/>
        </p:xfrm>
        <a:graphic>
          <a:graphicData uri="http://schemas.openxmlformats.org/drawingml/2006/table">
            <a:tbl>
              <a:tblPr firstRow="1" bandRow="1">
                <a:tableStyleId>{5C22544A-7EE6-4342-B048-85BDC9FD1C3A}</a:tableStyleId>
              </a:tblPr>
              <a:tblGrid>
                <a:gridCol w="2353279">
                  <a:extLst>
                    <a:ext uri="{9D8B030D-6E8A-4147-A177-3AD203B41FA5}">
                      <a16:colId xmlns:a16="http://schemas.microsoft.com/office/drawing/2014/main" xmlns="" val="20000"/>
                    </a:ext>
                  </a:extLst>
                </a:gridCol>
                <a:gridCol w="2549385">
                  <a:extLst>
                    <a:ext uri="{9D8B030D-6E8A-4147-A177-3AD203B41FA5}">
                      <a16:colId xmlns:a16="http://schemas.microsoft.com/office/drawing/2014/main" xmlns="" val="20001"/>
                    </a:ext>
                  </a:extLst>
                </a:gridCol>
                <a:gridCol w="2941598">
                  <a:extLst>
                    <a:ext uri="{9D8B030D-6E8A-4147-A177-3AD203B41FA5}">
                      <a16:colId xmlns:a16="http://schemas.microsoft.com/office/drawing/2014/main" xmlns="" val="20002"/>
                    </a:ext>
                  </a:extLst>
                </a:gridCol>
              </a:tblGrid>
              <a:tr h="365760">
                <a:tc>
                  <a:txBody>
                    <a:bodyPr/>
                    <a:lstStyle/>
                    <a:p>
                      <a:r>
                        <a:rPr lang="en-US" sz="1600" dirty="0"/>
                        <a:t>Capability</a:t>
                      </a:r>
                    </a:p>
                  </a:txBody>
                  <a:tcPr marL="121920" marR="121920" marT="60960" marB="60960"/>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a:t>OS</a:t>
                      </a:r>
                      <a:r>
                        <a:rPr lang="en-US" sz="1600" baseline="0" dirty="0"/>
                        <a:t> Disk</a:t>
                      </a:r>
                      <a:endParaRPr lang="en-US" sz="1600" dirty="0"/>
                    </a:p>
                  </a:txBody>
                  <a:tcPr marL="121920" marR="121920" marT="60960" marB="60960"/>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a:t>Data Disk </a:t>
                      </a:r>
                    </a:p>
                  </a:txBody>
                  <a:tcPr marL="121920" marR="121920" marT="60960" marB="60960"/>
                </a:tc>
                <a:extLst>
                  <a:ext uri="{0D108BD9-81ED-4DB2-BD59-A6C34878D82A}">
                    <a16:rowId xmlns:a16="http://schemas.microsoft.com/office/drawing/2014/main" xmlns="" val="10000"/>
                  </a:ext>
                </a:extLst>
              </a:tr>
              <a:tr h="365760">
                <a:tc>
                  <a:txBody>
                    <a:bodyPr/>
                    <a:lstStyle/>
                    <a:p>
                      <a:r>
                        <a:rPr lang="en-US" sz="1600" dirty="0"/>
                        <a:t>Host Cache</a:t>
                      </a:r>
                      <a:r>
                        <a:rPr lang="en-US" sz="1600" baseline="0" dirty="0"/>
                        <a:t> Default</a:t>
                      </a:r>
                      <a:endParaRPr lang="en-US" sz="1600" dirty="0"/>
                    </a:p>
                  </a:txBody>
                  <a:tcPr marL="121920" marR="121920" marT="60960" marB="60960"/>
                </a:tc>
                <a:tc>
                  <a:txBody>
                    <a:bodyPr/>
                    <a:lstStyle/>
                    <a:p>
                      <a:r>
                        <a:rPr lang="en-US" sz="1600" dirty="0" err="1"/>
                        <a:t>ReadWrite</a:t>
                      </a:r>
                      <a:endParaRPr lang="en-US" sz="1600" b="1" dirty="0"/>
                    </a:p>
                  </a:txBody>
                  <a:tcPr marL="121920" marR="121920" marT="60960" marB="60960"/>
                </a:tc>
                <a:tc>
                  <a:txBody>
                    <a:bodyPr/>
                    <a:lstStyle/>
                    <a:p>
                      <a:r>
                        <a:rPr lang="en-US" sz="1600" dirty="0"/>
                        <a:t>None</a:t>
                      </a:r>
                      <a:endParaRPr lang="en-US" sz="1600" b="1" dirty="0"/>
                    </a:p>
                  </a:txBody>
                  <a:tcPr marL="121920" marR="121920" marT="60960" marB="60960"/>
                </a:tc>
                <a:extLst>
                  <a:ext uri="{0D108BD9-81ED-4DB2-BD59-A6C34878D82A}">
                    <a16:rowId xmlns:a16="http://schemas.microsoft.com/office/drawing/2014/main" xmlns="" val="10001"/>
                  </a:ext>
                </a:extLst>
              </a:tr>
              <a:tr h="365760">
                <a:tc>
                  <a:txBody>
                    <a:bodyPr/>
                    <a:lstStyle/>
                    <a:p>
                      <a:r>
                        <a:rPr lang="en-US" sz="1600" dirty="0"/>
                        <a:t>Max Capacity</a:t>
                      </a:r>
                    </a:p>
                  </a:txBody>
                  <a:tcPr marL="121920" marR="121920" marT="60960" marB="60960"/>
                </a:tc>
                <a:tc>
                  <a:txBody>
                    <a:bodyPr/>
                    <a:lstStyle/>
                    <a:p>
                      <a:r>
                        <a:rPr lang="en-US" sz="1600" dirty="0"/>
                        <a:t>1023</a:t>
                      </a:r>
                      <a:r>
                        <a:rPr lang="en-US" sz="1600" baseline="0" dirty="0"/>
                        <a:t> GB</a:t>
                      </a:r>
                      <a:endParaRPr lang="en-US" sz="1600" b="1" dirty="0"/>
                    </a:p>
                  </a:txBody>
                  <a:tcPr marL="121920" marR="121920" marT="60960" marB="60960"/>
                </a:tc>
                <a:tc>
                  <a:txBody>
                    <a:bodyPr/>
                    <a:lstStyle/>
                    <a:p>
                      <a:r>
                        <a:rPr lang="en-US" sz="1600" dirty="0"/>
                        <a:t>1 TB</a:t>
                      </a:r>
                      <a:endParaRPr lang="en-US" sz="1600" b="1" dirty="0"/>
                    </a:p>
                  </a:txBody>
                  <a:tcPr marL="121920" marR="121920" marT="60960" marB="60960"/>
                </a:tc>
                <a:extLst>
                  <a:ext uri="{0D108BD9-81ED-4DB2-BD59-A6C34878D82A}">
                    <a16:rowId xmlns:a16="http://schemas.microsoft.com/office/drawing/2014/main" xmlns="" val="10002"/>
                  </a:ext>
                </a:extLst>
              </a:tr>
              <a:tr h="365760">
                <a:tc>
                  <a:txBody>
                    <a:bodyPr/>
                    <a:lstStyle/>
                    <a:p>
                      <a:r>
                        <a:rPr lang="en-US" sz="1600" dirty="0"/>
                        <a:t>Imaging</a:t>
                      </a:r>
                      <a:r>
                        <a:rPr lang="en-US" sz="1600" baseline="0" dirty="0"/>
                        <a:t> Capable</a:t>
                      </a:r>
                      <a:endParaRPr lang="en-US" sz="1600" dirty="0"/>
                    </a:p>
                  </a:txBody>
                  <a:tcPr marL="121920" marR="121920" marT="60960" marB="60960"/>
                </a:tc>
                <a:tc>
                  <a:txBody>
                    <a:bodyPr/>
                    <a:lstStyle/>
                    <a:p>
                      <a:r>
                        <a:rPr lang="en-US" sz="1600" dirty="0"/>
                        <a:t>Yes</a:t>
                      </a:r>
                      <a:endParaRPr lang="en-US" sz="1600" b="1" dirty="0"/>
                    </a:p>
                  </a:txBody>
                  <a:tcPr marL="121920" marR="121920" marT="60960" marB="60960"/>
                </a:tc>
                <a:tc>
                  <a:txBody>
                    <a:bodyPr/>
                    <a:lstStyle/>
                    <a:p>
                      <a:r>
                        <a:rPr lang="en-US" sz="1600" dirty="0"/>
                        <a:t>No</a:t>
                      </a:r>
                      <a:endParaRPr lang="en-US" sz="1600" b="1" dirty="0"/>
                    </a:p>
                  </a:txBody>
                  <a:tcPr marL="121920" marR="121920" marT="60960" marB="60960"/>
                </a:tc>
                <a:extLst>
                  <a:ext uri="{0D108BD9-81ED-4DB2-BD59-A6C34878D82A}">
                    <a16:rowId xmlns:a16="http://schemas.microsoft.com/office/drawing/2014/main" xmlns="" val="10003"/>
                  </a:ext>
                </a:extLst>
              </a:tr>
              <a:tr h="853440">
                <a:tc>
                  <a:txBody>
                    <a:bodyPr/>
                    <a:lstStyle/>
                    <a:p>
                      <a:r>
                        <a:rPr lang="en-US" sz="1600" dirty="0"/>
                        <a:t>Hot Update</a:t>
                      </a:r>
                    </a:p>
                  </a:txBody>
                  <a:tcPr marL="121920" marR="121920" marT="60960" marB="60960"/>
                </a:tc>
                <a:tc>
                  <a:txBody>
                    <a:bodyPr/>
                    <a:lstStyle/>
                    <a:p>
                      <a:r>
                        <a:rPr lang="en-US" sz="1600" dirty="0"/>
                        <a:t>Cache</a:t>
                      </a:r>
                      <a:r>
                        <a:rPr lang="en-US" sz="1600" baseline="0" dirty="0"/>
                        <a:t> Setting requires a reboot</a:t>
                      </a:r>
                      <a:endParaRPr lang="en-US" sz="1600" dirty="0"/>
                    </a:p>
                  </a:txBody>
                  <a:tcPr marL="121920" marR="121920" marT="60960" marB="60960"/>
                </a:tc>
                <a:tc>
                  <a:txBody>
                    <a:bodyPr/>
                    <a:lstStyle/>
                    <a:p>
                      <a:r>
                        <a:rPr lang="en-US" sz="1600" dirty="0"/>
                        <a:t>Change</a:t>
                      </a:r>
                      <a:r>
                        <a:rPr lang="en-US" sz="1600" baseline="0" dirty="0"/>
                        <a:t> Cache without reboot,</a:t>
                      </a:r>
                    </a:p>
                    <a:p>
                      <a:r>
                        <a:rPr lang="en-US" sz="1600" baseline="0" dirty="0"/>
                        <a:t>Add/Remove without reboot</a:t>
                      </a:r>
                      <a:endParaRPr lang="en-US" sz="1600" dirty="0"/>
                    </a:p>
                  </a:txBody>
                  <a:tcPr marL="121920" marR="121920" marT="60960" marB="60960"/>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2461930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8" y="0"/>
            <a:ext cx="11151917" cy="747897"/>
          </a:xfrm>
        </p:spPr>
        <p:txBody>
          <a:bodyPr/>
          <a:lstStyle/>
          <a:p>
            <a:r>
              <a:rPr lang="en-US" dirty="0"/>
              <a:t>Disk Caching – Windows OS</a:t>
            </a:r>
            <a:endParaRPr lang="de-DE" dirty="0"/>
          </a:p>
        </p:txBody>
      </p:sp>
      <p:sp>
        <p:nvSpPr>
          <p:cNvPr id="3" name="Text Placeholder 2"/>
          <p:cNvSpPr>
            <a:spLocks noGrp="1"/>
          </p:cNvSpPr>
          <p:nvPr>
            <p:ph type="body" sz="quarter" idx="10"/>
          </p:nvPr>
        </p:nvSpPr>
        <p:spPr>
          <a:xfrm>
            <a:off x="519248" y="1447800"/>
            <a:ext cx="11151917" cy="1292662"/>
          </a:xfrm>
        </p:spPr>
        <p:txBody>
          <a:bodyPr/>
          <a:lstStyle/>
          <a:p>
            <a:r>
              <a:rPr lang="en-US" sz="2000" dirty="0"/>
              <a:t>Modify using the </a:t>
            </a:r>
            <a:r>
              <a:rPr lang="en-US" sz="2000" b="1" dirty="0"/>
              <a:t>Set-</a:t>
            </a:r>
            <a:r>
              <a:rPr lang="en-US" sz="2000" b="1" dirty="0" err="1"/>
              <a:t>AzureOSDisk</a:t>
            </a:r>
            <a:r>
              <a:rPr lang="en-US" sz="2000" dirty="0"/>
              <a:t> or the </a:t>
            </a:r>
            <a:r>
              <a:rPr lang="en-US" sz="2000" b="1" dirty="0"/>
              <a:t>Set-</a:t>
            </a:r>
            <a:r>
              <a:rPr lang="en-US" sz="2000" b="1" dirty="0" err="1"/>
              <a:t>AzureDataDisk</a:t>
            </a:r>
            <a:r>
              <a:rPr lang="en-US" sz="2000" dirty="0"/>
              <a:t> </a:t>
            </a:r>
            <a:r>
              <a:rPr lang="en-US" sz="2000" dirty="0" err="1"/>
              <a:t>cmdlets</a:t>
            </a:r>
            <a:endParaRPr lang="en-US" sz="2000" dirty="0"/>
          </a:p>
          <a:p>
            <a:endParaRPr lang="en-US" sz="2000" dirty="0"/>
          </a:p>
          <a:p>
            <a:pPr marL="0" indent="0">
              <a:buNone/>
            </a:pPr>
            <a:r>
              <a:rPr lang="en-US" sz="2000" dirty="0"/>
              <a:t>Supported Cache Modes:</a:t>
            </a:r>
          </a:p>
          <a:p>
            <a:endParaRPr lang="de-DE" sz="2000" dirty="0"/>
          </a:p>
        </p:txBody>
      </p:sp>
      <p:graphicFrame>
        <p:nvGraphicFramePr>
          <p:cNvPr id="4" name="Table 3"/>
          <p:cNvGraphicFramePr>
            <a:graphicFrameLocks noGrp="1"/>
          </p:cNvGraphicFramePr>
          <p:nvPr>
            <p:extLst/>
          </p:nvPr>
        </p:nvGraphicFramePr>
        <p:xfrm>
          <a:off x="519248" y="2623231"/>
          <a:ext cx="10533888" cy="2438762"/>
        </p:xfrm>
        <a:graphic>
          <a:graphicData uri="http://schemas.openxmlformats.org/drawingml/2006/table">
            <a:tbl>
              <a:tblPr firstRow="1" bandRow="1">
                <a:tableStyleId>{5C22544A-7EE6-4342-B048-85BDC9FD1C3A}</a:tableStyleId>
              </a:tblPr>
              <a:tblGrid>
                <a:gridCol w="2005256">
                  <a:extLst>
                    <a:ext uri="{9D8B030D-6E8A-4147-A177-3AD203B41FA5}">
                      <a16:colId xmlns:a16="http://schemas.microsoft.com/office/drawing/2014/main" xmlns="" val="20000"/>
                    </a:ext>
                  </a:extLst>
                </a:gridCol>
                <a:gridCol w="3895528">
                  <a:extLst>
                    <a:ext uri="{9D8B030D-6E8A-4147-A177-3AD203B41FA5}">
                      <a16:colId xmlns:a16="http://schemas.microsoft.com/office/drawing/2014/main" xmlns="" val="20001"/>
                    </a:ext>
                  </a:extLst>
                </a:gridCol>
                <a:gridCol w="2332892">
                  <a:extLst>
                    <a:ext uri="{9D8B030D-6E8A-4147-A177-3AD203B41FA5}">
                      <a16:colId xmlns:a16="http://schemas.microsoft.com/office/drawing/2014/main" xmlns="" val="20002"/>
                    </a:ext>
                  </a:extLst>
                </a:gridCol>
                <a:gridCol w="2300212">
                  <a:extLst>
                    <a:ext uri="{9D8B030D-6E8A-4147-A177-3AD203B41FA5}">
                      <a16:colId xmlns:a16="http://schemas.microsoft.com/office/drawing/2014/main" xmlns="" val="20003"/>
                    </a:ext>
                  </a:extLst>
                </a:gridCol>
              </a:tblGrid>
              <a:tr h="365728">
                <a:tc>
                  <a:txBody>
                    <a:bodyPr/>
                    <a:lstStyle/>
                    <a:p>
                      <a:r>
                        <a:rPr lang="en-US" sz="1600" dirty="0"/>
                        <a:t>Disk Type</a:t>
                      </a:r>
                      <a:endParaRPr lang="en-US" sz="1600" dirty="0">
                        <a:solidFill>
                          <a:schemeClr val="bg1"/>
                        </a:solidFill>
                      </a:endParaRPr>
                    </a:p>
                  </a:txBody>
                  <a:tcPr marL="121888" marR="121888" marT="60944" marB="60944"/>
                </a:tc>
                <a:tc>
                  <a:txBody>
                    <a:bodyPr/>
                    <a:lstStyle/>
                    <a:p>
                      <a:r>
                        <a:rPr lang="en-US" sz="1600" dirty="0"/>
                        <a:t>Read Only</a:t>
                      </a:r>
                      <a:endParaRPr lang="en-US" sz="1600" dirty="0">
                        <a:solidFill>
                          <a:schemeClr val="bg1"/>
                        </a:solidFill>
                      </a:endParaRPr>
                    </a:p>
                  </a:txBody>
                  <a:tcPr marL="121888" marR="121888" marT="60944" marB="60944"/>
                </a:tc>
                <a:tc>
                  <a:txBody>
                    <a:bodyPr/>
                    <a:lstStyle/>
                    <a:p>
                      <a:r>
                        <a:rPr lang="en-US" sz="1600" dirty="0"/>
                        <a:t>Read Write</a:t>
                      </a:r>
                      <a:endParaRPr lang="en-US" sz="1600" dirty="0">
                        <a:solidFill>
                          <a:schemeClr val="bg1"/>
                        </a:solidFill>
                      </a:endParaRPr>
                    </a:p>
                  </a:txBody>
                  <a:tcPr marL="121888" marR="121888" marT="60944" marB="60944"/>
                </a:tc>
                <a:tc>
                  <a:txBody>
                    <a:bodyPr/>
                    <a:lstStyle/>
                    <a:p>
                      <a:r>
                        <a:rPr lang="en-US" sz="1600" dirty="0">
                          <a:solidFill>
                            <a:schemeClr val="bg1"/>
                          </a:solidFill>
                        </a:rPr>
                        <a:t>None</a:t>
                      </a:r>
                    </a:p>
                  </a:txBody>
                  <a:tcPr marL="121888" marR="121888" marT="60944" marB="60944"/>
                </a:tc>
                <a:extLst>
                  <a:ext uri="{0D108BD9-81ED-4DB2-BD59-A6C34878D82A}">
                    <a16:rowId xmlns:a16="http://schemas.microsoft.com/office/drawing/2014/main" xmlns="" val="10000"/>
                  </a:ext>
                </a:extLst>
              </a:tr>
              <a:tr h="609568">
                <a:tc>
                  <a:txBody>
                    <a:bodyPr/>
                    <a:lstStyle/>
                    <a:p>
                      <a:r>
                        <a:rPr lang="en-US" sz="1600" dirty="0"/>
                        <a:t>OS Disk</a:t>
                      </a:r>
                      <a:endParaRPr lang="en-US" sz="1600" dirty="0">
                        <a:solidFill>
                          <a:schemeClr val="bg1"/>
                        </a:solidFill>
                      </a:endParaRPr>
                    </a:p>
                  </a:txBody>
                  <a:tcPr marL="121888" marR="121888" marT="60944" marB="60944"/>
                </a:tc>
                <a:tc>
                  <a:txBody>
                    <a:bodyPr/>
                    <a:lstStyle/>
                    <a:p>
                      <a:r>
                        <a:rPr lang="en-US" sz="1600" dirty="0"/>
                        <a:t>Supported </a:t>
                      </a:r>
                      <a:endParaRPr lang="en-US" sz="1600" dirty="0">
                        <a:solidFill>
                          <a:schemeClr val="bg1"/>
                        </a:solidFill>
                      </a:endParaRPr>
                    </a:p>
                  </a:txBody>
                  <a:tcPr marL="121888" marR="121888" marT="60944" marB="60944"/>
                </a:tc>
                <a:tc>
                  <a:txBody>
                    <a:bodyPr/>
                    <a:lstStyle/>
                    <a:p>
                      <a:pPr marL="0" marR="0" indent="0" algn="l" defTabSz="685835" rtl="0" eaLnBrk="1" fontAlgn="auto" latinLnBrk="0" hangingPunct="1">
                        <a:lnSpc>
                          <a:spcPct val="100000"/>
                        </a:lnSpc>
                        <a:spcBef>
                          <a:spcPts val="0"/>
                        </a:spcBef>
                        <a:spcAft>
                          <a:spcPts val="0"/>
                        </a:spcAft>
                        <a:buClrTx/>
                        <a:buSzTx/>
                        <a:buFont typeface="Arial" pitchFamily="34" charset="0"/>
                        <a:buNone/>
                        <a:tabLst/>
                        <a:defRPr/>
                      </a:pPr>
                      <a:r>
                        <a:rPr lang="en-US" sz="1600" dirty="0"/>
                        <a:t>Default</a:t>
                      </a:r>
                    </a:p>
                  </a:txBody>
                  <a:tcPr marL="121888" marR="121888" marT="60944" marB="60944"/>
                </a:tc>
                <a:tc>
                  <a:txBody>
                    <a:bodyPr/>
                    <a:lstStyle/>
                    <a:p>
                      <a:pPr marL="0" marR="0" indent="0" algn="l" defTabSz="685835" rtl="0" eaLnBrk="1" fontAlgn="auto" latinLnBrk="0" hangingPunct="1">
                        <a:lnSpc>
                          <a:spcPct val="100000"/>
                        </a:lnSpc>
                        <a:spcBef>
                          <a:spcPts val="0"/>
                        </a:spcBef>
                        <a:spcAft>
                          <a:spcPts val="0"/>
                        </a:spcAft>
                        <a:buClrTx/>
                        <a:buSzTx/>
                        <a:buFont typeface="Arial" pitchFamily="34" charset="0"/>
                        <a:buNone/>
                        <a:tabLst/>
                        <a:defRPr/>
                      </a:pPr>
                      <a:r>
                        <a:rPr lang="en-US" sz="1600" dirty="0"/>
                        <a:t>Not Supported</a:t>
                      </a:r>
                    </a:p>
                  </a:txBody>
                  <a:tcPr marL="121888" marR="121888" marT="60944" marB="60944"/>
                </a:tc>
                <a:extLst>
                  <a:ext uri="{0D108BD9-81ED-4DB2-BD59-A6C34878D82A}">
                    <a16:rowId xmlns:a16="http://schemas.microsoft.com/office/drawing/2014/main" xmlns="" val="10001"/>
                  </a:ext>
                </a:extLst>
              </a:tr>
              <a:tr h="610058">
                <a:tc>
                  <a:txBody>
                    <a:bodyPr/>
                    <a:lstStyle/>
                    <a:p>
                      <a:r>
                        <a:rPr lang="en-US" sz="1600" dirty="0"/>
                        <a:t>Data Disks</a:t>
                      </a:r>
                      <a:endParaRPr lang="en-US" sz="1600" dirty="0">
                        <a:solidFill>
                          <a:schemeClr val="bg1"/>
                        </a:solidFill>
                      </a:endParaRPr>
                    </a:p>
                  </a:txBody>
                  <a:tcPr marL="121888" marR="121888" marT="60944" marB="60944"/>
                </a:tc>
                <a:tc>
                  <a:txBody>
                    <a:bodyPr/>
                    <a:lstStyle/>
                    <a:p>
                      <a:r>
                        <a:rPr lang="en-US" sz="1600" dirty="0"/>
                        <a:t>Supported</a:t>
                      </a:r>
                      <a:endParaRPr lang="en-US" sz="1600" dirty="0">
                        <a:solidFill>
                          <a:schemeClr val="bg1"/>
                        </a:solidFill>
                      </a:endParaRPr>
                    </a:p>
                  </a:txBody>
                  <a:tcPr marL="121888" marR="121888" marT="60944" marB="60944"/>
                </a:tc>
                <a:tc>
                  <a:txBody>
                    <a:bodyPr/>
                    <a:lstStyle/>
                    <a:p>
                      <a:pPr marL="0" indent="0">
                        <a:buFont typeface="Arial" pitchFamily="34" charset="0"/>
                        <a:buNone/>
                      </a:pPr>
                      <a:r>
                        <a:rPr lang="en-US" sz="1600" dirty="0">
                          <a:solidFill>
                            <a:schemeClr val="tx1"/>
                          </a:solidFill>
                        </a:rPr>
                        <a:t>Supported</a:t>
                      </a:r>
                    </a:p>
                  </a:txBody>
                  <a:tcPr marL="121888" marR="121888" marT="60944" marB="60944"/>
                </a:tc>
                <a:tc>
                  <a:txBody>
                    <a:bodyPr/>
                    <a:lstStyle/>
                    <a:p>
                      <a:pPr marL="0" indent="0">
                        <a:buFont typeface="Arial" pitchFamily="34" charset="0"/>
                        <a:buNone/>
                      </a:pPr>
                      <a:r>
                        <a:rPr lang="en-US" sz="1600" dirty="0">
                          <a:solidFill>
                            <a:schemeClr val="tx1"/>
                          </a:solidFill>
                        </a:rPr>
                        <a:t>Default</a:t>
                      </a:r>
                    </a:p>
                  </a:txBody>
                  <a:tcPr marL="121888" marR="121888" marT="60944" marB="60944"/>
                </a:tc>
                <a:extLst>
                  <a:ext uri="{0D108BD9-81ED-4DB2-BD59-A6C34878D82A}">
                    <a16:rowId xmlns:a16="http://schemas.microsoft.com/office/drawing/2014/main" xmlns="" val="10002"/>
                  </a:ext>
                </a:extLst>
              </a:tr>
              <a:tr h="853408">
                <a:tc>
                  <a:txBody>
                    <a:bodyPr/>
                    <a:lstStyle/>
                    <a:p>
                      <a:r>
                        <a:rPr lang="en-US" sz="1600" dirty="0">
                          <a:solidFill>
                            <a:schemeClr val="tx1"/>
                          </a:solidFill>
                        </a:rPr>
                        <a:t>Temporary Disk</a:t>
                      </a:r>
                    </a:p>
                  </a:txBody>
                  <a:tcPr marL="121888" marR="121888" marT="60944" marB="60944"/>
                </a:tc>
                <a:tc>
                  <a:txBody>
                    <a:bodyPr/>
                    <a:lstStyle/>
                    <a:p>
                      <a:r>
                        <a:rPr lang="en-US" sz="1600" dirty="0">
                          <a:solidFill>
                            <a:schemeClr val="tx1"/>
                          </a:solidFill>
                        </a:rPr>
                        <a:t>Not stored in Microsoft Azure Storage Blob Service</a:t>
                      </a:r>
                    </a:p>
                  </a:txBody>
                  <a:tcPr marL="121888" marR="121888" marT="60944" marB="60944"/>
                </a:tc>
                <a:tc>
                  <a:txBody>
                    <a:bodyPr/>
                    <a:lstStyle/>
                    <a:p>
                      <a:pPr marL="0" indent="0">
                        <a:buFont typeface="Arial" pitchFamily="34" charset="0"/>
                        <a:buNone/>
                      </a:pPr>
                      <a:endParaRPr lang="en-US" sz="1600" dirty="0">
                        <a:solidFill>
                          <a:schemeClr val="tx1"/>
                        </a:solidFill>
                      </a:endParaRPr>
                    </a:p>
                  </a:txBody>
                  <a:tcPr marL="121888" marR="121888" marT="60944" marB="60944"/>
                </a:tc>
                <a:tc>
                  <a:txBody>
                    <a:bodyPr/>
                    <a:lstStyle/>
                    <a:p>
                      <a:pPr marL="0" indent="0">
                        <a:buFont typeface="Arial" pitchFamily="34" charset="0"/>
                        <a:buNone/>
                      </a:pPr>
                      <a:endParaRPr lang="en-US" sz="1600" dirty="0">
                        <a:solidFill>
                          <a:schemeClr val="tx1"/>
                        </a:solidFill>
                      </a:endParaRPr>
                    </a:p>
                  </a:txBody>
                  <a:tcPr marL="121888" marR="121888" marT="60944" marB="60944"/>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3312509095"/>
      </p:ext>
    </p:extLst>
  </p:cSld>
  <p:clrMapOvr>
    <a:masterClrMapping/>
  </p:clrMapOvr>
  <p:transition>
    <p:fade/>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u="sng" dirty="0">
                <a:effectLst>
                  <a:outerShdw blurRad="38100" dist="38100" dir="2700000" algn="tl">
                    <a:srgbClr val="000000">
                      <a:alpha val="43137"/>
                    </a:srgbClr>
                  </a:outerShdw>
                </a:effectLst>
              </a:rPr>
              <a:t>Azure VMs disk mobility</a:t>
            </a:r>
          </a:p>
        </p:txBody>
      </p:sp>
      <p:sp>
        <p:nvSpPr>
          <p:cNvPr id="4" name="Content Placeholder 2"/>
          <p:cNvSpPr>
            <a:spLocks noGrp="1"/>
          </p:cNvSpPr>
          <p:nvPr/>
        </p:nvSpPr>
        <p:spPr bwMode="auto">
          <a:xfrm>
            <a:off x="1799908" y="1347786"/>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dirty="0"/>
              <a:t>Azure virtual disks:</a:t>
            </a:r>
          </a:p>
          <a:p>
            <a:pPr lvl="1"/>
            <a:r>
              <a:rPr lang="en-US" dirty="0"/>
              <a:t>.vhd format (.vhdx not supported)</a:t>
            </a:r>
          </a:p>
          <a:p>
            <a:pPr lvl="1"/>
            <a:r>
              <a:rPr lang="en-US" dirty="0"/>
              <a:t>Fixed type (dynamic not supported)</a:t>
            </a:r>
          </a:p>
          <a:p>
            <a:pPr lvl="1"/>
            <a:r>
              <a:rPr lang="en-US" dirty="0"/>
              <a:t>1-TB maximum size (use multidisk volumes if needed)</a:t>
            </a:r>
          </a:p>
          <a:p>
            <a:r>
              <a:rPr lang="en-US" dirty="0"/>
              <a:t>Azure virtual disk mobility:</a:t>
            </a:r>
          </a:p>
          <a:p>
            <a:pPr lvl="1"/>
            <a:r>
              <a:rPr lang="en-US" dirty="0"/>
              <a:t>Upload and download</a:t>
            </a:r>
          </a:p>
          <a:p>
            <a:pPr lvl="2"/>
            <a:r>
              <a:rPr lang="en-US" b="1" dirty="0"/>
              <a:t>Add-AzureRmVHD and Save-AzureRmVHD</a:t>
            </a:r>
          </a:p>
          <a:p>
            <a:pPr lvl="1"/>
            <a:r>
              <a:rPr lang="en-US" dirty="0"/>
              <a:t>Attach and detach</a:t>
            </a:r>
          </a:p>
          <a:p>
            <a:pPr lvl="2"/>
            <a:r>
              <a:rPr lang="en-US" b="1" dirty="0"/>
              <a:t>Add-AzureDataDisk and Remove-AzureDataDisk</a:t>
            </a:r>
          </a:p>
          <a:p>
            <a:pPr lvl="2"/>
            <a:r>
              <a:rPr lang="en-US" dirty="0"/>
              <a:t>Azure Portal</a:t>
            </a:r>
          </a:p>
          <a:p>
            <a:pPr lvl="1"/>
            <a:r>
              <a:rPr lang="en-US" dirty="0"/>
              <a:t>Import/Export service (for larger disk sizes)</a:t>
            </a:r>
          </a:p>
          <a:p>
            <a:pPr lvl="1"/>
            <a:endParaRPr lang="en-US" dirty="0"/>
          </a:p>
        </p:txBody>
      </p:sp>
    </p:spTree>
    <p:extLst>
      <p:ext uri="{BB962C8B-B14F-4D97-AF65-F5344CB8AC3E}">
        <p14:creationId xmlns:p14="http://schemas.microsoft.com/office/powerpoint/2010/main" val="396975726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a:xfrm>
            <a:off x="3582666" y="888549"/>
            <a:ext cx="7174217" cy="5220121"/>
          </a:xfrm>
          <a:prstGeom prst="roundRect">
            <a:avLst/>
          </a:prstGeom>
          <a:solidFill>
            <a:schemeClr val="bg1"/>
          </a:solidFill>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algn="ctr"/>
            <a:endParaRPr lang="en-US" sz="2700" dirty="0"/>
          </a:p>
        </p:txBody>
      </p:sp>
      <p:sp>
        <p:nvSpPr>
          <p:cNvPr id="8" name="Title 7"/>
          <p:cNvSpPr>
            <a:spLocks noGrp="1"/>
          </p:cNvSpPr>
          <p:nvPr>
            <p:ph type="title"/>
          </p:nvPr>
        </p:nvSpPr>
        <p:spPr>
          <a:xfrm>
            <a:off x="838200" y="-84079"/>
            <a:ext cx="10515600" cy="1774768"/>
          </a:xfrm>
        </p:spPr>
        <p:txBody>
          <a:bodyPr/>
          <a:lstStyle/>
          <a:p>
            <a:r>
              <a:rPr lang="en-US" b="1" u="sng" dirty="0">
                <a:effectLst>
                  <a:outerShdw blurRad="38100" dist="38100" dir="2700000" algn="tl">
                    <a:srgbClr val="000000">
                      <a:alpha val="43137"/>
                    </a:srgbClr>
                  </a:outerShdw>
                </a:effectLst>
              </a:rPr>
              <a:t>Cloud Computing Patterns</a:t>
            </a:r>
          </a:p>
        </p:txBody>
      </p:sp>
      <p:cxnSp>
        <p:nvCxnSpPr>
          <p:cNvPr id="50" name="Straight Arrow Connector 49"/>
          <p:cNvCxnSpPr/>
          <p:nvPr/>
        </p:nvCxnSpPr>
        <p:spPr bwMode="auto">
          <a:xfrm rot="16200000" flipV="1">
            <a:off x="3376048" y="1954103"/>
            <a:ext cx="752139" cy="4"/>
          </a:xfrm>
          <a:prstGeom prst="straightConnector1">
            <a:avLst/>
          </a:prstGeom>
          <a:noFill/>
          <a:ln w="25400" cap="flat" cmpd="sng" algn="ctr">
            <a:solidFill>
              <a:srgbClr val="292929"/>
            </a:solidFill>
            <a:prstDash val="solid"/>
            <a:headEnd type="none" w="med" len="med"/>
            <a:tailEnd type="triangle"/>
          </a:ln>
          <a:effectLst/>
        </p:spPr>
      </p:cxnSp>
      <p:cxnSp>
        <p:nvCxnSpPr>
          <p:cNvPr id="55" name="Straight Arrow Connector 54"/>
          <p:cNvCxnSpPr/>
          <p:nvPr/>
        </p:nvCxnSpPr>
        <p:spPr bwMode="auto">
          <a:xfrm>
            <a:off x="3752120" y="2321173"/>
            <a:ext cx="2732209" cy="785"/>
          </a:xfrm>
          <a:prstGeom prst="straightConnector1">
            <a:avLst/>
          </a:prstGeom>
          <a:noFill/>
          <a:ln w="25400" cap="flat" cmpd="sng" algn="ctr">
            <a:solidFill>
              <a:srgbClr val="292929"/>
            </a:solidFill>
            <a:prstDash val="solid"/>
            <a:headEnd type="none" w="med" len="med"/>
            <a:tailEnd type="triangle"/>
          </a:ln>
          <a:effectLst/>
        </p:spPr>
      </p:cxnSp>
      <p:sp>
        <p:nvSpPr>
          <p:cNvPr id="56" name="Text Placeholder 6"/>
          <p:cNvSpPr txBox="1">
            <a:spLocks/>
          </p:cNvSpPr>
          <p:nvPr/>
        </p:nvSpPr>
        <p:spPr bwMode="auto">
          <a:xfrm>
            <a:off x="6532113" y="2238535"/>
            <a:ext cx="990025" cy="11309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83087" eaLnBrk="0" fontAlgn="base" hangingPunct="0">
              <a:spcBef>
                <a:spcPct val="20000"/>
              </a:spcBef>
              <a:spcAft>
                <a:spcPct val="0"/>
              </a:spcAft>
              <a:buClr>
                <a:srgbClr val="000000"/>
              </a:buClr>
              <a:defRPr/>
            </a:pPr>
            <a:r>
              <a:rPr lang="en-US" sz="1200" i="1" kern="0" dirty="0">
                <a:solidFill>
                  <a:srgbClr val="292929">
                    <a:alpha val="99000"/>
                  </a:srgbClr>
                </a:solidFill>
              </a:rPr>
              <a:t>t</a:t>
            </a:r>
          </a:p>
        </p:txBody>
      </p:sp>
      <p:sp>
        <p:nvSpPr>
          <p:cNvPr id="61" name="Rectangle 60"/>
          <p:cNvSpPr/>
          <p:nvPr/>
        </p:nvSpPr>
        <p:spPr>
          <a:xfrm rot="16200000">
            <a:off x="3130103" y="1917458"/>
            <a:ext cx="862923" cy="189880"/>
          </a:xfrm>
          <a:prstGeom prst="rect">
            <a:avLst/>
          </a:prstGeom>
          <a:ln>
            <a:noFill/>
          </a:ln>
        </p:spPr>
        <p:txBody>
          <a:bodyPr wrap="square" lIns="73745" tIns="36872" rIns="73745" bIns="36872">
            <a:spAutoFit/>
          </a:bodyPr>
          <a:lstStyle/>
          <a:p>
            <a:pPr marL="245773" indent="-245773" algn="ctr" defTabSz="983087" eaLnBrk="0" fontAlgn="base" hangingPunct="0">
              <a:lnSpc>
                <a:spcPts val="860"/>
              </a:lnSpc>
              <a:spcBef>
                <a:spcPct val="20000"/>
              </a:spcBef>
              <a:spcAft>
                <a:spcPct val="0"/>
              </a:spcAft>
              <a:buClr>
                <a:srgbClr val="000000"/>
              </a:buClr>
              <a:defRPr/>
            </a:pPr>
            <a:r>
              <a:rPr lang="en-US" sz="1100" kern="0" dirty="0">
                <a:solidFill>
                  <a:srgbClr val="292929">
                    <a:alpha val="99000"/>
                  </a:srgbClr>
                </a:solidFill>
              </a:rPr>
              <a:t>Compute </a:t>
            </a:r>
          </a:p>
        </p:txBody>
      </p:sp>
      <p:cxnSp>
        <p:nvCxnSpPr>
          <p:cNvPr id="62" name="Straight Arrow Connector 61"/>
          <p:cNvCxnSpPr/>
          <p:nvPr/>
        </p:nvCxnSpPr>
        <p:spPr bwMode="auto">
          <a:xfrm flipV="1">
            <a:off x="3752119" y="2040850"/>
            <a:ext cx="882759" cy="54917"/>
          </a:xfrm>
          <a:prstGeom prst="straightConnector1">
            <a:avLst/>
          </a:prstGeom>
          <a:noFill/>
          <a:ln w="25400" cap="flat" cmpd="sng" algn="ctr">
            <a:solidFill>
              <a:srgbClr val="292929"/>
            </a:solidFill>
            <a:prstDash val="solid"/>
            <a:headEnd type="none" w="med" len="med"/>
            <a:tailEnd type="triangle"/>
          </a:ln>
          <a:effectLst/>
        </p:spPr>
      </p:cxnSp>
      <p:cxnSp>
        <p:nvCxnSpPr>
          <p:cNvPr id="65" name="Straight Arrow Connector 64"/>
          <p:cNvCxnSpPr/>
          <p:nvPr/>
        </p:nvCxnSpPr>
        <p:spPr bwMode="auto">
          <a:xfrm flipV="1">
            <a:off x="5506583" y="2023226"/>
            <a:ext cx="924875" cy="72541"/>
          </a:xfrm>
          <a:prstGeom prst="straightConnector1">
            <a:avLst/>
          </a:prstGeom>
          <a:noFill/>
          <a:ln w="25400" cap="flat" cmpd="sng" algn="ctr">
            <a:solidFill>
              <a:srgbClr val="292929"/>
            </a:solidFill>
            <a:prstDash val="solid"/>
            <a:headEnd type="none" w="med" len="med"/>
            <a:tailEnd type="triangle"/>
          </a:ln>
          <a:effectLst/>
        </p:spPr>
      </p:cxnSp>
      <p:cxnSp>
        <p:nvCxnSpPr>
          <p:cNvPr id="66" name="Straight Connector 65"/>
          <p:cNvCxnSpPr/>
          <p:nvPr/>
        </p:nvCxnSpPr>
        <p:spPr bwMode="auto">
          <a:xfrm rot="5400000" flipH="1" flipV="1">
            <a:off x="5149530" y="1963342"/>
            <a:ext cx="716663" cy="1356"/>
          </a:xfrm>
          <a:prstGeom prst="line">
            <a:avLst/>
          </a:prstGeom>
          <a:noFill/>
          <a:ln w="19050" cap="flat" cmpd="sng" algn="ctr">
            <a:solidFill>
              <a:srgbClr val="292929"/>
            </a:solidFill>
            <a:prstDash val="sysDot"/>
            <a:headEnd type="none" w="med" len="med"/>
            <a:tailEnd type="none" w="med" len="med"/>
          </a:ln>
          <a:effectLst/>
        </p:spPr>
      </p:cxnSp>
      <p:sp>
        <p:nvSpPr>
          <p:cNvPr id="67" name="Rectangle 66"/>
          <p:cNvSpPr/>
          <p:nvPr/>
        </p:nvSpPr>
        <p:spPr>
          <a:xfrm>
            <a:off x="4599627" y="1737081"/>
            <a:ext cx="967949" cy="497657"/>
          </a:xfrm>
          <a:prstGeom prst="rect">
            <a:avLst/>
          </a:prstGeom>
          <a:ln>
            <a:noFill/>
          </a:ln>
        </p:spPr>
        <p:txBody>
          <a:bodyPr wrap="square" lIns="73745" tIns="36872" rIns="73745" bIns="36872">
            <a:spAutoFit/>
          </a:bodyPr>
          <a:lstStyle/>
          <a:p>
            <a:pPr marL="245773" indent="-245773" algn="ctr" defTabSz="983087" eaLnBrk="0" fontAlgn="base" hangingPunct="0">
              <a:lnSpc>
                <a:spcPts val="860"/>
              </a:lnSpc>
              <a:spcBef>
                <a:spcPct val="20000"/>
              </a:spcBef>
              <a:spcAft>
                <a:spcPct val="0"/>
              </a:spcAft>
              <a:buClr>
                <a:srgbClr val="000000"/>
              </a:buClr>
              <a:defRPr/>
            </a:pPr>
            <a:endParaRPr lang="en-US" sz="1100" kern="0" dirty="0">
              <a:solidFill>
                <a:srgbClr val="292929">
                  <a:alpha val="99000"/>
                </a:srgbClr>
              </a:solidFill>
            </a:endParaRPr>
          </a:p>
          <a:p>
            <a:pPr marL="245773" indent="-245773" algn="ctr" defTabSz="983087" eaLnBrk="0" fontAlgn="base" hangingPunct="0">
              <a:lnSpc>
                <a:spcPts val="860"/>
              </a:lnSpc>
              <a:spcAft>
                <a:spcPts val="645"/>
              </a:spcAft>
              <a:buClr>
                <a:srgbClr val="000000"/>
              </a:buClr>
              <a:defRPr/>
            </a:pPr>
            <a:r>
              <a:rPr lang="en-US" sz="1100" kern="0" dirty="0">
                <a:solidFill>
                  <a:srgbClr val="292929">
                    <a:alpha val="99000"/>
                  </a:srgbClr>
                </a:solidFill>
              </a:rPr>
              <a:t>Inactivity</a:t>
            </a:r>
          </a:p>
          <a:p>
            <a:pPr marL="245773" indent="-245773" algn="ctr" defTabSz="983087" eaLnBrk="0" fontAlgn="base" hangingPunct="0">
              <a:lnSpc>
                <a:spcPts val="860"/>
              </a:lnSpc>
              <a:spcAft>
                <a:spcPts val="645"/>
              </a:spcAft>
              <a:buClr>
                <a:srgbClr val="000000"/>
              </a:buClr>
              <a:defRPr/>
            </a:pPr>
            <a:r>
              <a:rPr lang="en-US" sz="1100" kern="0" dirty="0">
                <a:solidFill>
                  <a:srgbClr val="292929">
                    <a:alpha val="99000"/>
                  </a:srgbClr>
                </a:solidFill>
              </a:rPr>
              <a:t>Period </a:t>
            </a:r>
          </a:p>
        </p:txBody>
      </p:sp>
      <p:cxnSp>
        <p:nvCxnSpPr>
          <p:cNvPr id="68" name="Straight Connector 67"/>
          <p:cNvCxnSpPr/>
          <p:nvPr/>
        </p:nvCxnSpPr>
        <p:spPr bwMode="auto">
          <a:xfrm rot="5400000" flipH="1" flipV="1">
            <a:off x="4295062" y="1963342"/>
            <a:ext cx="716663" cy="1356"/>
          </a:xfrm>
          <a:prstGeom prst="line">
            <a:avLst/>
          </a:prstGeom>
          <a:noFill/>
          <a:ln w="19050" cap="flat" cmpd="sng" algn="ctr">
            <a:solidFill>
              <a:srgbClr val="292929"/>
            </a:solidFill>
            <a:prstDash val="sysDot"/>
            <a:headEnd type="none" w="med" len="med"/>
            <a:tailEnd type="none" w="med" len="med"/>
          </a:ln>
          <a:effectLst/>
        </p:spPr>
      </p:cxnSp>
      <p:sp>
        <p:nvSpPr>
          <p:cNvPr id="69" name="Text Placeholder 6"/>
          <p:cNvSpPr txBox="1">
            <a:spLocks/>
          </p:cNvSpPr>
          <p:nvPr/>
        </p:nvSpPr>
        <p:spPr bwMode="auto">
          <a:xfrm>
            <a:off x="6532113" y="3498610"/>
            <a:ext cx="990025" cy="11309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83087" eaLnBrk="0" fontAlgn="base" hangingPunct="0">
              <a:spcBef>
                <a:spcPct val="20000"/>
              </a:spcBef>
              <a:spcAft>
                <a:spcPct val="0"/>
              </a:spcAft>
              <a:buClr>
                <a:srgbClr val="000000"/>
              </a:buClr>
              <a:defRPr/>
            </a:pPr>
            <a:r>
              <a:rPr lang="en-US" sz="1200" i="1" kern="0" dirty="0">
                <a:solidFill>
                  <a:srgbClr val="292929">
                    <a:alpha val="99000"/>
                  </a:srgbClr>
                </a:solidFill>
              </a:rPr>
              <a:t>t</a:t>
            </a:r>
          </a:p>
        </p:txBody>
      </p:sp>
      <p:sp>
        <p:nvSpPr>
          <p:cNvPr id="70" name="Text Placeholder 6"/>
          <p:cNvSpPr txBox="1">
            <a:spLocks/>
          </p:cNvSpPr>
          <p:nvPr/>
        </p:nvSpPr>
        <p:spPr bwMode="auto">
          <a:xfrm>
            <a:off x="6532113" y="4689334"/>
            <a:ext cx="990025" cy="11309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83087" eaLnBrk="0" fontAlgn="base" hangingPunct="0">
              <a:spcBef>
                <a:spcPct val="20000"/>
              </a:spcBef>
              <a:spcAft>
                <a:spcPct val="0"/>
              </a:spcAft>
              <a:buClr>
                <a:srgbClr val="000000"/>
              </a:buClr>
              <a:defRPr/>
            </a:pPr>
            <a:r>
              <a:rPr lang="en-US" sz="1200" i="1" kern="0" dirty="0">
                <a:solidFill>
                  <a:srgbClr val="292929">
                    <a:alpha val="99000"/>
                  </a:srgbClr>
                </a:solidFill>
              </a:rPr>
              <a:t>t</a:t>
            </a:r>
          </a:p>
        </p:txBody>
      </p:sp>
      <p:sp>
        <p:nvSpPr>
          <p:cNvPr id="71" name="Text Placeholder 6"/>
          <p:cNvSpPr txBox="1">
            <a:spLocks/>
          </p:cNvSpPr>
          <p:nvPr/>
        </p:nvSpPr>
        <p:spPr bwMode="auto">
          <a:xfrm>
            <a:off x="6532113" y="5899752"/>
            <a:ext cx="990025" cy="15052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83087" eaLnBrk="0" fontAlgn="base" hangingPunct="0">
              <a:spcBef>
                <a:spcPct val="20000"/>
              </a:spcBef>
              <a:spcAft>
                <a:spcPct val="0"/>
              </a:spcAft>
              <a:buClr>
                <a:srgbClr val="000000"/>
              </a:buClr>
              <a:defRPr/>
            </a:pPr>
            <a:r>
              <a:rPr lang="en-US" sz="1200" i="1" kern="0" dirty="0">
                <a:solidFill>
                  <a:srgbClr val="292929">
                    <a:alpha val="99000"/>
                  </a:srgbClr>
                </a:solidFill>
              </a:rPr>
              <a:t>t</a:t>
            </a:r>
          </a:p>
        </p:txBody>
      </p:sp>
      <p:grpSp>
        <p:nvGrpSpPr>
          <p:cNvPr id="72" name="Group 71"/>
          <p:cNvGrpSpPr/>
          <p:nvPr/>
        </p:nvGrpSpPr>
        <p:grpSpPr>
          <a:xfrm>
            <a:off x="6891085" y="1550685"/>
            <a:ext cx="2059731" cy="893175"/>
            <a:chOff x="342904" y="1233639"/>
            <a:chExt cx="3613707" cy="1063148"/>
          </a:xfrm>
        </p:grpSpPr>
        <p:sp>
          <p:nvSpPr>
            <p:cNvPr id="73" name="TextBox 72"/>
            <p:cNvSpPr txBox="1"/>
            <p:nvPr/>
          </p:nvSpPr>
          <p:spPr>
            <a:xfrm>
              <a:off x="342904" y="1233639"/>
              <a:ext cx="3045807" cy="406641"/>
            </a:xfrm>
            <a:prstGeom prst="rect">
              <a:avLst/>
            </a:prstGeom>
            <a:noFill/>
            <a:ln>
              <a:noFill/>
            </a:ln>
          </p:spPr>
          <p:txBody>
            <a:bodyPr wrap="square" lIns="0" tIns="45718" rIns="0" bIns="45718" rtlCol="0">
              <a:spAutoFit/>
            </a:bodyPr>
            <a:lstStyle/>
            <a:p>
              <a:pPr defTabSz="1219170">
                <a:lnSpc>
                  <a:spcPct val="90000"/>
                </a:lnSpc>
                <a:spcBef>
                  <a:spcPct val="20000"/>
                </a:spcBef>
                <a:defRPr/>
              </a:pPr>
              <a:r>
                <a:rPr lang="en-US" kern="0" dirty="0">
                  <a:solidFill>
                    <a:srgbClr val="00AEEF">
                      <a:alpha val="99000"/>
                    </a:srgbClr>
                  </a:solidFill>
                  <a:latin typeface="Segoe UI" pitchFamily="34" charset="0"/>
                  <a:ea typeface="Segoe UI" pitchFamily="34" charset="0"/>
                  <a:cs typeface="Segoe UI" pitchFamily="34" charset="0"/>
                </a:rPr>
                <a:t>On and Off</a:t>
              </a:r>
            </a:p>
          </p:txBody>
        </p:sp>
        <p:sp>
          <p:nvSpPr>
            <p:cNvPr id="74" name="Rectangle 73"/>
            <p:cNvSpPr/>
            <p:nvPr/>
          </p:nvSpPr>
          <p:spPr>
            <a:xfrm>
              <a:off x="342906" y="1692315"/>
              <a:ext cx="3613705" cy="604472"/>
            </a:xfrm>
            <a:prstGeom prst="rect">
              <a:avLst/>
            </a:prstGeom>
            <a:ln>
              <a:noFill/>
            </a:ln>
          </p:spPr>
          <p:txBody>
            <a:bodyPr wrap="square" lIns="0" tIns="0" rIns="0" bIns="0">
              <a:spAutoFit/>
            </a:bodyPr>
            <a:lstStyle/>
            <a:p>
              <a:pPr marL="0" lvl="1" defTabSz="983007" fontAlgn="base">
                <a:spcAft>
                  <a:spcPct val="0"/>
                </a:spcAft>
                <a:defRPr/>
              </a:pPr>
              <a:r>
                <a:rPr lang="en-US" sz="1100" kern="0" dirty="0">
                  <a:solidFill>
                    <a:srgbClr val="292929">
                      <a:alpha val="99000"/>
                    </a:srgbClr>
                  </a:solidFill>
                  <a:ea typeface="Kozuka Gothic Pro R" pitchFamily="34" charset="-128"/>
                </a:rPr>
                <a:t>On and off workloads (e.g. batch job)</a:t>
              </a:r>
            </a:p>
            <a:p>
              <a:pPr marL="0" lvl="1" defTabSz="983007" fontAlgn="base">
                <a:spcAft>
                  <a:spcPct val="0"/>
                </a:spcAft>
                <a:defRPr/>
              </a:pPr>
              <a:r>
                <a:rPr lang="en-US" sz="1100" kern="0" dirty="0">
                  <a:solidFill>
                    <a:srgbClr val="292929">
                      <a:alpha val="99000"/>
                    </a:srgbClr>
                  </a:solidFill>
                  <a:ea typeface="Kozuka Gothic Pro R" pitchFamily="34" charset="-128"/>
                </a:rPr>
                <a:t>Over provisioned capacity is wasted </a:t>
              </a:r>
            </a:p>
            <a:p>
              <a:pPr marL="0" lvl="1" defTabSz="983007" fontAlgn="base">
                <a:spcAft>
                  <a:spcPct val="0"/>
                </a:spcAft>
                <a:defRPr/>
              </a:pPr>
              <a:r>
                <a:rPr lang="en-US" sz="1100" kern="0" dirty="0">
                  <a:solidFill>
                    <a:srgbClr val="292929">
                      <a:alpha val="99000"/>
                    </a:srgbClr>
                  </a:solidFill>
                  <a:ea typeface="Kozuka Gothic Pro R" pitchFamily="34" charset="-128"/>
                </a:rPr>
                <a:t>Time to market can be cumbersome </a:t>
              </a:r>
            </a:p>
          </p:txBody>
        </p:sp>
      </p:grpSp>
      <p:grpSp>
        <p:nvGrpSpPr>
          <p:cNvPr id="75" name="Group 74"/>
          <p:cNvGrpSpPr/>
          <p:nvPr/>
        </p:nvGrpSpPr>
        <p:grpSpPr>
          <a:xfrm>
            <a:off x="6805164" y="3874608"/>
            <a:ext cx="3096000" cy="939947"/>
            <a:chOff x="342905" y="3877806"/>
            <a:chExt cx="3821938" cy="1118819"/>
          </a:xfrm>
        </p:grpSpPr>
        <p:sp>
          <p:nvSpPr>
            <p:cNvPr id="76" name="TextBox 75"/>
            <p:cNvSpPr txBox="1"/>
            <p:nvPr/>
          </p:nvSpPr>
          <p:spPr>
            <a:xfrm>
              <a:off x="342905" y="3877806"/>
              <a:ext cx="3821938" cy="406640"/>
            </a:xfrm>
            <a:prstGeom prst="rect">
              <a:avLst/>
            </a:prstGeom>
            <a:noFill/>
            <a:ln>
              <a:noFill/>
            </a:ln>
          </p:spPr>
          <p:txBody>
            <a:bodyPr wrap="square" lIns="0" tIns="45718" rIns="0" bIns="45718" rtlCol="0">
              <a:spAutoFit/>
            </a:bodyPr>
            <a:lstStyle/>
            <a:p>
              <a:pPr defTabSz="1219170">
                <a:lnSpc>
                  <a:spcPct val="90000"/>
                </a:lnSpc>
                <a:spcBef>
                  <a:spcPct val="20000"/>
                </a:spcBef>
                <a:defRPr/>
              </a:pPr>
              <a:r>
                <a:rPr lang="en-US" kern="0" dirty="0">
                  <a:solidFill>
                    <a:srgbClr val="00AEEF">
                      <a:alpha val="99000"/>
                    </a:srgbClr>
                  </a:solidFill>
                  <a:latin typeface="Segoe UI" pitchFamily="34" charset="0"/>
                  <a:ea typeface="Segoe UI" pitchFamily="34" charset="0"/>
                  <a:cs typeface="Segoe UI" pitchFamily="34" charset="0"/>
                </a:rPr>
                <a:t>Unpredictable Bursting</a:t>
              </a:r>
            </a:p>
          </p:txBody>
        </p:sp>
        <p:sp>
          <p:nvSpPr>
            <p:cNvPr id="77" name="Rectangle 76"/>
            <p:cNvSpPr/>
            <p:nvPr/>
          </p:nvSpPr>
          <p:spPr>
            <a:xfrm>
              <a:off x="342905" y="4392154"/>
              <a:ext cx="3045807" cy="604471"/>
            </a:xfrm>
            <a:prstGeom prst="rect">
              <a:avLst/>
            </a:prstGeom>
            <a:ln>
              <a:noFill/>
            </a:ln>
          </p:spPr>
          <p:txBody>
            <a:bodyPr wrap="square" lIns="0" tIns="0" rIns="0" bIns="0">
              <a:spAutoFit/>
            </a:bodyPr>
            <a:lstStyle/>
            <a:p>
              <a:pPr marL="0" lvl="1" defTabSz="983007" fontAlgn="base">
                <a:spcAft>
                  <a:spcPct val="0"/>
                </a:spcAft>
                <a:defRPr/>
              </a:pPr>
              <a:r>
                <a:rPr lang="en-US" sz="1100" kern="0" dirty="0">
                  <a:solidFill>
                    <a:srgbClr val="292929">
                      <a:alpha val="99000"/>
                    </a:srgbClr>
                  </a:solidFill>
                  <a:ea typeface="Kozuka Gothic Pro R" pitchFamily="34" charset="-128"/>
                </a:rPr>
                <a:t>Unexpected/unplanned peak in demand  </a:t>
              </a:r>
            </a:p>
            <a:p>
              <a:pPr marL="0" lvl="1" defTabSz="983007" fontAlgn="base">
                <a:spcAft>
                  <a:spcPct val="0"/>
                </a:spcAft>
                <a:defRPr/>
              </a:pPr>
              <a:r>
                <a:rPr lang="en-US" sz="1100" kern="0" dirty="0">
                  <a:solidFill>
                    <a:srgbClr val="292929">
                      <a:alpha val="99000"/>
                    </a:srgbClr>
                  </a:solidFill>
                  <a:ea typeface="Kozuka Gothic Pro R" pitchFamily="34" charset="-128"/>
                </a:rPr>
                <a:t>Sudden spike impacts performance </a:t>
              </a:r>
            </a:p>
            <a:p>
              <a:pPr marL="0" lvl="1" defTabSz="983007" fontAlgn="base">
                <a:spcAft>
                  <a:spcPct val="0"/>
                </a:spcAft>
                <a:defRPr/>
              </a:pPr>
              <a:r>
                <a:rPr lang="en-US" sz="1100" kern="0" dirty="0">
                  <a:solidFill>
                    <a:srgbClr val="292929">
                      <a:alpha val="99000"/>
                    </a:srgbClr>
                  </a:solidFill>
                  <a:ea typeface="Kozuka Gothic Pro R" pitchFamily="34" charset="-128"/>
                </a:rPr>
                <a:t>Cannot over provision for extreme cases </a:t>
              </a:r>
            </a:p>
          </p:txBody>
        </p:sp>
      </p:grpSp>
      <p:cxnSp>
        <p:nvCxnSpPr>
          <p:cNvPr id="78" name="Straight Arrow Connector 77"/>
          <p:cNvCxnSpPr/>
          <p:nvPr/>
        </p:nvCxnSpPr>
        <p:spPr bwMode="auto">
          <a:xfrm flipH="1" flipV="1">
            <a:off x="3760286" y="4007382"/>
            <a:ext cx="4" cy="753965"/>
          </a:xfrm>
          <a:prstGeom prst="straightConnector1">
            <a:avLst/>
          </a:prstGeom>
          <a:noFill/>
          <a:ln w="25400" cap="flat" cmpd="sng" algn="ctr">
            <a:solidFill>
              <a:srgbClr val="292929"/>
            </a:solidFill>
            <a:prstDash val="solid"/>
            <a:headEnd type="none" w="med" len="med"/>
            <a:tailEnd type="triangle"/>
          </a:ln>
          <a:effectLst/>
        </p:spPr>
      </p:cxnSp>
      <p:cxnSp>
        <p:nvCxnSpPr>
          <p:cNvPr id="79" name="Straight Arrow Connector 78"/>
          <p:cNvCxnSpPr/>
          <p:nvPr/>
        </p:nvCxnSpPr>
        <p:spPr bwMode="auto">
          <a:xfrm>
            <a:off x="3760286" y="4752282"/>
            <a:ext cx="2732209" cy="785"/>
          </a:xfrm>
          <a:prstGeom prst="straightConnector1">
            <a:avLst/>
          </a:prstGeom>
          <a:noFill/>
          <a:ln w="25400" cap="flat" cmpd="sng" algn="ctr">
            <a:solidFill>
              <a:srgbClr val="292929"/>
            </a:solidFill>
            <a:prstDash val="solid"/>
            <a:headEnd type="none" w="med" len="med"/>
            <a:tailEnd type="triangle"/>
          </a:ln>
          <a:effectLst/>
        </p:spPr>
      </p:cxnSp>
      <p:sp>
        <p:nvSpPr>
          <p:cNvPr id="80" name="Rectangle 79"/>
          <p:cNvSpPr/>
          <p:nvPr/>
        </p:nvSpPr>
        <p:spPr>
          <a:xfrm rot="16200000">
            <a:off x="3141468" y="4335855"/>
            <a:ext cx="856528" cy="189880"/>
          </a:xfrm>
          <a:prstGeom prst="rect">
            <a:avLst/>
          </a:prstGeom>
          <a:ln>
            <a:noFill/>
          </a:ln>
        </p:spPr>
        <p:txBody>
          <a:bodyPr wrap="square" lIns="73745" tIns="36872" rIns="73745" bIns="36872">
            <a:spAutoFit/>
          </a:bodyPr>
          <a:lstStyle/>
          <a:p>
            <a:pPr marL="245773" indent="-245773" algn="ctr" defTabSz="983087" eaLnBrk="0" fontAlgn="base" hangingPunct="0">
              <a:lnSpc>
                <a:spcPts val="860"/>
              </a:lnSpc>
              <a:spcBef>
                <a:spcPct val="20000"/>
              </a:spcBef>
              <a:spcAft>
                <a:spcPct val="0"/>
              </a:spcAft>
              <a:buClr>
                <a:srgbClr val="000000"/>
              </a:buClr>
              <a:defRPr/>
            </a:pPr>
            <a:r>
              <a:rPr lang="en-US" sz="1100" kern="0" dirty="0">
                <a:solidFill>
                  <a:srgbClr val="292929">
                    <a:alpha val="99000"/>
                  </a:srgbClr>
                </a:solidFill>
              </a:rPr>
              <a:t>Compute </a:t>
            </a:r>
          </a:p>
        </p:txBody>
      </p:sp>
      <p:grpSp>
        <p:nvGrpSpPr>
          <p:cNvPr id="81" name="Group 80"/>
          <p:cNvGrpSpPr/>
          <p:nvPr/>
        </p:nvGrpSpPr>
        <p:grpSpPr>
          <a:xfrm>
            <a:off x="3755133" y="4094690"/>
            <a:ext cx="2731564" cy="413657"/>
            <a:chOff x="5520892" y="5257417"/>
            <a:chExt cx="3307216" cy="721360"/>
          </a:xfrm>
        </p:grpSpPr>
        <p:cxnSp>
          <p:nvCxnSpPr>
            <p:cNvPr id="82" name="Straight Arrow Connector 81"/>
            <p:cNvCxnSpPr/>
            <p:nvPr/>
          </p:nvCxnSpPr>
          <p:spPr bwMode="auto">
            <a:xfrm>
              <a:off x="7600265" y="5975286"/>
              <a:ext cx="1227843" cy="2508"/>
            </a:xfrm>
            <a:prstGeom prst="straightConnector1">
              <a:avLst/>
            </a:prstGeom>
            <a:noFill/>
            <a:ln w="25400" cap="flat" cmpd="sng" algn="ctr">
              <a:solidFill>
                <a:srgbClr val="292929"/>
              </a:solidFill>
              <a:prstDash val="solid"/>
              <a:headEnd type="none" w="med" len="med"/>
              <a:tailEnd type="triangle"/>
            </a:ln>
            <a:effectLst/>
          </p:spPr>
        </p:cxnSp>
        <p:cxnSp>
          <p:nvCxnSpPr>
            <p:cNvPr id="83" name="Straight Connector 82"/>
            <p:cNvCxnSpPr>
              <a:endCxn id="84" idx="0"/>
            </p:cNvCxnSpPr>
            <p:nvPr/>
          </p:nvCxnSpPr>
          <p:spPr bwMode="auto">
            <a:xfrm>
              <a:off x="5520892" y="5967876"/>
              <a:ext cx="1168667" cy="0"/>
            </a:xfrm>
            <a:prstGeom prst="line">
              <a:avLst/>
            </a:prstGeom>
            <a:noFill/>
            <a:ln w="25400" cap="flat" cmpd="sng" algn="ctr">
              <a:solidFill>
                <a:srgbClr val="292929"/>
              </a:solidFill>
              <a:prstDash val="solid"/>
              <a:headEnd type="none" w="med" len="med"/>
              <a:tailEnd type="triangle"/>
            </a:ln>
            <a:effectLst/>
          </p:spPr>
        </p:cxnSp>
        <p:sp>
          <p:nvSpPr>
            <p:cNvPr id="84" name="Freeform 83"/>
            <p:cNvSpPr/>
            <p:nvPr/>
          </p:nvSpPr>
          <p:spPr>
            <a:xfrm>
              <a:off x="6689558" y="5257417"/>
              <a:ext cx="899962" cy="721360"/>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noFill/>
            <a:ln w="25400" cap="flat" cmpd="sng" algn="ctr">
              <a:solidFill>
                <a:srgbClr val="292929"/>
              </a:solidFill>
              <a:prstDash val="solid"/>
              <a:headEnd type="none" w="med" len="med"/>
              <a:tailEnd type="triangle"/>
            </a:ln>
            <a:effectLst/>
          </p:spPr>
          <p:txBody>
            <a:bodyPr rtlCol="0" anchor="ctr"/>
            <a:lstStyle/>
            <a:p>
              <a:pPr algn="ctr" defTabSz="1219170">
                <a:defRPr/>
              </a:pPr>
              <a:endParaRPr lang="en-US" sz="2700" kern="0" dirty="0">
                <a:solidFill>
                  <a:srgbClr val="292929"/>
                </a:solidFill>
                <a:latin typeface="Segoe UI"/>
              </a:endParaRPr>
            </a:p>
          </p:txBody>
        </p:sp>
      </p:grpSp>
      <p:grpSp>
        <p:nvGrpSpPr>
          <p:cNvPr id="85" name="Group 84"/>
          <p:cNvGrpSpPr/>
          <p:nvPr/>
        </p:nvGrpSpPr>
        <p:grpSpPr>
          <a:xfrm>
            <a:off x="6805163" y="2681207"/>
            <a:ext cx="2702799" cy="900062"/>
            <a:chOff x="342905" y="2485579"/>
            <a:chExt cx="3119051" cy="1071345"/>
          </a:xfrm>
        </p:grpSpPr>
        <p:sp>
          <p:nvSpPr>
            <p:cNvPr id="86" name="TextBox 85"/>
            <p:cNvSpPr txBox="1"/>
            <p:nvPr/>
          </p:nvSpPr>
          <p:spPr>
            <a:xfrm>
              <a:off x="342905" y="2485579"/>
              <a:ext cx="3119051" cy="406640"/>
            </a:xfrm>
            <a:prstGeom prst="rect">
              <a:avLst/>
            </a:prstGeom>
            <a:noFill/>
            <a:ln>
              <a:noFill/>
            </a:ln>
          </p:spPr>
          <p:txBody>
            <a:bodyPr wrap="square" lIns="0" tIns="45718" rIns="0" bIns="45718" rtlCol="0">
              <a:spAutoFit/>
            </a:bodyPr>
            <a:lstStyle/>
            <a:p>
              <a:pPr defTabSz="1219170">
                <a:lnSpc>
                  <a:spcPct val="90000"/>
                </a:lnSpc>
                <a:spcBef>
                  <a:spcPct val="20000"/>
                </a:spcBef>
                <a:defRPr/>
              </a:pPr>
              <a:r>
                <a:rPr lang="en-US" kern="0" dirty="0">
                  <a:solidFill>
                    <a:srgbClr val="00AEEF">
                      <a:alpha val="99000"/>
                    </a:srgbClr>
                  </a:solidFill>
                  <a:latin typeface="Segoe UI" pitchFamily="34" charset="0"/>
                  <a:ea typeface="Segoe UI" pitchFamily="34" charset="0"/>
                  <a:cs typeface="Segoe UI" pitchFamily="34" charset="0"/>
                </a:rPr>
                <a:t>Growing Fast</a:t>
              </a:r>
            </a:p>
          </p:txBody>
        </p:sp>
        <p:sp>
          <p:nvSpPr>
            <p:cNvPr id="87" name="Rectangle 86"/>
            <p:cNvSpPr/>
            <p:nvPr/>
          </p:nvSpPr>
          <p:spPr>
            <a:xfrm>
              <a:off x="342905" y="2952452"/>
              <a:ext cx="3119051" cy="604472"/>
            </a:xfrm>
            <a:prstGeom prst="rect">
              <a:avLst/>
            </a:prstGeom>
            <a:ln>
              <a:noFill/>
            </a:ln>
          </p:spPr>
          <p:txBody>
            <a:bodyPr wrap="square" lIns="0" tIns="0" rIns="0" bIns="0">
              <a:spAutoFit/>
            </a:bodyPr>
            <a:lstStyle/>
            <a:p>
              <a:pPr marL="0" lvl="1" defTabSz="983007" fontAlgn="base">
                <a:spcAft>
                  <a:spcPct val="0"/>
                </a:spcAft>
                <a:defRPr/>
              </a:pPr>
              <a:r>
                <a:rPr lang="en-US" sz="1100" kern="0" dirty="0">
                  <a:solidFill>
                    <a:srgbClr val="292929">
                      <a:alpha val="99000"/>
                    </a:srgbClr>
                  </a:solidFill>
                  <a:ea typeface="Kozuka Gothic Pro R" pitchFamily="34" charset="-128"/>
                </a:rPr>
                <a:t>Successful services needs to grow/scale   </a:t>
              </a:r>
            </a:p>
            <a:p>
              <a:pPr marL="0" lvl="1" defTabSz="983007" fontAlgn="base">
                <a:spcAft>
                  <a:spcPct val="0"/>
                </a:spcAft>
                <a:defRPr/>
              </a:pPr>
              <a:r>
                <a:rPr lang="en-US" sz="1100" kern="0" dirty="0">
                  <a:solidFill>
                    <a:srgbClr val="292929">
                      <a:alpha val="99000"/>
                    </a:srgbClr>
                  </a:solidFill>
                  <a:ea typeface="Kozuka Gothic Pro R" pitchFamily="34" charset="-128"/>
                </a:rPr>
                <a:t>Keeping up with growth is a big IT challenge </a:t>
              </a:r>
            </a:p>
            <a:p>
              <a:pPr marL="0" lvl="1" defTabSz="983007" fontAlgn="base">
                <a:spcAft>
                  <a:spcPct val="0"/>
                </a:spcAft>
                <a:defRPr/>
              </a:pPr>
              <a:r>
                <a:rPr lang="en-US" sz="1100" kern="0" dirty="0">
                  <a:solidFill>
                    <a:srgbClr val="292929">
                      <a:alpha val="99000"/>
                    </a:srgbClr>
                  </a:solidFill>
                  <a:ea typeface="Kozuka Gothic Pro R" pitchFamily="34" charset="-128"/>
                </a:rPr>
                <a:t>Cannot provision hardware fast enough</a:t>
              </a:r>
            </a:p>
          </p:txBody>
        </p:sp>
      </p:grpSp>
      <p:cxnSp>
        <p:nvCxnSpPr>
          <p:cNvPr id="88" name="Straight Arrow Connector 87"/>
          <p:cNvCxnSpPr/>
          <p:nvPr/>
        </p:nvCxnSpPr>
        <p:spPr bwMode="auto">
          <a:xfrm flipH="1" flipV="1">
            <a:off x="3752116" y="2784534"/>
            <a:ext cx="3013" cy="781751"/>
          </a:xfrm>
          <a:prstGeom prst="straightConnector1">
            <a:avLst/>
          </a:prstGeom>
          <a:noFill/>
          <a:ln w="25400" cap="flat" cmpd="sng" algn="ctr">
            <a:solidFill>
              <a:srgbClr val="292929"/>
            </a:solidFill>
            <a:prstDash val="solid"/>
            <a:headEnd type="none" w="med" len="med"/>
            <a:tailEnd type="triangle"/>
          </a:ln>
          <a:effectLst/>
        </p:spPr>
      </p:cxnSp>
      <p:cxnSp>
        <p:nvCxnSpPr>
          <p:cNvPr id="89" name="Straight Arrow Connector 88"/>
          <p:cNvCxnSpPr/>
          <p:nvPr/>
        </p:nvCxnSpPr>
        <p:spPr bwMode="auto">
          <a:xfrm>
            <a:off x="3755133" y="3554788"/>
            <a:ext cx="2732209" cy="785"/>
          </a:xfrm>
          <a:prstGeom prst="straightConnector1">
            <a:avLst/>
          </a:prstGeom>
          <a:noFill/>
          <a:ln w="25400" cap="flat" cmpd="sng" algn="ctr">
            <a:solidFill>
              <a:srgbClr val="292929"/>
            </a:solidFill>
            <a:prstDash val="solid"/>
            <a:headEnd type="none" w="med" len="med"/>
            <a:tailEnd type="triangle"/>
          </a:ln>
          <a:effectLst/>
        </p:spPr>
      </p:cxnSp>
      <p:sp>
        <p:nvSpPr>
          <p:cNvPr id="90" name="Rectangle 89"/>
          <p:cNvSpPr/>
          <p:nvPr/>
        </p:nvSpPr>
        <p:spPr>
          <a:xfrm rot="16200000">
            <a:off x="3135223" y="3156194"/>
            <a:ext cx="852683" cy="189880"/>
          </a:xfrm>
          <a:prstGeom prst="rect">
            <a:avLst/>
          </a:prstGeom>
          <a:ln>
            <a:noFill/>
          </a:ln>
        </p:spPr>
        <p:txBody>
          <a:bodyPr wrap="square" lIns="73745" tIns="36872" rIns="73745" bIns="36872">
            <a:spAutoFit/>
          </a:bodyPr>
          <a:lstStyle/>
          <a:p>
            <a:pPr marL="245773" indent="-245773" algn="ctr" defTabSz="983087" eaLnBrk="0" fontAlgn="base" hangingPunct="0">
              <a:lnSpc>
                <a:spcPts val="860"/>
              </a:lnSpc>
              <a:spcBef>
                <a:spcPct val="20000"/>
              </a:spcBef>
              <a:spcAft>
                <a:spcPct val="0"/>
              </a:spcAft>
              <a:buClr>
                <a:srgbClr val="000000"/>
              </a:buClr>
              <a:defRPr/>
            </a:pPr>
            <a:r>
              <a:rPr lang="en-US" sz="1100" kern="0" dirty="0">
                <a:solidFill>
                  <a:srgbClr val="292929">
                    <a:alpha val="99000"/>
                  </a:srgbClr>
                </a:solidFill>
              </a:rPr>
              <a:t>Compute </a:t>
            </a:r>
          </a:p>
        </p:txBody>
      </p:sp>
      <p:sp>
        <p:nvSpPr>
          <p:cNvPr id="91" name="Freeform 90"/>
          <p:cNvSpPr/>
          <p:nvPr/>
        </p:nvSpPr>
        <p:spPr>
          <a:xfrm>
            <a:off x="3747058" y="2829485"/>
            <a:ext cx="2673900" cy="723048"/>
          </a:xfrm>
          <a:custGeom>
            <a:avLst/>
            <a:gdLst>
              <a:gd name="connsiteX0" fmla="*/ 0 w 3180080"/>
              <a:gd name="connsiteY0" fmla="*/ 782320 h 912707"/>
              <a:gd name="connsiteX1" fmla="*/ 1635760 w 3180080"/>
              <a:gd name="connsiteY1" fmla="*/ 782320 h 912707"/>
              <a:gd name="connsiteX2" fmla="*/ 3180080 w 3180080"/>
              <a:gd name="connsiteY2" fmla="*/ 0 h 912707"/>
              <a:gd name="connsiteX0" fmla="*/ 0 w 3159760"/>
              <a:gd name="connsiteY0" fmla="*/ 881288 h 946481"/>
              <a:gd name="connsiteX1" fmla="*/ 1615440 w 3159760"/>
              <a:gd name="connsiteY1" fmla="*/ 782320 h 946481"/>
              <a:gd name="connsiteX2" fmla="*/ 3159760 w 3159760"/>
              <a:gd name="connsiteY2" fmla="*/ 0 h 946481"/>
              <a:gd name="connsiteX0" fmla="*/ 0 w 3159760"/>
              <a:gd name="connsiteY0" fmla="*/ 881288 h 929201"/>
              <a:gd name="connsiteX1" fmla="*/ 1615440 w 3159760"/>
              <a:gd name="connsiteY1" fmla="*/ 782320 h 929201"/>
              <a:gd name="connsiteX2" fmla="*/ 3159760 w 3159760"/>
              <a:gd name="connsiteY2" fmla="*/ 0 h 929201"/>
              <a:gd name="connsiteX0" fmla="*/ 0 w 3149600"/>
              <a:gd name="connsiteY0" fmla="*/ 991253 h 1001464"/>
              <a:gd name="connsiteX1" fmla="*/ 1605280 w 3149600"/>
              <a:gd name="connsiteY1" fmla="*/ 782320 h 1001464"/>
              <a:gd name="connsiteX2" fmla="*/ 3149600 w 3149600"/>
              <a:gd name="connsiteY2" fmla="*/ 0 h 1001464"/>
              <a:gd name="connsiteX0" fmla="*/ 0 w 3149600"/>
              <a:gd name="connsiteY0" fmla="*/ 991253 h 991253"/>
              <a:gd name="connsiteX1" fmla="*/ 1605280 w 3149600"/>
              <a:gd name="connsiteY1" fmla="*/ 782320 h 991253"/>
              <a:gd name="connsiteX2" fmla="*/ 3149600 w 3149600"/>
              <a:gd name="connsiteY2" fmla="*/ 0 h 991253"/>
            </a:gdLst>
            <a:ahLst/>
            <a:cxnLst>
              <a:cxn ang="0">
                <a:pos x="connsiteX0" y="connsiteY0"/>
              </a:cxn>
              <a:cxn ang="0">
                <a:pos x="connsiteX1" y="connsiteY1"/>
              </a:cxn>
              <a:cxn ang="0">
                <a:pos x="connsiteX2" y="connsiteY2"/>
              </a:cxn>
            </a:cxnLst>
            <a:rect l="l" t="t" r="r" b="b"/>
            <a:pathLst>
              <a:path w="3149600" h="991253">
                <a:moveTo>
                  <a:pt x="0" y="991253"/>
                </a:moveTo>
                <a:cubicBezTo>
                  <a:pt x="623993" y="979471"/>
                  <a:pt x="1080347" y="947529"/>
                  <a:pt x="1605280" y="782320"/>
                </a:cubicBezTo>
                <a:cubicBezTo>
                  <a:pt x="2130213" y="617111"/>
                  <a:pt x="2642446" y="325966"/>
                  <a:pt x="3149600" y="0"/>
                </a:cubicBezTo>
              </a:path>
            </a:pathLst>
          </a:custGeom>
          <a:ln w="25400">
            <a:solidFill>
              <a:srgbClr val="292929"/>
            </a:solidFill>
            <a:headEnd type="none" w="med" len="med"/>
            <a:tailEnd type="triangle"/>
          </a:ln>
          <a:effectLst/>
        </p:spPr>
        <p:txBody>
          <a:bodyPr lIns="73745" tIns="36872" rIns="73745" bIns="36872" rtlCol="0" anchor="ctr"/>
          <a:lstStyle/>
          <a:p>
            <a:pPr algn="ctr" defTabSz="1219170">
              <a:defRPr/>
            </a:pPr>
            <a:endParaRPr lang="en-US" sz="2700" kern="0" dirty="0">
              <a:solidFill>
                <a:sysClr val="windowText" lastClr="000000"/>
              </a:solidFill>
            </a:endParaRPr>
          </a:p>
        </p:txBody>
      </p:sp>
      <p:grpSp>
        <p:nvGrpSpPr>
          <p:cNvPr id="92" name="Group 91"/>
          <p:cNvGrpSpPr/>
          <p:nvPr/>
        </p:nvGrpSpPr>
        <p:grpSpPr>
          <a:xfrm>
            <a:off x="6805162" y="5114525"/>
            <a:ext cx="2916000" cy="904977"/>
            <a:chOff x="342905" y="5150364"/>
            <a:chExt cx="3941859" cy="1077195"/>
          </a:xfrm>
        </p:grpSpPr>
        <p:sp>
          <p:nvSpPr>
            <p:cNvPr id="93" name="TextBox 92"/>
            <p:cNvSpPr txBox="1"/>
            <p:nvPr/>
          </p:nvSpPr>
          <p:spPr>
            <a:xfrm>
              <a:off x="342905" y="5150364"/>
              <a:ext cx="3941859" cy="406640"/>
            </a:xfrm>
            <a:prstGeom prst="rect">
              <a:avLst/>
            </a:prstGeom>
            <a:noFill/>
            <a:ln>
              <a:noFill/>
            </a:ln>
          </p:spPr>
          <p:txBody>
            <a:bodyPr wrap="square" lIns="0" tIns="45718" rIns="0" bIns="45718" rtlCol="0">
              <a:spAutoFit/>
            </a:bodyPr>
            <a:lstStyle/>
            <a:p>
              <a:pPr defTabSz="1219170">
                <a:lnSpc>
                  <a:spcPct val="90000"/>
                </a:lnSpc>
                <a:spcBef>
                  <a:spcPct val="20000"/>
                </a:spcBef>
                <a:defRPr/>
              </a:pPr>
              <a:r>
                <a:rPr lang="en-US" kern="0" dirty="0">
                  <a:solidFill>
                    <a:srgbClr val="00AEEF">
                      <a:alpha val="99000"/>
                    </a:srgbClr>
                  </a:solidFill>
                  <a:latin typeface="Segoe UI" pitchFamily="34" charset="0"/>
                  <a:ea typeface="Segoe UI" pitchFamily="34" charset="0"/>
                  <a:cs typeface="Segoe UI" pitchFamily="34" charset="0"/>
                </a:rPr>
                <a:t>Predictable Bursting</a:t>
              </a:r>
            </a:p>
          </p:txBody>
        </p:sp>
        <p:sp>
          <p:nvSpPr>
            <p:cNvPr id="94" name="Rectangle 93"/>
            <p:cNvSpPr/>
            <p:nvPr/>
          </p:nvSpPr>
          <p:spPr>
            <a:xfrm>
              <a:off x="342905" y="5623087"/>
              <a:ext cx="3190658" cy="604472"/>
            </a:xfrm>
            <a:prstGeom prst="rect">
              <a:avLst/>
            </a:prstGeom>
            <a:ln>
              <a:noFill/>
            </a:ln>
          </p:spPr>
          <p:txBody>
            <a:bodyPr wrap="square" lIns="0" tIns="0" rIns="0" bIns="0">
              <a:spAutoFit/>
            </a:bodyPr>
            <a:lstStyle/>
            <a:p>
              <a:pPr marL="0" lvl="1" defTabSz="983007" fontAlgn="base">
                <a:spcAft>
                  <a:spcPct val="0"/>
                </a:spcAft>
                <a:defRPr/>
              </a:pPr>
              <a:r>
                <a:rPr lang="en-US" sz="1100" kern="0" dirty="0">
                  <a:solidFill>
                    <a:srgbClr val="292929">
                      <a:alpha val="99000"/>
                    </a:srgbClr>
                  </a:solidFill>
                  <a:ea typeface="Kozuka Gothic Pro R" pitchFamily="34" charset="-128"/>
                </a:rPr>
                <a:t>Services with micro seasonality trends   </a:t>
              </a:r>
            </a:p>
            <a:p>
              <a:pPr marL="0" lvl="1" defTabSz="983007" fontAlgn="base">
                <a:spcAft>
                  <a:spcPct val="0"/>
                </a:spcAft>
                <a:defRPr/>
              </a:pPr>
              <a:r>
                <a:rPr lang="en-US" sz="1100" kern="0" dirty="0">
                  <a:solidFill>
                    <a:srgbClr val="292929">
                      <a:alpha val="99000"/>
                    </a:srgbClr>
                  </a:solidFill>
                  <a:ea typeface="Kozuka Gothic Pro R" pitchFamily="34" charset="-128"/>
                </a:rPr>
                <a:t>Peaks due to periodic increased demand</a:t>
              </a:r>
            </a:p>
            <a:p>
              <a:pPr marL="0" lvl="1" defTabSz="983007" fontAlgn="base">
                <a:spcAft>
                  <a:spcPct val="0"/>
                </a:spcAft>
                <a:defRPr/>
              </a:pPr>
              <a:r>
                <a:rPr lang="en-US" sz="1100" kern="0" dirty="0">
                  <a:solidFill>
                    <a:srgbClr val="292929">
                      <a:alpha val="99000"/>
                    </a:srgbClr>
                  </a:solidFill>
                  <a:ea typeface="Kozuka Gothic Pro R" pitchFamily="34" charset="-128"/>
                </a:rPr>
                <a:t>IT complexity and wasted capacity</a:t>
              </a:r>
            </a:p>
          </p:txBody>
        </p:sp>
      </p:grpSp>
      <p:cxnSp>
        <p:nvCxnSpPr>
          <p:cNvPr id="95" name="Straight Arrow Connector 94"/>
          <p:cNvCxnSpPr/>
          <p:nvPr/>
        </p:nvCxnSpPr>
        <p:spPr bwMode="auto">
          <a:xfrm flipV="1">
            <a:off x="3773220" y="5242039"/>
            <a:ext cx="0" cy="753967"/>
          </a:xfrm>
          <a:prstGeom prst="straightConnector1">
            <a:avLst/>
          </a:prstGeom>
          <a:noFill/>
          <a:ln w="25400" cap="flat" cmpd="sng" algn="ctr">
            <a:solidFill>
              <a:srgbClr val="292929"/>
            </a:solidFill>
            <a:prstDash val="solid"/>
            <a:headEnd type="none" w="med" len="med"/>
            <a:tailEnd type="triangle"/>
          </a:ln>
          <a:effectLst/>
        </p:spPr>
      </p:cxnSp>
      <p:cxnSp>
        <p:nvCxnSpPr>
          <p:cNvPr id="96" name="Straight Arrow Connector 95"/>
          <p:cNvCxnSpPr/>
          <p:nvPr/>
        </p:nvCxnSpPr>
        <p:spPr bwMode="auto">
          <a:xfrm>
            <a:off x="3760015" y="5985465"/>
            <a:ext cx="2732208" cy="785"/>
          </a:xfrm>
          <a:prstGeom prst="straightConnector1">
            <a:avLst/>
          </a:prstGeom>
          <a:noFill/>
          <a:ln w="25400" cap="flat" cmpd="sng" algn="ctr">
            <a:solidFill>
              <a:srgbClr val="292929"/>
            </a:solidFill>
            <a:prstDash val="solid"/>
            <a:headEnd type="none" w="med" len="med"/>
            <a:tailEnd type="triangle"/>
          </a:ln>
          <a:effectLst/>
        </p:spPr>
      </p:cxnSp>
      <p:sp>
        <p:nvSpPr>
          <p:cNvPr id="97" name="Rectangle 96"/>
          <p:cNvSpPr/>
          <p:nvPr/>
        </p:nvSpPr>
        <p:spPr>
          <a:xfrm rot="16200000">
            <a:off x="3152296" y="5392695"/>
            <a:ext cx="860741" cy="189880"/>
          </a:xfrm>
          <a:prstGeom prst="rect">
            <a:avLst/>
          </a:prstGeom>
          <a:ln>
            <a:noFill/>
          </a:ln>
        </p:spPr>
        <p:txBody>
          <a:bodyPr wrap="square" lIns="73745" tIns="36872" rIns="73745" bIns="36872">
            <a:spAutoFit/>
          </a:bodyPr>
          <a:lstStyle/>
          <a:p>
            <a:pPr marL="245773" indent="-245773" algn="ctr" defTabSz="983087" eaLnBrk="0" fontAlgn="base" hangingPunct="0">
              <a:lnSpc>
                <a:spcPts val="860"/>
              </a:lnSpc>
              <a:spcBef>
                <a:spcPct val="20000"/>
              </a:spcBef>
              <a:spcAft>
                <a:spcPct val="0"/>
              </a:spcAft>
              <a:buClr>
                <a:srgbClr val="000000"/>
              </a:buClr>
              <a:defRPr/>
            </a:pPr>
            <a:r>
              <a:rPr lang="en-US" sz="1100" kern="0" dirty="0">
                <a:solidFill>
                  <a:srgbClr val="292929">
                    <a:alpha val="99000"/>
                  </a:srgbClr>
                </a:solidFill>
              </a:rPr>
              <a:t>Compute </a:t>
            </a:r>
          </a:p>
        </p:txBody>
      </p:sp>
      <p:sp>
        <p:nvSpPr>
          <p:cNvPr id="98" name="Freeform 97"/>
          <p:cNvSpPr/>
          <p:nvPr/>
        </p:nvSpPr>
        <p:spPr>
          <a:xfrm>
            <a:off x="3771407" y="5289379"/>
            <a:ext cx="2530003" cy="489808"/>
          </a:xfrm>
          <a:custGeom>
            <a:avLst/>
            <a:gdLst>
              <a:gd name="connsiteX0" fmla="*/ 0 w 2190307"/>
              <a:gd name="connsiteY0" fmla="*/ 689345 h 781494"/>
              <a:gd name="connsiteX1" fmla="*/ 531628 w 2190307"/>
              <a:gd name="connsiteY1" fmla="*/ 8861 h 781494"/>
              <a:gd name="connsiteX2" fmla="*/ 967563 w 2190307"/>
              <a:gd name="connsiteY2" fmla="*/ 742508 h 781494"/>
              <a:gd name="connsiteX3" fmla="*/ 1435395 w 2190307"/>
              <a:gd name="connsiteY3" fmla="*/ 8861 h 781494"/>
              <a:gd name="connsiteX4" fmla="*/ 1828800 w 2190307"/>
              <a:gd name="connsiteY4" fmla="*/ 721243 h 781494"/>
              <a:gd name="connsiteX5" fmla="*/ 2190307 w 2190307"/>
              <a:gd name="connsiteY5" fmla="*/ 370368 h 78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307" h="781494">
                <a:moveTo>
                  <a:pt x="0" y="689345"/>
                </a:moveTo>
                <a:cubicBezTo>
                  <a:pt x="185183" y="344672"/>
                  <a:pt x="370367" y="0"/>
                  <a:pt x="531628" y="8861"/>
                </a:cubicBezTo>
                <a:cubicBezTo>
                  <a:pt x="692889" y="17722"/>
                  <a:pt x="816935" y="742508"/>
                  <a:pt x="967563" y="742508"/>
                </a:cubicBezTo>
                <a:cubicBezTo>
                  <a:pt x="1118191" y="742508"/>
                  <a:pt x="1291856" y="12405"/>
                  <a:pt x="1435395" y="8861"/>
                </a:cubicBezTo>
                <a:cubicBezTo>
                  <a:pt x="1578934" y="5317"/>
                  <a:pt x="1702981" y="660992"/>
                  <a:pt x="1828800" y="721243"/>
                </a:cubicBezTo>
                <a:cubicBezTo>
                  <a:pt x="1954619" y="781494"/>
                  <a:pt x="2119423" y="430619"/>
                  <a:pt x="2190307" y="370368"/>
                </a:cubicBezTo>
              </a:path>
            </a:pathLst>
          </a:custGeom>
          <a:noFill/>
          <a:ln w="25400" cap="flat" cmpd="sng" algn="ctr">
            <a:solidFill>
              <a:srgbClr val="292929"/>
            </a:solidFill>
            <a:prstDash val="solid"/>
            <a:headEnd type="none" w="med" len="med"/>
            <a:tailEnd type="triangle"/>
          </a:ln>
          <a:effectLst/>
        </p:spPr>
        <p:txBody>
          <a:bodyPr lIns="73747" tIns="36874" rIns="73747" bIns="36874" rtlCol="0" anchor="ctr"/>
          <a:lstStyle/>
          <a:p>
            <a:pPr algn="ctr" defTabSz="1219170">
              <a:defRPr/>
            </a:pPr>
            <a:endParaRPr lang="en-US" sz="2700" kern="0" dirty="0">
              <a:solidFill>
                <a:srgbClr val="292929"/>
              </a:solidFill>
              <a:latin typeface="Segoe UI"/>
            </a:endParaRPr>
          </a:p>
        </p:txBody>
      </p:sp>
      <p:cxnSp>
        <p:nvCxnSpPr>
          <p:cNvPr id="99" name="Straight Connector 98"/>
          <p:cNvCxnSpPr/>
          <p:nvPr/>
        </p:nvCxnSpPr>
        <p:spPr bwMode="auto">
          <a:xfrm>
            <a:off x="3794055" y="5604141"/>
            <a:ext cx="2567663" cy="20879"/>
          </a:xfrm>
          <a:prstGeom prst="line">
            <a:avLst/>
          </a:prstGeom>
          <a:noFill/>
          <a:ln w="19050" cap="flat" cmpd="sng" algn="ctr">
            <a:solidFill>
              <a:srgbClr val="292929"/>
            </a:solidFill>
            <a:prstDash val="sysDot"/>
            <a:headEnd type="none" w="med" len="med"/>
            <a:tailEnd type="none" w="med" len="med"/>
          </a:ln>
          <a:effectLst/>
        </p:spPr>
      </p:cxnSp>
      <p:cxnSp>
        <p:nvCxnSpPr>
          <p:cNvPr id="100" name="Straight Connector 99"/>
          <p:cNvCxnSpPr/>
          <p:nvPr/>
        </p:nvCxnSpPr>
        <p:spPr>
          <a:xfrm>
            <a:off x="3102632" y="3729355"/>
            <a:ext cx="6249065" cy="0"/>
          </a:xfrm>
          <a:prstGeom prst="line">
            <a:avLst/>
          </a:prstGeom>
          <a:noFill/>
          <a:ln w="9525" cap="flat" cmpd="sng" algn="ctr">
            <a:solidFill>
              <a:srgbClr val="0071BC">
                <a:lumMod val="40000"/>
                <a:lumOff val="60000"/>
              </a:srgbClr>
            </a:solidFill>
            <a:prstDash val="solid"/>
          </a:ln>
          <a:effectLst/>
        </p:spPr>
      </p:cxnSp>
      <p:cxnSp>
        <p:nvCxnSpPr>
          <p:cNvPr id="101" name="Straight Connector 100"/>
          <p:cNvCxnSpPr/>
          <p:nvPr/>
        </p:nvCxnSpPr>
        <p:spPr>
          <a:xfrm>
            <a:off x="3102632" y="4945685"/>
            <a:ext cx="6249065" cy="0"/>
          </a:xfrm>
          <a:prstGeom prst="line">
            <a:avLst/>
          </a:prstGeom>
          <a:noFill/>
          <a:ln w="9525" cap="flat" cmpd="sng" algn="ctr">
            <a:solidFill>
              <a:srgbClr val="0071BC">
                <a:lumMod val="40000"/>
                <a:lumOff val="60000"/>
              </a:srgbClr>
            </a:solidFill>
            <a:prstDash val="solid"/>
          </a:ln>
          <a:effectLst/>
        </p:spPr>
      </p:cxnSp>
      <p:cxnSp>
        <p:nvCxnSpPr>
          <p:cNvPr id="102" name="Straight Connector 101"/>
          <p:cNvCxnSpPr/>
          <p:nvPr/>
        </p:nvCxnSpPr>
        <p:spPr>
          <a:xfrm>
            <a:off x="3102632" y="2529203"/>
            <a:ext cx="6249065" cy="0"/>
          </a:xfrm>
          <a:prstGeom prst="line">
            <a:avLst/>
          </a:prstGeom>
          <a:noFill/>
          <a:ln w="9525" cap="flat" cmpd="sng" algn="ctr">
            <a:solidFill>
              <a:srgbClr val="0071BC">
                <a:lumMod val="40000"/>
                <a:lumOff val="60000"/>
              </a:srgbClr>
            </a:solidFill>
            <a:prstDash val="solid"/>
          </a:ln>
          <a:effectLst/>
        </p:spPr>
      </p:cxnSp>
    </p:spTree>
    <p:extLst>
      <p:ext uri="{BB962C8B-B14F-4D97-AF65-F5344CB8AC3E}">
        <p14:creationId xmlns:p14="http://schemas.microsoft.com/office/powerpoint/2010/main" val="751381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4566" y="0"/>
            <a:ext cx="10515600" cy="1325563"/>
          </a:xfrm>
        </p:spPr>
        <p:txBody>
          <a:bodyPr/>
          <a:lstStyle/>
          <a:p>
            <a:r>
              <a:rPr lang="en-US" b="1" u="sng" dirty="0">
                <a:effectLst>
                  <a:outerShdw blurRad="38100" dist="38100" dir="2700000" algn="tl">
                    <a:srgbClr val="000000">
                      <a:alpha val="43137"/>
                    </a:srgbClr>
                  </a:outerShdw>
                </a:effectLst>
              </a:rPr>
              <a:t>Configuring storage in Windows VMs</a:t>
            </a:r>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a:spcAft>
                <a:spcPts val="600"/>
              </a:spcAft>
            </a:pPr>
            <a:r>
              <a:rPr lang="en-CA" dirty="0"/>
              <a:t>The </a:t>
            </a:r>
            <a:r>
              <a:rPr lang="bs-Latn-BA" dirty="0"/>
              <a:t>same disk management tools as on-premise</a:t>
            </a:r>
            <a:r>
              <a:rPr lang="en-CA" dirty="0"/>
              <a:t>s:</a:t>
            </a:r>
          </a:p>
          <a:p>
            <a:pPr lvl="1">
              <a:spcAft>
                <a:spcPts val="600"/>
              </a:spcAft>
            </a:pPr>
            <a:r>
              <a:rPr lang="en-CA" dirty="0"/>
              <a:t>Server Manager (Storage Spaces)</a:t>
            </a:r>
          </a:p>
          <a:p>
            <a:pPr lvl="1">
              <a:spcAft>
                <a:spcPts val="600"/>
              </a:spcAft>
            </a:pPr>
            <a:r>
              <a:rPr lang="en-CA" dirty="0"/>
              <a:t>Windows PowerShell (Storage Spaces)</a:t>
            </a:r>
          </a:p>
          <a:p>
            <a:pPr lvl="1">
              <a:spcAft>
                <a:spcPts val="600"/>
              </a:spcAft>
            </a:pPr>
            <a:r>
              <a:rPr lang="en-CA" dirty="0"/>
              <a:t>Disk Management snap-in</a:t>
            </a:r>
            <a:endParaRPr lang="bs-Latn-BA" dirty="0"/>
          </a:p>
          <a:p>
            <a:pPr>
              <a:spcAft>
                <a:spcPts val="600"/>
              </a:spcAft>
            </a:pPr>
            <a:r>
              <a:rPr lang="en-US" dirty="0"/>
              <a:t>Use Storage Spaces in Windows Azure VMs:</a:t>
            </a:r>
          </a:p>
          <a:p>
            <a:pPr lvl="1">
              <a:spcAft>
                <a:spcPts val="600"/>
              </a:spcAft>
            </a:pPr>
            <a:r>
              <a:rPr lang="en-US" dirty="0"/>
              <a:t>Aggregate I/O throughput</a:t>
            </a:r>
          </a:p>
          <a:p>
            <a:pPr lvl="1">
              <a:spcAft>
                <a:spcPts val="600"/>
              </a:spcAft>
            </a:pPr>
            <a:r>
              <a:rPr lang="en-US" dirty="0"/>
              <a:t>Create volumes larger than 1-TB disk size limit</a:t>
            </a:r>
          </a:p>
          <a:p>
            <a:pPr lvl="1">
              <a:spcAft>
                <a:spcPts val="600"/>
              </a:spcAft>
            </a:pPr>
            <a:r>
              <a:rPr lang="en-US" dirty="0"/>
              <a:t>Maximum number of data disks depends on VM size</a:t>
            </a:r>
          </a:p>
          <a:p>
            <a:pPr lvl="1">
              <a:spcAft>
                <a:spcPts val="600"/>
              </a:spcAft>
            </a:pPr>
            <a:endParaRPr lang="en-US" dirty="0"/>
          </a:p>
          <a:p>
            <a:endParaRPr lang="en-US" dirty="0"/>
          </a:p>
        </p:txBody>
      </p:sp>
    </p:spTree>
    <p:extLst>
      <p:ext uri="{BB962C8B-B14F-4D97-AF65-F5344CB8AC3E}">
        <p14:creationId xmlns:p14="http://schemas.microsoft.com/office/powerpoint/2010/main" val="647002440"/>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90482" y="2046008"/>
            <a:ext cx="10515600" cy="1325563"/>
          </a:xfrm>
        </p:spPr>
        <p:txBody>
          <a:bodyPr/>
          <a:lstStyle/>
          <a:p>
            <a:r>
              <a:rPr lang="en-US" b="1" u="sng" dirty="0" smtClean="0">
                <a:effectLst>
                  <a:outerShdw blurRad="38100" dist="38100" dir="2700000" algn="tl">
                    <a:srgbClr val="000000">
                      <a:alpha val="43137"/>
                    </a:srgbClr>
                  </a:outerShdw>
                </a:effectLst>
              </a:rPr>
              <a:t>Module 3  Azure virtual network  </a:t>
            </a:r>
            <a:endParaRPr lang="en-US" b="1" u="sng"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475488" y="911352"/>
            <a:ext cx="11253216" cy="5146548"/>
          </a:xfrm>
        </p:spPr>
        <p:txBody>
          <a:bodyPr/>
          <a:lstStyle/>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p:txBody>
      </p:sp>
    </p:spTree>
    <p:extLst>
      <p:ext uri="{BB962C8B-B14F-4D97-AF65-F5344CB8AC3E}">
        <p14:creationId xmlns:p14="http://schemas.microsoft.com/office/powerpoint/2010/main" val="2656651386"/>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88788" y="0"/>
            <a:ext cx="11353800" cy="1110342"/>
          </a:xfrm>
        </p:spPr>
        <p:txBody>
          <a:bodyPr>
            <a:normAutofit/>
          </a:bodyPr>
          <a:lstStyle/>
          <a:p>
            <a:r>
              <a:rPr lang="en-IN" sz="3600" u="sng" dirty="0">
                <a:effectLst>
                  <a:outerShdw blurRad="38100" dist="38100" dir="2700000" algn="tl">
                    <a:srgbClr val="000000">
                      <a:alpha val="43137"/>
                    </a:srgbClr>
                  </a:outerShdw>
                </a:effectLst>
              </a:rPr>
              <a:t>Azure Virtual Network</a:t>
            </a:r>
            <a:br>
              <a:rPr lang="en-IN" sz="3600" u="sng" dirty="0">
                <a:effectLst>
                  <a:outerShdw blurRad="38100" dist="38100" dir="2700000" algn="tl">
                    <a:srgbClr val="000000">
                      <a:alpha val="43137"/>
                    </a:srgbClr>
                  </a:outerShdw>
                </a:effectLst>
              </a:rPr>
            </a:br>
            <a:endParaRPr lang="en-IN" sz="3600" u="sng"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0" y="1045028"/>
            <a:ext cx="12192000" cy="5812971"/>
          </a:xfrm>
        </p:spPr>
        <p:txBody>
          <a:bodyPr>
            <a:normAutofit/>
          </a:bodyPr>
          <a:lstStyle/>
          <a:p>
            <a:pPr marL="0" indent="0">
              <a:buNone/>
            </a:pPr>
            <a:r>
              <a:rPr lang="en-IN" sz="2400" dirty="0"/>
              <a:t>The Azure Virtual Network service enables you to securely connect Azure resources to each other with virtual networks (</a:t>
            </a:r>
            <a:r>
              <a:rPr lang="en-IN" sz="2400" dirty="0" err="1"/>
              <a:t>VNets</a:t>
            </a:r>
            <a:r>
              <a:rPr lang="en-IN" sz="2400" dirty="0"/>
              <a:t>). A </a:t>
            </a:r>
            <a:r>
              <a:rPr lang="en-IN" sz="2400" dirty="0" err="1"/>
              <a:t>VNet</a:t>
            </a:r>
            <a:r>
              <a:rPr lang="en-IN" sz="2400" dirty="0"/>
              <a:t> is a representation of your own network in the cloud. A </a:t>
            </a:r>
            <a:r>
              <a:rPr lang="en-IN" sz="2400" dirty="0" err="1"/>
              <a:t>VNet</a:t>
            </a:r>
            <a:r>
              <a:rPr lang="en-IN" sz="2400" dirty="0"/>
              <a:t> is a logical isolation of the Azure cloud dedicated to your subscription. You can also connect </a:t>
            </a:r>
            <a:r>
              <a:rPr lang="en-IN" sz="2400" dirty="0" err="1"/>
              <a:t>VNets</a:t>
            </a:r>
            <a:r>
              <a:rPr lang="en-IN" sz="2400" dirty="0"/>
              <a:t> to your on-premises network. </a:t>
            </a:r>
            <a:endParaRPr lang="en-IN" sz="2400" dirty="0" smtClean="0"/>
          </a:p>
          <a:p>
            <a:pPr marL="0" indent="0">
              <a:buNone/>
            </a:pPr>
            <a:endParaRPr lang="en-IN" sz="2400"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9712" y="3038580"/>
            <a:ext cx="5839640" cy="2400635"/>
          </a:xfrm>
          <a:prstGeom prst="rect">
            <a:avLst/>
          </a:prstGeom>
        </p:spPr>
      </p:pic>
    </p:spTree>
    <p:extLst>
      <p:ext uri="{BB962C8B-B14F-4D97-AF65-F5344CB8AC3E}">
        <p14:creationId xmlns:p14="http://schemas.microsoft.com/office/powerpoint/2010/main" val="1616081847"/>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0"/>
            <a:ext cx="12192000" cy="6858000"/>
          </a:xfrm>
        </p:spPr>
        <p:txBody>
          <a:bodyPr>
            <a:normAutofit/>
          </a:bodyPr>
          <a:lstStyle/>
          <a:p>
            <a:r>
              <a:rPr lang="en-IN" sz="2400" b="1" dirty="0">
                <a:hlinkClick r:id="rId2"/>
              </a:rPr>
              <a:t>Isolation</a:t>
            </a:r>
            <a:r>
              <a:rPr lang="en-IN" sz="2000" b="1" dirty="0">
                <a:hlinkClick r:id="rId2"/>
              </a:rPr>
              <a:t>:</a:t>
            </a:r>
            <a:r>
              <a:rPr lang="en-IN" sz="2000" dirty="0"/>
              <a:t> </a:t>
            </a:r>
            <a:r>
              <a:rPr lang="en-IN" sz="2000" dirty="0" err="1"/>
              <a:t>VNets</a:t>
            </a:r>
            <a:r>
              <a:rPr lang="en-IN" sz="2000" dirty="0"/>
              <a:t> are isolated from one </a:t>
            </a:r>
            <a:r>
              <a:rPr lang="en-IN" sz="2000" dirty="0" smtClean="0"/>
              <a:t>another.</a:t>
            </a:r>
          </a:p>
          <a:p>
            <a:endParaRPr lang="en-IN" sz="2000" dirty="0" smtClean="0"/>
          </a:p>
          <a:p>
            <a:r>
              <a:rPr lang="en-IN" sz="2400" b="1" dirty="0" smtClean="0">
                <a:hlinkClick r:id="rId2"/>
              </a:rPr>
              <a:t>Internet </a:t>
            </a:r>
            <a:r>
              <a:rPr lang="en-IN" sz="2400" b="1" dirty="0">
                <a:hlinkClick r:id="rId2"/>
              </a:rPr>
              <a:t>connectivity:</a:t>
            </a:r>
            <a:r>
              <a:rPr lang="en-IN" sz="2000" dirty="0"/>
              <a:t> </a:t>
            </a:r>
            <a:r>
              <a:rPr lang="en-IN" sz="2000" dirty="0" smtClean="0"/>
              <a:t>All </a:t>
            </a:r>
            <a:r>
              <a:rPr lang="en-IN" sz="2000" dirty="0"/>
              <a:t>Azure Virtual Machines (VM) and Cloud Services role instances connected to a </a:t>
            </a:r>
            <a:r>
              <a:rPr lang="en-IN" sz="2000" dirty="0" err="1"/>
              <a:t>VNet</a:t>
            </a:r>
            <a:r>
              <a:rPr lang="en-IN" sz="2000" dirty="0"/>
              <a:t> have access to the Internet, by default. You can also enable inbound access to specific resources, as needed</a:t>
            </a:r>
            <a:r>
              <a:rPr lang="en-IN" sz="2000" dirty="0" smtClean="0"/>
              <a:t>.</a:t>
            </a:r>
          </a:p>
          <a:p>
            <a:endParaRPr lang="en-IN" sz="2000" dirty="0" smtClean="0"/>
          </a:p>
          <a:p>
            <a:r>
              <a:rPr lang="en-IN" sz="2400" b="1" dirty="0" smtClean="0">
                <a:hlinkClick r:id="rId2"/>
              </a:rPr>
              <a:t>Azure </a:t>
            </a:r>
            <a:r>
              <a:rPr lang="en-IN" sz="2400" b="1" dirty="0">
                <a:hlinkClick r:id="rId2"/>
              </a:rPr>
              <a:t>resource connectivity</a:t>
            </a:r>
            <a:r>
              <a:rPr lang="en-IN" sz="2400" b="1" dirty="0" smtClean="0">
                <a:hlinkClick r:id="rId2"/>
              </a:rPr>
              <a:t>:</a:t>
            </a:r>
            <a:r>
              <a:rPr lang="en-IN" sz="2400" b="1" dirty="0" smtClean="0"/>
              <a:t> </a:t>
            </a:r>
            <a:r>
              <a:rPr lang="en-IN" sz="2000" dirty="0"/>
              <a:t>Azure resources such as </a:t>
            </a:r>
            <a:r>
              <a:rPr lang="en-IN" sz="2000" dirty="0" smtClean="0"/>
              <a:t>Resource Group and </a:t>
            </a:r>
            <a:r>
              <a:rPr lang="en-IN" sz="2000" dirty="0"/>
              <a:t>VMs can be connected to the same </a:t>
            </a:r>
            <a:r>
              <a:rPr lang="en-IN" sz="2000" dirty="0" err="1" smtClean="0"/>
              <a:t>Vnet</a:t>
            </a:r>
            <a:r>
              <a:rPr lang="en-IN" sz="2000" dirty="0" smtClean="0"/>
              <a:t>. </a:t>
            </a:r>
            <a:r>
              <a:rPr lang="en-IN" sz="2000" dirty="0"/>
              <a:t>Azure provides default routing between subnets, </a:t>
            </a:r>
            <a:r>
              <a:rPr lang="en-IN" sz="2000" dirty="0" err="1"/>
              <a:t>VNets</a:t>
            </a:r>
            <a:r>
              <a:rPr lang="en-IN" sz="2000" dirty="0"/>
              <a:t>, and on-premises </a:t>
            </a:r>
            <a:r>
              <a:rPr lang="en-IN" sz="2000" dirty="0" smtClean="0"/>
              <a:t>networks.</a:t>
            </a:r>
          </a:p>
          <a:p>
            <a:endParaRPr lang="en-IN" sz="2000" dirty="0" smtClean="0"/>
          </a:p>
          <a:p>
            <a:r>
              <a:rPr lang="en-IN" sz="2400" b="1" dirty="0" err="1" smtClean="0">
                <a:hlinkClick r:id="rId2"/>
              </a:rPr>
              <a:t>VNet</a:t>
            </a:r>
            <a:r>
              <a:rPr lang="en-IN" sz="2400" b="1" dirty="0" smtClean="0">
                <a:hlinkClick r:id="rId2"/>
              </a:rPr>
              <a:t> </a:t>
            </a:r>
            <a:r>
              <a:rPr lang="en-IN" sz="2400" b="1" dirty="0">
                <a:hlinkClick r:id="rId2"/>
              </a:rPr>
              <a:t>connectivity</a:t>
            </a:r>
            <a:r>
              <a:rPr lang="en-IN" sz="2400" b="1" dirty="0" smtClean="0">
                <a:hlinkClick r:id="rId2"/>
              </a:rPr>
              <a:t>:</a:t>
            </a:r>
            <a:r>
              <a:rPr lang="en-IN" sz="2400" b="1" dirty="0" smtClean="0"/>
              <a:t> </a:t>
            </a:r>
            <a:r>
              <a:rPr lang="en-IN" sz="2000" dirty="0" err="1"/>
              <a:t>VNets</a:t>
            </a:r>
            <a:r>
              <a:rPr lang="en-IN" sz="2000" dirty="0"/>
              <a:t> can be connected to each </a:t>
            </a:r>
            <a:r>
              <a:rPr lang="en-IN" sz="2000" dirty="0" smtClean="0"/>
              <a:t>other.</a:t>
            </a:r>
          </a:p>
          <a:p>
            <a:endParaRPr lang="en-IN" sz="2000" dirty="0" smtClean="0"/>
          </a:p>
          <a:p>
            <a:r>
              <a:rPr lang="en-IN" sz="2400" b="1" dirty="0" smtClean="0">
                <a:hlinkClick r:id="rId2"/>
              </a:rPr>
              <a:t>On-premises </a:t>
            </a:r>
            <a:r>
              <a:rPr lang="en-IN" sz="2400" b="1" dirty="0">
                <a:hlinkClick r:id="rId2"/>
              </a:rPr>
              <a:t>connectivity</a:t>
            </a:r>
            <a:r>
              <a:rPr lang="en-IN" sz="2400" b="1" dirty="0" smtClean="0">
                <a:hlinkClick r:id="rId2"/>
              </a:rPr>
              <a:t>:</a:t>
            </a:r>
            <a:r>
              <a:rPr lang="en-IN" sz="2400" b="1" dirty="0" smtClean="0"/>
              <a:t> </a:t>
            </a:r>
            <a:r>
              <a:rPr lang="en-IN" sz="2000" dirty="0" err="1"/>
              <a:t>VNets</a:t>
            </a:r>
            <a:r>
              <a:rPr lang="en-IN" sz="2000" dirty="0"/>
              <a:t> can be connected to on-premises </a:t>
            </a:r>
            <a:r>
              <a:rPr lang="en-IN" sz="2000" dirty="0" smtClean="0"/>
              <a:t>networks.</a:t>
            </a:r>
          </a:p>
          <a:p>
            <a:endParaRPr lang="en-IN" sz="2000" dirty="0" smtClean="0"/>
          </a:p>
          <a:p>
            <a:r>
              <a:rPr lang="en-IN" sz="2400" b="1" dirty="0" smtClean="0">
                <a:hlinkClick r:id="rId2"/>
              </a:rPr>
              <a:t>Traffic </a:t>
            </a:r>
            <a:r>
              <a:rPr lang="en-IN" sz="2400" b="1" dirty="0">
                <a:hlinkClick r:id="rId2"/>
              </a:rPr>
              <a:t>filtering</a:t>
            </a:r>
            <a:r>
              <a:rPr lang="en-IN" sz="2400" b="1" dirty="0" smtClean="0">
                <a:hlinkClick r:id="rId2"/>
              </a:rPr>
              <a:t>:</a:t>
            </a:r>
            <a:r>
              <a:rPr lang="en-IN" sz="2400" b="1" dirty="0" smtClean="0"/>
              <a:t> </a:t>
            </a:r>
            <a:r>
              <a:rPr lang="en-IN" sz="2000" dirty="0"/>
              <a:t>VM and </a:t>
            </a:r>
            <a:r>
              <a:rPr lang="en-IN" sz="2000" dirty="0" smtClean="0"/>
              <a:t>RG role </a:t>
            </a:r>
            <a:r>
              <a:rPr lang="en-IN" sz="2000" dirty="0"/>
              <a:t>instances network traffic can be filtered inbound and outbound by source IP </a:t>
            </a:r>
            <a:r>
              <a:rPr lang="en-IN" sz="2000" dirty="0" smtClean="0"/>
              <a:t>destination </a:t>
            </a:r>
            <a:r>
              <a:rPr lang="en-IN" sz="2000" dirty="0"/>
              <a:t>IP address </a:t>
            </a:r>
            <a:r>
              <a:rPr lang="en-IN" sz="2000" dirty="0" smtClean="0"/>
              <a:t>, port and </a:t>
            </a:r>
            <a:r>
              <a:rPr lang="en-IN" sz="2000" dirty="0"/>
              <a:t>protocol.</a:t>
            </a:r>
          </a:p>
        </p:txBody>
      </p:sp>
    </p:spTree>
    <p:extLst>
      <p:ext uri="{BB962C8B-B14F-4D97-AF65-F5344CB8AC3E}">
        <p14:creationId xmlns:p14="http://schemas.microsoft.com/office/powerpoint/2010/main" val="2918035501"/>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06017" y="29888"/>
            <a:ext cx="12875868" cy="6828112"/>
          </a:xfrm>
          <a:prstGeom prst="rect">
            <a:avLst/>
          </a:prstGeom>
        </p:spPr>
      </p:pic>
    </p:spTree>
    <p:extLst>
      <p:ext uri="{BB962C8B-B14F-4D97-AF65-F5344CB8AC3E}">
        <p14:creationId xmlns:p14="http://schemas.microsoft.com/office/powerpoint/2010/main" val="28603709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a:spLocks noGrp="1"/>
          </p:cNvSpPr>
          <p:nvPr>
            <p:ph type="title"/>
          </p:nvPr>
        </p:nvSpPr>
        <p:spPr>
          <a:xfrm>
            <a:off x="114300" y="296898"/>
            <a:ext cx="11724774" cy="841328"/>
          </a:xfrm>
        </p:spPr>
        <p:txBody>
          <a:bodyPr>
            <a:normAutofit/>
          </a:bodyPr>
          <a:lstStyle/>
          <a:p>
            <a:r>
              <a:rPr lang="en-US" sz="3600" b="1" u="sng" dirty="0" smtClean="0">
                <a:effectLst>
                  <a:outerShdw blurRad="38100" dist="38100" dir="2700000" algn="tl">
                    <a:srgbClr val="000000">
                      <a:alpha val="43137"/>
                    </a:srgbClr>
                  </a:outerShdw>
                </a:effectLst>
              </a:rPr>
              <a:t>Virtual networks</a:t>
            </a:r>
            <a:endParaRPr lang="en-US" sz="3600" b="1" u="sng" dirty="0">
              <a:effectLst>
                <a:outerShdw blurRad="38100" dist="38100" dir="2700000" algn="tl">
                  <a:srgbClr val="000000">
                    <a:alpha val="43137"/>
                  </a:srgbClr>
                </a:outerShdw>
              </a:effectLst>
            </a:endParaRPr>
          </a:p>
        </p:txBody>
      </p:sp>
      <p:sp>
        <p:nvSpPr>
          <p:cNvPr id="22" name="Content Placeholder 2"/>
          <p:cNvSpPr txBox="1">
            <a:spLocks/>
          </p:cNvSpPr>
          <p:nvPr/>
        </p:nvSpPr>
        <p:spPr>
          <a:xfrm>
            <a:off x="469093" y="1947858"/>
            <a:ext cx="5044960" cy="3836120"/>
          </a:xfrm>
          <a:prstGeom prst="rect">
            <a:avLst/>
          </a:prstGeom>
        </p:spPr>
        <p:txBody>
          <a:bodyPr vert="horz" wrap="square" lIns="146304" tIns="91440" rIns="146304" bIns="91440" rtlCol="0">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100000">
                      <a:schemeClr val="tx1"/>
                    </a:gs>
                  </a:gsLst>
                  <a:lin ang="5400000" scaled="0"/>
                </a:gradFill>
                <a:latin typeface="+mj-lt"/>
                <a:ea typeface="+mn-ea"/>
                <a:cs typeface="+mn-cs"/>
              </a:defRPr>
            </a:lvl1pPr>
            <a:lvl2pPr marL="3429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2pPr>
            <a:lvl3pPr marL="5715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lnSpc>
                <a:spcPct val="100000"/>
              </a:lnSpc>
              <a:buFont typeface="Arial" panose="020B0604020202020204" pitchFamily="34" charset="0"/>
              <a:buChar char="•"/>
            </a:pPr>
            <a:r>
              <a:rPr lang="en-US" sz="2800" dirty="0" smtClean="0">
                <a:solidFill>
                  <a:schemeClr val="tx1"/>
                </a:solidFill>
              </a:rPr>
              <a:t>Bring your own network</a:t>
            </a:r>
          </a:p>
          <a:p>
            <a:pPr marL="457200" indent="-457200">
              <a:lnSpc>
                <a:spcPct val="100000"/>
              </a:lnSpc>
              <a:buFont typeface="Arial" panose="020B0604020202020204" pitchFamily="34" charset="0"/>
              <a:buChar char="•"/>
            </a:pPr>
            <a:r>
              <a:rPr lang="en-US" sz="2800" dirty="0" smtClean="0">
                <a:solidFill>
                  <a:schemeClr val="tx1"/>
                </a:solidFill>
              </a:rPr>
              <a:t>Create subnets with your private or public IP addresses </a:t>
            </a:r>
          </a:p>
          <a:p>
            <a:pPr marL="457200" indent="-457200">
              <a:lnSpc>
                <a:spcPct val="100000"/>
              </a:lnSpc>
              <a:buFont typeface="Arial" panose="020B0604020202020204" pitchFamily="34" charset="0"/>
              <a:buChar char="•"/>
            </a:pPr>
            <a:r>
              <a:rPr lang="en-US" sz="2800" dirty="0" smtClean="0">
                <a:solidFill>
                  <a:schemeClr val="tx1"/>
                </a:solidFill>
              </a:rPr>
              <a:t>Bring your own DNS or use Azure-provided DNS</a:t>
            </a:r>
          </a:p>
          <a:p>
            <a:pPr marL="457200" indent="-457200">
              <a:lnSpc>
                <a:spcPct val="100000"/>
              </a:lnSpc>
              <a:buFont typeface="Arial" panose="020B0604020202020204" pitchFamily="34" charset="0"/>
              <a:buChar char="•"/>
            </a:pPr>
            <a:r>
              <a:rPr lang="en-US" sz="2800" dirty="0" smtClean="0">
                <a:solidFill>
                  <a:schemeClr val="tx1"/>
                </a:solidFill>
              </a:rPr>
              <a:t>Hybrid connectivity with VPNs and/or ExpressRoute</a:t>
            </a:r>
            <a:endParaRPr lang="en-US" sz="1400" dirty="0"/>
          </a:p>
        </p:txBody>
      </p:sp>
      <p:sp>
        <p:nvSpPr>
          <p:cNvPr id="23" name="Freeform 95"/>
          <p:cNvSpPr>
            <a:spLocks/>
          </p:cNvSpPr>
          <p:nvPr/>
        </p:nvSpPr>
        <p:spPr bwMode="auto">
          <a:xfrm flipH="1">
            <a:off x="6007394" y="2145476"/>
            <a:ext cx="6254211" cy="371331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2">
              <a:lumMod val="90000"/>
            </a:schemeClr>
          </a:solidFill>
          <a:ln w="28575">
            <a:noFill/>
            <a:round/>
            <a:headEnd/>
            <a:tailEnd/>
          </a:ln>
          <a:extLst/>
        </p:spPr>
        <p:txBody>
          <a:bodyPr vert="horz" wrap="square" lIns="93248" tIns="46624" rIns="93248" bIns="46624" numCol="1" anchor="t" anchorCtr="0" compatLnSpc="1">
            <a:prstTxWarp prst="textNoShape">
              <a:avLst/>
            </a:prstTxWarp>
          </a:bodyPr>
          <a:lstStyle/>
          <a:p>
            <a:endParaRPr lang="en-US" sz="1836" kern="0" dirty="0">
              <a:solidFill>
                <a:srgbClr val="505050"/>
              </a:solidFill>
            </a:endParaRPr>
          </a:p>
        </p:txBody>
      </p:sp>
      <p:sp>
        <p:nvSpPr>
          <p:cNvPr id="24" name="Rounded Rectangle 23"/>
          <p:cNvSpPr/>
          <p:nvPr/>
        </p:nvSpPr>
        <p:spPr>
          <a:xfrm>
            <a:off x="7178459" y="3472177"/>
            <a:ext cx="4368167" cy="1991068"/>
          </a:xfrm>
          <a:prstGeom prst="roundRect">
            <a:avLst>
              <a:gd name="adj" fmla="val 7613"/>
            </a:avLst>
          </a:prstGeom>
          <a:solidFill>
            <a:schemeClr val="accent1">
              <a:lumMod val="50000"/>
            </a:schemeClr>
          </a:solidFill>
          <a:ln w="25400" cap="flat" cmpd="sng" algn="ctr">
            <a:solidFill>
              <a:schemeClr val="bg1"/>
            </a:solidFill>
            <a:prstDash val="solid"/>
          </a:ln>
          <a:effectLst/>
          <a:scene3d>
            <a:camera prst="orthographicFront"/>
            <a:lightRig rig="threePt" dir="t"/>
          </a:scene3d>
          <a:sp3d>
            <a:bevelT/>
          </a:sp3d>
        </p:spPr>
        <p:txBody>
          <a:bodyPr rtlCol="0" anchor="ctr"/>
          <a:lstStyle/>
          <a:p>
            <a:pPr algn="ctr" defTabSz="914309">
              <a:defRPr/>
            </a:pPr>
            <a:endParaRPr lang="en-US" sz="2800" kern="0" dirty="0">
              <a:solidFill>
                <a:srgbClr val="FFFFFF"/>
              </a:solidFill>
              <a:latin typeface="Calibri"/>
            </a:endParaRPr>
          </a:p>
        </p:txBody>
      </p:sp>
      <p:sp>
        <p:nvSpPr>
          <p:cNvPr id="25" name="TextBox 24"/>
          <p:cNvSpPr txBox="1"/>
          <p:nvPr/>
        </p:nvSpPr>
        <p:spPr>
          <a:xfrm>
            <a:off x="8110458" y="5460580"/>
            <a:ext cx="2231829" cy="461665"/>
          </a:xfrm>
          <a:prstGeom prst="rect">
            <a:avLst/>
          </a:prstGeom>
          <a:noFill/>
        </p:spPr>
        <p:txBody>
          <a:bodyPr wrap="none" rtlCol="0">
            <a:spAutoFit/>
          </a:bodyPr>
          <a:lstStyle/>
          <a:p>
            <a:pPr defTabSz="914309"/>
            <a:r>
              <a:rPr lang="en-US" sz="2400" b="1" dirty="0">
                <a:latin typeface="Calibri"/>
              </a:rPr>
              <a:t>Virtual Network</a:t>
            </a:r>
          </a:p>
        </p:txBody>
      </p:sp>
      <p:grpSp>
        <p:nvGrpSpPr>
          <p:cNvPr id="26" name="Group 25"/>
          <p:cNvGrpSpPr/>
          <p:nvPr/>
        </p:nvGrpSpPr>
        <p:grpSpPr>
          <a:xfrm>
            <a:off x="7315003" y="3649268"/>
            <a:ext cx="742191" cy="740134"/>
            <a:chOff x="2915928" y="2972963"/>
            <a:chExt cx="822960" cy="828366"/>
          </a:xfrm>
        </p:grpSpPr>
        <p:sp>
          <p:nvSpPr>
            <p:cNvPr id="27" name="Oval 26"/>
            <p:cNvSpPr/>
            <p:nvPr/>
          </p:nvSpPr>
          <p:spPr bwMode="auto">
            <a:xfrm>
              <a:off x="2915928" y="2972963"/>
              <a:ext cx="822960" cy="822960"/>
            </a:xfrm>
            <a:prstGeom prst="ellipse">
              <a:avLst/>
            </a:prstGeom>
            <a:solidFill>
              <a:srgbClr val="FFFFFF"/>
            </a:solidFill>
            <a:ln w="76200"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latin typeface="Calibri"/>
              </a:endParaRPr>
            </a:p>
          </p:txBody>
        </p:sp>
        <p:sp>
          <p:nvSpPr>
            <p:cNvPr id="28" name="Freeform 52"/>
            <p:cNvSpPr>
              <a:spLocks noEditPoints="1"/>
            </p:cNvSpPr>
            <p:nvPr/>
          </p:nvSpPr>
          <p:spPr bwMode="auto">
            <a:xfrm>
              <a:off x="3127123" y="3048625"/>
              <a:ext cx="400570" cy="284882"/>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rgbClr val="4F81BD"/>
            </a:solidFill>
            <a:ln>
              <a:noFill/>
            </a:ln>
            <a:extLst/>
          </p:spPr>
          <p:txBody>
            <a:bodyPr vert="horz" wrap="square" lIns="91428" tIns="45714" rIns="91428" bIns="45714" numCol="1" anchor="t" anchorCtr="0" compatLnSpc="1">
              <a:prstTxWarp prst="textNoShape">
                <a:avLst/>
              </a:prstTxWarp>
            </a:bodyPr>
            <a:lstStyle/>
            <a:p>
              <a:pPr defTabSz="914309">
                <a:defRPr/>
              </a:pPr>
              <a:endParaRPr lang="en-US" sz="2800" kern="0" dirty="0">
                <a:solidFill>
                  <a:srgbClr val="FFFFFF"/>
                </a:solidFill>
                <a:latin typeface="Calibri"/>
              </a:endParaRPr>
            </a:p>
          </p:txBody>
        </p:sp>
        <p:sp>
          <p:nvSpPr>
            <p:cNvPr id="29" name="TextBox 28"/>
            <p:cNvSpPr txBox="1"/>
            <p:nvPr/>
          </p:nvSpPr>
          <p:spPr>
            <a:xfrm>
              <a:off x="3038190" y="3367356"/>
              <a:ext cx="578438" cy="433973"/>
            </a:xfrm>
            <a:prstGeom prst="rect">
              <a:avLst/>
            </a:prstGeom>
            <a:noFill/>
          </p:spPr>
          <p:txBody>
            <a:bodyPr wrap="square" lIns="0" tIns="0" rIns="0" bIns="0" rtlCol="0">
              <a:spAutoFit/>
            </a:bodyPr>
            <a:lstStyle/>
            <a:p>
              <a:pPr algn="ctr" defTabSz="914309">
                <a:lnSpc>
                  <a:spcPct val="90000"/>
                </a:lnSpc>
                <a:defRPr/>
              </a:pPr>
              <a:r>
                <a:rPr lang="en-US" sz="1400" kern="0" dirty="0">
                  <a:solidFill>
                    <a:srgbClr val="0070C0"/>
                  </a:solidFill>
                  <a:latin typeface="Calibri"/>
                </a:rPr>
                <a:t>VPN GW</a:t>
              </a:r>
            </a:p>
          </p:txBody>
        </p:sp>
      </p:grpSp>
      <p:grpSp>
        <p:nvGrpSpPr>
          <p:cNvPr id="30" name="Group 29"/>
          <p:cNvGrpSpPr/>
          <p:nvPr/>
        </p:nvGrpSpPr>
        <p:grpSpPr>
          <a:xfrm>
            <a:off x="10433040" y="3649270"/>
            <a:ext cx="893310" cy="1672725"/>
            <a:chOff x="10430213" y="4262723"/>
            <a:chExt cx="893424" cy="1672939"/>
          </a:xfrm>
        </p:grpSpPr>
        <p:sp>
          <p:nvSpPr>
            <p:cNvPr id="31" name="TextBox 30"/>
            <p:cNvSpPr txBox="1"/>
            <p:nvPr/>
          </p:nvSpPr>
          <p:spPr>
            <a:xfrm>
              <a:off x="10430213" y="5492465"/>
              <a:ext cx="893424" cy="443197"/>
            </a:xfrm>
            <a:prstGeom prst="rect">
              <a:avLst/>
            </a:prstGeom>
            <a:noFill/>
          </p:spPr>
          <p:txBody>
            <a:bodyPr wrap="square" lIns="0" tIns="0" rIns="0" bIns="0" rtlCol="0" anchor="ctr">
              <a:spAutoFit/>
            </a:bodyPr>
            <a:lstStyle/>
            <a:p>
              <a:pPr algn="ctr" defTabSz="914309">
                <a:lnSpc>
                  <a:spcPct val="90000"/>
                </a:lnSpc>
              </a:pPr>
              <a:r>
                <a:rPr lang="en-US" sz="1600" b="1" dirty="0">
                  <a:solidFill>
                    <a:srgbClr val="FFFFFF"/>
                  </a:solidFill>
                  <a:effectLst>
                    <a:outerShdw blurRad="38100" dist="38100" dir="2700000" algn="tl">
                      <a:srgbClr val="000000">
                        <a:alpha val="43137"/>
                      </a:srgbClr>
                    </a:outerShdw>
                  </a:effectLst>
                  <a:latin typeface="Calibri"/>
                </a:rPr>
                <a:t>Frontend</a:t>
              </a:r>
            </a:p>
            <a:p>
              <a:pPr algn="ctr" defTabSz="914309">
                <a:lnSpc>
                  <a:spcPct val="90000"/>
                </a:lnSpc>
              </a:pPr>
              <a:r>
                <a:rPr lang="en-US" sz="1600" b="1" dirty="0">
                  <a:solidFill>
                    <a:srgbClr val="FFFFFF"/>
                  </a:solidFill>
                  <a:effectLst>
                    <a:outerShdw blurRad="38100" dist="38100" dir="2700000" algn="tl">
                      <a:srgbClr val="000000">
                        <a:alpha val="43137"/>
                      </a:srgbClr>
                    </a:outerShdw>
                  </a:effectLst>
                  <a:latin typeface="Calibri"/>
                </a:rPr>
                <a:t>10.1/16</a:t>
              </a:r>
            </a:p>
          </p:txBody>
        </p:sp>
        <p:sp>
          <p:nvSpPr>
            <p:cNvPr id="32" name="Rounded Rectangle 31"/>
            <p:cNvSpPr/>
            <p:nvPr/>
          </p:nvSpPr>
          <p:spPr bwMode="auto">
            <a:xfrm>
              <a:off x="10430213" y="4262723"/>
              <a:ext cx="893424" cy="1172757"/>
            </a:xfrm>
            <a:prstGeom prst="roundRect">
              <a:avLst>
                <a:gd name="adj" fmla="val 10259"/>
              </a:avLst>
            </a:prstGeom>
            <a:solidFill>
              <a:schemeClr val="bg1"/>
            </a:solidFill>
            <a:ln w="9525" cap="flat" cmpd="sng" algn="ctr">
              <a:solidFill>
                <a:schemeClr val="bg1"/>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effectLst>
                  <a:outerShdw blurRad="38100" dist="38100" dir="2700000" algn="tl">
                    <a:srgbClr val="000000">
                      <a:alpha val="43137"/>
                    </a:srgbClr>
                  </a:outerShdw>
                </a:effectLst>
                <a:latin typeface="Calibri"/>
              </a:endParaRPr>
            </a:p>
          </p:txBody>
        </p:sp>
      </p:grpSp>
      <p:grpSp>
        <p:nvGrpSpPr>
          <p:cNvPr id="33" name="Group 32"/>
          <p:cNvGrpSpPr/>
          <p:nvPr/>
        </p:nvGrpSpPr>
        <p:grpSpPr>
          <a:xfrm>
            <a:off x="9376863" y="3649270"/>
            <a:ext cx="893310" cy="1672725"/>
            <a:chOff x="9058613" y="4262723"/>
            <a:chExt cx="893424" cy="1672939"/>
          </a:xfrm>
        </p:grpSpPr>
        <p:sp>
          <p:nvSpPr>
            <p:cNvPr id="34" name="TextBox 33"/>
            <p:cNvSpPr txBox="1"/>
            <p:nvPr/>
          </p:nvSpPr>
          <p:spPr>
            <a:xfrm>
              <a:off x="9062010" y="5492465"/>
              <a:ext cx="886631" cy="443197"/>
            </a:xfrm>
            <a:prstGeom prst="rect">
              <a:avLst/>
            </a:prstGeom>
            <a:noFill/>
          </p:spPr>
          <p:txBody>
            <a:bodyPr wrap="square" lIns="0" tIns="0" rIns="0" bIns="0" rtlCol="0" anchor="ctr">
              <a:spAutoFit/>
            </a:bodyPr>
            <a:lstStyle/>
            <a:p>
              <a:pPr algn="ctr" defTabSz="914309">
                <a:lnSpc>
                  <a:spcPct val="90000"/>
                </a:lnSpc>
              </a:pPr>
              <a:r>
                <a:rPr lang="en-US" sz="1600" b="1" dirty="0">
                  <a:solidFill>
                    <a:srgbClr val="FFFFFF"/>
                  </a:solidFill>
                  <a:effectLst>
                    <a:outerShdw blurRad="38100" dist="38100" dir="2700000" algn="tl">
                      <a:srgbClr val="000000">
                        <a:alpha val="43137"/>
                      </a:srgbClr>
                    </a:outerShdw>
                  </a:effectLst>
                  <a:latin typeface="Calibri"/>
                </a:rPr>
                <a:t>Mid-tier</a:t>
              </a:r>
            </a:p>
            <a:p>
              <a:pPr algn="ctr" defTabSz="914309">
                <a:lnSpc>
                  <a:spcPct val="90000"/>
                </a:lnSpc>
              </a:pPr>
              <a:r>
                <a:rPr lang="en-US" sz="1600" b="1" dirty="0">
                  <a:solidFill>
                    <a:srgbClr val="FFFFFF"/>
                  </a:solidFill>
                  <a:effectLst>
                    <a:outerShdw blurRad="38100" dist="38100" dir="2700000" algn="tl">
                      <a:srgbClr val="000000">
                        <a:alpha val="43137"/>
                      </a:srgbClr>
                    </a:outerShdw>
                  </a:effectLst>
                  <a:latin typeface="Calibri"/>
                </a:rPr>
                <a:t>10.2/16</a:t>
              </a:r>
            </a:p>
          </p:txBody>
        </p:sp>
        <p:sp>
          <p:nvSpPr>
            <p:cNvPr id="35" name="Rounded Rectangle 34"/>
            <p:cNvSpPr/>
            <p:nvPr/>
          </p:nvSpPr>
          <p:spPr bwMode="auto">
            <a:xfrm>
              <a:off x="9058613" y="4262723"/>
              <a:ext cx="893424" cy="1172757"/>
            </a:xfrm>
            <a:prstGeom prst="roundRect">
              <a:avLst>
                <a:gd name="adj" fmla="val 10259"/>
              </a:avLst>
            </a:prstGeom>
            <a:solidFill>
              <a:schemeClr val="bg1"/>
            </a:solidFill>
            <a:ln w="9525" cap="flat" cmpd="sng" algn="ctr">
              <a:solidFill>
                <a:schemeClr val="bg1"/>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effectLst>
                  <a:outerShdw blurRad="38100" dist="38100" dir="2700000" algn="tl">
                    <a:srgbClr val="000000">
                      <a:alpha val="43137"/>
                    </a:srgbClr>
                  </a:outerShdw>
                </a:effectLst>
                <a:latin typeface="Calibri"/>
              </a:endParaRPr>
            </a:p>
          </p:txBody>
        </p:sp>
      </p:grpSp>
      <p:grpSp>
        <p:nvGrpSpPr>
          <p:cNvPr id="36" name="Group 35"/>
          <p:cNvGrpSpPr/>
          <p:nvPr/>
        </p:nvGrpSpPr>
        <p:grpSpPr>
          <a:xfrm>
            <a:off x="8293083" y="3649268"/>
            <a:ext cx="899938" cy="1628455"/>
            <a:chOff x="7686286" y="4259737"/>
            <a:chExt cx="900053" cy="1675925"/>
          </a:xfrm>
        </p:grpSpPr>
        <p:sp>
          <p:nvSpPr>
            <p:cNvPr id="37" name="TextBox 36"/>
            <p:cNvSpPr txBox="1"/>
            <p:nvPr/>
          </p:nvSpPr>
          <p:spPr>
            <a:xfrm>
              <a:off x="7692915" y="5492465"/>
              <a:ext cx="893424" cy="443197"/>
            </a:xfrm>
            <a:prstGeom prst="rect">
              <a:avLst/>
            </a:prstGeom>
            <a:noFill/>
          </p:spPr>
          <p:txBody>
            <a:bodyPr wrap="square" lIns="0" tIns="0" rIns="0" bIns="0" rtlCol="0" anchor="ctr">
              <a:spAutoFit/>
            </a:bodyPr>
            <a:lstStyle/>
            <a:p>
              <a:pPr algn="ctr" defTabSz="914309">
                <a:lnSpc>
                  <a:spcPct val="90000"/>
                </a:lnSpc>
              </a:pPr>
              <a:r>
                <a:rPr lang="en-US" sz="1600" b="1" dirty="0">
                  <a:solidFill>
                    <a:srgbClr val="FFFFFF"/>
                  </a:solidFill>
                  <a:effectLst>
                    <a:outerShdw blurRad="38100" dist="38100" dir="2700000" algn="tl">
                      <a:srgbClr val="000000">
                        <a:alpha val="43137"/>
                      </a:srgbClr>
                    </a:outerShdw>
                  </a:effectLst>
                  <a:latin typeface="Calibri"/>
                </a:rPr>
                <a:t>Backend</a:t>
              </a:r>
            </a:p>
            <a:p>
              <a:pPr algn="ctr" defTabSz="914309">
                <a:lnSpc>
                  <a:spcPct val="90000"/>
                </a:lnSpc>
              </a:pPr>
              <a:r>
                <a:rPr lang="en-US" sz="1600" b="1" dirty="0">
                  <a:solidFill>
                    <a:srgbClr val="FFFFFF"/>
                  </a:solidFill>
                  <a:effectLst>
                    <a:outerShdw blurRad="38100" dist="38100" dir="2700000" algn="tl">
                      <a:srgbClr val="000000">
                        <a:alpha val="43137"/>
                      </a:srgbClr>
                    </a:outerShdw>
                  </a:effectLst>
                  <a:latin typeface="Calibri"/>
                </a:rPr>
                <a:t>10.3/16</a:t>
              </a:r>
            </a:p>
          </p:txBody>
        </p:sp>
        <p:sp>
          <p:nvSpPr>
            <p:cNvPr id="38" name="Rounded Rectangle 37"/>
            <p:cNvSpPr/>
            <p:nvPr/>
          </p:nvSpPr>
          <p:spPr bwMode="auto">
            <a:xfrm>
              <a:off x="7686286" y="4259737"/>
              <a:ext cx="893424" cy="1172757"/>
            </a:xfrm>
            <a:prstGeom prst="roundRect">
              <a:avLst>
                <a:gd name="adj" fmla="val 10259"/>
              </a:avLst>
            </a:prstGeom>
            <a:solidFill>
              <a:schemeClr val="bg1"/>
            </a:solidFill>
            <a:ln w="9525" cap="flat" cmpd="sng" algn="ctr">
              <a:solidFill>
                <a:schemeClr val="bg1"/>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effectLst>
                  <a:outerShdw blurRad="38100" dist="38100" dir="2700000" algn="tl">
                    <a:srgbClr val="000000">
                      <a:alpha val="43137"/>
                    </a:srgbClr>
                  </a:outerShdw>
                </a:effectLst>
                <a:latin typeface="Calibri"/>
              </a:endParaRPr>
            </a:p>
          </p:txBody>
        </p:sp>
      </p:grpSp>
      <p:sp>
        <p:nvSpPr>
          <p:cNvPr id="39" name="Left-Right Arrow 38"/>
          <p:cNvSpPr/>
          <p:nvPr/>
        </p:nvSpPr>
        <p:spPr>
          <a:xfrm rot="5400000">
            <a:off x="9499007" y="2562463"/>
            <a:ext cx="1595753" cy="463907"/>
          </a:xfrm>
          <a:prstGeom prst="leftRightArrow">
            <a:avLst/>
          </a:prstGeom>
          <a:solidFill>
            <a:schemeClr val="accent4">
              <a:lumMod val="75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309">
              <a:defRPr/>
            </a:pPr>
            <a:endParaRPr lang="en-US" sz="2800" kern="0" dirty="0">
              <a:solidFill>
                <a:srgbClr val="FFFFFF"/>
              </a:solidFill>
              <a:latin typeface="Calibri"/>
            </a:endParaRPr>
          </a:p>
        </p:txBody>
      </p:sp>
      <p:grpSp>
        <p:nvGrpSpPr>
          <p:cNvPr id="40" name="Group 39"/>
          <p:cNvGrpSpPr/>
          <p:nvPr/>
        </p:nvGrpSpPr>
        <p:grpSpPr>
          <a:xfrm>
            <a:off x="9627394" y="754039"/>
            <a:ext cx="1338978" cy="1236985"/>
            <a:chOff x="1441498" y="2335312"/>
            <a:chExt cx="1209154" cy="1117050"/>
          </a:xfrm>
        </p:grpSpPr>
        <p:sp>
          <p:nvSpPr>
            <p:cNvPr id="41" name="Oval 40"/>
            <p:cNvSpPr/>
            <p:nvPr/>
          </p:nvSpPr>
          <p:spPr bwMode="auto">
            <a:xfrm>
              <a:off x="1487553" y="2335312"/>
              <a:ext cx="1117050" cy="1117050"/>
            </a:xfrm>
            <a:prstGeom prst="ellipse">
              <a:avLst/>
            </a:prstGeom>
            <a:pattFill prst="ltUpDiag">
              <a:fgClr>
                <a:srgbClr val="CDCDCD"/>
              </a:fgClr>
              <a:bgClr>
                <a:srgbClr val="FFFFFF"/>
              </a:bgClr>
            </a:pattFill>
            <a:ln w="57150" cap="flat" cmpd="sng" algn="ctr">
              <a:solidFill>
                <a:srgbClr val="4F81BD"/>
              </a:solid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14008" fontAlgn="base">
                <a:lnSpc>
                  <a:spcPct val="90000"/>
                </a:lnSpc>
                <a:spcBef>
                  <a:spcPct val="0"/>
                </a:spcBef>
                <a:spcAft>
                  <a:spcPct val="0"/>
                </a:spcAft>
                <a:defRPr/>
              </a:pPr>
              <a:endParaRPr lang="en-US" sz="3600" kern="0" spc="-50" dirty="0">
                <a:gradFill>
                  <a:gsLst>
                    <a:gs pos="36283">
                      <a:srgbClr val="505050"/>
                    </a:gs>
                    <a:gs pos="28000">
                      <a:srgbClr val="505050"/>
                    </a:gs>
                  </a:gsLst>
                  <a:lin ang="5400000" scaled="0"/>
                </a:gradFill>
                <a:latin typeface="Calibri"/>
              </a:endParaRPr>
            </a:p>
          </p:txBody>
        </p:sp>
        <p:sp>
          <p:nvSpPr>
            <p:cNvPr id="42" name="Freeform 41"/>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1F497D"/>
            </a:solidFill>
            <a:ln>
              <a:noFill/>
            </a:ln>
            <a:extLst/>
          </p:spPr>
          <p:txBody>
            <a:bodyPr vert="horz" wrap="square" lIns="91428" tIns="45714" rIns="91428" bIns="45714" numCol="1" anchor="t" anchorCtr="0" compatLnSpc="1">
              <a:prstTxWarp prst="textNoShape">
                <a:avLst/>
              </a:prstTxWarp>
            </a:bodyPr>
            <a:lstStyle/>
            <a:p>
              <a:pPr defTabSz="932410">
                <a:defRPr/>
              </a:pPr>
              <a:endParaRPr lang="en-US" sz="2800" kern="0" dirty="0">
                <a:solidFill>
                  <a:srgbClr val="00188F"/>
                </a:solidFill>
                <a:latin typeface="Calibri"/>
              </a:endParaRPr>
            </a:p>
          </p:txBody>
        </p:sp>
        <p:sp>
          <p:nvSpPr>
            <p:cNvPr id="43" name="TextBox 42"/>
            <p:cNvSpPr txBox="1"/>
            <p:nvPr/>
          </p:nvSpPr>
          <p:spPr>
            <a:xfrm>
              <a:off x="1441498" y="2804059"/>
              <a:ext cx="1209154" cy="566915"/>
            </a:xfrm>
            <a:prstGeom prst="rect">
              <a:avLst/>
            </a:prstGeom>
            <a:noFill/>
          </p:spPr>
          <p:txBody>
            <a:bodyPr wrap="none" lIns="182857" tIns="146285" rIns="182857" bIns="146285" rtlCol="0" anchor="ctr">
              <a:spAutoFit/>
            </a:bodyPr>
            <a:lstStyle/>
            <a:p>
              <a:pPr algn="ctr" defTabSz="932410">
                <a:lnSpc>
                  <a:spcPct val="90000"/>
                </a:lnSpc>
                <a:defRPr/>
              </a:pPr>
              <a:r>
                <a:rPr lang="en-US" sz="2400" kern="0" spc="-50" dirty="0">
                  <a:solidFill>
                    <a:srgbClr val="00188F"/>
                  </a:solidFill>
                  <a:latin typeface="Calibri"/>
                </a:rPr>
                <a:t>Internet</a:t>
              </a:r>
            </a:p>
          </p:txBody>
        </p:sp>
      </p:grpSp>
      <p:sp>
        <p:nvSpPr>
          <p:cNvPr id="44" name="Left-Right Arrow 43"/>
          <p:cNvSpPr/>
          <p:nvPr/>
        </p:nvSpPr>
        <p:spPr>
          <a:xfrm rot="5400000">
            <a:off x="6939887" y="2662921"/>
            <a:ext cx="1490114" cy="348816"/>
          </a:xfrm>
          <a:prstGeom prst="leftRightArrow">
            <a:avLst/>
          </a:prstGeom>
          <a:solidFill>
            <a:schemeClr val="accent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309">
              <a:defRPr/>
            </a:pPr>
            <a:endParaRPr lang="en-US" sz="2800" kern="0" dirty="0">
              <a:solidFill>
                <a:srgbClr val="FFFFFF"/>
              </a:solidFill>
              <a:latin typeface="Calibri"/>
            </a:endParaRPr>
          </a:p>
        </p:txBody>
      </p:sp>
      <p:sp>
        <p:nvSpPr>
          <p:cNvPr id="45" name="TextBox 44"/>
          <p:cNvSpPr txBox="1"/>
          <p:nvPr/>
        </p:nvSpPr>
        <p:spPr>
          <a:xfrm>
            <a:off x="6921191" y="296898"/>
            <a:ext cx="1774012" cy="769441"/>
          </a:xfrm>
          <a:prstGeom prst="rect">
            <a:avLst/>
          </a:prstGeom>
          <a:noFill/>
        </p:spPr>
        <p:txBody>
          <a:bodyPr wrap="none" rtlCol="0">
            <a:spAutoFit/>
          </a:bodyPr>
          <a:lstStyle/>
          <a:p>
            <a:pPr algn="ctr" defTabSz="914309"/>
            <a:r>
              <a:rPr lang="en-US" sz="2400" dirty="0">
                <a:latin typeface="Calibri"/>
              </a:rPr>
              <a:t>O</a:t>
            </a:r>
            <a:r>
              <a:rPr lang="en-US" sz="2400" dirty="0" smtClean="0">
                <a:latin typeface="Calibri"/>
              </a:rPr>
              <a:t>n-premises</a:t>
            </a:r>
            <a:endParaRPr lang="en-US" sz="2400" dirty="0">
              <a:latin typeface="Calibri"/>
            </a:endParaRPr>
          </a:p>
          <a:p>
            <a:pPr algn="ctr" defTabSz="914309"/>
            <a:r>
              <a:rPr lang="en-US" sz="2000" dirty="0">
                <a:latin typeface="Calibri"/>
              </a:rPr>
              <a:t>10.0/16</a:t>
            </a:r>
          </a:p>
        </p:txBody>
      </p:sp>
      <p:sp>
        <p:nvSpPr>
          <p:cNvPr id="46" name="TextBox 45"/>
          <p:cNvSpPr txBox="1"/>
          <p:nvPr/>
        </p:nvSpPr>
        <p:spPr>
          <a:xfrm>
            <a:off x="5522744" y="2498894"/>
            <a:ext cx="1867498" cy="707886"/>
          </a:xfrm>
          <a:prstGeom prst="rect">
            <a:avLst/>
          </a:prstGeom>
          <a:noFill/>
        </p:spPr>
        <p:txBody>
          <a:bodyPr wrap="square" rtlCol="0">
            <a:spAutoFit/>
          </a:bodyPr>
          <a:lstStyle/>
          <a:p>
            <a:pPr algn="ctr" defTabSz="914309"/>
            <a:r>
              <a:rPr lang="en-US" sz="2000" dirty="0" smtClean="0">
                <a:latin typeface="Calibri"/>
              </a:rPr>
              <a:t>VPN and</a:t>
            </a:r>
            <a:endParaRPr lang="en-US" sz="2000" dirty="0">
              <a:latin typeface="Calibri"/>
            </a:endParaRPr>
          </a:p>
          <a:p>
            <a:pPr algn="ctr" defTabSz="914309"/>
            <a:r>
              <a:rPr lang="en-US" sz="2000" dirty="0">
                <a:latin typeface="Calibri"/>
              </a:rPr>
              <a:t>ExpressRoute</a:t>
            </a:r>
          </a:p>
        </p:txBody>
      </p:sp>
      <p:grpSp>
        <p:nvGrpSpPr>
          <p:cNvPr id="47" name="Group 46"/>
          <p:cNvGrpSpPr/>
          <p:nvPr/>
        </p:nvGrpSpPr>
        <p:grpSpPr>
          <a:xfrm>
            <a:off x="7408571" y="4513420"/>
            <a:ext cx="684716" cy="764303"/>
            <a:chOff x="1713672" y="3451570"/>
            <a:chExt cx="873712" cy="945074"/>
          </a:xfrm>
        </p:grpSpPr>
        <p:grpSp>
          <p:nvGrpSpPr>
            <p:cNvPr id="48" name="Group 47"/>
            <p:cNvGrpSpPr/>
            <p:nvPr/>
          </p:nvGrpSpPr>
          <p:grpSpPr>
            <a:xfrm>
              <a:off x="1972774" y="3451570"/>
              <a:ext cx="479392" cy="712232"/>
              <a:chOff x="1972774" y="3451570"/>
              <a:chExt cx="479392" cy="712232"/>
            </a:xfrm>
          </p:grpSpPr>
          <p:pic>
            <p:nvPicPr>
              <p:cNvPr id="50"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51" name="Group 50"/>
              <p:cNvGrpSpPr/>
              <p:nvPr/>
            </p:nvGrpSpPr>
            <p:grpSpPr>
              <a:xfrm>
                <a:off x="2245986" y="3924261"/>
                <a:ext cx="206180" cy="206424"/>
                <a:chOff x="2245986" y="3924261"/>
                <a:chExt cx="206180" cy="206424"/>
              </a:xfrm>
            </p:grpSpPr>
            <p:grpSp>
              <p:nvGrpSpPr>
                <p:cNvPr id="52" name="Group 51"/>
                <p:cNvGrpSpPr/>
                <p:nvPr/>
              </p:nvGrpSpPr>
              <p:grpSpPr>
                <a:xfrm>
                  <a:off x="2245986" y="3924261"/>
                  <a:ext cx="206180" cy="206424"/>
                  <a:chOff x="1779323" y="4627897"/>
                  <a:chExt cx="472764" cy="473323"/>
                </a:xfrm>
              </p:grpSpPr>
              <p:sp>
                <p:nvSpPr>
                  <p:cNvPr id="54" name="Isosceles Triangle 53"/>
                  <p:cNvSpPr/>
                  <p:nvPr/>
                </p:nvSpPr>
                <p:spPr bwMode="auto">
                  <a:xfrm>
                    <a:off x="1779323" y="4627897"/>
                    <a:ext cx="472764" cy="407555"/>
                  </a:xfrm>
                  <a:prstGeom prst="triangle">
                    <a:avLst/>
                  </a:prstGeom>
                  <a:solidFill>
                    <a:srgbClr val="FFFFFF"/>
                  </a:solidFill>
                  <a:ln w="9525" cap="flat" cmpd="sng" algn="ctr">
                    <a:noFill/>
                    <a:prstDash val="solid"/>
                    <a:headEnd type="none" w="med" len="med"/>
                    <a:tailEnd type="none" w="med" len="med"/>
                  </a:ln>
                  <a:effectLst/>
                </p:spPr>
                <p:txBody>
                  <a:bodyPr vert="horz" wrap="square" lIns="69933" tIns="34967" rIns="69933" bIns="34967" numCol="1" rtlCol="0" anchor="ctr" anchorCtr="0" compatLnSpc="1">
                    <a:prstTxWarp prst="textNoShape">
                      <a:avLst/>
                    </a:prstTxWarp>
                  </a:bodyPr>
                  <a:lstStyle/>
                  <a:p>
                    <a:pPr algn="ctr" defTabSz="699148" fontAlgn="base">
                      <a:spcBef>
                        <a:spcPct val="0"/>
                      </a:spcBef>
                      <a:spcAft>
                        <a:spcPct val="0"/>
                      </a:spcAft>
                      <a:defRPr/>
                    </a:pPr>
                    <a:endParaRPr lang="en-US" sz="1683" kern="0" dirty="0">
                      <a:gradFill>
                        <a:gsLst>
                          <a:gs pos="0">
                            <a:srgbClr val="FFFFFF"/>
                          </a:gs>
                          <a:gs pos="100000">
                            <a:srgbClr val="FFFFFF"/>
                          </a:gs>
                        </a:gsLst>
                        <a:lin ang="5400000" scaled="0"/>
                      </a:gradFill>
                    </a:endParaRPr>
                  </a:p>
                </p:txBody>
              </p:sp>
              <p:sp>
                <p:nvSpPr>
                  <p:cNvPr id="55" name="Rectangle 54"/>
                  <p:cNvSpPr/>
                  <p:nvPr/>
                </p:nvSpPr>
                <p:spPr bwMode="auto">
                  <a:xfrm>
                    <a:off x="1779323" y="4824517"/>
                    <a:ext cx="472764" cy="60401"/>
                  </a:xfrm>
                  <a:prstGeom prst="rect">
                    <a:avLst/>
                  </a:prstGeom>
                  <a:solidFill>
                    <a:srgbClr val="FFFFFF"/>
                  </a:solidFill>
                  <a:ln w="9525" cap="flat" cmpd="sng" algn="ctr">
                    <a:noFill/>
                    <a:prstDash val="solid"/>
                    <a:headEnd type="none" w="med" len="med"/>
                    <a:tailEnd type="none" w="med" len="med"/>
                  </a:ln>
                  <a:effectLst/>
                </p:spPr>
                <p:txBody>
                  <a:bodyPr vert="horz" wrap="square" lIns="69933" tIns="34967" rIns="69933" bIns="34967" numCol="1" rtlCol="0" anchor="ctr" anchorCtr="0" compatLnSpc="1">
                    <a:prstTxWarp prst="textNoShape">
                      <a:avLst/>
                    </a:prstTxWarp>
                  </a:bodyPr>
                  <a:lstStyle/>
                  <a:p>
                    <a:pPr algn="ctr" defTabSz="699148" fontAlgn="base">
                      <a:spcBef>
                        <a:spcPct val="0"/>
                      </a:spcBef>
                      <a:spcAft>
                        <a:spcPct val="0"/>
                      </a:spcAft>
                      <a:defRPr/>
                    </a:pPr>
                    <a:endParaRPr lang="en-US" sz="1683" kern="0" dirty="0">
                      <a:gradFill>
                        <a:gsLst>
                          <a:gs pos="0">
                            <a:srgbClr val="FFFFFF"/>
                          </a:gs>
                          <a:gs pos="100000">
                            <a:srgbClr val="FFFFFF"/>
                          </a:gs>
                        </a:gsLst>
                        <a:lin ang="5400000" scaled="0"/>
                      </a:gradFill>
                    </a:endParaRPr>
                  </a:p>
                </p:txBody>
              </p:sp>
              <p:sp>
                <p:nvSpPr>
                  <p:cNvPr id="56" name="Rectangle 55"/>
                  <p:cNvSpPr/>
                  <p:nvPr/>
                </p:nvSpPr>
                <p:spPr bwMode="auto">
                  <a:xfrm rot="16200000">
                    <a:off x="1881399" y="4936712"/>
                    <a:ext cx="268612" cy="60403"/>
                  </a:xfrm>
                  <a:prstGeom prst="rect">
                    <a:avLst/>
                  </a:prstGeom>
                  <a:solidFill>
                    <a:srgbClr val="FFFFFF"/>
                  </a:solidFill>
                  <a:ln w="9525" cap="flat" cmpd="sng" algn="ctr">
                    <a:noFill/>
                    <a:prstDash val="solid"/>
                    <a:headEnd type="none" w="med" len="med"/>
                    <a:tailEnd type="none" w="med" len="med"/>
                  </a:ln>
                  <a:effectLst/>
                </p:spPr>
                <p:txBody>
                  <a:bodyPr vert="horz" wrap="square" lIns="69933" tIns="34967" rIns="69933" bIns="34967" numCol="1" rtlCol="0" anchor="ctr" anchorCtr="0" compatLnSpc="1">
                    <a:prstTxWarp prst="textNoShape">
                      <a:avLst/>
                    </a:prstTxWarp>
                  </a:bodyPr>
                  <a:lstStyle/>
                  <a:p>
                    <a:pPr algn="ctr" defTabSz="699148" fontAlgn="base">
                      <a:spcBef>
                        <a:spcPct val="0"/>
                      </a:spcBef>
                      <a:spcAft>
                        <a:spcPct val="0"/>
                      </a:spcAft>
                      <a:defRPr/>
                    </a:pPr>
                    <a:endParaRPr lang="en-US" sz="1683" kern="0" dirty="0">
                      <a:gradFill>
                        <a:gsLst>
                          <a:gs pos="0">
                            <a:srgbClr val="FFFFFF"/>
                          </a:gs>
                          <a:gs pos="100000">
                            <a:srgbClr val="FFFFFF"/>
                          </a:gs>
                        </a:gsLst>
                        <a:lin ang="5400000" scaled="0"/>
                      </a:gradFill>
                    </a:endParaRPr>
                  </a:p>
                </p:txBody>
              </p:sp>
            </p:grpSp>
            <p:sp>
              <p:nvSpPr>
                <p:cNvPr id="53" name="Isosceles Triangle 52"/>
                <p:cNvSpPr/>
                <p:nvPr/>
              </p:nvSpPr>
              <p:spPr bwMode="auto">
                <a:xfrm>
                  <a:off x="2304709" y="3989226"/>
                  <a:ext cx="88734" cy="76495"/>
                </a:xfrm>
                <a:prstGeom prst="triangle">
                  <a:avLst/>
                </a:prstGeom>
                <a:solidFill>
                  <a:srgbClr val="0070C0"/>
                </a:solidFill>
                <a:ln w="9525" cap="flat" cmpd="sng" algn="ctr">
                  <a:noFill/>
                  <a:prstDash val="solid"/>
                  <a:headEnd type="none" w="med" len="med"/>
                  <a:tailEnd type="none" w="med" len="med"/>
                </a:ln>
                <a:effectLst/>
              </p:spPr>
              <p:txBody>
                <a:bodyPr vert="horz" wrap="square" lIns="69933" tIns="34967" rIns="69933" bIns="34967" numCol="1" rtlCol="0" anchor="ctr" anchorCtr="0" compatLnSpc="1">
                  <a:prstTxWarp prst="textNoShape">
                    <a:avLst/>
                  </a:prstTxWarp>
                </a:bodyPr>
                <a:lstStyle/>
                <a:p>
                  <a:pPr algn="ctr" defTabSz="699148" fontAlgn="base">
                    <a:spcBef>
                      <a:spcPct val="0"/>
                    </a:spcBef>
                    <a:spcAft>
                      <a:spcPct val="0"/>
                    </a:spcAft>
                    <a:defRPr/>
                  </a:pPr>
                  <a:endParaRPr lang="en-US" sz="1683" kern="0" dirty="0">
                    <a:gradFill>
                      <a:gsLst>
                        <a:gs pos="0">
                          <a:srgbClr val="FFFFFF"/>
                        </a:gs>
                        <a:gs pos="100000">
                          <a:srgbClr val="FFFFFF"/>
                        </a:gs>
                      </a:gsLst>
                      <a:lin ang="5400000" scaled="0"/>
                    </a:gradFill>
                  </a:endParaRPr>
                </a:p>
              </p:txBody>
            </p:sp>
          </p:grpSp>
        </p:grpSp>
        <p:sp>
          <p:nvSpPr>
            <p:cNvPr id="49" name="Rectangle 48"/>
            <p:cNvSpPr/>
            <p:nvPr/>
          </p:nvSpPr>
          <p:spPr>
            <a:xfrm>
              <a:off x="1713672" y="4125283"/>
              <a:ext cx="873712" cy="271361"/>
            </a:xfrm>
            <a:prstGeom prst="rect">
              <a:avLst/>
            </a:prstGeom>
          </p:spPr>
          <p:txBody>
            <a:bodyPr wrap="none">
              <a:spAutoFit/>
            </a:bodyPr>
            <a:lstStyle/>
            <a:p>
              <a:pPr algn="ctr" defTabSz="699148" fontAlgn="base">
                <a:lnSpc>
                  <a:spcPct val="90000"/>
                </a:lnSpc>
                <a:spcBef>
                  <a:spcPct val="0"/>
                </a:spcBef>
                <a:spcAft>
                  <a:spcPct val="0"/>
                </a:spcAft>
                <a:defRPr/>
              </a:pPr>
              <a:r>
                <a:rPr lang="en-US" sz="918" kern="0" dirty="0">
                  <a:gradFill>
                    <a:gsLst>
                      <a:gs pos="0">
                        <a:srgbClr val="FFFFFF"/>
                      </a:gs>
                      <a:gs pos="100000">
                        <a:srgbClr val="FFFFFF"/>
                      </a:gs>
                    </a:gsLst>
                    <a:lin ang="5400000" scaled="0"/>
                  </a:gradFill>
                </a:rPr>
                <a:t>AD / DNS</a:t>
              </a:r>
            </a:p>
          </p:txBody>
        </p:sp>
      </p:grpSp>
      <p:sp>
        <p:nvSpPr>
          <p:cNvPr id="57" name="TextBox 56"/>
          <p:cNvSpPr txBox="1"/>
          <p:nvPr/>
        </p:nvSpPr>
        <p:spPr>
          <a:xfrm>
            <a:off x="8465127" y="2784643"/>
            <a:ext cx="1202250" cy="584775"/>
          </a:xfrm>
          <a:prstGeom prst="rect">
            <a:avLst/>
          </a:prstGeom>
          <a:noFill/>
        </p:spPr>
        <p:txBody>
          <a:bodyPr wrap="square" rtlCol="0">
            <a:spAutoFit/>
          </a:bodyPr>
          <a:lstStyle/>
          <a:p>
            <a:pPr defTabSz="914309"/>
            <a:r>
              <a:rPr lang="en-US" sz="3200" b="1" dirty="0">
                <a:latin typeface="Calibri"/>
              </a:rPr>
              <a:t>Azure</a:t>
            </a:r>
          </a:p>
        </p:txBody>
      </p:sp>
      <p:sp>
        <p:nvSpPr>
          <p:cNvPr id="58" name="TextBox 57"/>
          <p:cNvSpPr txBox="1"/>
          <p:nvPr/>
        </p:nvSpPr>
        <p:spPr>
          <a:xfrm>
            <a:off x="10397362" y="2103370"/>
            <a:ext cx="1867498" cy="707796"/>
          </a:xfrm>
          <a:prstGeom prst="rect">
            <a:avLst/>
          </a:prstGeom>
          <a:noFill/>
        </p:spPr>
        <p:txBody>
          <a:bodyPr wrap="square" rtlCol="0">
            <a:spAutoFit/>
          </a:bodyPr>
          <a:lstStyle/>
          <a:p>
            <a:pPr algn="ctr" defTabSz="914309"/>
            <a:r>
              <a:rPr lang="en-US" sz="2000" dirty="0">
                <a:latin typeface="Calibri"/>
              </a:rPr>
              <a:t>Direct Internet</a:t>
            </a:r>
          </a:p>
          <a:p>
            <a:pPr algn="ctr" defTabSz="914309"/>
            <a:r>
              <a:rPr lang="en-US" sz="2000" dirty="0" smtClean="0">
                <a:latin typeface="Calibri"/>
              </a:rPr>
              <a:t>connectivity</a:t>
            </a:r>
            <a:endParaRPr lang="en-US" sz="2000" dirty="0">
              <a:latin typeface="Calibri"/>
            </a:endParaRPr>
          </a:p>
        </p:txBody>
      </p:sp>
      <p:pic>
        <p:nvPicPr>
          <p:cNvPr id="59" name="Picture 5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64548" y="4173736"/>
            <a:ext cx="780290" cy="780290"/>
          </a:xfrm>
          <a:prstGeom prst="rect">
            <a:avLst/>
          </a:prstGeom>
        </p:spPr>
      </p:pic>
      <p:pic>
        <p:nvPicPr>
          <p:cNvPr id="60" name="Picture 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64548" y="3845428"/>
            <a:ext cx="780290" cy="780290"/>
          </a:xfrm>
          <a:prstGeom prst="rect">
            <a:avLst/>
          </a:prstGeom>
        </p:spPr>
      </p:pic>
      <p:pic>
        <p:nvPicPr>
          <p:cNvPr id="61" name="Picture 6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56221" y="3521093"/>
            <a:ext cx="780290" cy="751154"/>
          </a:xfrm>
          <a:prstGeom prst="rect">
            <a:avLst/>
          </a:prstGeom>
        </p:spPr>
      </p:pic>
      <p:pic>
        <p:nvPicPr>
          <p:cNvPr id="62" name="Picture 6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51748" y="4182334"/>
            <a:ext cx="780290" cy="780290"/>
          </a:xfrm>
          <a:prstGeom prst="rect">
            <a:avLst/>
          </a:prstGeom>
        </p:spPr>
      </p:pic>
      <p:pic>
        <p:nvPicPr>
          <p:cNvPr id="63" name="Picture 6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55568" y="3865918"/>
            <a:ext cx="780290" cy="780290"/>
          </a:xfrm>
          <a:prstGeom prst="rect">
            <a:avLst/>
          </a:prstGeom>
        </p:spPr>
      </p:pic>
      <p:pic>
        <p:nvPicPr>
          <p:cNvPr id="64" name="Picture 6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47241" y="3541583"/>
            <a:ext cx="780290" cy="751154"/>
          </a:xfrm>
          <a:prstGeom prst="rect">
            <a:avLst/>
          </a:prstGeom>
        </p:spPr>
      </p:pic>
      <p:pic>
        <p:nvPicPr>
          <p:cNvPr id="65" name="Picture 6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01215" y="4171751"/>
            <a:ext cx="780290" cy="780290"/>
          </a:xfrm>
          <a:prstGeom prst="rect">
            <a:avLst/>
          </a:prstGeom>
        </p:spPr>
      </p:pic>
      <p:pic>
        <p:nvPicPr>
          <p:cNvPr id="66" name="Picture 6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01215" y="3843443"/>
            <a:ext cx="780290" cy="780290"/>
          </a:xfrm>
          <a:prstGeom prst="rect">
            <a:avLst/>
          </a:prstGeom>
        </p:spPr>
      </p:pic>
      <p:pic>
        <p:nvPicPr>
          <p:cNvPr id="67" name="Picture 6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92888" y="3519108"/>
            <a:ext cx="780290" cy="751154"/>
          </a:xfrm>
          <a:prstGeom prst="rect">
            <a:avLst/>
          </a:prstGeom>
        </p:spPr>
      </p:pic>
      <p:pic>
        <p:nvPicPr>
          <p:cNvPr id="68" name="Picture 6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80164" y="1161978"/>
            <a:ext cx="930294" cy="930294"/>
          </a:xfrm>
          <a:prstGeom prst="rect">
            <a:avLst/>
          </a:prstGeom>
        </p:spPr>
      </p:pic>
      <p:pic>
        <p:nvPicPr>
          <p:cNvPr id="69" name="Picture 6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695203" y="5698798"/>
            <a:ext cx="1277455" cy="1277455"/>
          </a:xfrm>
          <a:prstGeom prst="rect">
            <a:avLst/>
          </a:prstGeom>
        </p:spPr>
      </p:pic>
    </p:spTree>
    <p:extLst>
      <p:ext uri="{BB962C8B-B14F-4D97-AF65-F5344CB8AC3E}">
        <p14:creationId xmlns:p14="http://schemas.microsoft.com/office/powerpoint/2010/main" val="1215654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676400" y="266651"/>
            <a:ext cx="10515600" cy="824053"/>
          </a:xfrm>
        </p:spPr>
        <p:txBody>
          <a:bodyPr/>
          <a:lstStyle/>
          <a:p>
            <a:r>
              <a:rPr lang="en-US" b="1" u="sng" dirty="0" smtClean="0">
                <a:effectLst>
                  <a:outerShdw blurRad="38100" dist="38100" dir="2700000" algn="tl">
                    <a:srgbClr val="000000">
                      <a:alpha val="43137"/>
                    </a:srgbClr>
                  </a:outerShdw>
                </a:effectLst>
              </a:rPr>
              <a:t>Components of a virtual </a:t>
            </a:r>
            <a:r>
              <a:rPr lang="en-US" b="1" u="sng" dirty="0">
                <a:effectLst>
                  <a:outerShdw blurRad="38100" dist="38100" dir="2700000" algn="tl">
                    <a:srgbClr val="000000">
                      <a:alpha val="43137"/>
                    </a:srgbClr>
                  </a:outerShdw>
                </a:effectLst>
              </a:rPr>
              <a:t>n</a:t>
            </a:r>
            <a:r>
              <a:rPr lang="en-US" b="1" u="sng" dirty="0" smtClean="0">
                <a:effectLst>
                  <a:outerShdw blurRad="38100" dist="38100" dir="2700000" algn="tl">
                    <a:srgbClr val="000000">
                      <a:alpha val="43137"/>
                    </a:srgbClr>
                  </a:outerShdw>
                </a:effectLst>
              </a:rPr>
              <a:t>etwork</a:t>
            </a:r>
            <a:endParaRPr lang="en-US" b="1" u="sng" dirty="0">
              <a:effectLst>
                <a:outerShdw blurRad="38100" dist="38100" dir="2700000" algn="tl">
                  <a:srgbClr val="000000">
                    <a:alpha val="43137"/>
                  </a:srgbClr>
                </a:outerShdw>
              </a:effectLst>
            </a:endParaRPr>
          </a:p>
        </p:txBody>
      </p:sp>
      <p:sp>
        <p:nvSpPr>
          <p:cNvPr id="5" name="Text Placeholder 4"/>
          <p:cNvSpPr>
            <a:spLocks noGrp="1"/>
          </p:cNvSpPr>
          <p:nvPr>
            <p:ph idx="1"/>
          </p:nvPr>
        </p:nvSpPr>
        <p:spPr>
          <a:xfrm>
            <a:off x="269240" y="1189178"/>
            <a:ext cx="11653523" cy="5527667"/>
          </a:xfrm>
        </p:spPr>
        <p:txBody>
          <a:bodyPr>
            <a:normAutofit/>
          </a:bodyPr>
          <a:lstStyle/>
          <a:p>
            <a:pPr marL="457200" indent="-457200">
              <a:lnSpc>
                <a:spcPct val="100000"/>
              </a:lnSpc>
              <a:buFont typeface="Arial" panose="020B0604020202020204" pitchFamily="34" charset="0"/>
              <a:buChar char="•"/>
            </a:pPr>
            <a:r>
              <a:rPr lang="en-US" sz="2800" dirty="0"/>
              <a:t>Address spaces (IP prefixes)</a:t>
            </a:r>
          </a:p>
          <a:p>
            <a:pPr marL="923571" lvl="1" indent="-457200">
              <a:lnSpc>
                <a:spcPct val="100000"/>
              </a:lnSpc>
              <a:buFont typeface="Arial" panose="020B0604020202020204" pitchFamily="34" charset="0"/>
              <a:buChar char="•"/>
            </a:pPr>
            <a:r>
              <a:rPr lang="en-US" sz="2800" dirty="0"/>
              <a:t>The range of IP addresses available in your virtual network </a:t>
            </a:r>
          </a:p>
          <a:p>
            <a:pPr marL="457200" indent="-457200">
              <a:lnSpc>
                <a:spcPct val="100000"/>
              </a:lnSpc>
              <a:buFont typeface="Arial" panose="020B0604020202020204" pitchFamily="34" charset="0"/>
              <a:buChar char="•"/>
            </a:pPr>
            <a:r>
              <a:rPr lang="en-US" sz="2800" dirty="0"/>
              <a:t>Subnets</a:t>
            </a:r>
          </a:p>
          <a:p>
            <a:pPr marL="923571" lvl="1" indent="-457200">
              <a:lnSpc>
                <a:spcPct val="100000"/>
              </a:lnSpc>
              <a:buFont typeface="Arial" panose="020B0604020202020204" pitchFamily="34" charset="0"/>
              <a:buChar char="•"/>
            </a:pPr>
            <a:r>
              <a:rPr lang="en-US" sz="2800" dirty="0"/>
              <a:t>Named ranges of addresses assignable to virtual machines and cloud service instances</a:t>
            </a:r>
          </a:p>
          <a:p>
            <a:pPr marL="457200" indent="-457200">
              <a:lnSpc>
                <a:spcPct val="100000"/>
              </a:lnSpc>
              <a:buFont typeface="Arial" panose="020B0604020202020204" pitchFamily="34" charset="0"/>
              <a:buChar char="•"/>
            </a:pPr>
            <a:r>
              <a:rPr lang="en-US" sz="2800" dirty="0"/>
              <a:t>DNS servers</a:t>
            </a:r>
          </a:p>
          <a:p>
            <a:pPr marL="923571" lvl="1" indent="-457200">
              <a:lnSpc>
                <a:spcPct val="100000"/>
              </a:lnSpc>
              <a:buFont typeface="Arial" panose="020B0604020202020204" pitchFamily="34" charset="0"/>
              <a:buChar char="•"/>
            </a:pPr>
            <a:r>
              <a:rPr lang="en-US" sz="2800" dirty="0"/>
              <a:t>References to DNS servers that will be assigned to virtual machines or cloud service instances in the virtual network</a:t>
            </a:r>
          </a:p>
          <a:p>
            <a:pPr marL="457200" indent="-457200">
              <a:lnSpc>
                <a:spcPct val="100000"/>
              </a:lnSpc>
              <a:buFont typeface="Arial" panose="020B0604020202020204" pitchFamily="34" charset="0"/>
              <a:buChar char="•"/>
            </a:pPr>
            <a:r>
              <a:rPr lang="en-US" sz="2800" dirty="0"/>
              <a:t>Local network configuration</a:t>
            </a:r>
          </a:p>
          <a:p>
            <a:pPr marL="923571" lvl="1" indent="-457200">
              <a:lnSpc>
                <a:spcPct val="100000"/>
              </a:lnSpc>
              <a:buFont typeface="Arial" panose="020B0604020202020204" pitchFamily="34" charset="0"/>
              <a:buChar char="•"/>
            </a:pPr>
            <a:r>
              <a:rPr lang="en-US" sz="2800" dirty="0"/>
              <a:t>Configuration of an </a:t>
            </a:r>
            <a:r>
              <a:rPr lang="en-US" sz="2800" dirty="0" smtClean="0"/>
              <a:t>on-premises </a:t>
            </a:r>
            <a:r>
              <a:rPr lang="en-US" sz="2800" dirty="0"/>
              <a:t>network connected by a site-to-site VPN connection or </a:t>
            </a:r>
            <a:r>
              <a:rPr lang="en-US" sz="2800" dirty="0" smtClean="0"/>
              <a:t>ExpressRoute</a:t>
            </a:r>
            <a:endParaRPr lang="en-US" sz="2800" dirty="0"/>
          </a:p>
        </p:txBody>
      </p:sp>
    </p:spTree>
    <p:extLst>
      <p:ext uri="{BB962C8B-B14F-4D97-AF65-F5344CB8AC3E}">
        <p14:creationId xmlns:p14="http://schemas.microsoft.com/office/powerpoint/2010/main" val="29593316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90940" y="197"/>
            <a:ext cx="10515600" cy="1325563"/>
          </a:xfrm>
        </p:spPr>
        <p:txBody>
          <a:bodyPr>
            <a:normAutofit/>
          </a:bodyPr>
          <a:lstStyle/>
          <a:p>
            <a:r>
              <a:rPr lang="en-US" sz="4800" b="1" u="sng" spc="-101" dirty="0">
                <a:gradFill>
                  <a:gsLst>
                    <a:gs pos="1250">
                      <a:srgbClr val="505050"/>
                    </a:gs>
                    <a:gs pos="100000">
                      <a:srgbClr val="505050"/>
                    </a:gs>
                  </a:gsLst>
                  <a:lin ang="5400000" scaled="0"/>
                </a:gradFill>
                <a:effectLst>
                  <a:outerShdw blurRad="38100" dist="38100" dir="2700000" algn="tl">
                    <a:srgbClr val="000000">
                      <a:alpha val="43137"/>
                    </a:srgbClr>
                  </a:outerShdw>
                </a:effectLst>
              </a:rPr>
              <a:t>Azure </a:t>
            </a:r>
            <a:r>
              <a:rPr lang="en-US" sz="4800" b="1" u="sng" spc="-101" dirty="0" smtClean="0">
                <a:gradFill>
                  <a:gsLst>
                    <a:gs pos="1250">
                      <a:srgbClr val="505050"/>
                    </a:gs>
                    <a:gs pos="100000">
                      <a:srgbClr val="505050"/>
                    </a:gs>
                  </a:gsLst>
                  <a:lin ang="5400000" scaled="0"/>
                </a:gradFill>
                <a:effectLst>
                  <a:outerShdw blurRad="38100" dist="38100" dir="2700000" algn="tl">
                    <a:srgbClr val="000000">
                      <a:alpha val="43137"/>
                    </a:srgbClr>
                  </a:outerShdw>
                </a:effectLst>
              </a:rPr>
              <a:t>virtual </a:t>
            </a:r>
            <a:r>
              <a:rPr lang="en-US" sz="4800" b="1" u="sng" spc="-101" dirty="0">
                <a:gradFill>
                  <a:gsLst>
                    <a:gs pos="1250">
                      <a:srgbClr val="505050"/>
                    </a:gs>
                    <a:gs pos="100000">
                      <a:srgbClr val="505050"/>
                    </a:gs>
                  </a:gsLst>
                  <a:lin ang="5400000" scaled="0"/>
                </a:gradFill>
                <a:effectLst>
                  <a:outerShdw blurRad="38100" dist="38100" dir="2700000" algn="tl">
                    <a:srgbClr val="000000">
                      <a:alpha val="43137"/>
                    </a:srgbClr>
                  </a:outerShdw>
                </a:effectLst>
              </a:rPr>
              <a:t>n</a:t>
            </a:r>
            <a:r>
              <a:rPr lang="en-US" sz="4800" b="1" u="sng" spc="-101" dirty="0" smtClean="0">
                <a:gradFill>
                  <a:gsLst>
                    <a:gs pos="1250">
                      <a:srgbClr val="505050"/>
                    </a:gs>
                    <a:gs pos="100000">
                      <a:srgbClr val="505050"/>
                    </a:gs>
                  </a:gsLst>
                  <a:lin ang="5400000" scaled="0"/>
                </a:gradFill>
                <a:effectLst>
                  <a:outerShdw blurRad="38100" dist="38100" dir="2700000" algn="tl">
                    <a:srgbClr val="000000">
                      <a:alpha val="43137"/>
                    </a:srgbClr>
                  </a:outerShdw>
                </a:effectLst>
              </a:rPr>
              <a:t>etworks and </a:t>
            </a:r>
            <a:r>
              <a:rPr lang="en-US" sz="4800" b="1" u="sng" spc="-101" dirty="0">
                <a:gradFill>
                  <a:gsLst>
                    <a:gs pos="1250">
                      <a:srgbClr val="505050"/>
                    </a:gs>
                    <a:gs pos="100000">
                      <a:srgbClr val="505050"/>
                    </a:gs>
                  </a:gsLst>
                  <a:lin ang="5400000" scaled="0"/>
                </a:gradFill>
                <a:effectLst>
                  <a:outerShdw blurRad="38100" dist="38100" dir="2700000" algn="tl">
                    <a:srgbClr val="000000">
                      <a:alpha val="43137"/>
                    </a:srgbClr>
                  </a:outerShdw>
                </a:effectLst>
              </a:rPr>
              <a:t>s</a:t>
            </a:r>
            <a:r>
              <a:rPr lang="en-US" sz="4800" b="1" u="sng" spc="-101" dirty="0" smtClean="0">
                <a:gradFill>
                  <a:gsLst>
                    <a:gs pos="1250">
                      <a:srgbClr val="505050"/>
                    </a:gs>
                    <a:gs pos="100000">
                      <a:srgbClr val="505050"/>
                    </a:gs>
                  </a:gsLst>
                  <a:lin ang="5400000" scaled="0"/>
                </a:gradFill>
                <a:effectLst>
                  <a:outerShdw blurRad="38100" dist="38100" dir="2700000" algn="tl">
                    <a:srgbClr val="000000">
                      <a:alpha val="43137"/>
                    </a:srgbClr>
                  </a:outerShdw>
                </a:effectLst>
              </a:rPr>
              <a:t>ubnets</a:t>
            </a:r>
            <a:endParaRPr lang="en-US" b="1" u="sng" dirty="0">
              <a:effectLst>
                <a:outerShdw blurRad="38100" dist="38100" dir="2700000" algn="tl">
                  <a:srgbClr val="000000">
                    <a:alpha val="43137"/>
                  </a:srgbClr>
                </a:outerShdw>
              </a:effectLst>
            </a:endParaRPr>
          </a:p>
        </p:txBody>
      </p:sp>
      <p:sp>
        <p:nvSpPr>
          <p:cNvPr id="4" name="Rectangle 3"/>
          <p:cNvSpPr/>
          <p:nvPr/>
        </p:nvSpPr>
        <p:spPr>
          <a:xfrm>
            <a:off x="469605" y="1773625"/>
            <a:ext cx="6096000" cy="3938756"/>
          </a:xfrm>
          <a:prstGeom prst="rect">
            <a:avLst/>
          </a:prstGeom>
        </p:spPr>
        <p:txBody>
          <a:bodyPr>
            <a:normAutofit/>
          </a:bodyPr>
          <a:lstStyle/>
          <a:p>
            <a:pPr marL="285744" lvl="1" indent="-285744">
              <a:lnSpc>
                <a:spcPct val="90000"/>
              </a:lnSpc>
              <a:spcBef>
                <a:spcPts val="1324"/>
              </a:spcBef>
              <a:spcAft>
                <a:spcPts val="441"/>
              </a:spcAft>
              <a:buClr>
                <a:schemeClr val="tx1"/>
              </a:buClr>
              <a:buSzPct val="100000"/>
              <a:buFont typeface="Arial" panose="020B0604020202020204" pitchFamily="34" charset="0"/>
              <a:buChar char="•"/>
            </a:pPr>
            <a:r>
              <a:rPr lang="en-US" sz="2400" dirty="0"/>
              <a:t>Logical isolation with control over network</a:t>
            </a:r>
          </a:p>
          <a:p>
            <a:pPr marL="285744" lvl="1" indent="-285744">
              <a:lnSpc>
                <a:spcPct val="90000"/>
              </a:lnSpc>
              <a:spcBef>
                <a:spcPts val="1324"/>
              </a:spcBef>
              <a:spcAft>
                <a:spcPts val="441"/>
              </a:spcAft>
              <a:buClr>
                <a:schemeClr val="tx1"/>
              </a:buClr>
              <a:buSzPct val="100000"/>
              <a:buFont typeface="Arial" panose="020B0604020202020204" pitchFamily="34" charset="0"/>
              <a:buChar char="•"/>
            </a:pPr>
            <a:r>
              <a:rPr lang="en-US" sz="2400" dirty="0"/>
              <a:t>Create subnets with your private IP addresses</a:t>
            </a:r>
          </a:p>
          <a:p>
            <a:pPr marL="285744" lvl="1" indent="-285744">
              <a:lnSpc>
                <a:spcPct val="90000"/>
              </a:lnSpc>
              <a:spcBef>
                <a:spcPts val="1324"/>
              </a:spcBef>
              <a:spcAft>
                <a:spcPts val="441"/>
              </a:spcAft>
              <a:buClr>
                <a:schemeClr val="tx1"/>
              </a:buClr>
              <a:buSzPct val="100000"/>
              <a:buFont typeface="Arial" panose="020B0604020202020204" pitchFamily="34" charset="0"/>
              <a:buChar char="•"/>
            </a:pPr>
            <a:r>
              <a:rPr lang="en-US" sz="2400" dirty="0"/>
              <a:t>Stable and persistent private IP addresses</a:t>
            </a:r>
          </a:p>
          <a:p>
            <a:pPr marL="285744" lvl="1" indent="-285744">
              <a:lnSpc>
                <a:spcPct val="90000"/>
              </a:lnSpc>
              <a:spcBef>
                <a:spcPts val="1324"/>
              </a:spcBef>
              <a:spcAft>
                <a:spcPts val="441"/>
              </a:spcAft>
              <a:buClr>
                <a:schemeClr val="tx1"/>
              </a:buClr>
              <a:buSzPct val="100000"/>
              <a:buFont typeface="Arial" panose="020B0604020202020204" pitchFamily="34" charset="0"/>
              <a:buChar char="•"/>
            </a:pPr>
            <a:r>
              <a:rPr lang="en-US" sz="2400" dirty="0"/>
              <a:t>Bring your own DNS</a:t>
            </a:r>
          </a:p>
          <a:p>
            <a:pPr marL="285744" lvl="1" indent="-285744">
              <a:lnSpc>
                <a:spcPct val="90000"/>
              </a:lnSpc>
              <a:spcBef>
                <a:spcPts val="1324"/>
              </a:spcBef>
              <a:spcAft>
                <a:spcPts val="441"/>
              </a:spcAft>
              <a:buClr>
                <a:schemeClr val="tx1"/>
              </a:buClr>
              <a:buSzPct val="100000"/>
              <a:buFont typeface="Arial" panose="020B0604020202020204" pitchFamily="34" charset="0"/>
              <a:buChar char="•"/>
            </a:pPr>
            <a:r>
              <a:rPr lang="en-US" sz="2400" dirty="0"/>
              <a:t>Use Azure-provided DNS</a:t>
            </a:r>
          </a:p>
          <a:p>
            <a:pPr marL="285744" lvl="1" indent="-285744">
              <a:lnSpc>
                <a:spcPct val="90000"/>
              </a:lnSpc>
              <a:spcBef>
                <a:spcPts val="1324"/>
              </a:spcBef>
              <a:spcAft>
                <a:spcPts val="441"/>
              </a:spcAft>
              <a:buClr>
                <a:schemeClr val="tx1"/>
              </a:buClr>
              <a:buSzPct val="100000"/>
              <a:buFont typeface="Arial" panose="020B0604020202020204" pitchFamily="34" charset="0"/>
              <a:buChar char="•"/>
            </a:pPr>
            <a:r>
              <a:rPr lang="en-US" sz="2400" dirty="0"/>
              <a:t>Secure VMs with input endpoint </a:t>
            </a:r>
            <a:r>
              <a:rPr lang="en-US" sz="2400" dirty="0" smtClean="0"/>
              <a:t>ACLs and Network Security Groups (NSGs)</a:t>
            </a:r>
            <a:endParaRPr lang="en-US" sz="2400" dirty="0"/>
          </a:p>
        </p:txBody>
      </p:sp>
      <p:pic>
        <p:nvPicPr>
          <p:cNvPr id="5" name="Picture 4"/>
          <p:cNvPicPr>
            <a:picLocks noChangeAspect="1"/>
          </p:cNvPicPr>
          <p:nvPr/>
        </p:nvPicPr>
        <p:blipFill>
          <a:blip r:embed="rId3"/>
          <a:stretch>
            <a:fillRect/>
          </a:stretch>
        </p:blipFill>
        <p:spPr>
          <a:xfrm>
            <a:off x="5968895" y="1897062"/>
            <a:ext cx="6137645" cy="4033344"/>
          </a:xfrm>
          <a:prstGeom prst="rect">
            <a:avLst/>
          </a:prstGeom>
        </p:spPr>
      </p:pic>
      <p:grpSp>
        <p:nvGrpSpPr>
          <p:cNvPr id="6" name="Group 5"/>
          <p:cNvGrpSpPr/>
          <p:nvPr/>
        </p:nvGrpSpPr>
        <p:grpSpPr>
          <a:xfrm>
            <a:off x="7627430" y="3255694"/>
            <a:ext cx="2762145" cy="122278"/>
            <a:chOff x="6992151" y="3060919"/>
            <a:chExt cx="3217777" cy="123994"/>
          </a:xfrm>
        </p:grpSpPr>
        <p:sp>
          <p:nvSpPr>
            <p:cNvPr id="9" name="TextBox 8"/>
            <p:cNvSpPr txBox="1"/>
            <p:nvPr/>
          </p:nvSpPr>
          <p:spPr>
            <a:xfrm>
              <a:off x="6992151" y="3060919"/>
              <a:ext cx="873046" cy="123994"/>
            </a:xfrm>
            <a:prstGeom prst="rect">
              <a:avLst/>
            </a:prstGeom>
            <a:noFill/>
          </p:spPr>
          <p:txBody>
            <a:bodyPr wrap="square" lIns="0" tIns="0" rIns="0" bIns="0" rtlCol="0">
              <a:spAutoFit/>
            </a:bodyPr>
            <a:lstStyle/>
            <a:p>
              <a:pPr marL="0" marR="0" lvl="0" indent="0" algn="ctr" defTabSz="685652" eaLnBrk="1" fontAlgn="auto" latinLnBrk="0" hangingPunct="1">
                <a:lnSpc>
                  <a:spcPct val="90000"/>
                </a:lnSpc>
                <a:spcBef>
                  <a:spcPts val="0"/>
                </a:spcBef>
                <a:spcAft>
                  <a:spcPts val="0"/>
                </a:spcAft>
                <a:buClrTx/>
                <a:buSzTx/>
                <a:buFontTx/>
                <a:buNone/>
                <a:tabLst/>
                <a:defRPr/>
              </a:pPr>
              <a:r>
                <a:rPr kumimoji="0" lang="en-US" sz="883" b="0" i="0" u="none" strike="noStrike" kern="0" cap="none" spc="-37" normalizeH="0" baseline="0" noProof="0" dirty="0" smtClean="0">
                  <a:ln>
                    <a:noFill/>
                  </a:ln>
                  <a:solidFill>
                    <a:srgbClr val="505050"/>
                  </a:solidFill>
                  <a:effectLst>
                    <a:outerShdw blurRad="38100" dist="38100" dir="2700000" algn="tl">
                      <a:srgbClr val="000000">
                        <a:alpha val="43137"/>
                      </a:srgbClr>
                    </a:outerShdw>
                  </a:effectLst>
                  <a:uLnTx/>
                  <a:uFillTx/>
                </a:rPr>
                <a:t>&lt;subnet X&gt;</a:t>
              </a:r>
            </a:p>
          </p:txBody>
        </p:sp>
        <p:sp>
          <p:nvSpPr>
            <p:cNvPr id="10" name="TextBox 9"/>
            <p:cNvSpPr txBox="1"/>
            <p:nvPr/>
          </p:nvSpPr>
          <p:spPr>
            <a:xfrm>
              <a:off x="8164516" y="3060919"/>
              <a:ext cx="873046" cy="123994"/>
            </a:xfrm>
            <a:prstGeom prst="rect">
              <a:avLst/>
            </a:prstGeom>
            <a:noFill/>
          </p:spPr>
          <p:txBody>
            <a:bodyPr wrap="square" lIns="0" tIns="0" rIns="0" bIns="0" rtlCol="0">
              <a:spAutoFit/>
            </a:bodyPr>
            <a:lstStyle/>
            <a:p>
              <a:pPr marL="0" marR="0" lvl="0" indent="0" algn="ctr" defTabSz="685652" eaLnBrk="1" fontAlgn="auto" latinLnBrk="0" hangingPunct="1">
                <a:lnSpc>
                  <a:spcPct val="90000"/>
                </a:lnSpc>
                <a:spcBef>
                  <a:spcPts val="0"/>
                </a:spcBef>
                <a:spcAft>
                  <a:spcPts val="0"/>
                </a:spcAft>
                <a:buClrTx/>
                <a:buSzTx/>
                <a:buFontTx/>
                <a:buNone/>
                <a:tabLst/>
                <a:defRPr/>
              </a:pPr>
              <a:r>
                <a:rPr kumimoji="0" lang="en-US" sz="883" b="0" i="0" u="none" strike="noStrike" kern="0" cap="none" spc="-37" normalizeH="0" baseline="0" noProof="0" dirty="0" smtClean="0">
                  <a:ln>
                    <a:noFill/>
                  </a:ln>
                  <a:solidFill>
                    <a:srgbClr val="505050"/>
                  </a:solidFill>
                  <a:effectLst>
                    <a:outerShdw blurRad="38100" dist="38100" dir="2700000" algn="tl">
                      <a:srgbClr val="000000">
                        <a:alpha val="43137"/>
                      </a:srgbClr>
                    </a:outerShdw>
                  </a:effectLst>
                  <a:uLnTx/>
                  <a:uFillTx/>
                </a:rPr>
                <a:t>&lt;subnet Y&gt;</a:t>
              </a:r>
            </a:p>
          </p:txBody>
        </p:sp>
        <p:sp>
          <p:nvSpPr>
            <p:cNvPr id="11" name="TextBox 10"/>
            <p:cNvSpPr txBox="1"/>
            <p:nvPr/>
          </p:nvSpPr>
          <p:spPr>
            <a:xfrm>
              <a:off x="9336882" y="3060919"/>
              <a:ext cx="873046" cy="123994"/>
            </a:xfrm>
            <a:prstGeom prst="rect">
              <a:avLst/>
            </a:prstGeom>
            <a:noFill/>
          </p:spPr>
          <p:txBody>
            <a:bodyPr wrap="square" lIns="0" tIns="0" rIns="0" bIns="0" rtlCol="0">
              <a:spAutoFit/>
            </a:bodyPr>
            <a:lstStyle/>
            <a:p>
              <a:pPr marL="0" marR="0" lvl="0" indent="0" algn="ctr" defTabSz="685652" eaLnBrk="1" fontAlgn="auto" latinLnBrk="0" hangingPunct="1">
                <a:lnSpc>
                  <a:spcPct val="90000"/>
                </a:lnSpc>
                <a:spcBef>
                  <a:spcPts val="0"/>
                </a:spcBef>
                <a:spcAft>
                  <a:spcPts val="0"/>
                </a:spcAft>
                <a:buClrTx/>
                <a:buSzTx/>
                <a:buFontTx/>
                <a:buNone/>
                <a:tabLst/>
                <a:defRPr/>
              </a:pPr>
              <a:r>
                <a:rPr kumimoji="0" lang="en-US" sz="883" b="0" i="0" u="none" strike="noStrike" kern="0" cap="none" spc="-37" normalizeH="0" baseline="0" noProof="0" dirty="0" smtClean="0">
                  <a:ln>
                    <a:noFill/>
                  </a:ln>
                  <a:solidFill>
                    <a:srgbClr val="505050"/>
                  </a:solidFill>
                  <a:effectLst>
                    <a:outerShdw blurRad="38100" dist="38100" dir="2700000" algn="tl">
                      <a:srgbClr val="000000">
                        <a:alpha val="43137"/>
                      </a:srgbClr>
                    </a:outerShdw>
                  </a:effectLst>
                  <a:uLnTx/>
                  <a:uFillTx/>
                </a:rPr>
                <a:t>&lt;subnet Z&gt;</a:t>
              </a:r>
            </a:p>
          </p:txBody>
        </p:sp>
      </p:grpSp>
      <p:sp>
        <p:nvSpPr>
          <p:cNvPr id="13" name="Freeform 5"/>
          <p:cNvSpPr>
            <a:spLocks noEditPoints="1"/>
          </p:cNvSpPr>
          <p:nvPr/>
        </p:nvSpPr>
        <p:spPr bwMode="auto">
          <a:xfrm>
            <a:off x="7725401" y="3743884"/>
            <a:ext cx="642441" cy="25170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505050">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652"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smtClean="0">
              <a:ln>
                <a:noFill/>
              </a:ln>
              <a:solidFill>
                <a:srgbClr val="505050"/>
              </a:solidFill>
              <a:effectLst/>
              <a:uLnTx/>
              <a:uFillTx/>
            </a:endParaRPr>
          </a:p>
        </p:txBody>
      </p:sp>
      <p:grpSp>
        <p:nvGrpSpPr>
          <p:cNvPr id="14" name="Group 13"/>
          <p:cNvGrpSpPr/>
          <p:nvPr/>
        </p:nvGrpSpPr>
        <p:grpSpPr>
          <a:xfrm>
            <a:off x="7410433" y="3207397"/>
            <a:ext cx="4234318" cy="2402007"/>
            <a:chOff x="6745490" y="2920527"/>
            <a:chExt cx="4725267" cy="2647089"/>
          </a:xfrm>
          <a:solidFill>
            <a:srgbClr val="0078D7"/>
          </a:solidFill>
        </p:grpSpPr>
        <p:sp>
          <p:nvSpPr>
            <p:cNvPr id="15" name="Freeform 14"/>
            <p:cNvSpPr/>
            <p:nvPr/>
          </p:nvSpPr>
          <p:spPr bwMode="auto">
            <a:xfrm>
              <a:off x="6745490" y="2920527"/>
              <a:ext cx="4725267" cy="2371250"/>
            </a:xfrm>
            <a:custGeom>
              <a:avLst/>
              <a:gdLst>
                <a:gd name="connsiteX0" fmla="*/ 224346 w 4725267"/>
                <a:gd name="connsiteY0" fmla="*/ 0 h 2310702"/>
                <a:gd name="connsiteX1" fmla="*/ 2168811 w 4725267"/>
                <a:gd name="connsiteY1" fmla="*/ 0 h 2310702"/>
                <a:gd name="connsiteX2" fmla="*/ 3487460 w 4725267"/>
                <a:gd name="connsiteY2" fmla="*/ 0 h 2310702"/>
                <a:gd name="connsiteX3" fmla="*/ 3569916 w 4725267"/>
                <a:gd name="connsiteY3" fmla="*/ 0 h 2310702"/>
                <a:gd name="connsiteX4" fmla="*/ 4725267 w 4725267"/>
                <a:gd name="connsiteY4" fmla="*/ 1155351 h 2310702"/>
                <a:gd name="connsiteX5" fmla="*/ 4725266 w 4725267"/>
                <a:gd name="connsiteY5" fmla="*/ 1155351 h 2310702"/>
                <a:gd name="connsiteX6" fmla="*/ 3569915 w 4725267"/>
                <a:gd name="connsiteY6" fmla="*/ 2310702 h 2310702"/>
                <a:gd name="connsiteX7" fmla="*/ 2168811 w 4725267"/>
                <a:gd name="connsiteY7" fmla="*/ 2310701 h 2310702"/>
                <a:gd name="connsiteX8" fmla="*/ 224346 w 4725267"/>
                <a:gd name="connsiteY8" fmla="*/ 2310701 h 2310702"/>
                <a:gd name="connsiteX9" fmla="*/ 0 w 4725267"/>
                <a:gd name="connsiteY9" fmla="*/ 2086355 h 2310702"/>
                <a:gd name="connsiteX10" fmla="*/ 0 w 4725267"/>
                <a:gd name="connsiteY10" fmla="*/ 224346 h 2310702"/>
                <a:gd name="connsiteX11" fmla="*/ 224346 w 4725267"/>
                <a:gd name="connsiteY11" fmla="*/ 0 h 231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5267" h="2310702">
                  <a:moveTo>
                    <a:pt x="224346" y="0"/>
                  </a:moveTo>
                  <a:lnTo>
                    <a:pt x="2168811" y="0"/>
                  </a:lnTo>
                  <a:lnTo>
                    <a:pt x="3487460" y="0"/>
                  </a:lnTo>
                  <a:lnTo>
                    <a:pt x="3569916" y="0"/>
                  </a:lnTo>
                  <a:cubicBezTo>
                    <a:pt x="4207999" y="0"/>
                    <a:pt x="4725267" y="517268"/>
                    <a:pt x="4725267" y="1155351"/>
                  </a:cubicBezTo>
                  <a:lnTo>
                    <a:pt x="4725266" y="1155351"/>
                  </a:lnTo>
                  <a:cubicBezTo>
                    <a:pt x="4725266" y="1793434"/>
                    <a:pt x="4207998" y="2310702"/>
                    <a:pt x="3569915" y="2310702"/>
                  </a:cubicBezTo>
                  <a:lnTo>
                    <a:pt x="2168811" y="2310701"/>
                  </a:lnTo>
                  <a:lnTo>
                    <a:pt x="224346" y="2310701"/>
                  </a:lnTo>
                  <a:cubicBezTo>
                    <a:pt x="100443" y="2310701"/>
                    <a:pt x="0" y="2210258"/>
                    <a:pt x="0" y="2086355"/>
                  </a:cubicBezTo>
                  <a:lnTo>
                    <a:pt x="0" y="224346"/>
                  </a:lnTo>
                  <a:cubicBezTo>
                    <a:pt x="0" y="100443"/>
                    <a:pt x="100443" y="0"/>
                    <a:pt x="224346" y="0"/>
                  </a:cubicBezTo>
                  <a:close/>
                </a:path>
              </a:pathLst>
            </a:custGeom>
            <a:solidFill>
              <a:srgbClr val="00BCF2">
                <a:lumMod val="75000"/>
                <a:lumOff val="25000"/>
              </a:srgbClr>
            </a:solidFill>
            <a:ln w="10795" cap="flat" cmpd="sng" algn="ctr">
              <a:solidFill>
                <a:srgbClr val="505050"/>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defTabSz="672121" eaLnBrk="1" fontAlgn="base" latinLnBrk="0" hangingPunct="1">
                <a:lnSpc>
                  <a:spcPct val="90000"/>
                </a:lnSpc>
                <a:spcBef>
                  <a:spcPct val="0"/>
                </a:spcBef>
                <a:spcAft>
                  <a:spcPct val="0"/>
                </a:spcAft>
                <a:buClrTx/>
                <a:buSzTx/>
                <a:buFontTx/>
                <a:buNone/>
                <a:tabLst/>
                <a:defRPr/>
              </a:pPr>
              <a:endParaRPr kumimoji="0" lang="en-US" sz="1765" b="0" i="0" u="none" strike="noStrike" kern="0" cap="none" spc="-37" normalizeH="0" baseline="0" noProof="0" dirty="0" smtClean="0">
                <a:ln>
                  <a:noFill/>
                </a:ln>
                <a:solidFill>
                  <a:srgbClr val="505050"/>
                </a:solidFill>
                <a:effectLst/>
                <a:uLnTx/>
                <a:uFillTx/>
                <a:latin typeface="Segoe UI"/>
                <a:ea typeface="+mn-ea"/>
                <a:cs typeface="+mn-cs"/>
              </a:endParaRPr>
            </a:p>
          </p:txBody>
        </p:sp>
        <p:sp>
          <p:nvSpPr>
            <p:cNvPr id="16" name="TextBox 15"/>
            <p:cNvSpPr txBox="1"/>
            <p:nvPr/>
          </p:nvSpPr>
          <p:spPr>
            <a:xfrm>
              <a:off x="7626069" y="5388134"/>
              <a:ext cx="1870761" cy="179482"/>
            </a:xfrm>
            <a:prstGeom prst="rect">
              <a:avLst/>
            </a:prstGeom>
            <a:solidFill>
              <a:srgbClr val="00BCF2">
                <a:lumMod val="75000"/>
                <a:lumOff val="25000"/>
              </a:srgbClr>
            </a:solidFill>
            <a:ln>
              <a:noFill/>
            </a:ln>
          </p:spPr>
          <p:txBody>
            <a:bodyPr wrap="square" lIns="0" tIns="0" rIns="0" bIns="0" rtlCol="0">
              <a:spAutoFit/>
            </a:bodyPr>
            <a:lstStyle/>
            <a:p>
              <a:pPr marL="0" marR="0" lvl="0" indent="0" algn="ctr" defTabSz="685652" eaLnBrk="1" fontAlgn="auto" latinLnBrk="0" hangingPunct="1">
                <a:lnSpc>
                  <a:spcPct val="90000"/>
                </a:lnSpc>
                <a:spcBef>
                  <a:spcPts val="0"/>
                </a:spcBef>
                <a:spcAft>
                  <a:spcPts val="0"/>
                </a:spcAft>
                <a:buClrTx/>
                <a:buSzTx/>
                <a:buFontTx/>
                <a:buNone/>
                <a:tabLst/>
                <a:defRPr/>
              </a:pPr>
              <a:r>
                <a:rPr kumimoji="0" lang="en-US" sz="1176" b="0" i="0" u="none" strike="noStrike" kern="0" cap="none" spc="-37" normalizeH="0" baseline="0" noProof="0" dirty="0" smtClean="0">
                  <a:ln>
                    <a:noFill/>
                  </a:ln>
                  <a:solidFill>
                    <a:schemeClr val="bg1"/>
                  </a:solidFill>
                  <a:effectLst/>
                  <a:uLnTx/>
                  <a:uFillTx/>
                </a:rPr>
                <a:t>Virtual Network</a:t>
              </a:r>
            </a:p>
          </p:txBody>
        </p:sp>
      </p:grpSp>
      <p:grpSp>
        <p:nvGrpSpPr>
          <p:cNvPr id="17" name="Group 16"/>
          <p:cNvGrpSpPr/>
          <p:nvPr/>
        </p:nvGrpSpPr>
        <p:grpSpPr>
          <a:xfrm>
            <a:off x="7540706" y="3303822"/>
            <a:ext cx="2944249" cy="1828981"/>
            <a:chOff x="6891121" y="3060919"/>
            <a:chExt cx="3429920" cy="1854647"/>
          </a:xfrm>
        </p:grpSpPr>
        <p:sp>
          <p:nvSpPr>
            <p:cNvPr id="18" name="Rounded Rectangle 17"/>
            <p:cNvSpPr/>
            <p:nvPr/>
          </p:nvSpPr>
          <p:spPr bwMode="auto">
            <a:xfrm>
              <a:off x="9225771" y="3236192"/>
              <a:ext cx="1095270" cy="1679374"/>
            </a:xfrm>
            <a:prstGeom prst="roundRect">
              <a:avLst>
                <a:gd name="adj" fmla="val 11101"/>
              </a:avLst>
            </a:prstGeom>
            <a:solidFill>
              <a:srgbClr val="00B0F0"/>
            </a:solidFill>
            <a:ln w="1079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72121" eaLnBrk="1" fontAlgn="base" latinLnBrk="0" hangingPunct="1">
                <a:lnSpc>
                  <a:spcPct val="90000"/>
                </a:lnSpc>
                <a:spcBef>
                  <a:spcPct val="0"/>
                </a:spcBef>
                <a:spcAft>
                  <a:spcPct val="0"/>
                </a:spcAft>
                <a:buClrTx/>
                <a:buSzTx/>
                <a:buFontTx/>
                <a:buNone/>
                <a:tabLst/>
                <a:defRPr/>
              </a:pPr>
              <a:endParaRPr kumimoji="0" lang="en-US" sz="1471" b="0" i="0" u="none" strike="noStrike" kern="0" cap="none" spc="-37" normalizeH="0" baseline="0" noProof="0" dirty="0" smtClean="0">
                <a:ln>
                  <a:noFill/>
                </a:ln>
                <a:gradFill>
                  <a:gsLst>
                    <a:gs pos="2917">
                      <a:srgbClr val="FFFFFF"/>
                    </a:gs>
                    <a:gs pos="30000">
                      <a:srgbClr val="FFFFFF"/>
                    </a:gs>
                  </a:gsLst>
                  <a:lin ang="5400000" scaled="0"/>
                </a:gradFill>
                <a:effectLst/>
                <a:uLnTx/>
                <a:uFillTx/>
                <a:latin typeface="Segoe UI"/>
                <a:ea typeface="+mn-ea"/>
                <a:cs typeface="+mn-cs"/>
              </a:endParaRPr>
            </a:p>
          </p:txBody>
        </p:sp>
        <p:sp>
          <p:nvSpPr>
            <p:cNvPr id="19" name="Rounded Rectangle 18"/>
            <p:cNvSpPr/>
            <p:nvPr/>
          </p:nvSpPr>
          <p:spPr bwMode="auto">
            <a:xfrm>
              <a:off x="8053405" y="3236192"/>
              <a:ext cx="1095270" cy="1679374"/>
            </a:xfrm>
            <a:prstGeom prst="roundRect">
              <a:avLst>
                <a:gd name="adj" fmla="val 11101"/>
              </a:avLst>
            </a:prstGeom>
            <a:solidFill>
              <a:srgbClr val="00B0F0"/>
            </a:solidFill>
            <a:ln w="1079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72121" eaLnBrk="1" fontAlgn="base" latinLnBrk="0" hangingPunct="1">
                <a:lnSpc>
                  <a:spcPct val="90000"/>
                </a:lnSpc>
                <a:spcBef>
                  <a:spcPct val="0"/>
                </a:spcBef>
                <a:spcAft>
                  <a:spcPct val="0"/>
                </a:spcAft>
                <a:buClrTx/>
                <a:buSzTx/>
                <a:buFontTx/>
                <a:buNone/>
                <a:tabLst/>
                <a:defRPr/>
              </a:pPr>
              <a:endParaRPr kumimoji="0" lang="en-US" sz="1471" b="0" i="0" u="none" strike="noStrike" kern="0" cap="none" spc="-37" normalizeH="0" baseline="0" noProof="0" dirty="0" smtClean="0">
                <a:ln>
                  <a:noFill/>
                </a:ln>
                <a:gradFill>
                  <a:gsLst>
                    <a:gs pos="2917">
                      <a:srgbClr val="FFFFFF"/>
                    </a:gs>
                    <a:gs pos="30000">
                      <a:srgbClr val="FFFFFF"/>
                    </a:gs>
                  </a:gsLst>
                  <a:lin ang="5400000" scaled="0"/>
                </a:gradFill>
                <a:effectLst/>
                <a:uLnTx/>
                <a:uFillTx/>
                <a:latin typeface="Segoe UI"/>
                <a:ea typeface="+mn-ea"/>
                <a:cs typeface="+mn-cs"/>
              </a:endParaRPr>
            </a:p>
          </p:txBody>
        </p:sp>
        <p:sp>
          <p:nvSpPr>
            <p:cNvPr id="20" name="TextBox 19"/>
            <p:cNvSpPr txBox="1"/>
            <p:nvPr/>
          </p:nvSpPr>
          <p:spPr>
            <a:xfrm>
              <a:off x="6992151" y="3060919"/>
              <a:ext cx="873046" cy="123994"/>
            </a:xfrm>
            <a:prstGeom prst="rect">
              <a:avLst/>
            </a:prstGeom>
            <a:noFill/>
          </p:spPr>
          <p:txBody>
            <a:bodyPr wrap="square" lIns="0" tIns="0" rIns="0" bIns="0" rtlCol="0">
              <a:spAutoFit/>
            </a:bodyPr>
            <a:lstStyle/>
            <a:p>
              <a:pPr marL="0" marR="0" lvl="0" indent="0" algn="ctr" defTabSz="685652" eaLnBrk="1" fontAlgn="auto" latinLnBrk="0" hangingPunct="1">
                <a:lnSpc>
                  <a:spcPct val="90000"/>
                </a:lnSpc>
                <a:spcBef>
                  <a:spcPts val="0"/>
                </a:spcBef>
                <a:spcAft>
                  <a:spcPts val="0"/>
                </a:spcAft>
                <a:buClrTx/>
                <a:buSzTx/>
                <a:buFontTx/>
                <a:buNone/>
                <a:tabLst/>
                <a:defRPr/>
              </a:pPr>
              <a:r>
                <a:rPr kumimoji="0" lang="en-US" sz="883" b="0" i="0" u="none" strike="noStrike" kern="0" cap="none" spc="-37" normalizeH="0" baseline="0" noProof="0" dirty="0" smtClean="0">
                  <a:ln>
                    <a:noFill/>
                  </a:ln>
                  <a:solidFill>
                    <a:srgbClr val="505050"/>
                  </a:solidFill>
                  <a:effectLst>
                    <a:outerShdw blurRad="38100" dist="38100" dir="2700000" algn="tl">
                      <a:srgbClr val="000000">
                        <a:alpha val="43137"/>
                      </a:srgbClr>
                    </a:outerShdw>
                  </a:effectLst>
                  <a:uLnTx/>
                  <a:uFillTx/>
                </a:rPr>
                <a:t>&lt;subnet X&gt;</a:t>
              </a:r>
            </a:p>
          </p:txBody>
        </p:sp>
        <p:sp>
          <p:nvSpPr>
            <p:cNvPr id="21" name="TextBox 20"/>
            <p:cNvSpPr txBox="1"/>
            <p:nvPr/>
          </p:nvSpPr>
          <p:spPr>
            <a:xfrm>
              <a:off x="8164516" y="3060919"/>
              <a:ext cx="873046" cy="123994"/>
            </a:xfrm>
            <a:prstGeom prst="rect">
              <a:avLst/>
            </a:prstGeom>
            <a:noFill/>
          </p:spPr>
          <p:txBody>
            <a:bodyPr wrap="square" lIns="0" tIns="0" rIns="0" bIns="0" rtlCol="0">
              <a:spAutoFit/>
            </a:bodyPr>
            <a:lstStyle/>
            <a:p>
              <a:pPr marL="0" marR="0" lvl="0" indent="0" algn="ctr" defTabSz="685652" eaLnBrk="1" fontAlgn="auto" latinLnBrk="0" hangingPunct="1">
                <a:lnSpc>
                  <a:spcPct val="90000"/>
                </a:lnSpc>
                <a:spcBef>
                  <a:spcPts val="0"/>
                </a:spcBef>
                <a:spcAft>
                  <a:spcPts val="0"/>
                </a:spcAft>
                <a:buClrTx/>
                <a:buSzTx/>
                <a:buFontTx/>
                <a:buNone/>
                <a:tabLst/>
                <a:defRPr/>
              </a:pPr>
              <a:r>
                <a:rPr kumimoji="0" lang="en-US" sz="883" b="0" i="0" u="none" strike="noStrike" kern="0" cap="none" spc="-37" normalizeH="0" baseline="0" noProof="0" dirty="0" smtClean="0">
                  <a:ln>
                    <a:noFill/>
                  </a:ln>
                  <a:solidFill>
                    <a:srgbClr val="505050"/>
                  </a:solidFill>
                  <a:effectLst>
                    <a:outerShdw blurRad="38100" dist="38100" dir="2700000" algn="tl">
                      <a:srgbClr val="000000">
                        <a:alpha val="43137"/>
                      </a:srgbClr>
                    </a:outerShdw>
                  </a:effectLst>
                  <a:uLnTx/>
                  <a:uFillTx/>
                </a:rPr>
                <a:t>&lt;subnet Y&gt;</a:t>
              </a:r>
            </a:p>
          </p:txBody>
        </p:sp>
        <p:sp>
          <p:nvSpPr>
            <p:cNvPr id="22" name="TextBox 21"/>
            <p:cNvSpPr txBox="1"/>
            <p:nvPr/>
          </p:nvSpPr>
          <p:spPr>
            <a:xfrm>
              <a:off x="9336882" y="3060919"/>
              <a:ext cx="873046" cy="123994"/>
            </a:xfrm>
            <a:prstGeom prst="rect">
              <a:avLst/>
            </a:prstGeom>
            <a:noFill/>
          </p:spPr>
          <p:txBody>
            <a:bodyPr wrap="square" lIns="0" tIns="0" rIns="0" bIns="0" rtlCol="0">
              <a:spAutoFit/>
            </a:bodyPr>
            <a:lstStyle/>
            <a:p>
              <a:pPr marL="0" marR="0" lvl="0" indent="0" algn="ctr" defTabSz="685652" eaLnBrk="1" fontAlgn="auto" latinLnBrk="0" hangingPunct="1">
                <a:lnSpc>
                  <a:spcPct val="90000"/>
                </a:lnSpc>
                <a:spcBef>
                  <a:spcPts val="0"/>
                </a:spcBef>
                <a:spcAft>
                  <a:spcPts val="0"/>
                </a:spcAft>
                <a:buClrTx/>
                <a:buSzTx/>
                <a:buFontTx/>
                <a:buNone/>
                <a:tabLst/>
                <a:defRPr/>
              </a:pPr>
              <a:r>
                <a:rPr kumimoji="0" lang="en-US" sz="883" b="0" i="0" u="none" strike="noStrike" kern="0" cap="none" spc="-37" normalizeH="0" baseline="0" noProof="0" dirty="0" smtClean="0">
                  <a:ln>
                    <a:noFill/>
                  </a:ln>
                  <a:solidFill>
                    <a:srgbClr val="505050"/>
                  </a:solidFill>
                  <a:effectLst>
                    <a:outerShdw blurRad="38100" dist="38100" dir="2700000" algn="tl">
                      <a:srgbClr val="000000">
                        <a:alpha val="43137"/>
                      </a:srgbClr>
                    </a:outerShdw>
                  </a:effectLst>
                  <a:uLnTx/>
                  <a:uFillTx/>
                </a:rPr>
                <a:t>&lt;subnet Z&gt;</a:t>
              </a:r>
            </a:p>
          </p:txBody>
        </p:sp>
        <p:sp>
          <p:nvSpPr>
            <p:cNvPr id="23" name="Rounded Rectangle 22"/>
            <p:cNvSpPr/>
            <p:nvPr/>
          </p:nvSpPr>
          <p:spPr bwMode="auto">
            <a:xfrm>
              <a:off x="6891121" y="3236191"/>
              <a:ext cx="1095270" cy="1679375"/>
            </a:xfrm>
            <a:prstGeom prst="roundRect">
              <a:avLst>
                <a:gd name="adj" fmla="val 11101"/>
              </a:avLst>
            </a:prstGeom>
            <a:solidFill>
              <a:srgbClr val="00B0F0"/>
            </a:solidFill>
            <a:ln w="1079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72121" eaLnBrk="1" fontAlgn="base" latinLnBrk="0" hangingPunct="1">
                <a:lnSpc>
                  <a:spcPct val="90000"/>
                </a:lnSpc>
                <a:spcBef>
                  <a:spcPct val="0"/>
                </a:spcBef>
                <a:spcAft>
                  <a:spcPct val="0"/>
                </a:spcAft>
                <a:buClrTx/>
                <a:buSzTx/>
                <a:buFontTx/>
                <a:buNone/>
                <a:tabLst/>
                <a:defRPr/>
              </a:pPr>
              <a:endParaRPr kumimoji="0" lang="en-US" sz="1471" b="0" i="0" u="none" strike="noStrike" kern="0" cap="none" spc="-37" normalizeH="0" baseline="0" noProof="0" dirty="0" smtClean="0">
                <a:ln>
                  <a:noFill/>
                </a:ln>
                <a:gradFill>
                  <a:gsLst>
                    <a:gs pos="2917">
                      <a:srgbClr val="FFFFFF"/>
                    </a:gs>
                    <a:gs pos="30000">
                      <a:srgbClr val="FFFFFF"/>
                    </a:gs>
                  </a:gsLst>
                  <a:lin ang="5400000" scaled="0"/>
                </a:gradFill>
                <a:effectLst/>
                <a:uLnTx/>
                <a:uFillTx/>
                <a:latin typeface="Segoe UI"/>
                <a:ea typeface="+mn-ea"/>
                <a:cs typeface="+mn-cs"/>
              </a:endParaRPr>
            </a:p>
          </p:txBody>
        </p:sp>
      </p:grpSp>
      <p:grpSp>
        <p:nvGrpSpPr>
          <p:cNvPr id="24" name="Group 23"/>
          <p:cNvGrpSpPr/>
          <p:nvPr/>
        </p:nvGrpSpPr>
        <p:grpSpPr>
          <a:xfrm>
            <a:off x="10556335" y="3934449"/>
            <a:ext cx="842709" cy="451437"/>
            <a:chOff x="10395800" y="3662616"/>
            <a:chExt cx="941784" cy="613985"/>
          </a:xfrm>
        </p:grpSpPr>
        <p:sp>
          <p:nvSpPr>
            <p:cNvPr id="25" name="TextBox 24"/>
            <p:cNvSpPr txBox="1"/>
            <p:nvPr/>
          </p:nvSpPr>
          <p:spPr>
            <a:xfrm>
              <a:off x="10434893" y="3662616"/>
              <a:ext cx="867567" cy="166306"/>
            </a:xfrm>
            <a:prstGeom prst="rect">
              <a:avLst/>
            </a:prstGeom>
            <a:noFill/>
          </p:spPr>
          <p:txBody>
            <a:bodyPr wrap="square" lIns="0" tIns="0" rIns="0" bIns="0" rtlCol="0">
              <a:spAutoFit/>
            </a:bodyPr>
            <a:lstStyle/>
            <a:p>
              <a:pPr marL="0" marR="0" lvl="0" indent="0" algn="ctr" defTabSz="685652" eaLnBrk="1" fontAlgn="auto" latinLnBrk="0" hangingPunct="1">
                <a:lnSpc>
                  <a:spcPct val="90000"/>
                </a:lnSpc>
                <a:spcBef>
                  <a:spcPts val="0"/>
                </a:spcBef>
                <a:spcAft>
                  <a:spcPts val="0"/>
                </a:spcAft>
                <a:buClrTx/>
                <a:buSzTx/>
                <a:buFontTx/>
                <a:buNone/>
                <a:tabLst/>
                <a:defRPr/>
              </a:pPr>
              <a:r>
                <a:rPr kumimoji="0" lang="en-US" sz="883" b="0" i="0" u="none" strike="noStrike" kern="0" cap="none" spc="-37" normalizeH="0" baseline="0" noProof="0" dirty="0" smtClean="0">
                  <a:ln>
                    <a:noFill/>
                  </a:ln>
                  <a:solidFill>
                    <a:srgbClr val="505050"/>
                  </a:solidFill>
                  <a:effectLst>
                    <a:outerShdw blurRad="38100" dist="38100" dir="2700000" algn="tl">
                      <a:srgbClr val="000000">
                        <a:alpha val="43137"/>
                      </a:srgbClr>
                    </a:outerShdw>
                  </a:effectLst>
                  <a:uLnTx/>
                  <a:uFillTx/>
                </a:rPr>
                <a:t>DNS Server</a:t>
              </a:r>
            </a:p>
          </p:txBody>
        </p:sp>
        <p:sp>
          <p:nvSpPr>
            <p:cNvPr id="26" name="Rounded Rectangle 25"/>
            <p:cNvSpPr/>
            <p:nvPr/>
          </p:nvSpPr>
          <p:spPr bwMode="auto">
            <a:xfrm>
              <a:off x="10395800" y="3875157"/>
              <a:ext cx="941784" cy="401444"/>
            </a:xfrm>
            <a:prstGeom prst="roundRect">
              <a:avLst>
                <a:gd name="adj" fmla="val 35082"/>
              </a:avLst>
            </a:prstGeom>
            <a:solidFill>
              <a:srgbClr val="FFFFFF"/>
            </a:solidFill>
            <a:ln w="1079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72121" eaLnBrk="1" fontAlgn="base" latinLnBrk="0" hangingPunct="1">
                <a:lnSpc>
                  <a:spcPct val="90000"/>
                </a:lnSpc>
                <a:spcBef>
                  <a:spcPct val="0"/>
                </a:spcBef>
                <a:spcAft>
                  <a:spcPct val="0"/>
                </a:spcAft>
                <a:buClrTx/>
                <a:buSzTx/>
                <a:buFontTx/>
                <a:buNone/>
                <a:tabLst/>
                <a:defRPr/>
              </a:pPr>
              <a:endParaRPr kumimoji="0" lang="en-US" sz="1471" b="0" i="0" u="none" strike="noStrike" kern="0" cap="none" spc="-37" normalizeH="0" baseline="0" noProof="0" dirty="0" smtClean="0">
                <a:ln>
                  <a:noFill/>
                </a:ln>
                <a:gradFill>
                  <a:gsLst>
                    <a:gs pos="2917">
                      <a:srgbClr val="FFFFFF"/>
                    </a:gs>
                    <a:gs pos="30000">
                      <a:srgbClr val="FFFFFF"/>
                    </a:gs>
                  </a:gsLst>
                  <a:lin ang="5400000" scaled="0"/>
                </a:gradFill>
                <a:effectLst/>
                <a:uLnTx/>
                <a:uFillTx/>
                <a:latin typeface="Segoe UI"/>
                <a:ea typeface="+mn-ea"/>
                <a:cs typeface="+mn-cs"/>
              </a:endParaRPr>
            </a:p>
          </p:txBody>
        </p:sp>
        <p:sp>
          <p:nvSpPr>
            <p:cNvPr id="27" name="Freeform 5"/>
            <p:cNvSpPr>
              <a:spLocks noEditPoints="1"/>
            </p:cNvSpPr>
            <p:nvPr/>
          </p:nvSpPr>
          <p:spPr bwMode="auto">
            <a:xfrm>
              <a:off x="10395800" y="387515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505050">
                <a:lumMod val="50000"/>
              </a:srgbClr>
            </a:solidFill>
            <a:ln w="10795" cap="flat" cmpd="sng" algn="ctr">
              <a:noFill/>
              <a:prstDash val="solid"/>
              <a:headEnd type="none" w="med" len="med"/>
              <a:tailEnd type="none" w="med" len="med"/>
            </a:ln>
            <a:effectLst/>
            <a:ex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72121" eaLnBrk="1" fontAlgn="base" latinLnBrk="0" hangingPunct="1">
                <a:lnSpc>
                  <a:spcPct val="90000"/>
                </a:lnSpc>
                <a:spcBef>
                  <a:spcPct val="0"/>
                </a:spcBef>
                <a:spcAft>
                  <a:spcPct val="0"/>
                </a:spcAft>
                <a:buClrTx/>
                <a:buSzTx/>
                <a:buFontTx/>
                <a:buNone/>
                <a:tabLst/>
                <a:defRPr/>
              </a:pPr>
              <a:endParaRPr kumimoji="0" lang="en-US" sz="1471" b="0" i="0" u="none" strike="noStrike" kern="0" cap="none" spc="-37" normalizeH="0" baseline="0" noProof="0" dirty="0" smtClean="0">
                <a:ln>
                  <a:noFill/>
                </a:ln>
                <a:gradFill>
                  <a:gsLst>
                    <a:gs pos="2917">
                      <a:srgbClr val="FFFFFF"/>
                    </a:gs>
                    <a:gs pos="30000">
                      <a:srgbClr val="FFFFFF"/>
                    </a:gs>
                  </a:gsLst>
                  <a:lin ang="5400000" scaled="0"/>
                </a:gradFill>
                <a:effectLst/>
                <a:uLnTx/>
                <a:uFillTx/>
                <a:latin typeface="Segoe UI"/>
                <a:ea typeface="+mn-ea"/>
                <a:cs typeface="+mn-cs"/>
              </a:endParaRPr>
            </a:p>
          </p:txBody>
        </p:sp>
      </p:grpSp>
      <p:sp>
        <p:nvSpPr>
          <p:cNvPr id="28" name="Freeform 5"/>
          <p:cNvSpPr>
            <a:spLocks noEditPoints="1"/>
          </p:cNvSpPr>
          <p:nvPr/>
        </p:nvSpPr>
        <p:spPr bwMode="auto">
          <a:xfrm>
            <a:off x="7686287" y="4273592"/>
            <a:ext cx="642441" cy="25170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505050">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652"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smtClean="0">
              <a:ln>
                <a:noFill/>
              </a:ln>
              <a:solidFill>
                <a:srgbClr val="505050"/>
              </a:solidFill>
              <a:effectLst/>
              <a:uLnTx/>
              <a:uFillTx/>
            </a:endParaRPr>
          </a:p>
        </p:txBody>
      </p:sp>
      <p:sp>
        <p:nvSpPr>
          <p:cNvPr id="29" name="Freeform 5"/>
          <p:cNvSpPr>
            <a:spLocks noEditPoints="1"/>
          </p:cNvSpPr>
          <p:nvPr/>
        </p:nvSpPr>
        <p:spPr bwMode="auto">
          <a:xfrm>
            <a:off x="7680921" y="4804230"/>
            <a:ext cx="642441" cy="25170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505050">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652"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smtClean="0">
              <a:ln>
                <a:noFill/>
              </a:ln>
              <a:solidFill>
                <a:srgbClr val="505050"/>
              </a:solidFill>
              <a:effectLst/>
              <a:uLnTx/>
              <a:uFillTx/>
            </a:endParaRPr>
          </a:p>
        </p:txBody>
      </p:sp>
      <p:sp>
        <p:nvSpPr>
          <p:cNvPr id="30" name="Freeform 5"/>
          <p:cNvSpPr>
            <a:spLocks noEditPoints="1"/>
          </p:cNvSpPr>
          <p:nvPr/>
        </p:nvSpPr>
        <p:spPr bwMode="auto">
          <a:xfrm>
            <a:off x="7701225" y="3743003"/>
            <a:ext cx="642441" cy="25170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505050">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652"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smtClean="0">
              <a:ln>
                <a:noFill/>
              </a:ln>
              <a:solidFill>
                <a:srgbClr val="505050"/>
              </a:solidFill>
              <a:effectLst/>
              <a:uLnTx/>
              <a:uFillTx/>
            </a:endParaRPr>
          </a:p>
        </p:txBody>
      </p:sp>
      <p:sp>
        <p:nvSpPr>
          <p:cNvPr id="31" name="Freeform 5"/>
          <p:cNvSpPr>
            <a:spLocks noEditPoints="1"/>
          </p:cNvSpPr>
          <p:nvPr/>
        </p:nvSpPr>
        <p:spPr bwMode="auto">
          <a:xfrm>
            <a:off x="8674427" y="4260034"/>
            <a:ext cx="642441" cy="25170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505050">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652"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smtClean="0">
              <a:ln>
                <a:noFill/>
              </a:ln>
              <a:solidFill>
                <a:srgbClr val="505050"/>
              </a:solidFill>
              <a:effectLst/>
              <a:uLnTx/>
              <a:uFillTx/>
            </a:endParaRPr>
          </a:p>
        </p:txBody>
      </p:sp>
      <p:sp>
        <p:nvSpPr>
          <p:cNvPr id="33" name="Freeform 5"/>
          <p:cNvSpPr>
            <a:spLocks noEditPoints="1"/>
          </p:cNvSpPr>
          <p:nvPr/>
        </p:nvSpPr>
        <p:spPr bwMode="auto">
          <a:xfrm>
            <a:off x="8640883" y="3748731"/>
            <a:ext cx="642441" cy="25170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505050">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652"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smtClean="0">
              <a:ln>
                <a:noFill/>
              </a:ln>
              <a:solidFill>
                <a:srgbClr val="505050"/>
              </a:solidFill>
              <a:effectLst/>
              <a:uLnTx/>
              <a:uFillTx/>
            </a:endParaRPr>
          </a:p>
        </p:txBody>
      </p:sp>
      <p:sp>
        <p:nvSpPr>
          <p:cNvPr id="34" name="Freeform 5"/>
          <p:cNvSpPr>
            <a:spLocks noEditPoints="1"/>
          </p:cNvSpPr>
          <p:nvPr/>
        </p:nvSpPr>
        <p:spPr bwMode="auto">
          <a:xfrm>
            <a:off x="8674426" y="4771337"/>
            <a:ext cx="642441" cy="25170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505050">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652"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smtClean="0">
              <a:ln>
                <a:noFill/>
              </a:ln>
              <a:solidFill>
                <a:srgbClr val="505050"/>
              </a:solidFill>
              <a:effectLst/>
              <a:uLnTx/>
              <a:uFillTx/>
            </a:endParaRPr>
          </a:p>
        </p:txBody>
      </p:sp>
      <p:sp>
        <p:nvSpPr>
          <p:cNvPr id="35" name="Freeform 5"/>
          <p:cNvSpPr>
            <a:spLocks noEditPoints="1"/>
          </p:cNvSpPr>
          <p:nvPr/>
        </p:nvSpPr>
        <p:spPr bwMode="auto">
          <a:xfrm>
            <a:off x="9676231" y="4224893"/>
            <a:ext cx="642441" cy="25170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505050">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652"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smtClean="0">
              <a:ln>
                <a:noFill/>
              </a:ln>
              <a:solidFill>
                <a:srgbClr val="505050"/>
              </a:solidFill>
              <a:effectLst/>
              <a:uLnTx/>
              <a:uFillTx/>
            </a:endParaRPr>
          </a:p>
        </p:txBody>
      </p:sp>
      <p:sp>
        <p:nvSpPr>
          <p:cNvPr id="36" name="Freeform 5"/>
          <p:cNvSpPr>
            <a:spLocks noEditPoints="1"/>
          </p:cNvSpPr>
          <p:nvPr/>
        </p:nvSpPr>
        <p:spPr bwMode="auto">
          <a:xfrm>
            <a:off x="9693642" y="4736435"/>
            <a:ext cx="642441" cy="25170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505050">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652"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smtClean="0">
              <a:ln>
                <a:noFill/>
              </a:ln>
              <a:solidFill>
                <a:srgbClr val="505050"/>
              </a:solidFill>
              <a:effectLst/>
              <a:uLnTx/>
              <a:uFillTx/>
            </a:endParaRPr>
          </a:p>
        </p:txBody>
      </p:sp>
      <p:sp>
        <p:nvSpPr>
          <p:cNvPr id="37" name="Freeform 5"/>
          <p:cNvSpPr>
            <a:spLocks noEditPoints="1"/>
          </p:cNvSpPr>
          <p:nvPr/>
        </p:nvSpPr>
        <p:spPr bwMode="auto">
          <a:xfrm>
            <a:off x="9676821" y="3707337"/>
            <a:ext cx="642441" cy="25170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505050">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652"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smtClean="0">
              <a:ln>
                <a:noFill/>
              </a:ln>
              <a:solidFill>
                <a:srgbClr val="505050"/>
              </a:solidFill>
              <a:effectLst/>
              <a:uLnTx/>
              <a:uFillTx/>
            </a:endParaRPr>
          </a:p>
        </p:txBody>
      </p:sp>
      <p:sp>
        <p:nvSpPr>
          <p:cNvPr id="38" name="TextBox 37"/>
          <p:cNvSpPr txBox="1"/>
          <p:nvPr/>
        </p:nvSpPr>
        <p:spPr>
          <a:xfrm>
            <a:off x="7832410" y="2335285"/>
            <a:ext cx="1947250" cy="706095"/>
          </a:xfrm>
          <a:custGeom>
            <a:avLst/>
            <a:gdLst>
              <a:gd name="connsiteX0" fmla="*/ 0 w 1679755"/>
              <a:gd name="connsiteY0" fmla="*/ 0 h 960263"/>
              <a:gd name="connsiteX1" fmla="*/ 1679755 w 1679755"/>
              <a:gd name="connsiteY1" fmla="*/ 0 h 960263"/>
              <a:gd name="connsiteX2" fmla="*/ 1679755 w 1679755"/>
              <a:gd name="connsiteY2" fmla="*/ 960263 h 960263"/>
              <a:gd name="connsiteX3" fmla="*/ 0 w 1679755"/>
              <a:gd name="connsiteY3" fmla="*/ 960263 h 960263"/>
              <a:gd name="connsiteX4" fmla="*/ 0 w 1679755"/>
              <a:gd name="connsiteY4" fmla="*/ 0 h 960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755" h="960263">
                <a:moveTo>
                  <a:pt x="0" y="0"/>
                </a:moveTo>
                <a:lnTo>
                  <a:pt x="1679755" y="0"/>
                </a:lnTo>
                <a:lnTo>
                  <a:pt x="1679755" y="960263"/>
                </a:lnTo>
                <a:lnTo>
                  <a:pt x="0" y="960263"/>
                </a:lnTo>
                <a:lnTo>
                  <a:pt x="0" y="0"/>
                </a:lnTo>
                <a:close/>
              </a:path>
            </a:pathLst>
          </a:custGeom>
          <a:noFill/>
        </p:spPr>
        <p:txBody>
          <a:bodyPr wrap="square" lIns="134464" tIns="107571" rIns="134464" bIns="107571"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765" b="1" i="0" u="none" strike="noStrike" kern="0" cap="none" spc="-37" normalizeH="0" baseline="0" noProof="0" dirty="0" smtClean="0">
                <a:ln>
                  <a:noFill/>
                </a:ln>
                <a:solidFill>
                  <a:schemeClr val="bg1"/>
                </a:solidFill>
                <a:effectLst/>
                <a:uLnTx/>
                <a:uFillTx/>
              </a:rPr>
              <a:t>Microsoft </a:t>
            </a:r>
            <a:br>
              <a:rPr kumimoji="0" lang="en-US" sz="1765" b="1" i="0" u="none" strike="noStrike" kern="0" cap="none" spc="-37" normalizeH="0" baseline="0" noProof="0" dirty="0" smtClean="0">
                <a:ln>
                  <a:noFill/>
                </a:ln>
                <a:solidFill>
                  <a:schemeClr val="bg1"/>
                </a:solidFill>
                <a:effectLst/>
                <a:uLnTx/>
                <a:uFillTx/>
              </a:rPr>
            </a:br>
            <a:r>
              <a:rPr kumimoji="0" lang="en-US" sz="1765" b="1" i="0" u="none" strike="noStrike" kern="0" cap="none" spc="-37" normalizeH="0" baseline="0" noProof="0" dirty="0" smtClean="0">
                <a:ln>
                  <a:noFill/>
                </a:ln>
                <a:solidFill>
                  <a:schemeClr val="bg1"/>
                </a:solidFill>
                <a:effectLst/>
                <a:uLnTx/>
                <a:uFillTx/>
              </a:rPr>
              <a:t>Azure</a:t>
            </a:r>
          </a:p>
        </p:txBody>
      </p:sp>
    </p:spTree>
    <p:extLst>
      <p:ext uri="{BB962C8B-B14F-4D97-AF65-F5344CB8AC3E}">
        <p14:creationId xmlns:p14="http://schemas.microsoft.com/office/powerpoint/2010/main" val="30448351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par>
                                <p:cTn id="12" presetID="10" presetClass="entr" presetSubtype="0" fill="hold" nodeType="withEffect">
                                  <p:stCondLst>
                                    <p:cond delay="250"/>
                                  </p:stCondLst>
                                  <p:childTnLst>
                                    <p:set>
                                      <p:cBhvr>
                                        <p:cTn id="13" dur="1" fill="hold">
                                          <p:stCondLst>
                                            <p:cond delay="0"/>
                                          </p:stCondLst>
                                        </p:cTn>
                                        <p:tgtEl>
                                          <p:spTgt spid="17"/>
                                        </p:tgtEl>
                                        <p:attrNameLst>
                                          <p:attrName>style.visibility</p:attrName>
                                        </p:attrNameLst>
                                      </p:cBhvr>
                                      <p:to>
                                        <p:strVal val="visible"/>
                                      </p:to>
                                    </p:set>
                                    <p:animEffect transition="in" filter="fade">
                                      <p:cBhvr>
                                        <p:cTn id="14" dur="500"/>
                                        <p:tgtEl>
                                          <p:spTgt spid="17"/>
                                        </p:tgtEl>
                                      </p:cBhvr>
                                    </p:animEffect>
                                  </p:childTnLst>
                                </p:cTn>
                              </p:par>
                              <p:par>
                                <p:cTn id="15" presetID="10" presetClass="entr" presetSubtype="0" fill="hold" nodeType="withEffect">
                                  <p:stCondLst>
                                    <p:cond delay="95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normAutofit fontScale="92500" lnSpcReduction="10000"/>
          </a:bodyPr>
          <a:lstStyle/>
          <a:p>
            <a:r>
              <a:rPr lang="en-US" dirty="0"/>
              <a:t>VIP (Virtual IP address)</a:t>
            </a:r>
          </a:p>
          <a:p>
            <a:pPr lvl="1"/>
            <a:r>
              <a:rPr lang="en-US" dirty="0"/>
              <a:t>A public IP address belongs to the a machine in a virtual network. It also serves as an Azure Load Balancer which tells how network traffic should be directed before being routed to the VM.</a:t>
            </a:r>
          </a:p>
          <a:p>
            <a:pPr lvl="1"/>
            <a:r>
              <a:rPr lang="en-US" dirty="0"/>
              <a:t>It is possible to reserve an IP from the Microsoft pool</a:t>
            </a:r>
          </a:p>
          <a:p>
            <a:r>
              <a:rPr lang="en-US" dirty="0"/>
              <a:t>DIP (Dynamic IP address): </a:t>
            </a:r>
          </a:p>
          <a:p>
            <a:pPr lvl="1"/>
            <a:r>
              <a:rPr lang="en-US" dirty="0"/>
              <a:t>An internal IP assigned by Microsoft Azure DHCP to the VM</a:t>
            </a:r>
          </a:p>
          <a:p>
            <a:pPr lvl="1"/>
            <a:r>
              <a:rPr lang="en-US" dirty="0"/>
              <a:t>Associated automatically with the VM when created</a:t>
            </a:r>
          </a:p>
          <a:p>
            <a:pPr lvl="1"/>
            <a:r>
              <a:rPr lang="en-US" dirty="0"/>
              <a:t>It is released when VM is deleted or deallocated (default)</a:t>
            </a:r>
          </a:p>
          <a:p>
            <a:pPr lvl="1"/>
            <a:r>
              <a:rPr lang="en-US" dirty="0"/>
              <a:t>It is possible to configure and static IP address</a:t>
            </a:r>
          </a:p>
          <a:p>
            <a:pPr lvl="1"/>
            <a:r>
              <a:rPr lang="en-US" dirty="0"/>
              <a:t>You can have more than one DIP per VM (Multi-NIC support)</a:t>
            </a:r>
          </a:p>
          <a:p>
            <a:r>
              <a:rPr lang="en-US" dirty="0"/>
              <a:t>ILPIP (Instance Level Public IP)</a:t>
            </a:r>
          </a:p>
          <a:p>
            <a:pPr lvl="1"/>
            <a:r>
              <a:rPr lang="en-US" dirty="0"/>
              <a:t>A ILPIP is associated with the VM in addition to the VIP. Traffic to the ILPIP goes directly to the VM and is not routed through the Azure Load Balancer</a:t>
            </a:r>
          </a:p>
          <a:p>
            <a:endParaRPr lang="en-US" dirty="0"/>
          </a:p>
        </p:txBody>
      </p:sp>
    </p:spTree>
    <p:extLst>
      <p:ext uri="{BB962C8B-B14F-4D97-AF65-F5344CB8AC3E}">
        <p14:creationId xmlns:p14="http://schemas.microsoft.com/office/powerpoint/2010/main" val="3454395785"/>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33341" y="-160381"/>
            <a:ext cx="10515600" cy="1325563"/>
          </a:xfrm>
        </p:spPr>
        <p:txBody>
          <a:bodyPr>
            <a:normAutofit/>
          </a:bodyPr>
          <a:lstStyle/>
          <a:p>
            <a:r>
              <a:rPr lang="en-US" b="1" u="sng" dirty="0">
                <a:effectLst>
                  <a:outerShdw blurRad="38100" dist="38100" dir="2700000" algn="tl">
                    <a:srgbClr val="000000">
                      <a:alpha val="43137"/>
                    </a:srgbClr>
                  </a:outerShdw>
                </a:effectLst>
              </a:rPr>
              <a:t>Internet </a:t>
            </a:r>
            <a:r>
              <a:rPr lang="en-US" b="1" u="sng" dirty="0" smtClean="0">
                <a:effectLst>
                  <a:outerShdw blurRad="38100" dist="38100" dir="2700000" algn="tl">
                    <a:srgbClr val="000000">
                      <a:alpha val="43137"/>
                    </a:srgbClr>
                  </a:outerShdw>
                </a:effectLst>
              </a:rPr>
              <a:t>IP addresses and </a:t>
            </a:r>
            <a:r>
              <a:rPr lang="en-US" b="1" u="sng" dirty="0">
                <a:effectLst>
                  <a:outerShdw blurRad="38100" dist="38100" dir="2700000" algn="tl">
                    <a:srgbClr val="000000">
                      <a:alpha val="43137"/>
                    </a:srgbClr>
                  </a:outerShdw>
                </a:effectLst>
              </a:rPr>
              <a:t>l</a:t>
            </a:r>
            <a:r>
              <a:rPr lang="en-US" b="1" u="sng" dirty="0" smtClean="0">
                <a:effectLst>
                  <a:outerShdw blurRad="38100" dist="38100" dir="2700000" algn="tl">
                    <a:srgbClr val="000000">
                      <a:alpha val="43137"/>
                    </a:srgbClr>
                  </a:outerShdw>
                </a:effectLst>
              </a:rPr>
              <a:t>oad </a:t>
            </a:r>
            <a:r>
              <a:rPr lang="en-US" b="1" u="sng" dirty="0">
                <a:effectLst>
                  <a:outerShdw blurRad="38100" dist="38100" dir="2700000" algn="tl">
                    <a:srgbClr val="000000">
                      <a:alpha val="43137"/>
                    </a:srgbClr>
                  </a:outerShdw>
                </a:effectLst>
              </a:rPr>
              <a:t>b</a:t>
            </a:r>
            <a:r>
              <a:rPr lang="en-US" b="1" u="sng" dirty="0" smtClean="0">
                <a:effectLst>
                  <a:outerShdw blurRad="38100" dist="38100" dir="2700000" algn="tl">
                    <a:srgbClr val="000000">
                      <a:alpha val="43137"/>
                    </a:srgbClr>
                  </a:outerShdw>
                </a:effectLst>
              </a:rPr>
              <a:t>alancing</a:t>
            </a:r>
            <a:endParaRPr lang="en-US" b="1" u="sng" dirty="0">
              <a:effectLst>
                <a:outerShdw blurRad="38100" dist="38100" dir="2700000" algn="tl">
                  <a:srgbClr val="000000">
                    <a:alpha val="43137"/>
                  </a:srgbClr>
                </a:outerShdw>
              </a:effectLst>
            </a:endParaRPr>
          </a:p>
        </p:txBody>
      </p:sp>
      <p:sp>
        <p:nvSpPr>
          <p:cNvPr id="6" name="Content Placeholder 5"/>
          <p:cNvSpPr>
            <a:spLocks noGrp="1"/>
          </p:cNvSpPr>
          <p:nvPr>
            <p:ph type="body" sz="quarter" idx="10"/>
          </p:nvPr>
        </p:nvSpPr>
        <p:spPr>
          <a:xfrm>
            <a:off x="269241" y="1189494"/>
            <a:ext cx="6531808" cy="5376993"/>
          </a:xfrm>
        </p:spPr>
        <p:txBody>
          <a:bodyPr>
            <a:normAutofit lnSpcReduction="10000"/>
          </a:bodyPr>
          <a:lstStyle/>
          <a:p>
            <a:pPr marL="0" indent="0">
              <a:buNone/>
            </a:pPr>
            <a:r>
              <a:rPr lang="en-US" dirty="0">
                <a:solidFill>
                  <a:schemeClr val="tx1"/>
                </a:solidFill>
              </a:rPr>
              <a:t>Public IP </a:t>
            </a:r>
            <a:r>
              <a:rPr lang="en-US" dirty="0" smtClean="0">
                <a:solidFill>
                  <a:schemeClr val="tx1"/>
                </a:solidFill>
              </a:rPr>
              <a:t>addresses </a:t>
            </a:r>
            <a:r>
              <a:rPr lang="en-US" dirty="0">
                <a:solidFill>
                  <a:schemeClr val="tx1"/>
                </a:solidFill>
              </a:rPr>
              <a:t>in Azure</a:t>
            </a:r>
          </a:p>
          <a:p>
            <a:pPr marL="336112" lvl="1" indent="0"/>
            <a:r>
              <a:rPr lang="en-US" dirty="0"/>
              <a:t>Can be used for instance (VM) level access or load balancing</a:t>
            </a:r>
          </a:p>
          <a:p>
            <a:pPr marL="0" indent="0">
              <a:buNone/>
            </a:pPr>
            <a:r>
              <a:rPr lang="en-US" dirty="0">
                <a:solidFill>
                  <a:schemeClr val="tx1"/>
                </a:solidFill>
              </a:rPr>
              <a:t>Instance-level IP</a:t>
            </a:r>
          </a:p>
          <a:p>
            <a:pPr marL="336112" lvl="1" indent="0"/>
            <a:r>
              <a:rPr lang="en-US" dirty="0"/>
              <a:t>Internet IP assigned exclusively </a:t>
            </a:r>
            <a:r>
              <a:rPr lang="en-US" dirty="0" smtClean="0"/>
              <a:t>to </a:t>
            </a:r>
            <a:r>
              <a:rPr lang="en-US" dirty="0"/>
              <a:t>single </a:t>
            </a:r>
            <a:r>
              <a:rPr lang="en-US" dirty="0" smtClean="0"/>
              <a:t>VM</a:t>
            </a:r>
            <a:br>
              <a:rPr lang="en-US" dirty="0" smtClean="0"/>
            </a:br>
            <a:r>
              <a:rPr lang="en-US" dirty="0" smtClean="0"/>
              <a:t>Entire </a:t>
            </a:r>
            <a:r>
              <a:rPr lang="en-US" dirty="0"/>
              <a:t>port </a:t>
            </a:r>
            <a:r>
              <a:rPr lang="en-US" dirty="0" smtClean="0"/>
              <a:t>range </a:t>
            </a:r>
            <a:r>
              <a:rPr lang="en-US" dirty="0"/>
              <a:t>accessible by default</a:t>
            </a:r>
          </a:p>
          <a:p>
            <a:pPr marL="336112" lvl="1" indent="0"/>
            <a:r>
              <a:rPr lang="en-US" dirty="0"/>
              <a:t>Primarily for targeting </a:t>
            </a:r>
            <a:r>
              <a:rPr lang="en-US" dirty="0" smtClean="0"/>
              <a:t>a </a:t>
            </a:r>
            <a:r>
              <a:rPr lang="en-US" dirty="0"/>
              <a:t>specific VM</a:t>
            </a:r>
          </a:p>
          <a:p>
            <a:pPr marL="0" indent="0">
              <a:buNone/>
            </a:pPr>
            <a:r>
              <a:rPr lang="en-US" dirty="0">
                <a:solidFill>
                  <a:schemeClr val="tx1"/>
                </a:solidFill>
              </a:rPr>
              <a:t>Load balanced IP (VIP)</a:t>
            </a:r>
          </a:p>
          <a:p>
            <a:pPr marL="336112" lvl="1" indent="0"/>
            <a:r>
              <a:rPr lang="en-US" dirty="0"/>
              <a:t>Internet IP load balanced among one or more VM instances</a:t>
            </a:r>
          </a:p>
          <a:p>
            <a:pPr marL="336112" lvl="1" indent="0"/>
            <a:r>
              <a:rPr lang="en-US" dirty="0"/>
              <a:t>Allows </a:t>
            </a:r>
            <a:r>
              <a:rPr lang="en-US" dirty="0" smtClean="0"/>
              <a:t>port redirection</a:t>
            </a:r>
            <a:endParaRPr lang="en-US" dirty="0"/>
          </a:p>
          <a:p>
            <a:pPr marL="336112" lvl="1" indent="0"/>
            <a:r>
              <a:rPr lang="en-US" dirty="0"/>
              <a:t>Primarily for load balanced, highly available, or auto-scale scenarios</a:t>
            </a:r>
          </a:p>
          <a:p>
            <a:endParaRPr lang="en-US" dirty="0"/>
          </a:p>
        </p:txBody>
      </p:sp>
      <p:pic>
        <p:nvPicPr>
          <p:cNvPr id="5" name="Picture 4"/>
          <p:cNvPicPr>
            <a:picLocks noChangeAspect="1"/>
          </p:cNvPicPr>
          <p:nvPr/>
        </p:nvPicPr>
        <p:blipFill rotWithShape="1">
          <a:blip r:embed="rId3"/>
          <a:srcRect b="31385"/>
          <a:stretch/>
        </p:blipFill>
        <p:spPr>
          <a:xfrm>
            <a:off x="8038007" y="2894286"/>
            <a:ext cx="3985939" cy="3149286"/>
          </a:xfrm>
          <a:prstGeom prst="rect">
            <a:avLst/>
          </a:prstGeom>
          <a:noFill/>
          <a:ln w="28575" cap="rnd" cmpd="sng" algn="ctr">
            <a:solidFill>
              <a:schemeClr val="accent5">
                <a:lumMod val="75000"/>
              </a:schemeClr>
            </a:solidFill>
            <a:prstDash val="sysDash"/>
            <a:headEnd type="none"/>
            <a:tailEnd type="none"/>
          </a:ln>
          <a:effectLst/>
        </p:spPr>
      </p:pic>
      <p:cxnSp>
        <p:nvCxnSpPr>
          <p:cNvPr id="7" name="Straight Connector 6"/>
          <p:cNvCxnSpPr/>
          <p:nvPr/>
        </p:nvCxnSpPr>
        <p:spPr>
          <a:xfrm flipH="1" flipV="1">
            <a:off x="10015424" y="2264479"/>
            <a:ext cx="15033" cy="1166620"/>
          </a:xfrm>
          <a:prstGeom prst="line">
            <a:avLst/>
          </a:prstGeom>
          <a:noFill/>
          <a:ln w="28575" cap="rnd" cmpd="sng" algn="ctr">
            <a:solidFill>
              <a:schemeClr val="accent5">
                <a:lumMod val="75000"/>
              </a:schemeClr>
            </a:solidFill>
            <a:prstDash val="sysDash"/>
            <a:headEnd type="none"/>
            <a:tailEnd type="none"/>
          </a:ln>
          <a:effectLst/>
        </p:spPr>
      </p:cxnSp>
      <p:sp>
        <p:nvSpPr>
          <p:cNvPr id="8" name="Rectangle 7"/>
          <p:cNvSpPr>
            <a:spLocks noChangeArrowheads="1"/>
          </p:cNvSpPr>
          <p:nvPr/>
        </p:nvSpPr>
        <p:spPr bwMode="auto">
          <a:xfrm>
            <a:off x="11497706" y="5372786"/>
            <a:ext cx="244572" cy="19669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defTabSz="913683">
              <a:defRPr/>
            </a:pPr>
            <a:endParaRPr lang="en-US" kern="0">
              <a:solidFill>
                <a:srgbClr val="000000"/>
              </a:solidFill>
            </a:endParaRPr>
          </a:p>
        </p:txBody>
      </p:sp>
      <p:sp>
        <p:nvSpPr>
          <p:cNvPr id="9" name="Freeform 18"/>
          <p:cNvSpPr>
            <a:spLocks/>
          </p:cNvSpPr>
          <p:nvPr/>
        </p:nvSpPr>
        <p:spPr bwMode="auto">
          <a:xfrm>
            <a:off x="9714097" y="5065430"/>
            <a:ext cx="2300792" cy="674838"/>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18" tIns="44808" rIns="89618" bIns="44808" numCol="1" anchor="t" anchorCtr="0" compatLnSpc="1">
            <a:prstTxWarp prst="textNoShape">
              <a:avLst/>
            </a:prstTxWarp>
          </a:bodyPr>
          <a:lstStyle/>
          <a:p>
            <a:pPr defTabSz="913683">
              <a:defRPr/>
            </a:pPr>
            <a:endParaRPr lang="en-US" kern="0">
              <a:solidFill>
                <a:srgbClr val="000000"/>
              </a:solidFill>
            </a:endParaRPr>
          </a:p>
        </p:txBody>
      </p:sp>
      <p:sp>
        <p:nvSpPr>
          <p:cNvPr id="10" name="Freeform 29"/>
          <p:cNvSpPr>
            <a:spLocks/>
          </p:cNvSpPr>
          <p:nvPr/>
        </p:nvSpPr>
        <p:spPr bwMode="auto">
          <a:xfrm>
            <a:off x="8006230" y="5134605"/>
            <a:ext cx="2474537" cy="569470"/>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18" tIns="44808" rIns="89618" bIns="44808" numCol="1" anchor="t" anchorCtr="0" compatLnSpc="1">
            <a:prstTxWarp prst="textNoShape">
              <a:avLst/>
            </a:prstTxWarp>
          </a:bodyPr>
          <a:lstStyle/>
          <a:p>
            <a:pPr defTabSz="913683">
              <a:defRPr/>
            </a:pPr>
            <a:endParaRPr lang="en-US" kern="0">
              <a:solidFill>
                <a:srgbClr val="000000"/>
              </a:solidFill>
            </a:endParaRPr>
          </a:p>
        </p:txBody>
      </p:sp>
      <p:sp>
        <p:nvSpPr>
          <p:cNvPr id="11" name="Freeform 29"/>
          <p:cNvSpPr>
            <a:spLocks/>
          </p:cNvSpPr>
          <p:nvPr/>
        </p:nvSpPr>
        <p:spPr bwMode="auto">
          <a:xfrm>
            <a:off x="9993310" y="5383531"/>
            <a:ext cx="1760931" cy="320693"/>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defTabSz="913683">
              <a:defRPr/>
            </a:pPr>
            <a:endParaRPr lang="en-US" kern="0">
              <a:solidFill>
                <a:srgbClr val="000000"/>
              </a:solidFill>
            </a:endParaRPr>
          </a:p>
        </p:txBody>
      </p:sp>
      <p:sp>
        <p:nvSpPr>
          <p:cNvPr id="16" name="Freeform 29"/>
          <p:cNvSpPr>
            <a:spLocks/>
          </p:cNvSpPr>
          <p:nvPr/>
        </p:nvSpPr>
        <p:spPr bwMode="auto">
          <a:xfrm>
            <a:off x="8063348" y="5406980"/>
            <a:ext cx="2196367" cy="296980"/>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defTabSz="913683">
              <a:defRPr/>
            </a:pPr>
            <a:endParaRPr lang="en-US" kern="0">
              <a:solidFill>
                <a:srgbClr val="000000"/>
              </a:solidFill>
            </a:endParaRPr>
          </a:p>
        </p:txBody>
      </p:sp>
      <p:sp>
        <p:nvSpPr>
          <p:cNvPr id="18" name="Freeform 55"/>
          <p:cNvSpPr>
            <a:spLocks/>
          </p:cNvSpPr>
          <p:nvPr/>
        </p:nvSpPr>
        <p:spPr bwMode="auto">
          <a:xfrm>
            <a:off x="10911726" y="5343643"/>
            <a:ext cx="604206" cy="180944"/>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FFFFFF">
              <a:lumMod val="50000"/>
              <a:alpha val="19000"/>
            </a:srgbClr>
          </a:solidFill>
          <a:ln>
            <a:noFill/>
          </a:ln>
          <a:extLst/>
        </p:spPr>
        <p:txBody>
          <a:bodyPr vert="horz" wrap="square" lIns="89618" tIns="44808" rIns="89618" bIns="44808" numCol="1" anchor="t" anchorCtr="0" compatLnSpc="1">
            <a:prstTxWarp prst="textNoShape">
              <a:avLst/>
            </a:prstTxWarp>
          </a:bodyPr>
          <a:lstStyle/>
          <a:p>
            <a:pPr defTabSz="913683">
              <a:defRPr/>
            </a:pPr>
            <a:endParaRPr lang="en-US" kern="0">
              <a:solidFill>
                <a:srgbClr val="000000"/>
              </a:solidFill>
            </a:endParaRPr>
          </a:p>
        </p:txBody>
      </p:sp>
      <p:cxnSp>
        <p:nvCxnSpPr>
          <p:cNvPr id="23" name="Straight Connector 22"/>
          <p:cNvCxnSpPr>
            <a:endCxn id="34" idx="0"/>
          </p:cNvCxnSpPr>
          <p:nvPr/>
        </p:nvCxnSpPr>
        <p:spPr>
          <a:xfrm flipH="1">
            <a:off x="9154374" y="3907308"/>
            <a:ext cx="630197" cy="747888"/>
          </a:xfrm>
          <a:prstGeom prst="line">
            <a:avLst/>
          </a:prstGeom>
          <a:noFill/>
          <a:ln w="28575" cap="rnd" cmpd="sng" algn="ctr">
            <a:solidFill>
              <a:schemeClr val="accent5">
                <a:lumMod val="75000"/>
              </a:schemeClr>
            </a:solidFill>
            <a:prstDash val="sysDash"/>
            <a:headEnd type="none"/>
            <a:tailEnd type="none"/>
          </a:ln>
          <a:effectLst/>
        </p:spPr>
      </p:cxnSp>
      <p:sp>
        <p:nvSpPr>
          <p:cNvPr id="28" name="Freeform 95"/>
          <p:cNvSpPr>
            <a:spLocks/>
          </p:cNvSpPr>
          <p:nvPr/>
        </p:nvSpPr>
        <p:spPr bwMode="auto">
          <a:xfrm flipH="1">
            <a:off x="9415302" y="1458097"/>
            <a:ext cx="1230312" cy="84858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w="28575">
            <a:noFill/>
            <a:round/>
            <a:headEnd/>
            <a:tailEnd/>
          </a:ln>
          <a:scene3d>
            <a:camera prst="orthographicFront"/>
            <a:lightRig rig="threePt" dir="t"/>
          </a:scene3d>
          <a:sp3d>
            <a:bevelT/>
          </a:sp3d>
          <a:extLst/>
        </p:spPr>
        <p:txBody>
          <a:bodyPr vert="horz" wrap="square" lIns="91415" tIns="45707" rIns="91415" bIns="45707" numCol="1" anchor="t" anchorCtr="0" compatLnSpc="1">
            <a:prstTxWarp prst="textNoShape">
              <a:avLst/>
            </a:prstTxWarp>
          </a:bodyPr>
          <a:lstStyle/>
          <a:p>
            <a:pPr defTabSz="896297">
              <a:defRPr/>
            </a:pPr>
            <a:endParaRPr lang="en-US" b="1" kern="0">
              <a:gradFill>
                <a:gsLst>
                  <a:gs pos="0">
                    <a:srgbClr val="505050"/>
                  </a:gs>
                  <a:gs pos="100000">
                    <a:srgbClr val="505050"/>
                  </a:gs>
                </a:gsLst>
                <a:lin ang="5400000" scaled="0"/>
              </a:gradFill>
            </a:endParaRPr>
          </a:p>
        </p:txBody>
      </p:sp>
      <p:cxnSp>
        <p:nvCxnSpPr>
          <p:cNvPr id="29" name="Straight Connector 28"/>
          <p:cNvCxnSpPr>
            <a:stCxn id="63" idx="5"/>
            <a:endCxn id="45" idx="0"/>
          </p:cNvCxnSpPr>
          <p:nvPr/>
        </p:nvCxnSpPr>
        <p:spPr>
          <a:xfrm>
            <a:off x="10274755" y="3886943"/>
            <a:ext cx="650082" cy="770812"/>
          </a:xfrm>
          <a:prstGeom prst="line">
            <a:avLst/>
          </a:prstGeom>
          <a:noFill/>
          <a:ln w="28575" cap="rnd" cmpd="sng" algn="ctr">
            <a:solidFill>
              <a:schemeClr val="accent5">
                <a:lumMod val="75000"/>
              </a:schemeClr>
            </a:solidFill>
            <a:prstDash val="sysDash"/>
            <a:headEnd type="none"/>
            <a:tailEnd type="none"/>
          </a:ln>
          <a:effectLst/>
        </p:spPr>
      </p:cxnSp>
      <p:sp>
        <p:nvSpPr>
          <p:cNvPr id="30" name="Oval 29"/>
          <p:cNvSpPr/>
          <p:nvPr/>
        </p:nvSpPr>
        <p:spPr bwMode="auto">
          <a:xfrm>
            <a:off x="8660157" y="5475586"/>
            <a:ext cx="1002284" cy="153339"/>
          </a:xfrm>
          <a:prstGeom prst="ellipse">
            <a:avLst/>
          </a:prstGeom>
          <a:noFill/>
          <a:ln w="28575" cap="rnd" cmpd="sng" algn="ctr">
            <a:solidFill>
              <a:srgbClr val="FFFFFF"/>
            </a:solidFill>
            <a:prstDash val="sysDot"/>
            <a:headEnd type="none" w="med" len="med"/>
            <a:tailEnd type="none" w="med" len="med"/>
          </a:ln>
          <a:effectLst/>
        </p:spPr>
        <p:txBody>
          <a:bodyPr rot="0" spcFirstLastPara="0" vertOverflow="overflow" horzOverflow="overflow" vert="horz" wrap="square" lIns="182831" tIns="146265" rIns="182831" bIns="146265"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1" name="Group 30"/>
          <p:cNvGrpSpPr/>
          <p:nvPr/>
        </p:nvGrpSpPr>
        <p:grpSpPr>
          <a:xfrm>
            <a:off x="8830514" y="4655194"/>
            <a:ext cx="821734" cy="911304"/>
            <a:chOff x="6060998" y="5195244"/>
            <a:chExt cx="1214228" cy="1346582"/>
          </a:xfrm>
        </p:grpSpPr>
        <p:sp>
          <p:nvSpPr>
            <p:cNvPr id="32" name="Freeform 55"/>
            <p:cNvSpPr>
              <a:spLocks/>
            </p:cNvSpPr>
            <p:nvPr/>
          </p:nvSpPr>
          <p:spPr bwMode="auto">
            <a:xfrm>
              <a:off x="6566555" y="6389023"/>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FFFFFF">
                <a:lumMod val="50000"/>
                <a:alpha val="19000"/>
              </a:srgbClr>
            </a:solidFill>
            <a:ln>
              <a:noFill/>
            </a:ln>
            <a:extLst/>
          </p:spPr>
          <p:txBody>
            <a:bodyPr vert="horz" wrap="square" lIns="89618" tIns="44808" rIns="89618" bIns="44808" numCol="1" anchor="t" anchorCtr="0" compatLnSpc="1">
              <a:prstTxWarp prst="textNoShape">
                <a:avLst/>
              </a:prstTxWarp>
            </a:bodyPr>
            <a:lstStyle/>
            <a:p>
              <a:pPr defTabSz="913683">
                <a:defRPr/>
              </a:pPr>
              <a:endParaRPr lang="en-US" kern="0">
                <a:solidFill>
                  <a:srgbClr val="000000"/>
                </a:solidFill>
              </a:endParaRPr>
            </a:p>
          </p:txBody>
        </p:sp>
        <p:grpSp>
          <p:nvGrpSpPr>
            <p:cNvPr id="33" name="Group 32"/>
            <p:cNvGrpSpPr/>
            <p:nvPr/>
          </p:nvGrpSpPr>
          <p:grpSpPr>
            <a:xfrm>
              <a:off x="6060998" y="5195244"/>
              <a:ext cx="957102" cy="1324945"/>
              <a:chOff x="13103226" y="2775830"/>
              <a:chExt cx="1039812" cy="1407232"/>
            </a:xfrm>
          </p:grpSpPr>
          <p:sp>
            <p:nvSpPr>
              <p:cNvPr id="34" name="Rectangle 5"/>
              <p:cNvSpPr>
                <a:spLocks noChangeArrowheads="1"/>
              </p:cNvSpPr>
              <p:nvPr/>
            </p:nvSpPr>
            <p:spPr bwMode="auto">
              <a:xfrm>
                <a:off x="13103226" y="2775830"/>
                <a:ext cx="1039812" cy="1407232"/>
              </a:xfrm>
              <a:prstGeom prst="rect">
                <a:avLst/>
              </a:prstGeom>
              <a:solidFill>
                <a:srgbClr val="00B294"/>
              </a:solidFill>
              <a:ln>
                <a:noFill/>
              </a:ln>
            </p:spPr>
            <p:txBody>
              <a:bodyPr vert="horz" wrap="square" lIns="91415" tIns="45707" rIns="91415" bIns="45707" numCol="1" anchor="t" anchorCtr="0" compatLnSpc="1">
                <a:prstTxWarp prst="textNoShape">
                  <a:avLst/>
                </a:prstTxWarp>
              </a:bodyPr>
              <a:lstStyle/>
              <a:p>
                <a:pPr defTabSz="896297">
                  <a:defRPr/>
                </a:pPr>
                <a:endParaRPr lang="en-US" kern="0">
                  <a:solidFill>
                    <a:srgbClr val="505050"/>
                  </a:solidFill>
                </a:endParaRPr>
              </a:p>
            </p:txBody>
          </p:sp>
          <p:sp>
            <p:nvSpPr>
              <p:cNvPr id="3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91415" tIns="45707" rIns="91415" bIns="45707" numCol="1" anchor="t" anchorCtr="0" compatLnSpc="1">
                <a:prstTxWarp prst="textNoShape">
                  <a:avLst/>
                </a:prstTxWarp>
              </a:bodyPr>
              <a:lstStyle/>
              <a:p>
                <a:pPr defTabSz="896297">
                  <a:defRPr/>
                </a:pPr>
                <a:endParaRPr lang="en-US" kern="0">
                  <a:solidFill>
                    <a:srgbClr val="505050"/>
                  </a:solidFill>
                </a:endParaRPr>
              </a:p>
            </p:txBody>
          </p:sp>
          <p:sp>
            <p:nvSpPr>
              <p:cNvPr id="3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91415" tIns="45707" rIns="91415" bIns="45707" numCol="1" anchor="t" anchorCtr="0" compatLnSpc="1">
                <a:prstTxWarp prst="textNoShape">
                  <a:avLst/>
                </a:prstTxWarp>
              </a:bodyPr>
              <a:lstStyle/>
              <a:p>
                <a:pPr defTabSz="896297">
                  <a:defRPr/>
                </a:pPr>
                <a:endParaRPr lang="en-US" kern="0">
                  <a:solidFill>
                    <a:srgbClr val="505050"/>
                  </a:solidFill>
                </a:endParaRPr>
              </a:p>
            </p:txBody>
          </p:sp>
          <p:sp>
            <p:nvSpPr>
              <p:cNvPr id="3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91415" tIns="45707" rIns="91415" bIns="45707" numCol="1" anchor="t" anchorCtr="0" compatLnSpc="1">
                <a:prstTxWarp prst="textNoShape">
                  <a:avLst/>
                </a:prstTxWarp>
              </a:bodyPr>
              <a:lstStyle/>
              <a:p>
                <a:pPr defTabSz="896297">
                  <a:defRPr/>
                </a:pPr>
                <a:endParaRPr lang="en-US" kern="0">
                  <a:solidFill>
                    <a:srgbClr val="505050"/>
                  </a:solidFill>
                </a:endParaRPr>
              </a:p>
            </p:txBody>
          </p:sp>
          <p:sp>
            <p:nvSpPr>
              <p:cNvPr id="3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91415" tIns="45707" rIns="91415" bIns="45707" numCol="1" anchor="t" anchorCtr="0" compatLnSpc="1">
                <a:prstTxWarp prst="textNoShape">
                  <a:avLst/>
                </a:prstTxWarp>
              </a:bodyPr>
              <a:lstStyle/>
              <a:p>
                <a:pPr defTabSz="896297">
                  <a:defRPr/>
                </a:pPr>
                <a:endParaRPr lang="en-US" kern="0">
                  <a:solidFill>
                    <a:srgbClr val="505050"/>
                  </a:solidFill>
                </a:endParaRPr>
              </a:p>
            </p:txBody>
          </p:sp>
          <p:sp>
            <p:nvSpPr>
              <p:cNvPr id="39" name="Oval 14"/>
              <p:cNvSpPr>
                <a:spLocks noChangeArrowheads="1"/>
              </p:cNvSpPr>
              <p:nvPr/>
            </p:nvSpPr>
            <p:spPr bwMode="auto">
              <a:xfrm>
                <a:off x="13875539" y="2970470"/>
                <a:ext cx="79105" cy="79105"/>
              </a:xfrm>
              <a:prstGeom prst="ellipse">
                <a:avLst/>
              </a:prstGeom>
              <a:solidFill>
                <a:srgbClr val="7FBA00"/>
              </a:solidFill>
              <a:ln>
                <a:noFill/>
              </a:ln>
            </p:spPr>
            <p:txBody>
              <a:bodyPr vert="horz" wrap="square" lIns="91415" tIns="45707" rIns="91415" bIns="45707" numCol="1" anchor="t" anchorCtr="0" compatLnSpc="1">
                <a:prstTxWarp prst="textNoShape">
                  <a:avLst/>
                </a:prstTxWarp>
              </a:bodyPr>
              <a:lstStyle/>
              <a:p>
                <a:pPr defTabSz="896297">
                  <a:defRPr/>
                </a:pPr>
                <a:endParaRPr lang="en-US" kern="0">
                  <a:solidFill>
                    <a:srgbClr val="505050"/>
                  </a:solidFill>
                </a:endParaRPr>
              </a:p>
            </p:txBody>
          </p:sp>
          <p:sp>
            <p:nvSpPr>
              <p:cNvPr id="40" name="Oval 15"/>
              <p:cNvSpPr>
                <a:spLocks noChangeArrowheads="1"/>
              </p:cNvSpPr>
              <p:nvPr/>
            </p:nvSpPr>
            <p:spPr bwMode="auto">
              <a:xfrm>
                <a:off x="13875539" y="3224438"/>
                <a:ext cx="79105" cy="79105"/>
              </a:xfrm>
              <a:prstGeom prst="ellipse">
                <a:avLst/>
              </a:prstGeom>
              <a:solidFill>
                <a:srgbClr val="7FBA00"/>
              </a:solidFill>
              <a:ln>
                <a:noFill/>
              </a:ln>
            </p:spPr>
            <p:txBody>
              <a:bodyPr vert="horz" wrap="square" lIns="91415" tIns="45707" rIns="91415" bIns="45707" numCol="1" anchor="t" anchorCtr="0" compatLnSpc="1">
                <a:prstTxWarp prst="textNoShape">
                  <a:avLst/>
                </a:prstTxWarp>
              </a:bodyPr>
              <a:lstStyle/>
              <a:p>
                <a:pPr defTabSz="896297">
                  <a:defRPr/>
                </a:pPr>
                <a:endParaRPr lang="en-US" kern="0">
                  <a:solidFill>
                    <a:srgbClr val="505050"/>
                  </a:solidFill>
                </a:endParaRPr>
              </a:p>
            </p:txBody>
          </p:sp>
          <p:sp>
            <p:nvSpPr>
              <p:cNvPr id="41" name="Oval 16"/>
              <p:cNvSpPr>
                <a:spLocks noChangeArrowheads="1"/>
              </p:cNvSpPr>
              <p:nvPr/>
            </p:nvSpPr>
            <p:spPr bwMode="auto">
              <a:xfrm>
                <a:off x="13875539" y="3478406"/>
                <a:ext cx="79105" cy="79105"/>
              </a:xfrm>
              <a:prstGeom prst="ellipse">
                <a:avLst/>
              </a:prstGeom>
              <a:solidFill>
                <a:srgbClr val="7FBA00"/>
              </a:solidFill>
              <a:ln>
                <a:noFill/>
              </a:ln>
            </p:spPr>
            <p:txBody>
              <a:bodyPr vert="horz" wrap="square" lIns="91415" tIns="45707" rIns="91415" bIns="45707" numCol="1" anchor="t" anchorCtr="0" compatLnSpc="1">
                <a:prstTxWarp prst="textNoShape">
                  <a:avLst/>
                </a:prstTxWarp>
              </a:bodyPr>
              <a:lstStyle/>
              <a:p>
                <a:pPr defTabSz="896297">
                  <a:defRPr/>
                </a:pPr>
                <a:endParaRPr lang="en-US" kern="0">
                  <a:solidFill>
                    <a:srgbClr val="505050"/>
                  </a:solidFill>
                </a:endParaRPr>
              </a:p>
            </p:txBody>
          </p:sp>
          <p:sp>
            <p:nvSpPr>
              <p:cNvPr id="42" name="Oval 17"/>
              <p:cNvSpPr>
                <a:spLocks noChangeArrowheads="1"/>
              </p:cNvSpPr>
              <p:nvPr/>
            </p:nvSpPr>
            <p:spPr bwMode="auto">
              <a:xfrm>
                <a:off x="13875539" y="3732374"/>
                <a:ext cx="79105" cy="79105"/>
              </a:xfrm>
              <a:prstGeom prst="ellipse">
                <a:avLst/>
              </a:prstGeom>
              <a:solidFill>
                <a:srgbClr val="7FBA00"/>
              </a:solidFill>
              <a:ln>
                <a:noFill/>
              </a:ln>
            </p:spPr>
            <p:txBody>
              <a:bodyPr vert="horz" wrap="square" lIns="91415" tIns="45707" rIns="91415" bIns="45707" numCol="1" anchor="t" anchorCtr="0" compatLnSpc="1">
                <a:prstTxWarp prst="textNoShape">
                  <a:avLst/>
                </a:prstTxWarp>
              </a:bodyPr>
              <a:lstStyle/>
              <a:p>
                <a:pPr defTabSz="896297">
                  <a:defRPr/>
                </a:pPr>
                <a:endParaRPr lang="en-US" kern="0">
                  <a:solidFill>
                    <a:srgbClr val="505050"/>
                  </a:solidFill>
                </a:endParaRPr>
              </a:p>
            </p:txBody>
          </p:sp>
        </p:grpSp>
      </p:grpSp>
      <p:sp>
        <p:nvSpPr>
          <p:cNvPr id="43" name="Oval 42"/>
          <p:cNvSpPr/>
          <p:nvPr/>
        </p:nvSpPr>
        <p:spPr bwMode="auto">
          <a:xfrm>
            <a:off x="10407375" y="5454624"/>
            <a:ext cx="1002284" cy="153339"/>
          </a:xfrm>
          <a:prstGeom prst="ellipse">
            <a:avLst/>
          </a:prstGeom>
          <a:noFill/>
          <a:ln w="28575" cap="rnd" cmpd="sng" algn="ctr">
            <a:solidFill>
              <a:srgbClr val="FFFFFF"/>
            </a:solidFill>
            <a:prstDash val="sysDot"/>
            <a:headEnd type="none" w="med" len="med"/>
            <a:tailEnd type="none" w="med" len="med"/>
          </a:ln>
          <a:effectLst/>
        </p:spPr>
        <p:txBody>
          <a:bodyPr rot="0" spcFirstLastPara="0" vertOverflow="overflow" horzOverflow="overflow" vert="horz" wrap="square" lIns="182831" tIns="146265" rIns="182831" bIns="146265"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p:cNvGrpSpPr/>
          <p:nvPr/>
        </p:nvGrpSpPr>
        <p:grpSpPr>
          <a:xfrm>
            <a:off x="10597804" y="4657755"/>
            <a:ext cx="654066" cy="885178"/>
            <a:chOff x="10520791" y="5710226"/>
            <a:chExt cx="813223" cy="1100576"/>
          </a:xfrm>
        </p:grpSpPr>
        <p:sp>
          <p:nvSpPr>
            <p:cNvPr id="45" name="Rectangle 5"/>
            <p:cNvSpPr>
              <a:spLocks noChangeArrowheads="1"/>
            </p:cNvSpPr>
            <p:nvPr/>
          </p:nvSpPr>
          <p:spPr bwMode="auto">
            <a:xfrm>
              <a:off x="10520791" y="5710226"/>
              <a:ext cx="813223" cy="1100576"/>
            </a:xfrm>
            <a:prstGeom prst="rect">
              <a:avLst/>
            </a:prstGeom>
            <a:solidFill>
              <a:srgbClr val="0072C6"/>
            </a:solidFill>
            <a:ln>
              <a:noFill/>
            </a:ln>
          </p:spPr>
          <p:txBody>
            <a:bodyPr vert="horz" wrap="square" lIns="89618" tIns="44808" rIns="89618" bIns="44808" numCol="1" anchor="t" anchorCtr="0" compatLnSpc="1">
              <a:prstTxWarp prst="textNoShape">
                <a:avLst/>
              </a:prstTxWarp>
            </a:bodyPr>
            <a:lstStyle/>
            <a:p>
              <a:pPr defTabSz="913683">
                <a:defRPr/>
              </a:pPr>
              <a:endParaRPr lang="en-US" kern="0">
                <a:solidFill>
                  <a:srgbClr val="000000"/>
                </a:solidFill>
              </a:endParaRPr>
            </a:p>
          </p:txBody>
        </p:sp>
        <p:sp>
          <p:nvSpPr>
            <p:cNvPr id="4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89618" tIns="44808" rIns="89618" bIns="44808" numCol="1" anchor="t" anchorCtr="0" compatLnSpc="1">
              <a:prstTxWarp prst="textNoShape">
                <a:avLst/>
              </a:prstTxWarp>
            </a:bodyPr>
            <a:lstStyle/>
            <a:p>
              <a:pPr defTabSz="913683">
                <a:defRPr/>
              </a:pPr>
              <a:endParaRPr lang="en-US" kern="0">
                <a:solidFill>
                  <a:srgbClr val="000000"/>
                </a:solidFill>
              </a:endParaRPr>
            </a:p>
          </p:txBody>
        </p:sp>
        <p:sp>
          <p:nvSpPr>
            <p:cNvPr id="4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89618" tIns="44808" rIns="89618" bIns="44808" numCol="1" anchor="t" anchorCtr="0" compatLnSpc="1">
              <a:prstTxWarp prst="textNoShape">
                <a:avLst/>
              </a:prstTxWarp>
            </a:bodyPr>
            <a:lstStyle/>
            <a:p>
              <a:pPr defTabSz="913683">
                <a:defRPr/>
              </a:pPr>
              <a:endParaRPr lang="en-US" kern="0">
                <a:solidFill>
                  <a:srgbClr val="000000"/>
                </a:solidFill>
              </a:endParaRPr>
            </a:p>
          </p:txBody>
        </p:sp>
        <p:sp>
          <p:nvSpPr>
            <p:cNvPr id="4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89618" tIns="44808" rIns="89618" bIns="44808" numCol="1" anchor="t" anchorCtr="0" compatLnSpc="1">
              <a:prstTxWarp prst="textNoShape">
                <a:avLst/>
              </a:prstTxWarp>
            </a:bodyPr>
            <a:lstStyle/>
            <a:p>
              <a:pPr defTabSz="913683">
                <a:defRPr/>
              </a:pPr>
              <a:endParaRPr lang="en-US" kern="0">
                <a:solidFill>
                  <a:srgbClr val="000000"/>
                </a:solidFill>
              </a:endParaRPr>
            </a:p>
          </p:txBody>
        </p:sp>
        <p:sp>
          <p:nvSpPr>
            <p:cNvPr id="4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89618" tIns="44808" rIns="89618" bIns="44808" numCol="1" anchor="t" anchorCtr="0" compatLnSpc="1">
              <a:prstTxWarp prst="textNoShape">
                <a:avLst/>
              </a:prstTxWarp>
            </a:bodyPr>
            <a:lstStyle/>
            <a:p>
              <a:pPr defTabSz="913683">
                <a:defRPr/>
              </a:pPr>
              <a:endParaRPr lang="en-US" kern="0">
                <a:solidFill>
                  <a:srgbClr val="000000"/>
                </a:solidFill>
              </a:endParaRPr>
            </a:p>
          </p:txBody>
        </p:sp>
        <p:sp>
          <p:nvSpPr>
            <p:cNvPr id="50" name="Oval 14"/>
            <p:cNvSpPr>
              <a:spLocks noChangeArrowheads="1"/>
            </p:cNvSpPr>
            <p:nvPr/>
          </p:nvSpPr>
          <p:spPr bwMode="auto">
            <a:xfrm>
              <a:off x="11124807" y="5862451"/>
              <a:ext cx="61867" cy="61867"/>
            </a:xfrm>
            <a:prstGeom prst="ellipse">
              <a:avLst/>
            </a:prstGeom>
            <a:solidFill>
              <a:srgbClr val="7FBA00"/>
            </a:solidFill>
            <a:ln>
              <a:noFill/>
            </a:ln>
          </p:spPr>
          <p:txBody>
            <a:bodyPr vert="horz" wrap="square" lIns="89618" tIns="44808" rIns="89618" bIns="44808" numCol="1" anchor="t" anchorCtr="0" compatLnSpc="1">
              <a:prstTxWarp prst="textNoShape">
                <a:avLst/>
              </a:prstTxWarp>
            </a:bodyPr>
            <a:lstStyle/>
            <a:p>
              <a:pPr defTabSz="913683">
                <a:defRPr/>
              </a:pPr>
              <a:endParaRPr lang="en-US" kern="0">
                <a:solidFill>
                  <a:srgbClr val="000000"/>
                </a:solidFill>
              </a:endParaRPr>
            </a:p>
          </p:txBody>
        </p:sp>
        <p:sp>
          <p:nvSpPr>
            <p:cNvPr id="51" name="Oval 15"/>
            <p:cNvSpPr>
              <a:spLocks noChangeArrowheads="1"/>
            </p:cNvSpPr>
            <p:nvPr/>
          </p:nvSpPr>
          <p:spPr bwMode="auto">
            <a:xfrm>
              <a:off x="11124807" y="6061076"/>
              <a:ext cx="61867" cy="61867"/>
            </a:xfrm>
            <a:prstGeom prst="ellipse">
              <a:avLst/>
            </a:prstGeom>
            <a:solidFill>
              <a:srgbClr val="7FBA00"/>
            </a:solidFill>
            <a:ln>
              <a:noFill/>
            </a:ln>
          </p:spPr>
          <p:txBody>
            <a:bodyPr vert="horz" wrap="square" lIns="89618" tIns="44808" rIns="89618" bIns="44808" numCol="1" anchor="t" anchorCtr="0" compatLnSpc="1">
              <a:prstTxWarp prst="textNoShape">
                <a:avLst/>
              </a:prstTxWarp>
            </a:bodyPr>
            <a:lstStyle/>
            <a:p>
              <a:pPr defTabSz="913683">
                <a:defRPr/>
              </a:pPr>
              <a:endParaRPr lang="en-US" kern="0">
                <a:solidFill>
                  <a:srgbClr val="000000"/>
                </a:solidFill>
              </a:endParaRPr>
            </a:p>
          </p:txBody>
        </p:sp>
        <p:sp>
          <p:nvSpPr>
            <p:cNvPr id="52" name="Oval 16"/>
            <p:cNvSpPr>
              <a:spLocks noChangeArrowheads="1"/>
            </p:cNvSpPr>
            <p:nvPr/>
          </p:nvSpPr>
          <p:spPr bwMode="auto">
            <a:xfrm>
              <a:off x="11124807" y="6259701"/>
              <a:ext cx="61867" cy="61867"/>
            </a:xfrm>
            <a:prstGeom prst="ellipse">
              <a:avLst/>
            </a:prstGeom>
            <a:solidFill>
              <a:srgbClr val="7FBA00"/>
            </a:solidFill>
            <a:ln>
              <a:noFill/>
            </a:ln>
          </p:spPr>
          <p:txBody>
            <a:bodyPr vert="horz" wrap="square" lIns="89618" tIns="44808" rIns="89618" bIns="44808" numCol="1" anchor="t" anchorCtr="0" compatLnSpc="1">
              <a:prstTxWarp prst="textNoShape">
                <a:avLst/>
              </a:prstTxWarp>
            </a:bodyPr>
            <a:lstStyle/>
            <a:p>
              <a:pPr defTabSz="913683">
                <a:defRPr/>
              </a:pPr>
              <a:endParaRPr lang="en-US" kern="0">
                <a:solidFill>
                  <a:srgbClr val="000000"/>
                </a:solidFill>
              </a:endParaRPr>
            </a:p>
          </p:txBody>
        </p:sp>
        <p:sp>
          <p:nvSpPr>
            <p:cNvPr id="53" name="Oval 17"/>
            <p:cNvSpPr>
              <a:spLocks noChangeArrowheads="1"/>
            </p:cNvSpPr>
            <p:nvPr/>
          </p:nvSpPr>
          <p:spPr bwMode="auto">
            <a:xfrm>
              <a:off x="11124807" y="6458325"/>
              <a:ext cx="61867" cy="61867"/>
            </a:xfrm>
            <a:prstGeom prst="ellipse">
              <a:avLst/>
            </a:prstGeom>
            <a:solidFill>
              <a:srgbClr val="7FBA00"/>
            </a:solidFill>
            <a:ln>
              <a:noFill/>
            </a:ln>
          </p:spPr>
          <p:txBody>
            <a:bodyPr vert="horz" wrap="square" lIns="89618" tIns="44808" rIns="89618" bIns="44808" numCol="1" anchor="t" anchorCtr="0" compatLnSpc="1">
              <a:prstTxWarp prst="textNoShape">
                <a:avLst/>
              </a:prstTxWarp>
            </a:bodyPr>
            <a:lstStyle/>
            <a:p>
              <a:pPr defTabSz="913683">
                <a:defRPr/>
              </a:pPr>
              <a:endParaRPr lang="en-US" kern="0">
                <a:solidFill>
                  <a:srgbClr val="000000"/>
                </a:solidFill>
              </a:endParaRPr>
            </a:p>
          </p:txBody>
        </p:sp>
      </p:grpSp>
      <p:sp>
        <p:nvSpPr>
          <p:cNvPr id="54" name="TextBox 53"/>
          <p:cNvSpPr txBox="1"/>
          <p:nvPr/>
        </p:nvSpPr>
        <p:spPr>
          <a:xfrm>
            <a:off x="9555734" y="1904867"/>
            <a:ext cx="1032337" cy="244367"/>
          </a:xfrm>
          <a:prstGeom prst="rect">
            <a:avLst/>
          </a:prstGeom>
          <a:noFill/>
        </p:spPr>
        <p:txBody>
          <a:bodyPr wrap="square" lIns="0" tIns="0" rIns="0" bIns="0" rtlCol="0">
            <a:spAutoFit/>
          </a:bodyPr>
          <a:lstStyle>
            <a:defPPr>
              <a:defRPr lang="en-US"/>
            </a:defPPr>
            <a:lvl1pPr>
              <a:lnSpc>
                <a:spcPct val="90000"/>
              </a:lnSpc>
              <a:defRPr sz="1100">
                <a:gradFill>
                  <a:gsLst>
                    <a:gs pos="2917">
                      <a:schemeClr val="tx1"/>
                    </a:gs>
                    <a:gs pos="30000">
                      <a:schemeClr val="tx1"/>
                    </a:gs>
                  </a:gsLst>
                  <a:lin ang="5400000" scaled="0"/>
                </a:gradFill>
              </a:defRPr>
            </a:lvl1pPr>
          </a:lstStyle>
          <a:p>
            <a:pPr algn="ctr" defTabSz="896297">
              <a:defRPr/>
            </a:pPr>
            <a:r>
              <a:rPr lang="en-US" sz="1765" kern="0" dirty="0">
                <a:solidFill>
                  <a:srgbClr val="505050"/>
                </a:solidFill>
              </a:rPr>
              <a:t>Internet</a:t>
            </a:r>
            <a:endParaRPr lang="en-US" sz="2353" kern="0" dirty="0">
              <a:gradFill>
                <a:gsLst>
                  <a:gs pos="0">
                    <a:srgbClr val="505050"/>
                  </a:gs>
                  <a:gs pos="100000">
                    <a:srgbClr val="505050"/>
                  </a:gs>
                </a:gsLst>
                <a:lin ang="5400000" scaled="0"/>
              </a:gradFill>
            </a:endParaRPr>
          </a:p>
        </p:txBody>
      </p:sp>
      <p:sp>
        <p:nvSpPr>
          <p:cNvPr id="55" name="Oval 54"/>
          <p:cNvSpPr/>
          <p:nvPr/>
        </p:nvSpPr>
        <p:spPr bwMode="auto">
          <a:xfrm>
            <a:off x="9110341" y="4540813"/>
            <a:ext cx="157231" cy="157231"/>
          </a:xfrm>
          <a:prstGeom prst="ellips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31" tIns="146265" rIns="182831" bIns="146265"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Oval 55"/>
          <p:cNvSpPr/>
          <p:nvPr/>
        </p:nvSpPr>
        <p:spPr bwMode="auto">
          <a:xfrm>
            <a:off x="10833108" y="4550252"/>
            <a:ext cx="157231" cy="157231"/>
          </a:xfrm>
          <a:prstGeom prst="ellips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31" tIns="146265" rIns="182831" bIns="146265"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TextBox 56"/>
          <p:cNvSpPr txBox="1"/>
          <p:nvPr/>
        </p:nvSpPr>
        <p:spPr>
          <a:xfrm>
            <a:off x="8778419" y="5688229"/>
            <a:ext cx="736421" cy="28064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15" tIns="0" rIns="0" bIns="0" numCol="1" spcCol="0" rtlCol="0" fromWordArt="0" anchor="ctr" anchorCtr="0" forceAA="0" compatLnSpc="1">
            <a:prstTxWarp prst="textNoShape">
              <a:avLst/>
            </a:prstTxWarp>
            <a:noAutofit/>
          </a:bodyPr>
          <a:lstStyle>
            <a:defPPr>
              <a:defRPr lang="en-US"/>
            </a:defPPr>
            <a:lvl1pPr defTabSz="951028" fontAlgn="base">
              <a:lnSpc>
                <a:spcPct val="90000"/>
              </a:lnSpc>
              <a:spcBef>
                <a:spcPct val="0"/>
              </a:spcBef>
              <a:spcAft>
                <a:spcPct val="0"/>
              </a:spcAft>
              <a:defRPr sz="1071" kern="0">
                <a:gradFill>
                  <a:gsLst>
                    <a:gs pos="0">
                      <a:srgbClr val="000000"/>
                    </a:gs>
                    <a:gs pos="100000">
                      <a:srgbClr val="000000"/>
                    </a:gs>
                  </a:gsLst>
                  <a:lin ang="5400000" scaled="0"/>
                </a:gradFill>
                <a:ea typeface="Segoe UI" pitchFamily="34" charset="0"/>
                <a:cs typeface="Segoe UI" pitchFamily="34" charset="0"/>
              </a:defRPr>
            </a:lvl1pPr>
          </a:lstStyle>
          <a:p>
            <a:pPr algn="ctr" defTabSz="932200">
              <a:defRPr/>
            </a:pPr>
            <a:r>
              <a:rPr lang="en-US" sz="1765" b="1" dirty="0">
                <a:solidFill>
                  <a:schemeClr val="tx2"/>
                </a:solidFill>
                <a:effectLst>
                  <a:outerShdw blurRad="38100" dist="38100" dir="2700000" algn="tl">
                    <a:srgbClr val="000000">
                      <a:alpha val="43137"/>
                    </a:srgbClr>
                  </a:outerShdw>
                </a:effectLst>
              </a:rPr>
              <a:t>IP1</a:t>
            </a:r>
            <a:endParaRPr lang="en-US" sz="1372" b="1" dirty="0">
              <a:solidFill>
                <a:schemeClr val="tx2"/>
              </a:solidFill>
            </a:endParaRPr>
          </a:p>
        </p:txBody>
      </p:sp>
      <p:sp>
        <p:nvSpPr>
          <p:cNvPr id="58" name="TextBox 57"/>
          <p:cNvSpPr txBox="1"/>
          <p:nvPr/>
        </p:nvSpPr>
        <p:spPr>
          <a:xfrm>
            <a:off x="10515646" y="5688229"/>
            <a:ext cx="736421" cy="28064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15" tIns="0" rIns="0" bIns="0" numCol="1" spcCol="0" rtlCol="0" fromWordArt="0" anchor="ctr" anchorCtr="0" forceAA="0" compatLnSpc="1">
            <a:prstTxWarp prst="textNoShape">
              <a:avLst/>
            </a:prstTxWarp>
            <a:noAutofit/>
          </a:bodyPr>
          <a:lstStyle>
            <a:defPPr>
              <a:defRPr lang="en-US"/>
            </a:defPPr>
            <a:lvl1pPr defTabSz="951028" fontAlgn="base">
              <a:lnSpc>
                <a:spcPct val="90000"/>
              </a:lnSpc>
              <a:spcBef>
                <a:spcPct val="0"/>
              </a:spcBef>
              <a:spcAft>
                <a:spcPct val="0"/>
              </a:spcAft>
              <a:defRPr sz="1071" kern="0">
                <a:gradFill>
                  <a:gsLst>
                    <a:gs pos="0">
                      <a:srgbClr val="000000"/>
                    </a:gs>
                    <a:gs pos="100000">
                      <a:srgbClr val="000000"/>
                    </a:gs>
                  </a:gsLst>
                  <a:lin ang="5400000" scaled="0"/>
                </a:gradFill>
                <a:ea typeface="Segoe UI" pitchFamily="34" charset="0"/>
                <a:cs typeface="Segoe UI" pitchFamily="34" charset="0"/>
              </a:defRPr>
            </a:lvl1pPr>
          </a:lstStyle>
          <a:p>
            <a:pPr algn="ctr" defTabSz="932200">
              <a:defRPr/>
            </a:pPr>
            <a:r>
              <a:rPr lang="en-US" sz="1765" b="1" dirty="0">
                <a:solidFill>
                  <a:schemeClr val="tx2"/>
                </a:solidFill>
                <a:effectLst>
                  <a:outerShdw blurRad="38100" dist="38100" dir="2700000" algn="tl">
                    <a:srgbClr val="000000">
                      <a:alpha val="43137"/>
                    </a:srgbClr>
                  </a:outerShdw>
                </a:effectLst>
              </a:rPr>
              <a:t>IP2</a:t>
            </a:r>
            <a:endParaRPr lang="en-US" sz="1372" b="1" dirty="0">
              <a:solidFill>
                <a:schemeClr val="tx2"/>
              </a:solidFill>
            </a:endParaRPr>
          </a:p>
        </p:txBody>
      </p:sp>
      <p:sp>
        <p:nvSpPr>
          <p:cNvPr id="59" name="TextBox 58"/>
          <p:cNvSpPr txBox="1"/>
          <p:nvPr/>
        </p:nvSpPr>
        <p:spPr>
          <a:xfrm>
            <a:off x="8860572" y="5327632"/>
            <a:ext cx="647779" cy="253916"/>
          </a:xfrm>
          <a:prstGeom prst="rect">
            <a:avLst/>
          </a:prstGeom>
          <a:noFill/>
        </p:spPr>
        <p:txBody>
          <a:bodyPr wrap="square" rtlCol="0">
            <a:spAutoFit/>
          </a:bodyPr>
          <a:lstStyle/>
          <a:p>
            <a:pPr algn="ctr" defTabSz="896297">
              <a:defRPr/>
            </a:pPr>
            <a:r>
              <a:rPr lang="en-US" sz="1050" b="1" kern="0" dirty="0">
                <a:solidFill>
                  <a:srgbClr val="FFFFFF"/>
                </a:solidFill>
                <a:effectLst>
                  <a:outerShdw blurRad="38100" dist="38100" dir="2700000" algn="tl">
                    <a:srgbClr val="000000">
                      <a:alpha val="43137"/>
                    </a:srgbClr>
                  </a:outerShdw>
                </a:effectLst>
              </a:rPr>
              <a:t>VM1</a:t>
            </a:r>
            <a:endParaRPr lang="en-US" sz="1050" b="1" kern="0" dirty="0">
              <a:solidFill>
                <a:srgbClr val="505050"/>
              </a:solidFill>
            </a:endParaRPr>
          </a:p>
        </p:txBody>
      </p:sp>
      <p:sp>
        <p:nvSpPr>
          <p:cNvPr id="60" name="TextBox 59"/>
          <p:cNvSpPr txBox="1"/>
          <p:nvPr/>
        </p:nvSpPr>
        <p:spPr>
          <a:xfrm>
            <a:off x="10601162" y="5323189"/>
            <a:ext cx="647779" cy="253916"/>
          </a:xfrm>
          <a:prstGeom prst="rect">
            <a:avLst/>
          </a:prstGeom>
          <a:noFill/>
        </p:spPr>
        <p:txBody>
          <a:bodyPr wrap="square" rtlCol="0">
            <a:spAutoFit/>
          </a:bodyPr>
          <a:lstStyle/>
          <a:p>
            <a:pPr algn="ctr" defTabSz="896297">
              <a:defRPr/>
            </a:pPr>
            <a:r>
              <a:rPr lang="en-US" sz="1050" b="1" kern="0" dirty="0">
                <a:solidFill>
                  <a:srgbClr val="FFFFFF"/>
                </a:solidFill>
                <a:effectLst>
                  <a:outerShdw blurRad="38100" dist="38100" dir="2700000" algn="tl">
                    <a:srgbClr val="000000">
                      <a:alpha val="43137"/>
                    </a:srgbClr>
                  </a:outerShdw>
                </a:effectLst>
              </a:rPr>
              <a:t>VM2</a:t>
            </a:r>
            <a:endParaRPr lang="en-US" sz="1050" b="1" kern="0" dirty="0">
              <a:solidFill>
                <a:srgbClr val="505050"/>
              </a:solidFill>
            </a:endParaRPr>
          </a:p>
        </p:txBody>
      </p:sp>
      <p:grpSp>
        <p:nvGrpSpPr>
          <p:cNvPr id="62" name="Group 1"/>
          <p:cNvGrpSpPr/>
          <p:nvPr/>
        </p:nvGrpSpPr>
        <p:grpSpPr>
          <a:xfrm>
            <a:off x="9665304" y="3431098"/>
            <a:ext cx="714016" cy="534056"/>
            <a:chOff x="6236487" y="4283536"/>
            <a:chExt cx="728427" cy="544835"/>
          </a:xfrm>
        </p:grpSpPr>
        <p:sp>
          <p:nvSpPr>
            <p:cNvPr id="63" name="Oval 2"/>
            <p:cNvSpPr/>
            <p:nvPr/>
          </p:nvSpPr>
          <p:spPr bwMode="auto">
            <a:xfrm>
              <a:off x="6236487" y="4283536"/>
              <a:ext cx="728427" cy="544835"/>
            </a:xfrm>
            <a:prstGeom prst="ellipse">
              <a:avLst/>
            </a:prstGeom>
            <a:solidFill>
              <a:srgbClr val="DC3C00">
                <a:lumMod val="60000"/>
                <a:lumOff val="40000"/>
              </a:srgbClr>
            </a:solidFill>
            <a:ln w="9525" cap="flat" cmpd="sng" algn="ctr">
              <a:noFill/>
              <a:prstDash val="solid"/>
              <a:headEnd type="none" w="med" len="med"/>
              <a:tailEnd type="none" w="med" len="med"/>
            </a:ln>
            <a:effectLst/>
            <a:scene3d>
              <a:camera prst="orthographicFront"/>
              <a:lightRig rig="threePt" dir="t"/>
            </a:scene3d>
            <a:sp3d>
              <a:bevelT/>
            </a:sp3d>
          </p:spPr>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defRPr/>
              </a:pPr>
              <a:endParaRPr lang="en-US" sz="2353" kern="0" dirty="0" err="1">
                <a:solidFill>
                  <a:srgbClr val="442359"/>
                </a:solidFill>
                <a:ea typeface="Segoe UI" pitchFamily="34" charset="0"/>
                <a:cs typeface="Segoe UI" pitchFamily="34" charset="0"/>
              </a:endParaRPr>
            </a:p>
          </p:txBody>
        </p:sp>
        <p:sp>
          <p:nvSpPr>
            <p:cNvPr id="64" name="TextBox 16"/>
            <p:cNvSpPr txBox="1"/>
            <p:nvPr/>
          </p:nvSpPr>
          <p:spPr>
            <a:xfrm>
              <a:off x="6308803" y="4327563"/>
              <a:ext cx="583795" cy="495272"/>
            </a:xfrm>
            <a:prstGeom prst="rect">
              <a:avLst/>
            </a:prstGeom>
            <a:noFill/>
            <a:scene3d>
              <a:camera prst="orthographicFront"/>
              <a:lightRig rig="threePt" dir="t"/>
            </a:scene3d>
            <a:sp3d>
              <a:bevelT/>
            </a:sp3d>
          </p:spPr>
          <p:txBody>
            <a:bodyPr wrap="square" lIns="182831" tIns="146265" rIns="182831" bIns="146265" rtlCol="0">
              <a:spAutoFit/>
            </a:bodyPr>
            <a:lstStyle/>
            <a:p>
              <a:pPr defTabSz="896297">
                <a:lnSpc>
                  <a:spcPct val="90000"/>
                </a:lnSpc>
                <a:defRPr/>
              </a:pPr>
              <a:r>
                <a:rPr lang="en-US" sz="1372" b="1" kern="0" dirty="0">
                  <a:solidFill>
                    <a:srgbClr val="442359"/>
                  </a:solidFill>
                </a:rPr>
                <a:t>LB</a:t>
              </a:r>
            </a:p>
          </p:txBody>
        </p:sp>
      </p:grpSp>
      <p:grpSp>
        <p:nvGrpSpPr>
          <p:cNvPr id="65" name="Group 2"/>
          <p:cNvGrpSpPr/>
          <p:nvPr/>
        </p:nvGrpSpPr>
        <p:grpSpPr>
          <a:xfrm>
            <a:off x="9233487" y="5687053"/>
            <a:ext cx="1694422" cy="835928"/>
            <a:chOff x="7250723" y="2477395"/>
            <a:chExt cx="1475630" cy="727989"/>
          </a:xfrm>
          <a:solidFill>
            <a:srgbClr val="00B050"/>
          </a:solidFill>
        </p:grpSpPr>
        <p:sp>
          <p:nvSpPr>
            <p:cNvPr id="66" name="Freeform 95"/>
            <p:cNvSpPr>
              <a:spLocks/>
            </p:cNvSpPr>
            <p:nvPr/>
          </p:nvSpPr>
          <p:spPr bwMode="auto">
            <a:xfrm flipH="1">
              <a:off x="7250723" y="2477395"/>
              <a:ext cx="1475630" cy="72798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2">
                <a:lumMod val="50000"/>
              </a:schemeClr>
            </a:solidFill>
            <a:ln w="28575">
              <a:noFill/>
              <a:round/>
              <a:headEnd/>
              <a:tailEnd/>
            </a:ln>
            <a:scene3d>
              <a:camera prst="orthographicFront"/>
              <a:lightRig rig="threePt" dir="t"/>
            </a:scene3d>
            <a:sp3d>
              <a:bevelT/>
            </a:sp3d>
            <a:extLst/>
          </p:spPr>
          <p:txBody>
            <a:bodyPr vert="horz" wrap="square" lIns="91415" tIns="45707" rIns="91415" bIns="45707" numCol="1" anchor="t" anchorCtr="0" compatLnSpc="1">
              <a:prstTxWarp prst="textNoShape">
                <a:avLst/>
              </a:prstTxWarp>
            </a:bodyPr>
            <a:lstStyle/>
            <a:p>
              <a:pPr defTabSz="896297">
                <a:defRPr/>
              </a:pPr>
              <a:endParaRPr lang="en-US" kern="0" dirty="0">
                <a:solidFill>
                  <a:srgbClr val="505050"/>
                </a:solidFill>
              </a:endParaRPr>
            </a:p>
          </p:txBody>
        </p:sp>
        <p:sp>
          <p:nvSpPr>
            <p:cNvPr id="67" name="Rectangle 72"/>
            <p:cNvSpPr/>
            <p:nvPr/>
          </p:nvSpPr>
          <p:spPr>
            <a:xfrm>
              <a:off x="7445891" y="2788360"/>
              <a:ext cx="1162192" cy="289042"/>
            </a:xfrm>
            <a:prstGeom prst="rect">
              <a:avLst/>
            </a:prstGeom>
            <a:noFill/>
            <a:scene3d>
              <a:camera prst="orthographicFront"/>
              <a:lightRig rig="threePt" dir="t"/>
            </a:scene3d>
            <a:sp3d>
              <a:bevelT/>
            </a:sp3d>
          </p:spPr>
          <p:txBody>
            <a:bodyPr wrap="none">
              <a:spAutoFit/>
            </a:bodyPr>
            <a:lstStyle/>
            <a:p>
              <a:pPr defTabSz="896297">
                <a:defRPr/>
              </a:pPr>
              <a:r>
                <a:rPr lang="en-US" sz="1568" b="1" kern="0" spc="-98" dirty="0">
                  <a:solidFill>
                    <a:srgbClr val="FFFFFF"/>
                  </a:solidFill>
                  <a:effectLst>
                    <a:outerShdw blurRad="38100" dist="38100" dir="2700000" algn="tl">
                      <a:srgbClr val="000000">
                        <a:alpha val="43137"/>
                      </a:srgbClr>
                    </a:outerShdw>
                  </a:effectLst>
                  <a:latin typeface="Calibri" panose="020F0502020204030204" pitchFamily="34" charset="0"/>
                  <a:cs typeface="Segoe UI" panose="020B0502040204020203" pitchFamily="34" charset="0"/>
                </a:rPr>
                <a:t>Microsoft Azure</a:t>
              </a:r>
            </a:p>
          </p:txBody>
        </p:sp>
      </p:grpSp>
      <p:sp>
        <p:nvSpPr>
          <p:cNvPr id="68" name="TextBox 67"/>
          <p:cNvSpPr txBox="1"/>
          <p:nvPr/>
        </p:nvSpPr>
        <p:spPr>
          <a:xfrm>
            <a:off x="9317528" y="3002144"/>
            <a:ext cx="1766939" cy="534018"/>
          </a:xfrm>
          <a:prstGeom prst="rect">
            <a:avLst/>
          </a:prstGeom>
          <a:noFill/>
        </p:spPr>
        <p:txBody>
          <a:bodyPr wrap="none" lIns="179262" tIns="143409" rIns="179262" bIns="143409" rtlCol="0">
            <a:spAutoFit/>
          </a:bodyPr>
          <a:lstStyle/>
          <a:p>
            <a:pPr defTabSz="896297">
              <a:lnSpc>
                <a:spcPct val="90000"/>
              </a:lnSpc>
              <a:spcAft>
                <a:spcPts val="588"/>
              </a:spcAft>
              <a:defRPr/>
            </a:pPr>
            <a:r>
              <a:rPr lang="en-US" sz="1765" kern="0" dirty="0">
                <a:solidFill>
                  <a:schemeClr val="tx2"/>
                </a:solidFill>
                <a:effectLst>
                  <a:outerShdw blurRad="38100" dist="38100" dir="2700000" algn="tl">
                    <a:srgbClr val="000000">
                      <a:alpha val="43137"/>
                    </a:srgbClr>
                  </a:outerShdw>
                </a:effectLst>
              </a:rPr>
              <a:t>151.2.3.4 (VIP)</a:t>
            </a:r>
            <a:endParaRPr lang="en-US" sz="1765" kern="0" dirty="0">
              <a:solidFill>
                <a:schemeClr val="tx2"/>
              </a:solidFill>
            </a:endParaRPr>
          </a:p>
        </p:txBody>
      </p:sp>
      <p:sp>
        <p:nvSpPr>
          <p:cNvPr id="69" name="TextBox 68"/>
          <p:cNvSpPr txBox="1"/>
          <p:nvPr/>
        </p:nvSpPr>
        <p:spPr>
          <a:xfrm>
            <a:off x="7291233" y="3824695"/>
            <a:ext cx="1979006" cy="799538"/>
          </a:xfrm>
          <a:prstGeom prst="rect">
            <a:avLst/>
          </a:prstGeom>
          <a:noFill/>
        </p:spPr>
        <p:txBody>
          <a:bodyPr wrap="square" lIns="179262" tIns="143409" rIns="179262" bIns="143409" rtlCol="0">
            <a:spAutoFit/>
          </a:bodyPr>
          <a:lstStyle/>
          <a:p>
            <a:pPr algn="r" defTabSz="896297">
              <a:lnSpc>
                <a:spcPct val="90000"/>
              </a:lnSpc>
              <a:spcAft>
                <a:spcPts val="588"/>
              </a:spcAft>
              <a:defRPr/>
            </a:pPr>
            <a:r>
              <a:rPr lang="en-US" sz="1568" kern="0" dirty="0">
                <a:solidFill>
                  <a:schemeClr val="tx2"/>
                </a:solidFill>
                <a:effectLst>
                  <a:outerShdw blurRad="38100" dist="38100" dir="2700000" algn="tl">
                    <a:srgbClr val="000000">
                      <a:alpha val="43137"/>
                    </a:srgbClr>
                  </a:outerShdw>
                </a:effectLst>
              </a:rPr>
              <a:t>131.3.3.3</a:t>
            </a:r>
          </a:p>
          <a:p>
            <a:pPr algn="r" defTabSz="896297">
              <a:lnSpc>
                <a:spcPct val="90000"/>
              </a:lnSpc>
              <a:spcAft>
                <a:spcPts val="588"/>
              </a:spcAft>
              <a:defRPr/>
            </a:pPr>
            <a:r>
              <a:rPr lang="en-US" sz="1568" kern="0" dirty="0">
                <a:solidFill>
                  <a:schemeClr val="tx2"/>
                </a:solidFill>
                <a:effectLst>
                  <a:outerShdw blurRad="38100" dist="38100" dir="2700000" algn="tl">
                    <a:srgbClr val="000000">
                      <a:alpha val="43137"/>
                    </a:srgbClr>
                  </a:outerShdw>
                </a:effectLst>
              </a:rPr>
              <a:t>(Instance-level IP)</a:t>
            </a:r>
          </a:p>
        </p:txBody>
      </p:sp>
      <p:cxnSp>
        <p:nvCxnSpPr>
          <p:cNvPr id="71" name="Straight Connector 4"/>
          <p:cNvCxnSpPr>
            <a:stCxn id="55" idx="0"/>
            <a:endCxn id="28" idx="16"/>
          </p:cNvCxnSpPr>
          <p:nvPr/>
        </p:nvCxnSpPr>
        <p:spPr>
          <a:xfrm rot="5400000" flipH="1" flipV="1">
            <a:off x="8065841" y="3191352"/>
            <a:ext cx="2472581" cy="226345"/>
          </a:xfrm>
          <a:prstGeom prst="bentConnector2">
            <a:avLst/>
          </a:prstGeom>
          <a:noFill/>
          <a:ln w="38100" cap="rnd" cmpd="sng" algn="ctr">
            <a:solidFill>
              <a:srgbClr val="FF0000"/>
            </a:solidFill>
            <a:prstDash val="sysDot"/>
            <a:headEnd type="none"/>
            <a:tailEnd type="none"/>
          </a:ln>
          <a:effectLst/>
        </p:spPr>
      </p:cxnSp>
      <p:cxnSp>
        <p:nvCxnSpPr>
          <p:cNvPr id="72" name="Straight Connector 4"/>
          <p:cNvCxnSpPr>
            <a:stCxn id="56" idx="0"/>
            <a:endCxn id="54" idx="3"/>
          </p:cNvCxnSpPr>
          <p:nvPr/>
        </p:nvCxnSpPr>
        <p:spPr>
          <a:xfrm rot="16200000" flipV="1">
            <a:off x="9488297" y="3126824"/>
            <a:ext cx="2523203" cy="323652"/>
          </a:xfrm>
          <a:prstGeom prst="bentConnector2">
            <a:avLst/>
          </a:prstGeom>
          <a:noFill/>
          <a:ln w="38100" cap="rnd" cmpd="sng" algn="ctr">
            <a:solidFill>
              <a:srgbClr val="FF0000"/>
            </a:solidFill>
            <a:prstDash val="sysDot"/>
            <a:headEnd type="none"/>
            <a:tailEnd type="none"/>
          </a:ln>
          <a:effectLst/>
        </p:spPr>
      </p:cxnSp>
      <p:sp>
        <p:nvSpPr>
          <p:cNvPr id="73" name="TextBox 76"/>
          <p:cNvSpPr txBox="1"/>
          <p:nvPr/>
        </p:nvSpPr>
        <p:spPr>
          <a:xfrm>
            <a:off x="10354018" y="3824695"/>
            <a:ext cx="1955715" cy="799538"/>
          </a:xfrm>
          <a:prstGeom prst="rect">
            <a:avLst/>
          </a:prstGeom>
          <a:noFill/>
        </p:spPr>
        <p:txBody>
          <a:bodyPr wrap="square" lIns="179262" tIns="143409" rIns="179262" bIns="143409" rtlCol="0">
            <a:spAutoFit/>
          </a:bodyPr>
          <a:lstStyle/>
          <a:p>
            <a:pPr defTabSz="896297">
              <a:lnSpc>
                <a:spcPct val="90000"/>
              </a:lnSpc>
              <a:spcAft>
                <a:spcPts val="588"/>
              </a:spcAft>
              <a:defRPr/>
            </a:pPr>
            <a:r>
              <a:rPr lang="en-US" sz="1568" kern="0" dirty="0">
                <a:solidFill>
                  <a:schemeClr val="tx2"/>
                </a:solidFill>
                <a:effectLst>
                  <a:outerShdw blurRad="38100" dist="38100" dir="2700000" algn="tl">
                    <a:srgbClr val="000000">
                      <a:alpha val="43137"/>
                    </a:srgbClr>
                  </a:outerShdw>
                </a:effectLst>
              </a:rPr>
              <a:t>131.3.4.4</a:t>
            </a:r>
            <a:endParaRPr lang="en-US" sz="1568" kern="0" dirty="0">
              <a:solidFill>
                <a:schemeClr val="tx2"/>
              </a:solidFill>
            </a:endParaRPr>
          </a:p>
          <a:p>
            <a:pPr defTabSz="896297">
              <a:lnSpc>
                <a:spcPct val="90000"/>
              </a:lnSpc>
              <a:spcAft>
                <a:spcPts val="588"/>
              </a:spcAft>
              <a:defRPr/>
            </a:pPr>
            <a:r>
              <a:rPr lang="en-US" sz="1568" kern="0" dirty="0">
                <a:solidFill>
                  <a:schemeClr val="tx2"/>
                </a:solidFill>
                <a:effectLst>
                  <a:outerShdw blurRad="38100" dist="38100" dir="2700000" algn="tl">
                    <a:srgbClr val="000000">
                      <a:alpha val="43137"/>
                    </a:srgbClr>
                  </a:outerShdw>
                </a:effectLst>
              </a:rPr>
              <a:t>(Instance-level IP)</a:t>
            </a:r>
            <a:endParaRPr lang="en-US" sz="1568" kern="0" dirty="0">
              <a:solidFill>
                <a:schemeClr val="tx2"/>
              </a:solidFill>
            </a:endParaRPr>
          </a:p>
        </p:txBody>
      </p:sp>
    </p:spTree>
    <p:extLst>
      <p:ext uri="{BB962C8B-B14F-4D97-AF65-F5344CB8AC3E}">
        <p14:creationId xmlns:p14="http://schemas.microsoft.com/office/powerpoint/2010/main" val="1617410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2"/>
          <p:cNvSpPr txBox="1">
            <a:spLocks/>
          </p:cNvSpPr>
          <p:nvPr/>
        </p:nvSpPr>
        <p:spPr>
          <a:xfrm>
            <a:off x="839416" y="939042"/>
            <a:ext cx="10369152" cy="2031838"/>
          </a:xfrm>
          <a:prstGeom prst="rect">
            <a:avLst/>
          </a:prstGeom>
        </p:spPr>
        <p:txBody>
          <a:bodyPr vert="horz" lIns="91448" tIns="45724" rIns="91448" bIns="45724" rtlCol="0">
            <a:normAutofit/>
          </a:bodyPr>
          <a:lstStyle>
            <a:lvl1pPr marL="342900" indent="-342900" algn="l" defTabSz="914400" rtl="0" eaLnBrk="1" fontAlgn="base" latinLnBrk="0" hangingPunct="1">
              <a:spcBef>
                <a:spcPct val="20000"/>
              </a:spcBef>
              <a:spcAft>
                <a:spcPct val="0"/>
              </a:spcAft>
              <a:buFont typeface="Wingdings" pitchFamily="2" charset="2"/>
              <a:buChar char="§"/>
              <a:tabLst/>
              <a:defRPr lang="en-US" sz="2200" b="0" kern="1200" noProof="0" dirty="0" smtClean="0">
                <a:solidFill>
                  <a:srgbClr val="4E84C4"/>
                </a:solidFill>
                <a:latin typeface="Myriad Pro" pitchFamily="34" charset="0"/>
                <a:ea typeface="+mn-ea"/>
                <a:cs typeface="+mn-cs"/>
              </a:defRPr>
            </a:lvl1pPr>
            <a:lvl2pPr algn="l" defTabSz="914400" rtl="0" eaLnBrk="1" fontAlgn="base" latinLnBrk="0" hangingPunct="1">
              <a:spcBef>
                <a:spcPct val="20000"/>
              </a:spcBef>
              <a:spcAft>
                <a:spcPct val="0"/>
              </a:spcAft>
              <a:buFont typeface="Wingdings" pitchFamily="2" charset="2"/>
              <a:buChar char="§"/>
              <a:defRPr lang="en-US" sz="2200" kern="1200" dirty="0" smtClean="0">
                <a:solidFill>
                  <a:srgbClr val="4E84C4"/>
                </a:solidFill>
                <a:latin typeface="Myriad Pro" pitchFamily="34" charset="0"/>
                <a:ea typeface="+mn-ea"/>
                <a:cs typeface="+mn-cs"/>
              </a:defRPr>
            </a:lvl2pPr>
            <a:lvl3pPr algn="l" defTabSz="914400" rtl="0" eaLnBrk="1" fontAlgn="base" latinLnBrk="0" hangingPunct="1">
              <a:spcBef>
                <a:spcPct val="20000"/>
              </a:spcBef>
              <a:spcAft>
                <a:spcPct val="0"/>
              </a:spcAft>
              <a:buFont typeface="Wingdings" pitchFamily="2" charset="2"/>
              <a:buNone/>
              <a:defRPr lang="en-US" sz="2200" kern="1200" dirty="0" smtClean="0">
                <a:solidFill>
                  <a:srgbClr val="4E84C4"/>
                </a:solidFill>
                <a:latin typeface="Myriad Pro" pitchFamily="34" charset="0"/>
                <a:ea typeface="+mn-ea"/>
                <a:cs typeface="+mn-cs"/>
              </a:defRPr>
            </a:lvl3pPr>
          </a:lstStyle>
          <a:p>
            <a:pPr>
              <a:lnSpc>
                <a:spcPct val="150000"/>
              </a:lnSpc>
            </a:pPr>
            <a:r>
              <a:rPr lang="en-US" sz="2101" dirty="0">
                <a:solidFill>
                  <a:schemeClr val="tx1"/>
                </a:solidFill>
              </a:rPr>
              <a:t>Cloud provides on-demand, scale out and in, </a:t>
            </a:r>
            <a:br>
              <a:rPr lang="en-US" sz="2101" dirty="0">
                <a:solidFill>
                  <a:schemeClr val="tx1"/>
                </a:solidFill>
              </a:rPr>
            </a:br>
            <a:r>
              <a:rPr lang="en-US" sz="2101" dirty="0">
                <a:solidFill>
                  <a:schemeClr val="tx1"/>
                </a:solidFill>
              </a:rPr>
              <a:t>compute, storage and network resources </a:t>
            </a:r>
          </a:p>
          <a:p>
            <a:pPr>
              <a:lnSpc>
                <a:spcPct val="150000"/>
              </a:lnSpc>
            </a:pPr>
            <a:r>
              <a:rPr lang="en-US" sz="2101" dirty="0">
                <a:solidFill>
                  <a:schemeClr val="tx1"/>
                </a:solidFill>
              </a:rPr>
              <a:t>Provisioning Benefit: Reduced Costs and Improved User Experience</a:t>
            </a:r>
          </a:p>
        </p:txBody>
      </p:sp>
      <p:grpSp>
        <p:nvGrpSpPr>
          <p:cNvPr id="15" name="Group 14"/>
          <p:cNvGrpSpPr/>
          <p:nvPr/>
        </p:nvGrpSpPr>
        <p:grpSpPr>
          <a:xfrm>
            <a:off x="6755043" y="3990335"/>
            <a:ext cx="3757474" cy="1600618"/>
            <a:chOff x="6548353" y="3845659"/>
            <a:chExt cx="5008661" cy="2133601"/>
          </a:xfrm>
        </p:grpSpPr>
        <p:sp>
          <p:nvSpPr>
            <p:cNvPr id="16" name="Freeform 15"/>
            <p:cNvSpPr/>
            <p:nvPr/>
          </p:nvSpPr>
          <p:spPr>
            <a:xfrm>
              <a:off x="6548353" y="3855186"/>
              <a:ext cx="5005388" cy="2124074"/>
            </a:xfrm>
            <a:custGeom>
              <a:avLst/>
              <a:gdLst>
                <a:gd name="connsiteX0" fmla="*/ 0 w 5005387"/>
                <a:gd name="connsiteY0" fmla="*/ 2119313 h 2124075"/>
                <a:gd name="connsiteX1" fmla="*/ 4995862 w 5005387"/>
                <a:gd name="connsiteY1" fmla="*/ 2124075 h 2124075"/>
                <a:gd name="connsiteX2" fmla="*/ 5005387 w 5005387"/>
                <a:gd name="connsiteY2" fmla="*/ 1609725 h 2124075"/>
                <a:gd name="connsiteX3" fmla="*/ 4814887 w 5005387"/>
                <a:gd name="connsiteY3" fmla="*/ 1619250 h 2124075"/>
                <a:gd name="connsiteX4" fmla="*/ 4633912 w 5005387"/>
                <a:gd name="connsiteY4" fmla="*/ 1624013 h 2124075"/>
                <a:gd name="connsiteX5" fmla="*/ 4486275 w 5005387"/>
                <a:gd name="connsiteY5" fmla="*/ 1662113 h 2124075"/>
                <a:gd name="connsiteX6" fmla="*/ 4395787 w 5005387"/>
                <a:gd name="connsiteY6" fmla="*/ 1719263 h 2124075"/>
                <a:gd name="connsiteX7" fmla="*/ 4310062 w 5005387"/>
                <a:gd name="connsiteY7" fmla="*/ 1757363 h 2124075"/>
                <a:gd name="connsiteX8" fmla="*/ 4271962 w 5005387"/>
                <a:gd name="connsiteY8" fmla="*/ 1766888 h 2124075"/>
                <a:gd name="connsiteX9" fmla="*/ 4143375 w 5005387"/>
                <a:gd name="connsiteY9" fmla="*/ 1628775 h 2124075"/>
                <a:gd name="connsiteX10" fmla="*/ 4095750 w 5005387"/>
                <a:gd name="connsiteY10" fmla="*/ 1404938 h 2124075"/>
                <a:gd name="connsiteX11" fmla="*/ 4000500 w 5005387"/>
                <a:gd name="connsiteY11" fmla="*/ 1023938 h 2124075"/>
                <a:gd name="connsiteX12" fmla="*/ 3910012 w 5005387"/>
                <a:gd name="connsiteY12" fmla="*/ 747713 h 2124075"/>
                <a:gd name="connsiteX13" fmla="*/ 3824287 w 5005387"/>
                <a:gd name="connsiteY13" fmla="*/ 552450 h 2124075"/>
                <a:gd name="connsiteX14" fmla="*/ 3733800 w 5005387"/>
                <a:gd name="connsiteY14" fmla="*/ 395288 h 2124075"/>
                <a:gd name="connsiteX15" fmla="*/ 3590925 w 5005387"/>
                <a:gd name="connsiteY15" fmla="*/ 190500 h 2124075"/>
                <a:gd name="connsiteX16" fmla="*/ 3495675 w 5005387"/>
                <a:gd name="connsiteY16" fmla="*/ 61913 h 2124075"/>
                <a:gd name="connsiteX17" fmla="*/ 3409950 w 5005387"/>
                <a:gd name="connsiteY17" fmla="*/ 0 h 2124075"/>
                <a:gd name="connsiteX18" fmla="*/ 3357562 w 5005387"/>
                <a:gd name="connsiteY18" fmla="*/ 14288 h 2124075"/>
                <a:gd name="connsiteX19" fmla="*/ 3333750 w 5005387"/>
                <a:gd name="connsiteY19" fmla="*/ 66675 h 2124075"/>
                <a:gd name="connsiteX20" fmla="*/ 3295650 w 5005387"/>
                <a:gd name="connsiteY20" fmla="*/ 328613 h 2124075"/>
                <a:gd name="connsiteX21" fmla="*/ 3281362 w 5005387"/>
                <a:gd name="connsiteY21" fmla="*/ 585788 h 2124075"/>
                <a:gd name="connsiteX22" fmla="*/ 3257550 w 5005387"/>
                <a:gd name="connsiteY22" fmla="*/ 876300 h 2124075"/>
                <a:gd name="connsiteX23" fmla="*/ 3262312 w 5005387"/>
                <a:gd name="connsiteY23" fmla="*/ 1000125 h 2124075"/>
                <a:gd name="connsiteX24" fmla="*/ 3252787 w 5005387"/>
                <a:gd name="connsiteY24" fmla="*/ 1157288 h 2124075"/>
                <a:gd name="connsiteX25" fmla="*/ 3224212 w 5005387"/>
                <a:gd name="connsiteY25" fmla="*/ 1366838 h 2124075"/>
                <a:gd name="connsiteX26" fmla="*/ 3190875 w 5005387"/>
                <a:gd name="connsiteY26" fmla="*/ 1576388 h 2124075"/>
                <a:gd name="connsiteX27" fmla="*/ 3148012 w 5005387"/>
                <a:gd name="connsiteY27" fmla="*/ 1695450 h 2124075"/>
                <a:gd name="connsiteX28" fmla="*/ 3095625 w 5005387"/>
                <a:gd name="connsiteY28" fmla="*/ 1766888 h 2124075"/>
                <a:gd name="connsiteX29" fmla="*/ 2986087 w 5005387"/>
                <a:gd name="connsiteY29" fmla="*/ 1766888 h 2124075"/>
                <a:gd name="connsiteX30" fmla="*/ 2819400 w 5005387"/>
                <a:gd name="connsiteY30" fmla="*/ 1666875 h 2124075"/>
                <a:gd name="connsiteX31" fmla="*/ 2690812 w 5005387"/>
                <a:gd name="connsiteY31" fmla="*/ 1543050 h 2124075"/>
                <a:gd name="connsiteX32" fmla="*/ 2566987 w 5005387"/>
                <a:gd name="connsiteY32" fmla="*/ 1438275 h 2124075"/>
                <a:gd name="connsiteX33" fmla="*/ 2443162 w 5005387"/>
                <a:gd name="connsiteY33" fmla="*/ 1314450 h 2124075"/>
                <a:gd name="connsiteX34" fmla="*/ 2338387 w 5005387"/>
                <a:gd name="connsiteY34" fmla="*/ 1195388 h 2124075"/>
                <a:gd name="connsiteX35" fmla="*/ 2095500 w 5005387"/>
                <a:gd name="connsiteY35" fmla="*/ 981075 h 2124075"/>
                <a:gd name="connsiteX36" fmla="*/ 1895475 w 5005387"/>
                <a:gd name="connsiteY36" fmla="*/ 871538 h 2124075"/>
                <a:gd name="connsiteX37" fmla="*/ 1790700 w 5005387"/>
                <a:gd name="connsiteY37" fmla="*/ 862013 h 2124075"/>
                <a:gd name="connsiteX38" fmla="*/ 1671637 w 5005387"/>
                <a:gd name="connsiteY38" fmla="*/ 895350 h 2124075"/>
                <a:gd name="connsiteX39" fmla="*/ 1585912 w 5005387"/>
                <a:gd name="connsiteY39" fmla="*/ 976313 h 2124075"/>
                <a:gd name="connsiteX40" fmla="*/ 1509712 w 5005387"/>
                <a:gd name="connsiteY40" fmla="*/ 1076325 h 2124075"/>
                <a:gd name="connsiteX41" fmla="*/ 1433512 w 5005387"/>
                <a:gd name="connsiteY41" fmla="*/ 1195388 h 2124075"/>
                <a:gd name="connsiteX42" fmla="*/ 1343025 w 5005387"/>
                <a:gd name="connsiteY42" fmla="*/ 1362075 h 2124075"/>
                <a:gd name="connsiteX43" fmla="*/ 1262062 w 5005387"/>
                <a:gd name="connsiteY43" fmla="*/ 1514475 h 2124075"/>
                <a:gd name="connsiteX44" fmla="*/ 1204912 w 5005387"/>
                <a:gd name="connsiteY44" fmla="*/ 1628775 h 2124075"/>
                <a:gd name="connsiteX45" fmla="*/ 1090612 w 5005387"/>
                <a:gd name="connsiteY45" fmla="*/ 1790700 h 2124075"/>
                <a:gd name="connsiteX46" fmla="*/ 962025 w 5005387"/>
                <a:gd name="connsiteY46" fmla="*/ 1881188 h 2124075"/>
                <a:gd name="connsiteX47" fmla="*/ 866775 w 5005387"/>
                <a:gd name="connsiteY47" fmla="*/ 1885950 h 2124075"/>
                <a:gd name="connsiteX48" fmla="*/ 742950 w 5005387"/>
                <a:gd name="connsiteY48" fmla="*/ 1795463 h 2124075"/>
                <a:gd name="connsiteX49" fmla="*/ 638175 w 5005387"/>
                <a:gd name="connsiteY49" fmla="*/ 1724025 h 2124075"/>
                <a:gd name="connsiteX50" fmla="*/ 547687 w 5005387"/>
                <a:gd name="connsiteY50" fmla="*/ 1619250 h 2124075"/>
                <a:gd name="connsiteX51" fmla="*/ 414337 w 5005387"/>
                <a:gd name="connsiteY51" fmla="*/ 1614488 h 2124075"/>
                <a:gd name="connsiteX52" fmla="*/ 266700 w 5005387"/>
                <a:gd name="connsiteY52" fmla="*/ 1671638 h 2124075"/>
                <a:gd name="connsiteX53" fmla="*/ 147637 w 5005387"/>
                <a:gd name="connsiteY53" fmla="*/ 1847850 h 2124075"/>
                <a:gd name="connsiteX54" fmla="*/ 95250 w 5005387"/>
                <a:gd name="connsiteY54" fmla="*/ 1943100 h 2124075"/>
                <a:gd name="connsiteX55" fmla="*/ 0 w 5005387"/>
                <a:gd name="connsiteY55" fmla="*/ 2119313 h 2124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005387" h="2124075">
                  <a:moveTo>
                    <a:pt x="0" y="2119313"/>
                  </a:moveTo>
                  <a:lnTo>
                    <a:pt x="4995862" y="2124075"/>
                  </a:lnTo>
                  <a:lnTo>
                    <a:pt x="5005387" y="1609725"/>
                  </a:lnTo>
                  <a:lnTo>
                    <a:pt x="4814887" y="1619250"/>
                  </a:lnTo>
                  <a:lnTo>
                    <a:pt x="4633912" y="1624013"/>
                  </a:lnTo>
                  <a:lnTo>
                    <a:pt x="4486275" y="1662113"/>
                  </a:lnTo>
                  <a:lnTo>
                    <a:pt x="4395787" y="1719263"/>
                  </a:lnTo>
                  <a:lnTo>
                    <a:pt x="4310062" y="1757363"/>
                  </a:lnTo>
                  <a:lnTo>
                    <a:pt x="4271962" y="1766888"/>
                  </a:lnTo>
                  <a:lnTo>
                    <a:pt x="4143375" y="1628775"/>
                  </a:lnTo>
                  <a:lnTo>
                    <a:pt x="4095750" y="1404938"/>
                  </a:lnTo>
                  <a:lnTo>
                    <a:pt x="4000500" y="1023938"/>
                  </a:lnTo>
                  <a:lnTo>
                    <a:pt x="3910012" y="747713"/>
                  </a:lnTo>
                  <a:lnTo>
                    <a:pt x="3824287" y="552450"/>
                  </a:lnTo>
                  <a:lnTo>
                    <a:pt x="3733800" y="395288"/>
                  </a:lnTo>
                  <a:lnTo>
                    <a:pt x="3590925" y="190500"/>
                  </a:lnTo>
                  <a:lnTo>
                    <a:pt x="3495675" y="61913"/>
                  </a:lnTo>
                  <a:lnTo>
                    <a:pt x="3409950" y="0"/>
                  </a:lnTo>
                  <a:lnTo>
                    <a:pt x="3357562" y="14288"/>
                  </a:lnTo>
                  <a:lnTo>
                    <a:pt x="3333750" y="66675"/>
                  </a:lnTo>
                  <a:lnTo>
                    <a:pt x="3295650" y="328613"/>
                  </a:lnTo>
                  <a:lnTo>
                    <a:pt x="3281362" y="585788"/>
                  </a:lnTo>
                  <a:lnTo>
                    <a:pt x="3257550" y="876300"/>
                  </a:lnTo>
                  <a:lnTo>
                    <a:pt x="3262312" y="1000125"/>
                  </a:lnTo>
                  <a:lnTo>
                    <a:pt x="3252787" y="1157288"/>
                  </a:lnTo>
                  <a:lnTo>
                    <a:pt x="3224212" y="1366838"/>
                  </a:lnTo>
                  <a:lnTo>
                    <a:pt x="3190875" y="1576388"/>
                  </a:lnTo>
                  <a:lnTo>
                    <a:pt x="3148012" y="1695450"/>
                  </a:lnTo>
                  <a:lnTo>
                    <a:pt x="3095625" y="1766888"/>
                  </a:lnTo>
                  <a:lnTo>
                    <a:pt x="2986087" y="1766888"/>
                  </a:lnTo>
                  <a:lnTo>
                    <a:pt x="2819400" y="1666875"/>
                  </a:lnTo>
                  <a:lnTo>
                    <a:pt x="2690812" y="1543050"/>
                  </a:lnTo>
                  <a:lnTo>
                    <a:pt x="2566987" y="1438275"/>
                  </a:lnTo>
                  <a:lnTo>
                    <a:pt x="2443162" y="1314450"/>
                  </a:lnTo>
                  <a:lnTo>
                    <a:pt x="2338387" y="1195388"/>
                  </a:lnTo>
                  <a:lnTo>
                    <a:pt x="2095500" y="981075"/>
                  </a:lnTo>
                  <a:lnTo>
                    <a:pt x="1895475" y="871538"/>
                  </a:lnTo>
                  <a:lnTo>
                    <a:pt x="1790700" y="862013"/>
                  </a:lnTo>
                  <a:lnTo>
                    <a:pt x="1671637" y="895350"/>
                  </a:lnTo>
                  <a:lnTo>
                    <a:pt x="1585912" y="976313"/>
                  </a:lnTo>
                  <a:lnTo>
                    <a:pt x="1509712" y="1076325"/>
                  </a:lnTo>
                  <a:lnTo>
                    <a:pt x="1433512" y="1195388"/>
                  </a:lnTo>
                  <a:lnTo>
                    <a:pt x="1343025" y="1362075"/>
                  </a:lnTo>
                  <a:lnTo>
                    <a:pt x="1262062" y="1514475"/>
                  </a:lnTo>
                  <a:lnTo>
                    <a:pt x="1204912" y="1628775"/>
                  </a:lnTo>
                  <a:lnTo>
                    <a:pt x="1090612" y="1790700"/>
                  </a:lnTo>
                  <a:lnTo>
                    <a:pt x="962025" y="1881188"/>
                  </a:lnTo>
                  <a:lnTo>
                    <a:pt x="866775" y="1885950"/>
                  </a:lnTo>
                  <a:lnTo>
                    <a:pt x="742950" y="1795463"/>
                  </a:lnTo>
                  <a:lnTo>
                    <a:pt x="638175" y="1724025"/>
                  </a:lnTo>
                  <a:lnTo>
                    <a:pt x="547687" y="1619250"/>
                  </a:lnTo>
                  <a:lnTo>
                    <a:pt x="414337" y="1614488"/>
                  </a:lnTo>
                  <a:lnTo>
                    <a:pt x="266700" y="1671638"/>
                  </a:lnTo>
                  <a:lnTo>
                    <a:pt x="147637" y="1847850"/>
                  </a:lnTo>
                  <a:lnTo>
                    <a:pt x="95250" y="1943100"/>
                  </a:lnTo>
                  <a:lnTo>
                    <a:pt x="0" y="2119313"/>
                  </a:lnTo>
                  <a:close/>
                </a:path>
              </a:pathLst>
            </a:custGeom>
          </p:spPr>
          <p:style>
            <a:lnRef idx="1">
              <a:schemeClr val="accent2"/>
            </a:lnRef>
            <a:fillRef idx="3">
              <a:schemeClr val="accent2"/>
            </a:fillRef>
            <a:effectRef idx="2">
              <a:schemeClr val="accent2"/>
            </a:effectRef>
            <a:fontRef idx="minor">
              <a:schemeClr val="lt1"/>
            </a:fontRef>
          </p:style>
          <p:txBody>
            <a:bodyPr vert="horz" wrap="square" lIns="51451" tIns="25726" rIns="51451" bIns="25726" numCol="1" rtlCol="0" anchor="ctr" anchorCtr="0" compatLnSpc="1">
              <a:prstTxWarp prst="textNoShape">
                <a:avLst/>
              </a:prstTxWarp>
            </a:bodyPr>
            <a:lstStyle/>
            <a:p>
              <a:pPr algn="ctr" defTabSz="685472"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17" name="Freeform 16"/>
            <p:cNvSpPr/>
            <p:nvPr/>
          </p:nvSpPr>
          <p:spPr>
            <a:xfrm>
              <a:off x="9832988" y="3845659"/>
              <a:ext cx="1724026" cy="1955799"/>
            </a:xfrm>
            <a:custGeom>
              <a:avLst/>
              <a:gdLst>
                <a:gd name="connsiteX0" fmla="*/ 0 w 1724025"/>
                <a:gd name="connsiteY0" fmla="*/ 673100 h 1955800"/>
                <a:gd name="connsiteX1" fmla="*/ 0 w 1724025"/>
                <a:gd name="connsiteY1" fmla="*/ 673100 h 1955800"/>
                <a:gd name="connsiteX2" fmla="*/ 31750 w 1724025"/>
                <a:gd name="connsiteY2" fmla="*/ 282575 h 1955800"/>
                <a:gd name="connsiteX3" fmla="*/ 63500 w 1724025"/>
                <a:gd name="connsiteY3" fmla="*/ 88900 h 1955800"/>
                <a:gd name="connsiteX4" fmla="*/ 104775 w 1724025"/>
                <a:gd name="connsiteY4" fmla="*/ 9525 h 1955800"/>
                <a:gd name="connsiteX5" fmla="*/ 139700 w 1724025"/>
                <a:gd name="connsiteY5" fmla="*/ 0 h 1955800"/>
                <a:gd name="connsiteX6" fmla="*/ 190500 w 1724025"/>
                <a:gd name="connsiteY6" fmla="*/ 31750 h 1955800"/>
                <a:gd name="connsiteX7" fmla="*/ 273050 w 1724025"/>
                <a:gd name="connsiteY7" fmla="*/ 130175 h 1955800"/>
                <a:gd name="connsiteX8" fmla="*/ 349250 w 1724025"/>
                <a:gd name="connsiteY8" fmla="*/ 234950 h 1955800"/>
                <a:gd name="connsiteX9" fmla="*/ 425450 w 1724025"/>
                <a:gd name="connsiteY9" fmla="*/ 349250 h 1955800"/>
                <a:gd name="connsiteX10" fmla="*/ 495300 w 1724025"/>
                <a:gd name="connsiteY10" fmla="*/ 454025 h 1955800"/>
                <a:gd name="connsiteX11" fmla="*/ 555625 w 1724025"/>
                <a:gd name="connsiteY11" fmla="*/ 571500 h 1955800"/>
                <a:gd name="connsiteX12" fmla="*/ 590550 w 1724025"/>
                <a:gd name="connsiteY12" fmla="*/ 660400 h 1955800"/>
                <a:gd name="connsiteX13" fmla="*/ 647700 w 1724025"/>
                <a:gd name="connsiteY13" fmla="*/ 796925 h 1955800"/>
                <a:gd name="connsiteX14" fmla="*/ 711200 w 1724025"/>
                <a:gd name="connsiteY14" fmla="*/ 974725 h 1955800"/>
                <a:gd name="connsiteX15" fmla="*/ 755650 w 1724025"/>
                <a:gd name="connsiteY15" fmla="*/ 1136650 h 1955800"/>
                <a:gd name="connsiteX16" fmla="*/ 806450 w 1724025"/>
                <a:gd name="connsiteY16" fmla="*/ 1333500 h 1955800"/>
                <a:gd name="connsiteX17" fmla="*/ 835025 w 1724025"/>
                <a:gd name="connsiteY17" fmla="*/ 1466850 h 1955800"/>
                <a:gd name="connsiteX18" fmla="*/ 869950 w 1724025"/>
                <a:gd name="connsiteY18" fmla="*/ 1600200 h 1955800"/>
                <a:gd name="connsiteX19" fmla="*/ 923925 w 1724025"/>
                <a:gd name="connsiteY19" fmla="*/ 1733550 h 1955800"/>
                <a:gd name="connsiteX20" fmla="*/ 962025 w 1724025"/>
                <a:gd name="connsiteY20" fmla="*/ 1768475 h 1955800"/>
                <a:gd name="connsiteX21" fmla="*/ 1025525 w 1724025"/>
                <a:gd name="connsiteY21" fmla="*/ 1781175 h 1955800"/>
                <a:gd name="connsiteX22" fmla="*/ 1117600 w 1724025"/>
                <a:gd name="connsiteY22" fmla="*/ 1736725 h 1955800"/>
                <a:gd name="connsiteX23" fmla="*/ 1222375 w 1724025"/>
                <a:gd name="connsiteY23" fmla="*/ 1666875 h 1955800"/>
                <a:gd name="connsiteX24" fmla="*/ 1336675 w 1724025"/>
                <a:gd name="connsiteY24" fmla="*/ 1641475 h 1955800"/>
                <a:gd name="connsiteX25" fmla="*/ 1463675 w 1724025"/>
                <a:gd name="connsiteY25" fmla="*/ 1622425 h 1955800"/>
                <a:gd name="connsiteX26" fmla="*/ 1631950 w 1724025"/>
                <a:gd name="connsiteY26" fmla="*/ 1616075 h 1955800"/>
                <a:gd name="connsiteX27" fmla="*/ 1720850 w 1724025"/>
                <a:gd name="connsiteY27" fmla="*/ 1609725 h 1955800"/>
                <a:gd name="connsiteX28" fmla="*/ 1724025 w 1724025"/>
                <a:gd name="connsiteY28" fmla="*/ 1730375 h 1955800"/>
                <a:gd name="connsiteX29" fmla="*/ 1581150 w 1724025"/>
                <a:gd name="connsiteY29" fmla="*/ 1727200 h 1955800"/>
                <a:gd name="connsiteX30" fmla="*/ 1400175 w 1724025"/>
                <a:gd name="connsiteY30" fmla="*/ 1720850 h 1955800"/>
                <a:gd name="connsiteX31" fmla="*/ 1279525 w 1724025"/>
                <a:gd name="connsiteY31" fmla="*/ 1743075 h 1955800"/>
                <a:gd name="connsiteX32" fmla="*/ 1165225 w 1724025"/>
                <a:gd name="connsiteY32" fmla="*/ 1774825 h 1955800"/>
                <a:gd name="connsiteX33" fmla="*/ 1082675 w 1724025"/>
                <a:gd name="connsiteY33" fmla="*/ 1828800 h 1955800"/>
                <a:gd name="connsiteX34" fmla="*/ 1000125 w 1724025"/>
                <a:gd name="connsiteY34" fmla="*/ 1901825 h 1955800"/>
                <a:gd name="connsiteX35" fmla="*/ 911225 w 1724025"/>
                <a:gd name="connsiteY35" fmla="*/ 1933575 h 1955800"/>
                <a:gd name="connsiteX36" fmla="*/ 889000 w 1724025"/>
                <a:gd name="connsiteY36" fmla="*/ 1955800 h 1955800"/>
                <a:gd name="connsiteX37" fmla="*/ 796925 w 1724025"/>
                <a:gd name="connsiteY37" fmla="*/ 1949450 h 1955800"/>
                <a:gd name="connsiteX38" fmla="*/ 733425 w 1724025"/>
                <a:gd name="connsiteY38" fmla="*/ 1885950 h 1955800"/>
                <a:gd name="connsiteX39" fmla="*/ 695325 w 1724025"/>
                <a:gd name="connsiteY39" fmla="*/ 1743075 h 1955800"/>
                <a:gd name="connsiteX40" fmla="*/ 654050 w 1724025"/>
                <a:gd name="connsiteY40" fmla="*/ 1543050 h 1955800"/>
                <a:gd name="connsiteX41" fmla="*/ 619125 w 1724025"/>
                <a:gd name="connsiteY41" fmla="*/ 1355725 h 1955800"/>
                <a:gd name="connsiteX42" fmla="*/ 593725 w 1724025"/>
                <a:gd name="connsiteY42" fmla="*/ 1206500 h 1955800"/>
                <a:gd name="connsiteX43" fmla="*/ 558800 w 1724025"/>
                <a:gd name="connsiteY43" fmla="*/ 1082675 h 1955800"/>
                <a:gd name="connsiteX44" fmla="*/ 523875 w 1724025"/>
                <a:gd name="connsiteY44" fmla="*/ 952500 h 1955800"/>
                <a:gd name="connsiteX45" fmla="*/ 460375 w 1724025"/>
                <a:gd name="connsiteY45" fmla="*/ 781050 h 1955800"/>
                <a:gd name="connsiteX46" fmla="*/ 393700 w 1724025"/>
                <a:gd name="connsiteY46" fmla="*/ 561975 h 1955800"/>
                <a:gd name="connsiteX47" fmla="*/ 320675 w 1724025"/>
                <a:gd name="connsiteY47" fmla="*/ 374650 h 1955800"/>
                <a:gd name="connsiteX48" fmla="*/ 244475 w 1724025"/>
                <a:gd name="connsiteY48" fmla="*/ 244475 h 1955800"/>
                <a:gd name="connsiteX49" fmla="*/ 206375 w 1724025"/>
                <a:gd name="connsiteY49" fmla="*/ 196850 h 1955800"/>
                <a:gd name="connsiteX50" fmla="*/ 165100 w 1724025"/>
                <a:gd name="connsiteY50" fmla="*/ 193675 h 1955800"/>
                <a:gd name="connsiteX51" fmla="*/ 123825 w 1724025"/>
                <a:gd name="connsiteY51" fmla="*/ 222250 h 1955800"/>
                <a:gd name="connsiteX52" fmla="*/ 95250 w 1724025"/>
                <a:gd name="connsiteY52" fmla="*/ 285750 h 1955800"/>
                <a:gd name="connsiteX53" fmla="*/ 60325 w 1724025"/>
                <a:gd name="connsiteY53" fmla="*/ 390525 h 1955800"/>
                <a:gd name="connsiteX54" fmla="*/ 41275 w 1724025"/>
                <a:gd name="connsiteY54" fmla="*/ 469900 h 1955800"/>
                <a:gd name="connsiteX55" fmla="*/ 28575 w 1724025"/>
                <a:gd name="connsiteY55" fmla="*/ 581025 h 1955800"/>
                <a:gd name="connsiteX56" fmla="*/ 0 w 1724025"/>
                <a:gd name="connsiteY56" fmla="*/ 673100 h 195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724025" h="1955800">
                  <a:moveTo>
                    <a:pt x="0" y="673100"/>
                  </a:moveTo>
                  <a:lnTo>
                    <a:pt x="0" y="673100"/>
                  </a:lnTo>
                  <a:lnTo>
                    <a:pt x="31750" y="282575"/>
                  </a:lnTo>
                  <a:lnTo>
                    <a:pt x="63500" y="88900"/>
                  </a:lnTo>
                  <a:lnTo>
                    <a:pt x="104775" y="9525"/>
                  </a:lnTo>
                  <a:lnTo>
                    <a:pt x="139700" y="0"/>
                  </a:lnTo>
                  <a:lnTo>
                    <a:pt x="190500" y="31750"/>
                  </a:lnTo>
                  <a:lnTo>
                    <a:pt x="273050" y="130175"/>
                  </a:lnTo>
                  <a:lnTo>
                    <a:pt x="349250" y="234950"/>
                  </a:lnTo>
                  <a:lnTo>
                    <a:pt x="425450" y="349250"/>
                  </a:lnTo>
                  <a:lnTo>
                    <a:pt x="495300" y="454025"/>
                  </a:lnTo>
                  <a:lnTo>
                    <a:pt x="555625" y="571500"/>
                  </a:lnTo>
                  <a:lnTo>
                    <a:pt x="590550" y="660400"/>
                  </a:lnTo>
                  <a:lnTo>
                    <a:pt x="647700" y="796925"/>
                  </a:lnTo>
                  <a:lnTo>
                    <a:pt x="711200" y="974725"/>
                  </a:lnTo>
                  <a:lnTo>
                    <a:pt x="755650" y="1136650"/>
                  </a:lnTo>
                  <a:lnTo>
                    <a:pt x="806450" y="1333500"/>
                  </a:lnTo>
                  <a:lnTo>
                    <a:pt x="835025" y="1466850"/>
                  </a:lnTo>
                  <a:lnTo>
                    <a:pt x="869950" y="1600200"/>
                  </a:lnTo>
                  <a:lnTo>
                    <a:pt x="923925" y="1733550"/>
                  </a:lnTo>
                  <a:lnTo>
                    <a:pt x="962025" y="1768475"/>
                  </a:lnTo>
                  <a:lnTo>
                    <a:pt x="1025525" y="1781175"/>
                  </a:lnTo>
                  <a:lnTo>
                    <a:pt x="1117600" y="1736725"/>
                  </a:lnTo>
                  <a:lnTo>
                    <a:pt x="1222375" y="1666875"/>
                  </a:lnTo>
                  <a:lnTo>
                    <a:pt x="1336675" y="1641475"/>
                  </a:lnTo>
                  <a:lnTo>
                    <a:pt x="1463675" y="1622425"/>
                  </a:lnTo>
                  <a:lnTo>
                    <a:pt x="1631950" y="1616075"/>
                  </a:lnTo>
                  <a:lnTo>
                    <a:pt x="1720850" y="1609725"/>
                  </a:lnTo>
                  <a:cubicBezTo>
                    <a:pt x="1721908" y="1649942"/>
                    <a:pt x="1722967" y="1690158"/>
                    <a:pt x="1724025" y="1730375"/>
                  </a:cubicBezTo>
                  <a:lnTo>
                    <a:pt x="1581150" y="1727200"/>
                  </a:lnTo>
                  <a:lnTo>
                    <a:pt x="1400175" y="1720850"/>
                  </a:lnTo>
                  <a:lnTo>
                    <a:pt x="1279525" y="1743075"/>
                  </a:lnTo>
                  <a:lnTo>
                    <a:pt x="1165225" y="1774825"/>
                  </a:lnTo>
                  <a:lnTo>
                    <a:pt x="1082675" y="1828800"/>
                  </a:lnTo>
                  <a:lnTo>
                    <a:pt x="1000125" y="1901825"/>
                  </a:lnTo>
                  <a:lnTo>
                    <a:pt x="911225" y="1933575"/>
                  </a:lnTo>
                  <a:lnTo>
                    <a:pt x="889000" y="1955800"/>
                  </a:lnTo>
                  <a:lnTo>
                    <a:pt x="796925" y="1949450"/>
                  </a:lnTo>
                  <a:lnTo>
                    <a:pt x="733425" y="1885950"/>
                  </a:lnTo>
                  <a:lnTo>
                    <a:pt x="695325" y="1743075"/>
                  </a:lnTo>
                  <a:lnTo>
                    <a:pt x="654050" y="1543050"/>
                  </a:lnTo>
                  <a:lnTo>
                    <a:pt x="619125" y="1355725"/>
                  </a:lnTo>
                  <a:lnTo>
                    <a:pt x="593725" y="1206500"/>
                  </a:lnTo>
                  <a:lnTo>
                    <a:pt x="558800" y="1082675"/>
                  </a:lnTo>
                  <a:lnTo>
                    <a:pt x="523875" y="952500"/>
                  </a:lnTo>
                  <a:lnTo>
                    <a:pt x="460375" y="781050"/>
                  </a:lnTo>
                  <a:lnTo>
                    <a:pt x="393700" y="561975"/>
                  </a:lnTo>
                  <a:lnTo>
                    <a:pt x="320675" y="374650"/>
                  </a:lnTo>
                  <a:lnTo>
                    <a:pt x="244475" y="244475"/>
                  </a:lnTo>
                  <a:lnTo>
                    <a:pt x="206375" y="196850"/>
                  </a:lnTo>
                  <a:lnTo>
                    <a:pt x="165100" y="193675"/>
                  </a:lnTo>
                  <a:lnTo>
                    <a:pt x="123825" y="222250"/>
                  </a:lnTo>
                  <a:lnTo>
                    <a:pt x="95250" y="285750"/>
                  </a:lnTo>
                  <a:lnTo>
                    <a:pt x="60325" y="390525"/>
                  </a:lnTo>
                  <a:lnTo>
                    <a:pt x="41275" y="469900"/>
                  </a:lnTo>
                  <a:lnTo>
                    <a:pt x="28575" y="581025"/>
                  </a:lnTo>
                  <a:lnTo>
                    <a:pt x="0" y="673100"/>
                  </a:lnTo>
                  <a:close/>
                </a:path>
              </a:pathLst>
            </a:custGeom>
            <a:solidFill>
              <a:srgbClr val="FFC000"/>
            </a:solidFill>
            <a:ln>
              <a:solidFill>
                <a:srgbClr val="FFC000"/>
              </a:solidFill>
            </a:ln>
          </p:spPr>
          <p:style>
            <a:lnRef idx="1">
              <a:schemeClr val="accent2"/>
            </a:lnRef>
            <a:fillRef idx="3">
              <a:schemeClr val="accent2"/>
            </a:fillRef>
            <a:effectRef idx="2">
              <a:schemeClr val="accent2"/>
            </a:effectRef>
            <a:fontRef idx="minor">
              <a:schemeClr val="lt1"/>
            </a:fontRef>
          </p:style>
          <p:txBody>
            <a:bodyPr vert="horz" wrap="square" lIns="51451" tIns="25726" rIns="51451" bIns="25726" numCol="1" rtlCol="0" anchor="ctr" anchorCtr="0" compatLnSpc="1">
              <a:prstTxWarp prst="textNoShape">
                <a:avLst/>
              </a:prstTxWarp>
            </a:bodyPr>
            <a:lstStyle/>
            <a:p>
              <a:pPr algn="ctr" defTabSz="685472"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3" name="Freeform 22"/>
            <p:cNvSpPr/>
            <p:nvPr/>
          </p:nvSpPr>
          <p:spPr>
            <a:xfrm>
              <a:off x="9683763" y="4937860"/>
              <a:ext cx="101600" cy="615950"/>
            </a:xfrm>
            <a:custGeom>
              <a:avLst/>
              <a:gdLst>
                <a:gd name="connsiteX0" fmla="*/ 0 w 101600"/>
                <a:gd name="connsiteY0" fmla="*/ 615950 h 615950"/>
                <a:gd name="connsiteX1" fmla="*/ 0 w 101600"/>
                <a:gd name="connsiteY1" fmla="*/ 615950 h 615950"/>
                <a:gd name="connsiteX2" fmla="*/ 53975 w 101600"/>
                <a:gd name="connsiteY2" fmla="*/ 250825 h 615950"/>
                <a:gd name="connsiteX3" fmla="*/ 101600 w 101600"/>
                <a:gd name="connsiteY3" fmla="*/ 0 h 615950"/>
                <a:gd name="connsiteX4" fmla="*/ 95250 w 101600"/>
                <a:gd name="connsiteY4" fmla="*/ 206375 h 615950"/>
                <a:gd name="connsiteX5" fmla="*/ 82550 w 101600"/>
                <a:gd name="connsiteY5" fmla="*/ 384175 h 615950"/>
                <a:gd name="connsiteX6" fmla="*/ 44450 w 101600"/>
                <a:gd name="connsiteY6" fmla="*/ 539750 h 615950"/>
                <a:gd name="connsiteX7" fmla="*/ 0 w 101600"/>
                <a:gd name="connsiteY7" fmla="*/ 615950 h 61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 h="615950">
                  <a:moveTo>
                    <a:pt x="0" y="615950"/>
                  </a:moveTo>
                  <a:lnTo>
                    <a:pt x="0" y="615950"/>
                  </a:lnTo>
                  <a:lnTo>
                    <a:pt x="53975" y="250825"/>
                  </a:lnTo>
                  <a:lnTo>
                    <a:pt x="101600" y="0"/>
                  </a:lnTo>
                  <a:lnTo>
                    <a:pt x="95250" y="206375"/>
                  </a:lnTo>
                  <a:lnTo>
                    <a:pt x="82550" y="384175"/>
                  </a:lnTo>
                  <a:lnTo>
                    <a:pt x="44450" y="539750"/>
                  </a:lnTo>
                  <a:lnTo>
                    <a:pt x="0" y="615950"/>
                  </a:lnTo>
                  <a:close/>
                </a:path>
              </a:pathLst>
            </a:custGeom>
            <a:solidFill>
              <a:srgbClr val="FF0000"/>
            </a:solidFill>
          </p:spPr>
          <p:style>
            <a:lnRef idx="1">
              <a:schemeClr val="accent2"/>
            </a:lnRef>
            <a:fillRef idx="3">
              <a:schemeClr val="accent2"/>
            </a:fillRef>
            <a:effectRef idx="2">
              <a:schemeClr val="accent2"/>
            </a:effectRef>
            <a:fontRef idx="minor">
              <a:schemeClr val="lt1"/>
            </a:fontRef>
          </p:style>
          <p:txBody>
            <a:bodyPr vert="horz" wrap="square" lIns="51451" tIns="25726" rIns="51451" bIns="25726" numCol="1" rtlCol="0" anchor="ctr" anchorCtr="0" compatLnSpc="1">
              <a:prstTxWarp prst="textNoShape">
                <a:avLst/>
              </a:prstTxWarp>
            </a:bodyPr>
            <a:lstStyle/>
            <a:p>
              <a:pPr algn="ctr" defTabSz="685472"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6" name="Freeform 25"/>
            <p:cNvSpPr/>
            <p:nvPr/>
          </p:nvSpPr>
          <p:spPr>
            <a:xfrm>
              <a:off x="7965990" y="4696359"/>
              <a:ext cx="1695451" cy="1136650"/>
            </a:xfrm>
            <a:custGeom>
              <a:avLst/>
              <a:gdLst>
                <a:gd name="connsiteX0" fmla="*/ 0 w 1695450"/>
                <a:gd name="connsiteY0" fmla="*/ 371475 h 1136650"/>
                <a:gd name="connsiteX1" fmla="*/ 82550 w 1695450"/>
                <a:gd name="connsiteY1" fmla="*/ 222250 h 1136650"/>
                <a:gd name="connsiteX2" fmla="*/ 212725 w 1695450"/>
                <a:gd name="connsiteY2" fmla="*/ 92075 h 1136650"/>
                <a:gd name="connsiteX3" fmla="*/ 244475 w 1695450"/>
                <a:gd name="connsiteY3" fmla="*/ 69850 h 1136650"/>
                <a:gd name="connsiteX4" fmla="*/ 327025 w 1695450"/>
                <a:gd name="connsiteY4" fmla="*/ 25400 h 1136650"/>
                <a:gd name="connsiteX5" fmla="*/ 412750 w 1695450"/>
                <a:gd name="connsiteY5" fmla="*/ 0 h 1136650"/>
                <a:gd name="connsiteX6" fmla="*/ 469900 w 1695450"/>
                <a:gd name="connsiteY6" fmla="*/ 0 h 1136650"/>
                <a:gd name="connsiteX7" fmla="*/ 590550 w 1695450"/>
                <a:gd name="connsiteY7" fmla="*/ 38100 h 1136650"/>
                <a:gd name="connsiteX8" fmla="*/ 708025 w 1695450"/>
                <a:gd name="connsiteY8" fmla="*/ 136525 h 1136650"/>
                <a:gd name="connsiteX9" fmla="*/ 847725 w 1695450"/>
                <a:gd name="connsiteY9" fmla="*/ 257175 h 1136650"/>
                <a:gd name="connsiteX10" fmla="*/ 1009650 w 1695450"/>
                <a:gd name="connsiteY10" fmla="*/ 409575 h 1136650"/>
                <a:gd name="connsiteX11" fmla="*/ 1139825 w 1695450"/>
                <a:gd name="connsiteY11" fmla="*/ 542925 h 1136650"/>
                <a:gd name="connsiteX12" fmla="*/ 1327150 w 1695450"/>
                <a:gd name="connsiteY12" fmla="*/ 723900 h 1136650"/>
                <a:gd name="connsiteX13" fmla="*/ 1473200 w 1695450"/>
                <a:gd name="connsiteY13" fmla="*/ 844550 h 1136650"/>
                <a:gd name="connsiteX14" fmla="*/ 1568450 w 1695450"/>
                <a:gd name="connsiteY14" fmla="*/ 889000 h 1136650"/>
                <a:gd name="connsiteX15" fmla="*/ 1660525 w 1695450"/>
                <a:gd name="connsiteY15" fmla="*/ 901700 h 1136650"/>
                <a:gd name="connsiteX16" fmla="*/ 1660525 w 1695450"/>
                <a:gd name="connsiteY16" fmla="*/ 901700 h 1136650"/>
                <a:gd name="connsiteX17" fmla="*/ 1695450 w 1695450"/>
                <a:gd name="connsiteY17" fmla="*/ 892175 h 1136650"/>
                <a:gd name="connsiteX18" fmla="*/ 1644650 w 1695450"/>
                <a:gd name="connsiteY18" fmla="*/ 1047750 h 1136650"/>
                <a:gd name="connsiteX19" fmla="*/ 1606550 w 1695450"/>
                <a:gd name="connsiteY19" fmla="*/ 1108075 h 1136650"/>
                <a:gd name="connsiteX20" fmla="*/ 1565275 w 1695450"/>
                <a:gd name="connsiteY20" fmla="*/ 1127125 h 1136650"/>
                <a:gd name="connsiteX21" fmla="*/ 1543050 w 1695450"/>
                <a:gd name="connsiteY21" fmla="*/ 1136650 h 1136650"/>
                <a:gd name="connsiteX22" fmla="*/ 1482725 w 1695450"/>
                <a:gd name="connsiteY22" fmla="*/ 1101725 h 1136650"/>
                <a:gd name="connsiteX23" fmla="*/ 1422400 w 1695450"/>
                <a:gd name="connsiteY23" fmla="*/ 1006475 h 1136650"/>
                <a:gd name="connsiteX24" fmla="*/ 1390650 w 1695450"/>
                <a:gd name="connsiteY24" fmla="*/ 923925 h 1136650"/>
                <a:gd name="connsiteX25" fmla="*/ 1330325 w 1695450"/>
                <a:gd name="connsiteY25" fmla="*/ 831850 h 1136650"/>
                <a:gd name="connsiteX26" fmla="*/ 1254125 w 1695450"/>
                <a:gd name="connsiteY26" fmla="*/ 755650 h 1136650"/>
                <a:gd name="connsiteX27" fmla="*/ 1146175 w 1695450"/>
                <a:gd name="connsiteY27" fmla="*/ 654050 h 1136650"/>
                <a:gd name="connsiteX28" fmla="*/ 1060450 w 1695450"/>
                <a:gd name="connsiteY28" fmla="*/ 568325 h 1136650"/>
                <a:gd name="connsiteX29" fmla="*/ 974725 w 1695450"/>
                <a:gd name="connsiteY29" fmla="*/ 485775 h 1136650"/>
                <a:gd name="connsiteX30" fmla="*/ 914400 w 1695450"/>
                <a:gd name="connsiteY30" fmla="*/ 425450 h 1136650"/>
                <a:gd name="connsiteX31" fmla="*/ 847725 w 1695450"/>
                <a:gd name="connsiteY31" fmla="*/ 358775 h 1136650"/>
                <a:gd name="connsiteX32" fmla="*/ 796925 w 1695450"/>
                <a:gd name="connsiteY32" fmla="*/ 311150 h 1136650"/>
                <a:gd name="connsiteX33" fmla="*/ 736600 w 1695450"/>
                <a:gd name="connsiteY33" fmla="*/ 260350 h 1136650"/>
                <a:gd name="connsiteX34" fmla="*/ 654050 w 1695450"/>
                <a:gd name="connsiteY34" fmla="*/ 203200 h 1136650"/>
                <a:gd name="connsiteX35" fmla="*/ 584200 w 1695450"/>
                <a:gd name="connsiteY35" fmla="*/ 161925 h 1136650"/>
                <a:gd name="connsiteX36" fmla="*/ 473075 w 1695450"/>
                <a:gd name="connsiteY36" fmla="*/ 127000 h 1136650"/>
                <a:gd name="connsiteX37" fmla="*/ 412750 w 1695450"/>
                <a:gd name="connsiteY37" fmla="*/ 117475 h 1136650"/>
                <a:gd name="connsiteX38" fmla="*/ 355600 w 1695450"/>
                <a:gd name="connsiteY38" fmla="*/ 127000 h 1136650"/>
                <a:gd name="connsiteX39" fmla="*/ 292100 w 1695450"/>
                <a:gd name="connsiteY39" fmla="*/ 149225 h 1136650"/>
                <a:gd name="connsiteX40" fmla="*/ 225425 w 1695450"/>
                <a:gd name="connsiteY40" fmla="*/ 180975 h 1136650"/>
                <a:gd name="connsiteX41" fmla="*/ 161925 w 1695450"/>
                <a:gd name="connsiteY41" fmla="*/ 231775 h 1136650"/>
                <a:gd name="connsiteX42" fmla="*/ 76200 w 1695450"/>
                <a:gd name="connsiteY42" fmla="*/ 314325 h 1136650"/>
                <a:gd name="connsiteX43" fmla="*/ 0 w 1695450"/>
                <a:gd name="connsiteY43" fmla="*/ 371475 h 113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695450" h="1136650">
                  <a:moveTo>
                    <a:pt x="0" y="371475"/>
                  </a:moveTo>
                  <a:lnTo>
                    <a:pt x="82550" y="222250"/>
                  </a:lnTo>
                  <a:lnTo>
                    <a:pt x="212725" y="92075"/>
                  </a:lnTo>
                  <a:lnTo>
                    <a:pt x="244475" y="69850"/>
                  </a:lnTo>
                  <a:lnTo>
                    <a:pt x="327025" y="25400"/>
                  </a:lnTo>
                  <a:lnTo>
                    <a:pt x="412750" y="0"/>
                  </a:lnTo>
                  <a:lnTo>
                    <a:pt x="469900" y="0"/>
                  </a:lnTo>
                  <a:lnTo>
                    <a:pt x="590550" y="38100"/>
                  </a:lnTo>
                  <a:lnTo>
                    <a:pt x="708025" y="136525"/>
                  </a:lnTo>
                  <a:lnTo>
                    <a:pt x="847725" y="257175"/>
                  </a:lnTo>
                  <a:lnTo>
                    <a:pt x="1009650" y="409575"/>
                  </a:lnTo>
                  <a:lnTo>
                    <a:pt x="1139825" y="542925"/>
                  </a:lnTo>
                  <a:lnTo>
                    <a:pt x="1327150" y="723900"/>
                  </a:lnTo>
                  <a:lnTo>
                    <a:pt x="1473200" y="844550"/>
                  </a:lnTo>
                  <a:lnTo>
                    <a:pt x="1568450" y="889000"/>
                  </a:lnTo>
                  <a:lnTo>
                    <a:pt x="1660525" y="901700"/>
                  </a:lnTo>
                  <a:lnTo>
                    <a:pt x="1660525" y="901700"/>
                  </a:lnTo>
                  <a:lnTo>
                    <a:pt x="1695450" y="892175"/>
                  </a:lnTo>
                  <a:lnTo>
                    <a:pt x="1644650" y="1047750"/>
                  </a:lnTo>
                  <a:lnTo>
                    <a:pt x="1606550" y="1108075"/>
                  </a:lnTo>
                  <a:lnTo>
                    <a:pt x="1565275" y="1127125"/>
                  </a:lnTo>
                  <a:lnTo>
                    <a:pt x="1543050" y="1136650"/>
                  </a:lnTo>
                  <a:lnTo>
                    <a:pt x="1482725" y="1101725"/>
                  </a:lnTo>
                  <a:lnTo>
                    <a:pt x="1422400" y="1006475"/>
                  </a:lnTo>
                  <a:lnTo>
                    <a:pt x="1390650" y="923925"/>
                  </a:lnTo>
                  <a:lnTo>
                    <a:pt x="1330325" y="831850"/>
                  </a:lnTo>
                  <a:lnTo>
                    <a:pt x="1254125" y="755650"/>
                  </a:lnTo>
                  <a:lnTo>
                    <a:pt x="1146175" y="654050"/>
                  </a:lnTo>
                  <a:lnTo>
                    <a:pt x="1060450" y="568325"/>
                  </a:lnTo>
                  <a:lnTo>
                    <a:pt x="974725" y="485775"/>
                  </a:lnTo>
                  <a:lnTo>
                    <a:pt x="914400" y="425450"/>
                  </a:lnTo>
                  <a:lnTo>
                    <a:pt x="847725" y="358775"/>
                  </a:lnTo>
                  <a:lnTo>
                    <a:pt x="796925" y="311150"/>
                  </a:lnTo>
                  <a:lnTo>
                    <a:pt x="736600" y="260350"/>
                  </a:lnTo>
                  <a:lnTo>
                    <a:pt x="654050" y="203200"/>
                  </a:lnTo>
                  <a:lnTo>
                    <a:pt x="584200" y="161925"/>
                  </a:lnTo>
                  <a:lnTo>
                    <a:pt x="473075" y="127000"/>
                  </a:lnTo>
                  <a:lnTo>
                    <a:pt x="412750" y="117475"/>
                  </a:lnTo>
                  <a:lnTo>
                    <a:pt x="355600" y="127000"/>
                  </a:lnTo>
                  <a:lnTo>
                    <a:pt x="292100" y="149225"/>
                  </a:lnTo>
                  <a:lnTo>
                    <a:pt x="225425" y="180975"/>
                  </a:lnTo>
                  <a:lnTo>
                    <a:pt x="161925" y="231775"/>
                  </a:lnTo>
                  <a:lnTo>
                    <a:pt x="76200" y="314325"/>
                  </a:lnTo>
                  <a:lnTo>
                    <a:pt x="0" y="371475"/>
                  </a:lnTo>
                  <a:close/>
                </a:path>
              </a:pathLst>
            </a:custGeom>
            <a:solidFill>
              <a:srgbClr val="FFC000"/>
            </a:solidFill>
            <a:ln>
              <a:solidFill>
                <a:srgbClr val="FFC000"/>
              </a:solidFill>
            </a:ln>
          </p:spPr>
          <p:style>
            <a:lnRef idx="1">
              <a:schemeClr val="accent2"/>
            </a:lnRef>
            <a:fillRef idx="3">
              <a:schemeClr val="accent2"/>
            </a:fillRef>
            <a:effectRef idx="2">
              <a:schemeClr val="accent2"/>
            </a:effectRef>
            <a:fontRef idx="minor">
              <a:schemeClr val="lt1"/>
            </a:fontRef>
          </p:style>
          <p:txBody>
            <a:bodyPr vert="horz" wrap="square" lIns="51451" tIns="25726" rIns="51451" bIns="25726" numCol="1" rtlCol="0" anchor="ctr" anchorCtr="0" compatLnSpc="1">
              <a:prstTxWarp prst="textNoShape">
                <a:avLst/>
              </a:prstTxWarp>
            </a:bodyPr>
            <a:lstStyle/>
            <a:p>
              <a:pPr algn="ctr" defTabSz="685472"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7" name="Freeform 26"/>
            <p:cNvSpPr/>
            <p:nvPr/>
          </p:nvSpPr>
          <p:spPr>
            <a:xfrm>
              <a:off x="6819915" y="5480482"/>
              <a:ext cx="552450" cy="228900"/>
            </a:xfrm>
            <a:custGeom>
              <a:avLst/>
              <a:gdLst>
                <a:gd name="connsiteX0" fmla="*/ 0 w 552450"/>
                <a:gd name="connsiteY0" fmla="*/ 82550 h 231775"/>
                <a:gd name="connsiteX1" fmla="*/ 101600 w 552450"/>
                <a:gd name="connsiteY1" fmla="*/ 41275 h 231775"/>
                <a:gd name="connsiteX2" fmla="*/ 212725 w 552450"/>
                <a:gd name="connsiteY2" fmla="*/ 92075 h 231775"/>
                <a:gd name="connsiteX3" fmla="*/ 327025 w 552450"/>
                <a:gd name="connsiteY3" fmla="*/ 193675 h 231775"/>
                <a:gd name="connsiteX4" fmla="*/ 406400 w 552450"/>
                <a:gd name="connsiteY4" fmla="*/ 231775 h 231775"/>
                <a:gd name="connsiteX5" fmla="*/ 514350 w 552450"/>
                <a:gd name="connsiteY5" fmla="*/ 231775 h 231775"/>
                <a:gd name="connsiteX6" fmla="*/ 552450 w 552450"/>
                <a:gd name="connsiteY6" fmla="*/ 215900 h 231775"/>
                <a:gd name="connsiteX7" fmla="*/ 454025 w 552450"/>
                <a:gd name="connsiteY7" fmla="*/ 149225 h 231775"/>
                <a:gd name="connsiteX8" fmla="*/ 336550 w 552450"/>
                <a:gd name="connsiteY8" fmla="*/ 44450 h 231775"/>
                <a:gd name="connsiteX9" fmla="*/ 234950 w 552450"/>
                <a:gd name="connsiteY9" fmla="*/ 0 h 231775"/>
                <a:gd name="connsiteX10" fmla="*/ 142875 w 552450"/>
                <a:gd name="connsiteY10" fmla="*/ 3175 h 231775"/>
                <a:gd name="connsiteX11" fmla="*/ 0 w 552450"/>
                <a:gd name="connsiteY11" fmla="*/ 82550 h 231775"/>
                <a:gd name="connsiteX0" fmla="*/ 0 w 552450"/>
                <a:gd name="connsiteY0" fmla="*/ 85725 h 234950"/>
                <a:gd name="connsiteX1" fmla="*/ 101600 w 552450"/>
                <a:gd name="connsiteY1" fmla="*/ 44450 h 234950"/>
                <a:gd name="connsiteX2" fmla="*/ 212725 w 552450"/>
                <a:gd name="connsiteY2" fmla="*/ 95250 h 234950"/>
                <a:gd name="connsiteX3" fmla="*/ 327025 w 552450"/>
                <a:gd name="connsiteY3" fmla="*/ 196850 h 234950"/>
                <a:gd name="connsiteX4" fmla="*/ 406400 w 552450"/>
                <a:gd name="connsiteY4" fmla="*/ 234950 h 234950"/>
                <a:gd name="connsiteX5" fmla="*/ 514350 w 552450"/>
                <a:gd name="connsiteY5" fmla="*/ 234950 h 234950"/>
                <a:gd name="connsiteX6" fmla="*/ 552450 w 552450"/>
                <a:gd name="connsiteY6" fmla="*/ 219075 h 234950"/>
                <a:gd name="connsiteX7" fmla="*/ 454025 w 552450"/>
                <a:gd name="connsiteY7" fmla="*/ 152400 h 234950"/>
                <a:gd name="connsiteX8" fmla="*/ 336550 w 552450"/>
                <a:gd name="connsiteY8" fmla="*/ 47625 h 234950"/>
                <a:gd name="connsiteX9" fmla="*/ 234950 w 552450"/>
                <a:gd name="connsiteY9" fmla="*/ 3175 h 234950"/>
                <a:gd name="connsiteX10" fmla="*/ 98425 w 552450"/>
                <a:gd name="connsiteY10" fmla="*/ 0 h 234950"/>
                <a:gd name="connsiteX11" fmla="*/ 0 w 552450"/>
                <a:gd name="connsiteY11" fmla="*/ 85725 h 234950"/>
                <a:gd name="connsiteX0" fmla="*/ 0 w 552450"/>
                <a:gd name="connsiteY0" fmla="*/ 85725 h 234950"/>
                <a:gd name="connsiteX1" fmla="*/ 107950 w 552450"/>
                <a:gd name="connsiteY1" fmla="*/ 26916 h 234950"/>
                <a:gd name="connsiteX2" fmla="*/ 212725 w 552450"/>
                <a:gd name="connsiteY2" fmla="*/ 95250 h 234950"/>
                <a:gd name="connsiteX3" fmla="*/ 327025 w 552450"/>
                <a:gd name="connsiteY3" fmla="*/ 196850 h 234950"/>
                <a:gd name="connsiteX4" fmla="*/ 406400 w 552450"/>
                <a:gd name="connsiteY4" fmla="*/ 234950 h 234950"/>
                <a:gd name="connsiteX5" fmla="*/ 514350 w 552450"/>
                <a:gd name="connsiteY5" fmla="*/ 234950 h 234950"/>
                <a:gd name="connsiteX6" fmla="*/ 552450 w 552450"/>
                <a:gd name="connsiteY6" fmla="*/ 219075 h 234950"/>
                <a:gd name="connsiteX7" fmla="*/ 454025 w 552450"/>
                <a:gd name="connsiteY7" fmla="*/ 152400 h 234950"/>
                <a:gd name="connsiteX8" fmla="*/ 336550 w 552450"/>
                <a:gd name="connsiteY8" fmla="*/ 47625 h 234950"/>
                <a:gd name="connsiteX9" fmla="*/ 234950 w 552450"/>
                <a:gd name="connsiteY9" fmla="*/ 3175 h 234950"/>
                <a:gd name="connsiteX10" fmla="*/ 98425 w 552450"/>
                <a:gd name="connsiteY10" fmla="*/ 0 h 234950"/>
                <a:gd name="connsiteX11" fmla="*/ 0 w 552450"/>
                <a:gd name="connsiteY11" fmla="*/ 85725 h 234950"/>
                <a:gd name="connsiteX0" fmla="*/ 0 w 552450"/>
                <a:gd name="connsiteY0" fmla="*/ 110603 h 259828"/>
                <a:gd name="connsiteX1" fmla="*/ 107950 w 552450"/>
                <a:gd name="connsiteY1" fmla="*/ 51794 h 259828"/>
                <a:gd name="connsiteX2" fmla="*/ 212725 w 552450"/>
                <a:gd name="connsiteY2" fmla="*/ 120128 h 259828"/>
                <a:gd name="connsiteX3" fmla="*/ 327025 w 552450"/>
                <a:gd name="connsiteY3" fmla="*/ 221728 h 259828"/>
                <a:gd name="connsiteX4" fmla="*/ 406400 w 552450"/>
                <a:gd name="connsiteY4" fmla="*/ 259828 h 259828"/>
                <a:gd name="connsiteX5" fmla="*/ 514350 w 552450"/>
                <a:gd name="connsiteY5" fmla="*/ 259828 h 259828"/>
                <a:gd name="connsiteX6" fmla="*/ 552450 w 552450"/>
                <a:gd name="connsiteY6" fmla="*/ 243953 h 259828"/>
                <a:gd name="connsiteX7" fmla="*/ 454025 w 552450"/>
                <a:gd name="connsiteY7" fmla="*/ 177278 h 259828"/>
                <a:gd name="connsiteX8" fmla="*/ 336550 w 552450"/>
                <a:gd name="connsiteY8" fmla="*/ 72503 h 259828"/>
                <a:gd name="connsiteX9" fmla="*/ 257175 w 552450"/>
                <a:gd name="connsiteY9" fmla="*/ 0 h 259828"/>
                <a:gd name="connsiteX10" fmla="*/ 98425 w 552450"/>
                <a:gd name="connsiteY10" fmla="*/ 24878 h 259828"/>
                <a:gd name="connsiteX11" fmla="*/ 0 w 552450"/>
                <a:gd name="connsiteY11" fmla="*/ 110603 h 259828"/>
                <a:gd name="connsiteX0" fmla="*/ 0 w 552450"/>
                <a:gd name="connsiteY0" fmla="*/ 110603 h 259828"/>
                <a:gd name="connsiteX1" fmla="*/ 107950 w 552450"/>
                <a:gd name="connsiteY1" fmla="*/ 51794 h 259828"/>
                <a:gd name="connsiteX2" fmla="*/ 212725 w 552450"/>
                <a:gd name="connsiteY2" fmla="*/ 120128 h 259828"/>
                <a:gd name="connsiteX3" fmla="*/ 327025 w 552450"/>
                <a:gd name="connsiteY3" fmla="*/ 221728 h 259828"/>
                <a:gd name="connsiteX4" fmla="*/ 406400 w 552450"/>
                <a:gd name="connsiteY4" fmla="*/ 259828 h 259828"/>
                <a:gd name="connsiteX5" fmla="*/ 514350 w 552450"/>
                <a:gd name="connsiteY5" fmla="*/ 259828 h 259828"/>
                <a:gd name="connsiteX6" fmla="*/ 552450 w 552450"/>
                <a:gd name="connsiteY6" fmla="*/ 243953 h 259828"/>
                <a:gd name="connsiteX7" fmla="*/ 454025 w 552450"/>
                <a:gd name="connsiteY7" fmla="*/ 177278 h 259828"/>
                <a:gd name="connsiteX8" fmla="*/ 336550 w 552450"/>
                <a:gd name="connsiteY8" fmla="*/ 72503 h 259828"/>
                <a:gd name="connsiteX9" fmla="*/ 349250 w 552450"/>
                <a:gd name="connsiteY9" fmla="*/ 42413 h 259828"/>
                <a:gd name="connsiteX10" fmla="*/ 257175 w 552450"/>
                <a:gd name="connsiteY10" fmla="*/ 0 h 259828"/>
                <a:gd name="connsiteX11" fmla="*/ 98425 w 552450"/>
                <a:gd name="connsiteY11" fmla="*/ 24878 h 259828"/>
                <a:gd name="connsiteX12" fmla="*/ 0 w 552450"/>
                <a:gd name="connsiteY12" fmla="*/ 110603 h 259828"/>
                <a:gd name="connsiteX0" fmla="*/ 0 w 552450"/>
                <a:gd name="connsiteY0" fmla="*/ 110603 h 259828"/>
                <a:gd name="connsiteX1" fmla="*/ 120650 w 552450"/>
                <a:gd name="connsiteY1" fmla="*/ 30754 h 259828"/>
                <a:gd name="connsiteX2" fmla="*/ 212725 w 552450"/>
                <a:gd name="connsiteY2" fmla="*/ 120128 h 259828"/>
                <a:gd name="connsiteX3" fmla="*/ 327025 w 552450"/>
                <a:gd name="connsiteY3" fmla="*/ 221728 h 259828"/>
                <a:gd name="connsiteX4" fmla="*/ 406400 w 552450"/>
                <a:gd name="connsiteY4" fmla="*/ 259828 h 259828"/>
                <a:gd name="connsiteX5" fmla="*/ 514350 w 552450"/>
                <a:gd name="connsiteY5" fmla="*/ 259828 h 259828"/>
                <a:gd name="connsiteX6" fmla="*/ 552450 w 552450"/>
                <a:gd name="connsiteY6" fmla="*/ 243953 h 259828"/>
                <a:gd name="connsiteX7" fmla="*/ 454025 w 552450"/>
                <a:gd name="connsiteY7" fmla="*/ 177278 h 259828"/>
                <a:gd name="connsiteX8" fmla="*/ 336550 w 552450"/>
                <a:gd name="connsiteY8" fmla="*/ 72503 h 259828"/>
                <a:gd name="connsiteX9" fmla="*/ 349250 w 552450"/>
                <a:gd name="connsiteY9" fmla="*/ 42413 h 259828"/>
                <a:gd name="connsiteX10" fmla="*/ 257175 w 552450"/>
                <a:gd name="connsiteY10" fmla="*/ 0 h 259828"/>
                <a:gd name="connsiteX11" fmla="*/ 98425 w 552450"/>
                <a:gd name="connsiteY11" fmla="*/ 24878 h 259828"/>
                <a:gd name="connsiteX12" fmla="*/ 0 w 552450"/>
                <a:gd name="connsiteY12" fmla="*/ 110603 h 259828"/>
                <a:gd name="connsiteX0" fmla="*/ 0 w 552450"/>
                <a:gd name="connsiteY0" fmla="*/ 110603 h 259828"/>
                <a:gd name="connsiteX1" fmla="*/ 120650 w 552450"/>
                <a:gd name="connsiteY1" fmla="*/ 30754 h 259828"/>
                <a:gd name="connsiteX2" fmla="*/ 212725 w 552450"/>
                <a:gd name="connsiteY2" fmla="*/ 120128 h 259828"/>
                <a:gd name="connsiteX3" fmla="*/ 327025 w 552450"/>
                <a:gd name="connsiteY3" fmla="*/ 221728 h 259828"/>
                <a:gd name="connsiteX4" fmla="*/ 406400 w 552450"/>
                <a:gd name="connsiteY4" fmla="*/ 259828 h 259828"/>
                <a:gd name="connsiteX5" fmla="*/ 514350 w 552450"/>
                <a:gd name="connsiteY5" fmla="*/ 259828 h 259828"/>
                <a:gd name="connsiteX6" fmla="*/ 552450 w 552450"/>
                <a:gd name="connsiteY6" fmla="*/ 243953 h 259828"/>
                <a:gd name="connsiteX7" fmla="*/ 454025 w 552450"/>
                <a:gd name="connsiteY7" fmla="*/ 177278 h 259828"/>
                <a:gd name="connsiteX8" fmla="*/ 336550 w 552450"/>
                <a:gd name="connsiteY8" fmla="*/ 72503 h 259828"/>
                <a:gd name="connsiteX9" fmla="*/ 323850 w 552450"/>
                <a:gd name="connsiteY9" fmla="*/ 59947 h 259828"/>
                <a:gd name="connsiteX10" fmla="*/ 257175 w 552450"/>
                <a:gd name="connsiteY10" fmla="*/ 0 h 259828"/>
                <a:gd name="connsiteX11" fmla="*/ 98425 w 552450"/>
                <a:gd name="connsiteY11" fmla="*/ 24878 h 259828"/>
                <a:gd name="connsiteX12" fmla="*/ 0 w 552450"/>
                <a:gd name="connsiteY12" fmla="*/ 110603 h 259828"/>
                <a:gd name="connsiteX0" fmla="*/ 0 w 552450"/>
                <a:gd name="connsiteY0" fmla="*/ 103590 h 252815"/>
                <a:gd name="connsiteX1" fmla="*/ 120650 w 552450"/>
                <a:gd name="connsiteY1" fmla="*/ 23741 h 252815"/>
                <a:gd name="connsiteX2" fmla="*/ 212725 w 552450"/>
                <a:gd name="connsiteY2" fmla="*/ 113115 h 252815"/>
                <a:gd name="connsiteX3" fmla="*/ 327025 w 552450"/>
                <a:gd name="connsiteY3" fmla="*/ 214715 h 252815"/>
                <a:gd name="connsiteX4" fmla="*/ 406400 w 552450"/>
                <a:gd name="connsiteY4" fmla="*/ 252815 h 252815"/>
                <a:gd name="connsiteX5" fmla="*/ 514350 w 552450"/>
                <a:gd name="connsiteY5" fmla="*/ 252815 h 252815"/>
                <a:gd name="connsiteX6" fmla="*/ 552450 w 552450"/>
                <a:gd name="connsiteY6" fmla="*/ 236940 h 252815"/>
                <a:gd name="connsiteX7" fmla="*/ 454025 w 552450"/>
                <a:gd name="connsiteY7" fmla="*/ 170265 h 252815"/>
                <a:gd name="connsiteX8" fmla="*/ 336550 w 552450"/>
                <a:gd name="connsiteY8" fmla="*/ 65490 h 252815"/>
                <a:gd name="connsiteX9" fmla="*/ 323850 w 552450"/>
                <a:gd name="connsiteY9" fmla="*/ 52934 h 252815"/>
                <a:gd name="connsiteX10" fmla="*/ 244475 w 552450"/>
                <a:gd name="connsiteY10" fmla="*/ 0 h 252815"/>
                <a:gd name="connsiteX11" fmla="*/ 98425 w 552450"/>
                <a:gd name="connsiteY11" fmla="*/ 17865 h 252815"/>
                <a:gd name="connsiteX12" fmla="*/ 0 w 552450"/>
                <a:gd name="connsiteY12" fmla="*/ 103590 h 252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2450" h="252815">
                  <a:moveTo>
                    <a:pt x="0" y="103590"/>
                  </a:moveTo>
                  <a:lnTo>
                    <a:pt x="120650" y="23741"/>
                  </a:lnTo>
                  <a:lnTo>
                    <a:pt x="212725" y="113115"/>
                  </a:lnTo>
                  <a:lnTo>
                    <a:pt x="327025" y="214715"/>
                  </a:lnTo>
                  <a:lnTo>
                    <a:pt x="406400" y="252815"/>
                  </a:lnTo>
                  <a:lnTo>
                    <a:pt x="514350" y="252815"/>
                  </a:lnTo>
                  <a:lnTo>
                    <a:pt x="552450" y="236940"/>
                  </a:lnTo>
                  <a:lnTo>
                    <a:pt x="454025" y="170265"/>
                  </a:lnTo>
                  <a:lnTo>
                    <a:pt x="336550" y="65490"/>
                  </a:lnTo>
                  <a:cubicBezTo>
                    <a:pt x="331258" y="61305"/>
                    <a:pt x="329142" y="57119"/>
                    <a:pt x="323850" y="52934"/>
                  </a:cubicBezTo>
                  <a:lnTo>
                    <a:pt x="244475" y="0"/>
                  </a:lnTo>
                  <a:lnTo>
                    <a:pt x="98425" y="17865"/>
                  </a:lnTo>
                  <a:lnTo>
                    <a:pt x="0" y="103590"/>
                  </a:lnTo>
                  <a:close/>
                </a:path>
              </a:pathLst>
            </a:custGeom>
            <a:solidFill>
              <a:srgbClr val="FFC000"/>
            </a:solidFill>
            <a:ln>
              <a:solidFill>
                <a:srgbClr val="FFC000"/>
              </a:solidFill>
            </a:ln>
          </p:spPr>
          <p:style>
            <a:lnRef idx="2">
              <a:schemeClr val="accent3">
                <a:shade val="50000"/>
              </a:schemeClr>
            </a:lnRef>
            <a:fillRef idx="1">
              <a:schemeClr val="accent3"/>
            </a:fillRef>
            <a:effectRef idx="0">
              <a:schemeClr val="accent3"/>
            </a:effectRef>
            <a:fontRef idx="minor">
              <a:schemeClr val="lt1"/>
            </a:fontRef>
          </p:style>
          <p:txBody>
            <a:bodyPr vert="horz" wrap="square" lIns="51451" tIns="25726" rIns="51451" bIns="25726" numCol="1" rtlCol="0" anchor="ctr" anchorCtr="0" compatLnSpc="1">
              <a:prstTxWarp prst="textNoShape">
                <a:avLst/>
              </a:prstTxWarp>
            </a:bodyPr>
            <a:lstStyle/>
            <a:p>
              <a:pPr algn="ctr" defTabSz="685472" fontAlgn="base">
                <a:spcBef>
                  <a:spcPct val="0"/>
                </a:spcBef>
                <a:spcAft>
                  <a:spcPct val="0"/>
                </a:spcAft>
              </a:pPr>
              <a:endParaRPr lang="en-US" sz="1725" dirty="0">
                <a:gradFill>
                  <a:gsLst>
                    <a:gs pos="0">
                      <a:srgbClr val="FFFFFF"/>
                    </a:gs>
                    <a:gs pos="100000">
                      <a:srgbClr val="FFFFFF"/>
                    </a:gs>
                  </a:gsLst>
                  <a:lin ang="5400000" scaled="0"/>
                </a:gradFill>
              </a:endParaRPr>
            </a:p>
          </p:txBody>
        </p:sp>
      </p:grpSp>
      <p:grpSp>
        <p:nvGrpSpPr>
          <p:cNvPr id="28" name="Group 27"/>
          <p:cNvGrpSpPr/>
          <p:nvPr/>
        </p:nvGrpSpPr>
        <p:grpSpPr>
          <a:xfrm>
            <a:off x="6247383" y="2888081"/>
            <a:ext cx="4248028" cy="3111624"/>
            <a:chOff x="5900522" y="2376370"/>
            <a:chExt cx="5662563" cy="4147751"/>
          </a:xfrm>
        </p:grpSpPr>
        <p:cxnSp>
          <p:nvCxnSpPr>
            <p:cNvPr id="29" name="Straight Connector 28"/>
            <p:cNvCxnSpPr/>
            <p:nvPr/>
          </p:nvCxnSpPr>
          <p:spPr>
            <a:xfrm>
              <a:off x="6514654" y="5981353"/>
              <a:ext cx="5048431" cy="0"/>
            </a:xfrm>
            <a:prstGeom prst="line">
              <a:avLst/>
            </a:prstGeom>
          </p:spPr>
          <p:style>
            <a:lnRef idx="2">
              <a:schemeClr val="accent1"/>
            </a:lnRef>
            <a:fillRef idx="0">
              <a:schemeClr val="accent1"/>
            </a:fillRef>
            <a:effectRef idx="1">
              <a:schemeClr val="accent1"/>
            </a:effectRef>
            <a:fontRef idx="minor">
              <a:schemeClr val="tx1"/>
            </a:fontRef>
          </p:style>
        </p:cxnSp>
        <p:grpSp>
          <p:nvGrpSpPr>
            <p:cNvPr id="30" name="Group 29"/>
            <p:cNvGrpSpPr/>
            <p:nvPr/>
          </p:nvGrpSpPr>
          <p:grpSpPr>
            <a:xfrm>
              <a:off x="5900522" y="2376370"/>
              <a:ext cx="4610038" cy="4147751"/>
              <a:chOff x="5900522" y="2121835"/>
              <a:chExt cx="4610038" cy="4147751"/>
            </a:xfrm>
          </p:grpSpPr>
          <p:sp>
            <p:nvSpPr>
              <p:cNvPr id="31" name="TextBox 30"/>
              <p:cNvSpPr txBox="1"/>
              <p:nvPr/>
            </p:nvSpPr>
            <p:spPr>
              <a:xfrm>
                <a:off x="8580657" y="5777101"/>
                <a:ext cx="826935" cy="492485"/>
              </a:xfrm>
              <a:prstGeom prst="rect">
                <a:avLst/>
              </a:prstGeom>
              <a:noFill/>
            </p:spPr>
            <p:txBody>
              <a:bodyPr wrap="none" lIns="0" tIns="0" rIns="0" bIns="0" rtlCol="0">
                <a:spAutoFit/>
              </a:bodyPr>
              <a:lstStyle/>
              <a:p>
                <a:pPr defTabSz="685670"/>
                <a:r>
                  <a:rPr lang="en-US" sz="2401" dirty="0"/>
                  <a:t>Time</a:t>
                </a:r>
              </a:p>
            </p:txBody>
          </p:sp>
          <p:grpSp>
            <p:nvGrpSpPr>
              <p:cNvPr id="32" name="Group 31"/>
              <p:cNvGrpSpPr/>
              <p:nvPr/>
            </p:nvGrpSpPr>
            <p:grpSpPr>
              <a:xfrm>
                <a:off x="5900522" y="2121835"/>
                <a:ext cx="4610038" cy="3585736"/>
                <a:chOff x="5900522" y="2121835"/>
                <a:chExt cx="4610038" cy="3585736"/>
              </a:xfrm>
            </p:grpSpPr>
            <p:grpSp>
              <p:nvGrpSpPr>
                <p:cNvPr id="33" name="Group 32"/>
                <p:cNvGrpSpPr/>
                <p:nvPr/>
              </p:nvGrpSpPr>
              <p:grpSpPr>
                <a:xfrm>
                  <a:off x="5900522" y="2745295"/>
                  <a:ext cx="614118" cy="2962276"/>
                  <a:chOff x="5900522" y="2745295"/>
                  <a:chExt cx="614118" cy="2962276"/>
                </a:xfrm>
              </p:grpSpPr>
              <p:cxnSp>
                <p:nvCxnSpPr>
                  <p:cNvPr id="35" name="Straight Connector 34"/>
                  <p:cNvCxnSpPr/>
                  <p:nvPr/>
                </p:nvCxnSpPr>
                <p:spPr>
                  <a:xfrm>
                    <a:off x="6514640" y="2745295"/>
                    <a:ext cx="0" cy="2962276"/>
                  </a:xfrm>
                  <a:prstGeom prst="line">
                    <a:avLst/>
                  </a:prstGeom>
                </p:spPr>
                <p:style>
                  <a:lnRef idx="2">
                    <a:schemeClr val="accent1"/>
                  </a:lnRef>
                  <a:fillRef idx="0">
                    <a:schemeClr val="accent1"/>
                  </a:fillRef>
                  <a:effectRef idx="1">
                    <a:schemeClr val="accent1"/>
                  </a:effectRef>
                  <a:fontRef idx="minor">
                    <a:schemeClr val="tx1"/>
                  </a:fontRef>
                </p:style>
              </p:cxnSp>
              <p:sp>
                <p:nvSpPr>
                  <p:cNvPr id="36" name="TextBox 35"/>
                  <p:cNvSpPr txBox="1"/>
                  <p:nvPr/>
                </p:nvSpPr>
                <p:spPr>
                  <a:xfrm rot="16200000">
                    <a:off x="5383036" y="3851602"/>
                    <a:ext cx="1527457" cy="492486"/>
                  </a:xfrm>
                  <a:prstGeom prst="rect">
                    <a:avLst/>
                  </a:prstGeom>
                  <a:noFill/>
                </p:spPr>
                <p:txBody>
                  <a:bodyPr wrap="none" lIns="0" tIns="0" rIns="0" bIns="0" rtlCol="0">
                    <a:spAutoFit/>
                  </a:bodyPr>
                  <a:lstStyle/>
                  <a:p>
                    <a:pPr defTabSz="685670"/>
                    <a:r>
                      <a:rPr lang="en-US" sz="2401" dirty="0"/>
                      <a:t>Resource</a:t>
                    </a:r>
                    <a:endParaRPr lang="en-US" sz="2401" dirty="0">
                      <a:solidFill>
                        <a:srgbClr val="FF0000"/>
                      </a:solidFill>
                    </a:endParaRPr>
                  </a:p>
                </p:txBody>
              </p:sp>
            </p:grpSp>
            <p:sp>
              <p:nvSpPr>
                <p:cNvPr id="34" name="TextBox 33"/>
                <p:cNvSpPr txBox="1"/>
                <p:nvPr/>
              </p:nvSpPr>
              <p:spPr>
                <a:xfrm>
                  <a:off x="7429153" y="2121835"/>
                  <a:ext cx="3081407" cy="492485"/>
                </a:xfrm>
                <a:prstGeom prst="rect">
                  <a:avLst/>
                </a:prstGeom>
                <a:noFill/>
              </p:spPr>
              <p:txBody>
                <a:bodyPr wrap="none" lIns="0" tIns="0" rIns="0" bIns="0" rtlCol="0">
                  <a:spAutoFit/>
                </a:bodyPr>
                <a:lstStyle/>
                <a:p>
                  <a:pPr defTabSz="685670"/>
                  <a:r>
                    <a:rPr lang="en-US" sz="2401" dirty="0"/>
                    <a:t>Cloud Provisioning</a:t>
                  </a:r>
                </a:p>
              </p:txBody>
            </p:sp>
          </p:grpSp>
        </p:grpSp>
      </p:grpSp>
      <p:grpSp>
        <p:nvGrpSpPr>
          <p:cNvPr id="37" name="Group 36"/>
          <p:cNvGrpSpPr/>
          <p:nvPr/>
        </p:nvGrpSpPr>
        <p:grpSpPr>
          <a:xfrm>
            <a:off x="8617429" y="984275"/>
            <a:ext cx="1809491" cy="950344"/>
            <a:chOff x="8934591" y="402283"/>
            <a:chExt cx="2412026" cy="1266796"/>
          </a:xfrm>
        </p:grpSpPr>
        <p:sp>
          <p:nvSpPr>
            <p:cNvPr id="38" name="Rectangle 37"/>
            <p:cNvSpPr/>
            <p:nvPr/>
          </p:nvSpPr>
          <p:spPr bwMode="auto">
            <a:xfrm>
              <a:off x="9026817" y="1121757"/>
              <a:ext cx="194200" cy="171451"/>
            </a:xfrm>
            <a:prstGeom prst="rect">
              <a:avLst/>
            </a:prstGeom>
            <a:solidFill>
              <a:srgbClr val="FFC000"/>
            </a:soli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72"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39" name="TextBox 38"/>
            <p:cNvSpPr txBox="1"/>
            <p:nvPr/>
          </p:nvSpPr>
          <p:spPr>
            <a:xfrm>
              <a:off x="9382567" y="1053605"/>
              <a:ext cx="1720963" cy="307696"/>
            </a:xfrm>
            <a:prstGeom prst="rect">
              <a:avLst/>
            </a:prstGeom>
            <a:noFill/>
          </p:spPr>
          <p:txBody>
            <a:bodyPr wrap="none" lIns="0" tIns="0" rIns="0" bIns="0" rtlCol="0">
              <a:spAutoFit/>
            </a:bodyPr>
            <a:lstStyle/>
            <a:p>
              <a:pPr defTabSz="685670"/>
              <a:r>
                <a:rPr lang="en-US" sz="1500" dirty="0"/>
                <a:t>Overprovisioned</a:t>
              </a:r>
            </a:p>
          </p:txBody>
        </p:sp>
        <p:sp>
          <p:nvSpPr>
            <p:cNvPr id="41" name="Rectangle 40"/>
            <p:cNvSpPr/>
            <p:nvPr/>
          </p:nvSpPr>
          <p:spPr bwMode="auto">
            <a:xfrm>
              <a:off x="9029046" y="1445606"/>
              <a:ext cx="194200" cy="190500"/>
            </a:xfrm>
            <a:prstGeom prst="rect">
              <a:avLst/>
            </a:prstGeom>
            <a:solidFill>
              <a:srgbClr val="92D050"/>
            </a:solid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72"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42" name="TextBox 41"/>
            <p:cNvSpPr txBox="1"/>
            <p:nvPr/>
          </p:nvSpPr>
          <p:spPr>
            <a:xfrm>
              <a:off x="9415907" y="1361383"/>
              <a:ext cx="1930710" cy="307696"/>
            </a:xfrm>
            <a:prstGeom prst="rect">
              <a:avLst/>
            </a:prstGeom>
            <a:noFill/>
          </p:spPr>
          <p:txBody>
            <a:bodyPr wrap="none" lIns="0" tIns="0" rIns="0" bIns="0" rtlCol="0">
              <a:spAutoFit/>
            </a:bodyPr>
            <a:lstStyle/>
            <a:p>
              <a:pPr defTabSz="685670"/>
              <a:r>
                <a:rPr lang="en-US" sz="1500" dirty="0"/>
                <a:t>Under provisioned</a:t>
              </a:r>
            </a:p>
          </p:txBody>
        </p:sp>
        <p:cxnSp>
          <p:nvCxnSpPr>
            <p:cNvPr id="43" name="Straight Connector 42"/>
            <p:cNvCxnSpPr/>
            <p:nvPr/>
          </p:nvCxnSpPr>
          <p:spPr>
            <a:xfrm flipV="1">
              <a:off x="8934591" y="515968"/>
              <a:ext cx="360283" cy="1176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9586339" y="402283"/>
              <a:ext cx="882491" cy="307696"/>
            </a:xfrm>
            <a:prstGeom prst="rect">
              <a:avLst/>
            </a:prstGeom>
            <a:noFill/>
          </p:spPr>
          <p:txBody>
            <a:bodyPr wrap="none" lIns="0" tIns="0" rIns="0" bIns="0" rtlCol="0">
              <a:spAutoFit/>
            </a:bodyPr>
            <a:lstStyle/>
            <a:p>
              <a:pPr defTabSz="685670"/>
              <a:r>
                <a:rPr lang="en-US" sz="1500" dirty="0"/>
                <a:t>Demand</a:t>
              </a:r>
            </a:p>
          </p:txBody>
        </p:sp>
        <p:cxnSp>
          <p:nvCxnSpPr>
            <p:cNvPr id="45" name="Straight Connector 44"/>
            <p:cNvCxnSpPr/>
            <p:nvPr/>
          </p:nvCxnSpPr>
          <p:spPr>
            <a:xfrm flipV="1">
              <a:off x="8943381" y="846082"/>
              <a:ext cx="360285" cy="11761"/>
            </a:xfrm>
            <a:prstGeom prst="line">
              <a:avLst/>
            </a:prstGeom>
            <a:ln w="76200">
              <a:solidFill>
                <a:srgbClr val="FFFF00"/>
              </a:solidFill>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9704462" y="670183"/>
              <a:ext cx="956339" cy="307696"/>
            </a:xfrm>
            <a:prstGeom prst="rect">
              <a:avLst/>
            </a:prstGeom>
            <a:noFill/>
          </p:spPr>
          <p:txBody>
            <a:bodyPr wrap="none" lIns="0" tIns="0" rIns="0" bIns="0" rtlCol="0">
              <a:spAutoFit/>
            </a:bodyPr>
            <a:lstStyle/>
            <a:p>
              <a:pPr defTabSz="685670"/>
              <a:r>
                <a:rPr lang="en-US" sz="1500" dirty="0"/>
                <a:t>Provision</a:t>
              </a:r>
            </a:p>
          </p:txBody>
        </p:sp>
      </p:grpSp>
      <p:grpSp>
        <p:nvGrpSpPr>
          <p:cNvPr id="47" name="Group 46"/>
          <p:cNvGrpSpPr/>
          <p:nvPr/>
        </p:nvGrpSpPr>
        <p:grpSpPr>
          <a:xfrm>
            <a:off x="1469089" y="2964574"/>
            <a:ext cx="3275537" cy="3128722"/>
            <a:chOff x="149713" y="2385995"/>
            <a:chExt cx="4366246" cy="4170543"/>
          </a:xfrm>
        </p:grpSpPr>
        <p:grpSp>
          <p:nvGrpSpPr>
            <p:cNvPr id="48" name="Group 47"/>
            <p:cNvGrpSpPr/>
            <p:nvPr/>
          </p:nvGrpSpPr>
          <p:grpSpPr>
            <a:xfrm>
              <a:off x="149713" y="2385995"/>
              <a:ext cx="4366246" cy="4170543"/>
              <a:chOff x="149713" y="2121835"/>
              <a:chExt cx="4366246" cy="4170543"/>
            </a:xfrm>
          </p:grpSpPr>
          <p:sp>
            <p:nvSpPr>
              <p:cNvPr id="62" name="TextBox 61"/>
              <p:cNvSpPr txBox="1"/>
              <p:nvPr/>
            </p:nvSpPr>
            <p:spPr>
              <a:xfrm>
                <a:off x="1829072" y="5799893"/>
                <a:ext cx="826935" cy="492485"/>
              </a:xfrm>
              <a:prstGeom prst="rect">
                <a:avLst/>
              </a:prstGeom>
              <a:noFill/>
            </p:spPr>
            <p:txBody>
              <a:bodyPr wrap="none" lIns="0" tIns="0" rIns="0" bIns="0" rtlCol="0">
                <a:spAutoFit/>
              </a:bodyPr>
              <a:lstStyle/>
              <a:p>
                <a:pPr defTabSz="685670"/>
                <a:r>
                  <a:rPr lang="en-US" sz="2401" dirty="0"/>
                  <a:t>Time</a:t>
                </a:r>
              </a:p>
            </p:txBody>
          </p:sp>
          <p:sp>
            <p:nvSpPr>
              <p:cNvPr id="63" name="TextBox 62"/>
              <p:cNvSpPr txBox="1"/>
              <p:nvPr/>
            </p:nvSpPr>
            <p:spPr>
              <a:xfrm rot="16200000">
                <a:off x="-367773" y="3837315"/>
                <a:ext cx="1527457" cy="492485"/>
              </a:xfrm>
              <a:prstGeom prst="rect">
                <a:avLst/>
              </a:prstGeom>
              <a:noFill/>
            </p:spPr>
            <p:txBody>
              <a:bodyPr wrap="none" lIns="0" tIns="0" rIns="0" bIns="0" rtlCol="0">
                <a:spAutoFit/>
              </a:bodyPr>
              <a:lstStyle/>
              <a:p>
                <a:pPr defTabSz="685670"/>
                <a:r>
                  <a:rPr lang="en-US" sz="2401" dirty="0"/>
                  <a:t>Resource</a:t>
                </a:r>
              </a:p>
            </p:txBody>
          </p:sp>
          <p:sp>
            <p:nvSpPr>
              <p:cNvPr id="64" name="TextBox 63"/>
              <p:cNvSpPr txBox="1"/>
              <p:nvPr/>
            </p:nvSpPr>
            <p:spPr>
              <a:xfrm>
                <a:off x="1043696" y="2121835"/>
                <a:ext cx="2301485" cy="492485"/>
              </a:xfrm>
              <a:prstGeom prst="rect">
                <a:avLst/>
              </a:prstGeom>
              <a:noFill/>
            </p:spPr>
            <p:txBody>
              <a:bodyPr wrap="none" lIns="0" tIns="0" rIns="0" bIns="0" rtlCol="0">
                <a:spAutoFit/>
              </a:bodyPr>
              <a:lstStyle/>
              <a:p>
                <a:pPr defTabSz="685670"/>
                <a:r>
                  <a:rPr lang="en-US" sz="2401" dirty="0"/>
                  <a:t>Self Provision</a:t>
                </a:r>
              </a:p>
            </p:txBody>
          </p:sp>
          <p:grpSp>
            <p:nvGrpSpPr>
              <p:cNvPr id="65" name="Group 64"/>
              <p:cNvGrpSpPr/>
              <p:nvPr/>
            </p:nvGrpSpPr>
            <p:grpSpPr>
              <a:xfrm>
                <a:off x="780472" y="2798245"/>
                <a:ext cx="3727208" cy="1327231"/>
                <a:chOff x="763832" y="3351639"/>
                <a:chExt cx="3727208" cy="1327231"/>
              </a:xfrm>
            </p:grpSpPr>
            <p:cxnSp>
              <p:nvCxnSpPr>
                <p:cNvPr id="73" name="Straight Connector 72"/>
                <p:cNvCxnSpPr>
                  <a:endCxn id="81" idx="0"/>
                </p:cNvCxnSpPr>
                <p:nvPr/>
              </p:nvCxnSpPr>
              <p:spPr>
                <a:xfrm flipH="1">
                  <a:off x="769379" y="3351639"/>
                  <a:ext cx="11093" cy="1312856"/>
                </a:xfrm>
                <a:prstGeom prst="line">
                  <a:avLst/>
                </a:prstGeom>
              </p:spPr>
              <p:style>
                <a:lnRef idx="2">
                  <a:schemeClr val="accent1"/>
                </a:lnRef>
                <a:fillRef idx="0">
                  <a:schemeClr val="accent1"/>
                </a:fillRef>
                <a:effectRef idx="1">
                  <a:schemeClr val="accent1"/>
                </a:effectRef>
                <a:fontRef idx="minor">
                  <a:schemeClr val="tx1"/>
                </a:fontRef>
              </p:style>
            </p:cxnSp>
            <p:grpSp>
              <p:nvGrpSpPr>
                <p:cNvPr id="74" name="Group 73"/>
                <p:cNvGrpSpPr/>
                <p:nvPr/>
              </p:nvGrpSpPr>
              <p:grpSpPr>
                <a:xfrm>
                  <a:off x="763832" y="3659695"/>
                  <a:ext cx="3727208" cy="1019175"/>
                  <a:chOff x="573023" y="2744771"/>
                  <a:chExt cx="3787310" cy="1532334"/>
                </a:xfrm>
              </p:grpSpPr>
              <p:sp>
                <p:nvSpPr>
                  <p:cNvPr id="75" name="Freeform 74"/>
                  <p:cNvSpPr/>
                  <p:nvPr/>
                </p:nvSpPr>
                <p:spPr>
                  <a:xfrm>
                    <a:off x="589931" y="2819779"/>
                    <a:ext cx="3770402" cy="1457326"/>
                  </a:xfrm>
                  <a:custGeom>
                    <a:avLst/>
                    <a:gdLst>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67150 w 6372225"/>
                      <a:gd name="connsiteY10" fmla="*/ 1743075 h 1943100"/>
                      <a:gd name="connsiteX11" fmla="*/ 3562350 w 6372225"/>
                      <a:gd name="connsiteY11" fmla="*/ 1638300 h 1943100"/>
                      <a:gd name="connsiteX12" fmla="*/ 3124200 w 6372225"/>
                      <a:gd name="connsiteY12" fmla="*/ 1228725 h 1943100"/>
                      <a:gd name="connsiteX13" fmla="*/ 2600325 w 6372225"/>
                      <a:gd name="connsiteY13" fmla="*/ 876300 h 1943100"/>
                      <a:gd name="connsiteX14" fmla="*/ 2085975 w 6372225"/>
                      <a:gd name="connsiteY14" fmla="*/ 847725 h 1943100"/>
                      <a:gd name="connsiteX15" fmla="*/ 1428750 w 6372225"/>
                      <a:gd name="connsiteY15" fmla="*/ 1362075 h 1943100"/>
                      <a:gd name="connsiteX16" fmla="*/ 1019175 w 6372225"/>
                      <a:gd name="connsiteY16" fmla="*/ 1695450 h 1943100"/>
                      <a:gd name="connsiteX17" fmla="*/ 581025 w 6372225"/>
                      <a:gd name="connsiteY17" fmla="*/ 1562100 h 1943100"/>
                      <a:gd name="connsiteX18" fmla="*/ 419100 w 6372225"/>
                      <a:gd name="connsiteY18" fmla="*/ 1495425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67150 w 6372225"/>
                      <a:gd name="connsiteY10" fmla="*/ 1743075 h 1943100"/>
                      <a:gd name="connsiteX11" fmla="*/ 3562350 w 6372225"/>
                      <a:gd name="connsiteY11" fmla="*/ 1638300 h 1943100"/>
                      <a:gd name="connsiteX12" fmla="*/ 3124200 w 6372225"/>
                      <a:gd name="connsiteY12" fmla="*/ 1228725 h 1943100"/>
                      <a:gd name="connsiteX13" fmla="*/ 2600325 w 6372225"/>
                      <a:gd name="connsiteY13" fmla="*/ 876300 h 1943100"/>
                      <a:gd name="connsiteX14" fmla="*/ 2085975 w 6372225"/>
                      <a:gd name="connsiteY14" fmla="*/ 847725 h 1943100"/>
                      <a:gd name="connsiteX15" fmla="*/ 1428750 w 6372225"/>
                      <a:gd name="connsiteY15" fmla="*/ 1362075 h 1943100"/>
                      <a:gd name="connsiteX16" fmla="*/ 1019175 w 6372225"/>
                      <a:gd name="connsiteY16" fmla="*/ 1695450 h 1943100"/>
                      <a:gd name="connsiteX17" fmla="*/ 581025 w 6372225"/>
                      <a:gd name="connsiteY17" fmla="*/ 1562100 h 1943100"/>
                      <a:gd name="connsiteX18" fmla="*/ 419100 w 6372225"/>
                      <a:gd name="connsiteY18" fmla="*/ 1495425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67150 w 6372225"/>
                      <a:gd name="connsiteY10" fmla="*/ 1743075 h 1943100"/>
                      <a:gd name="connsiteX11" fmla="*/ 3562350 w 6372225"/>
                      <a:gd name="connsiteY11" fmla="*/ 1638300 h 1943100"/>
                      <a:gd name="connsiteX12" fmla="*/ 3124200 w 6372225"/>
                      <a:gd name="connsiteY12" fmla="*/ 1228725 h 1943100"/>
                      <a:gd name="connsiteX13" fmla="*/ 2695575 w 6372225"/>
                      <a:gd name="connsiteY13" fmla="*/ 885825 h 1943100"/>
                      <a:gd name="connsiteX14" fmla="*/ 2085975 w 6372225"/>
                      <a:gd name="connsiteY14" fmla="*/ 847725 h 1943100"/>
                      <a:gd name="connsiteX15" fmla="*/ 1428750 w 6372225"/>
                      <a:gd name="connsiteY15" fmla="*/ 1362075 h 1943100"/>
                      <a:gd name="connsiteX16" fmla="*/ 1019175 w 6372225"/>
                      <a:gd name="connsiteY16" fmla="*/ 1695450 h 1943100"/>
                      <a:gd name="connsiteX17" fmla="*/ 581025 w 6372225"/>
                      <a:gd name="connsiteY17" fmla="*/ 1562100 h 1943100"/>
                      <a:gd name="connsiteX18" fmla="*/ 419100 w 6372225"/>
                      <a:gd name="connsiteY18" fmla="*/ 1495425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67150 w 6372225"/>
                      <a:gd name="connsiteY10" fmla="*/ 1743075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085975 w 6372225"/>
                      <a:gd name="connsiteY14" fmla="*/ 847725 h 1943100"/>
                      <a:gd name="connsiteX15" fmla="*/ 1428750 w 6372225"/>
                      <a:gd name="connsiteY15" fmla="*/ 1362075 h 1943100"/>
                      <a:gd name="connsiteX16" fmla="*/ 1019175 w 6372225"/>
                      <a:gd name="connsiteY16" fmla="*/ 1695450 h 1943100"/>
                      <a:gd name="connsiteX17" fmla="*/ 581025 w 6372225"/>
                      <a:gd name="connsiteY17" fmla="*/ 1562100 h 1943100"/>
                      <a:gd name="connsiteX18" fmla="*/ 419100 w 6372225"/>
                      <a:gd name="connsiteY18" fmla="*/ 1495425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67150 w 6372225"/>
                      <a:gd name="connsiteY10" fmla="*/ 1743075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085975 w 6372225"/>
                      <a:gd name="connsiteY14" fmla="*/ 847725 h 1943100"/>
                      <a:gd name="connsiteX15" fmla="*/ 1428750 w 6372225"/>
                      <a:gd name="connsiteY15" fmla="*/ 1362075 h 1943100"/>
                      <a:gd name="connsiteX16" fmla="*/ 1019175 w 6372225"/>
                      <a:gd name="connsiteY16" fmla="*/ 1695450 h 1943100"/>
                      <a:gd name="connsiteX17" fmla="*/ 581025 w 6372225"/>
                      <a:gd name="connsiteY17" fmla="*/ 1562100 h 1943100"/>
                      <a:gd name="connsiteX18" fmla="*/ 419100 w 6372225"/>
                      <a:gd name="connsiteY18" fmla="*/ 1495425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085975 w 6372225"/>
                      <a:gd name="connsiteY14" fmla="*/ 847725 h 1943100"/>
                      <a:gd name="connsiteX15" fmla="*/ 1428750 w 6372225"/>
                      <a:gd name="connsiteY15" fmla="*/ 1362075 h 1943100"/>
                      <a:gd name="connsiteX16" fmla="*/ 1019175 w 6372225"/>
                      <a:gd name="connsiteY16" fmla="*/ 1695450 h 1943100"/>
                      <a:gd name="connsiteX17" fmla="*/ 581025 w 6372225"/>
                      <a:gd name="connsiteY17" fmla="*/ 1562100 h 1943100"/>
                      <a:gd name="connsiteX18" fmla="*/ 419100 w 6372225"/>
                      <a:gd name="connsiteY18" fmla="*/ 1495425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085975 w 6372225"/>
                      <a:gd name="connsiteY14" fmla="*/ 847725 h 1943100"/>
                      <a:gd name="connsiteX15" fmla="*/ 1428750 w 6372225"/>
                      <a:gd name="connsiteY15" fmla="*/ 1362075 h 1943100"/>
                      <a:gd name="connsiteX16" fmla="*/ 1019175 w 6372225"/>
                      <a:gd name="connsiteY16" fmla="*/ 1695450 h 1943100"/>
                      <a:gd name="connsiteX17" fmla="*/ 600075 w 6372225"/>
                      <a:gd name="connsiteY17" fmla="*/ 1514475 h 1943100"/>
                      <a:gd name="connsiteX18" fmla="*/ 419100 w 6372225"/>
                      <a:gd name="connsiteY18" fmla="*/ 1495425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085975 w 6372225"/>
                      <a:gd name="connsiteY14" fmla="*/ 847725 h 1943100"/>
                      <a:gd name="connsiteX15" fmla="*/ 1428750 w 6372225"/>
                      <a:gd name="connsiteY15" fmla="*/ 1362075 h 1943100"/>
                      <a:gd name="connsiteX16" fmla="*/ 1019175 w 6372225"/>
                      <a:gd name="connsiteY16" fmla="*/ 1695450 h 1943100"/>
                      <a:gd name="connsiteX17" fmla="*/ 600075 w 6372225"/>
                      <a:gd name="connsiteY17" fmla="*/ 1514475 h 1943100"/>
                      <a:gd name="connsiteX18" fmla="*/ 419100 w 6372225"/>
                      <a:gd name="connsiteY18" fmla="*/ 1495425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28750 w 6372225"/>
                      <a:gd name="connsiteY15" fmla="*/ 1362075 h 1943100"/>
                      <a:gd name="connsiteX16" fmla="*/ 1019175 w 6372225"/>
                      <a:gd name="connsiteY16" fmla="*/ 1695450 h 1943100"/>
                      <a:gd name="connsiteX17" fmla="*/ 600075 w 6372225"/>
                      <a:gd name="connsiteY17" fmla="*/ 1514475 h 1943100"/>
                      <a:gd name="connsiteX18" fmla="*/ 419100 w 6372225"/>
                      <a:gd name="connsiteY18" fmla="*/ 1495425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28750 w 6372225"/>
                      <a:gd name="connsiteY15" fmla="*/ 1362075 h 1943100"/>
                      <a:gd name="connsiteX16" fmla="*/ 1019175 w 6372225"/>
                      <a:gd name="connsiteY16" fmla="*/ 1695450 h 1943100"/>
                      <a:gd name="connsiteX17" fmla="*/ 600075 w 6372225"/>
                      <a:gd name="connsiteY17" fmla="*/ 1514475 h 1943100"/>
                      <a:gd name="connsiteX18" fmla="*/ 419100 w 6372225"/>
                      <a:gd name="connsiteY18" fmla="*/ 1495425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28750 w 6372225"/>
                      <a:gd name="connsiteY15" fmla="*/ 1362075 h 1943100"/>
                      <a:gd name="connsiteX16" fmla="*/ 1019175 w 6372225"/>
                      <a:gd name="connsiteY16" fmla="*/ 1695450 h 1943100"/>
                      <a:gd name="connsiteX17" fmla="*/ 600075 w 6372225"/>
                      <a:gd name="connsiteY17" fmla="*/ 1514475 h 1943100"/>
                      <a:gd name="connsiteX18" fmla="*/ 419100 w 6372225"/>
                      <a:gd name="connsiteY18" fmla="*/ 1495425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28750 w 6372225"/>
                      <a:gd name="connsiteY15" fmla="*/ 1362075 h 1943100"/>
                      <a:gd name="connsiteX16" fmla="*/ 1019175 w 6372225"/>
                      <a:gd name="connsiteY16" fmla="*/ 1695450 h 1943100"/>
                      <a:gd name="connsiteX17" fmla="*/ 600075 w 6372225"/>
                      <a:gd name="connsiteY17" fmla="*/ 1514475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28750 w 6372225"/>
                      <a:gd name="connsiteY15" fmla="*/ 1362075 h 1943100"/>
                      <a:gd name="connsiteX16" fmla="*/ 1019175 w 6372225"/>
                      <a:gd name="connsiteY16" fmla="*/ 1695450 h 1943100"/>
                      <a:gd name="connsiteX17" fmla="*/ 600075 w 6372225"/>
                      <a:gd name="connsiteY17" fmla="*/ 1514475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28750 w 6372225"/>
                      <a:gd name="connsiteY15" fmla="*/ 1362075 h 1943100"/>
                      <a:gd name="connsiteX16" fmla="*/ 1019175 w 6372225"/>
                      <a:gd name="connsiteY16" fmla="*/ 1695450 h 1943100"/>
                      <a:gd name="connsiteX17" fmla="*/ 594036 w 6372225"/>
                      <a:gd name="connsiteY17" fmla="*/ 1504950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28750 w 6372225"/>
                      <a:gd name="connsiteY15" fmla="*/ 1362075 h 1943100"/>
                      <a:gd name="connsiteX16" fmla="*/ 1019175 w 6372225"/>
                      <a:gd name="connsiteY16" fmla="*/ 1695450 h 1943100"/>
                      <a:gd name="connsiteX17" fmla="*/ 594036 w 6372225"/>
                      <a:gd name="connsiteY17" fmla="*/ 1504950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28750 w 6372225"/>
                      <a:gd name="connsiteY15" fmla="*/ 1362075 h 1943100"/>
                      <a:gd name="connsiteX16" fmla="*/ 998042 w 6372225"/>
                      <a:gd name="connsiteY16" fmla="*/ 1678781 h 1943100"/>
                      <a:gd name="connsiteX17" fmla="*/ 594036 w 6372225"/>
                      <a:gd name="connsiteY17" fmla="*/ 1504950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28750 w 6372225"/>
                      <a:gd name="connsiteY15" fmla="*/ 1362075 h 1943100"/>
                      <a:gd name="connsiteX16" fmla="*/ 998042 w 6372225"/>
                      <a:gd name="connsiteY16" fmla="*/ 1678781 h 1943100"/>
                      <a:gd name="connsiteX17" fmla="*/ 594036 w 6372225"/>
                      <a:gd name="connsiteY17" fmla="*/ 1504950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28750 w 6372225"/>
                      <a:gd name="connsiteY15" fmla="*/ 1362075 h 1943100"/>
                      <a:gd name="connsiteX16" fmla="*/ 998042 w 6372225"/>
                      <a:gd name="connsiteY16" fmla="*/ 1678781 h 1943100"/>
                      <a:gd name="connsiteX17" fmla="*/ 594036 w 6372225"/>
                      <a:gd name="connsiteY17" fmla="*/ 1504950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61961 w 6372225"/>
                      <a:gd name="connsiteY15" fmla="*/ 1376362 h 1943100"/>
                      <a:gd name="connsiteX16" fmla="*/ 998042 w 6372225"/>
                      <a:gd name="connsiteY16" fmla="*/ 1678781 h 1943100"/>
                      <a:gd name="connsiteX17" fmla="*/ 594036 w 6372225"/>
                      <a:gd name="connsiteY17" fmla="*/ 1504950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61961 w 6372225"/>
                      <a:gd name="connsiteY15" fmla="*/ 1376362 h 1943100"/>
                      <a:gd name="connsiteX16" fmla="*/ 998042 w 6372225"/>
                      <a:gd name="connsiteY16" fmla="*/ 1678781 h 1943100"/>
                      <a:gd name="connsiteX17" fmla="*/ 594036 w 6372225"/>
                      <a:gd name="connsiteY17" fmla="*/ 1504950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65385 w 6372225"/>
                      <a:gd name="connsiteY13" fmla="*/ 859631 h 1943100"/>
                      <a:gd name="connsiteX14" fmla="*/ 2114550 w 6372225"/>
                      <a:gd name="connsiteY14" fmla="*/ 857250 h 1943100"/>
                      <a:gd name="connsiteX15" fmla="*/ 1461961 w 6372225"/>
                      <a:gd name="connsiteY15" fmla="*/ 1376362 h 1943100"/>
                      <a:gd name="connsiteX16" fmla="*/ 998042 w 6372225"/>
                      <a:gd name="connsiteY16" fmla="*/ 1678781 h 1943100"/>
                      <a:gd name="connsiteX17" fmla="*/ 594036 w 6372225"/>
                      <a:gd name="connsiteY17" fmla="*/ 1504950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62366 w 6372225"/>
                      <a:gd name="connsiteY13" fmla="*/ 866775 h 1943100"/>
                      <a:gd name="connsiteX14" fmla="*/ 2114550 w 6372225"/>
                      <a:gd name="connsiteY14" fmla="*/ 857250 h 1943100"/>
                      <a:gd name="connsiteX15" fmla="*/ 1461961 w 6372225"/>
                      <a:gd name="connsiteY15" fmla="*/ 1376362 h 1943100"/>
                      <a:gd name="connsiteX16" fmla="*/ 998042 w 6372225"/>
                      <a:gd name="connsiteY16" fmla="*/ 1678781 h 1943100"/>
                      <a:gd name="connsiteX17" fmla="*/ 594036 w 6372225"/>
                      <a:gd name="connsiteY17" fmla="*/ 1504950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00197 w 6372225"/>
                      <a:gd name="connsiteY8" fmla="*/ 69057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62366 w 6372225"/>
                      <a:gd name="connsiteY13" fmla="*/ 866775 h 1943100"/>
                      <a:gd name="connsiteX14" fmla="*/ 2114550 w 6372225"/>
                      <a:gd name="connsiteY14" fmla="*/ 857250 h 1943100"/>
                      <a:gd name="connsiteX15" fmla="*/ 1461961 w 6372225"/>
                      <a:gd name="connsiteY15" fmla="*/ 1376362 h 1943100"/>
                      <a:gd name="connsiteX16" fmla="*/ 998042 w 6372225"/>
                      <a:gd name="connsiteY16" fmla="*/ 1678781 h 1943100"/>
                      <a:gd name="connsiteX17" fmla="*/ 594036 w 6372225"/>
                      <a:gd name="connsiteY17" fmla="*/ 1504950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61948 w 6372225"/>
                      <a:gd name="connsiteY8" fmla="*/ 5050 h 1943100"/>
                      <a:gd name="connsiteX9" fmla="*/ 4300197 w 6372225"/>
                      <a:gd name="connsiteY9" fmla="*/ 69057 h 1943100"/>
                      <a:gd name="connsiteX10" fmla="*/ 4029075 w 6372225"/>
                      <a:gd name="connsiteY10" fmla="*/ 1314450 h 1943100"/>
                      <a:gd name="connsiteX11" fmla="*/ 3876675 w 6372225"/>
                      <a:gd name="connsiteY11" fmla="*/ 1809750 h 1943100"/>
                      <a:gd name="connsiteX12" fmla="*/ 3600450 w 6372225"/>
                      <a:gd name="connsiteY12" fmla="*/ 1600200 h 1943100"/>
                      <a:gd name="connsiteX13" fmla="*/ 3124200 w 6372225"/>
                      <a:gd name="connsiteY13" fmla="*/ 1228725 h 1943100"/>
                      <a:gd name="connsiteX14" fmla="*/ 2662366 w 6372225"/>
                      <a:gd name="connsiteY14" fmla="*/ 866775 h 1943100"/>
                      <a:gd name="connsiteX15" fmla="*/ 2114550 w 6372225"/>
                      <a:gd name="connsiteY15" fmla="*/ 857250 h 1943100"/>
                      <a:gd name="connsiteX16" fmla="*/ 1461961 w 6372225"/>
                      <a:gd name="connsiteY16" fmla="*/ 1376362 h 1943100"/>
                      <a:gd name="connsiteX17" fmla="*/ 998042 w 6372225"/>
                      <a:gd name="connsiteY17" fmla="*/ 1678781 h 1943100"/>
                      <a:gd name="connsiteX18" fmla="*/ 594036 w 6372225"/>
                      <a:gd name="connsiteY18" fmla="*/ 1504950 h 1943100"/>
                      <a:gd name="connsiteX19" fmla="*/ 385889 w 6372225"/>
                      <a:gd name="connsiteY19" fmla="*/ 1504950 h 1943100"/>
                      <a:gd name="connsiteX20" fmla="*/ 85725 w 6372225"/>
                      <a:gd name="connsiteY20" fmla="*/ 1781175 h 1943100"/>
                      <a:gd name="connsiteX21" fmla="*/ 0 w 6372225"/>
                      <a:gd name="connsiteY21" fmla="*/ 1914525 h 194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72225" h="1943100">
                        <a:moveTo>
                          <a:pt x="0" y="1914525"/>
                        </a:moveTo>
                        <a:lnTo>
                          <a:pt x="6372225" y="1943100"/>
                        </a:lnTo>
                        <a:lnTo>
                          <a:pt x="6372225" y="1543050"/>
                        </a:lnTo>
                        <a:lnTo>
                          <a:pt x="5810250" y="1543050"/>
                        </a:lnTo>
                        <a:lnTo>
                          <a:pt x="5343525" y="1752600"/>
                        </a:lnTo>
                        <a:lnTo>
                          <a:pt x="5133975" y="1743075"/>
                        </a:lnTo>
                        <a:lnTo>
                          <a:pt x="4733925" y="504825"/>
                        </a:lnTo>
                        <a:lnTo>
                          <a:pt x="4467225" y="0"/>
                        </a:lnTo>
                        <a:cubicBezTo>
                          <a:pt x="4434145" y="12796"/>
                          <a:pt x="4395028" y="-7746"/>
                          <a:pt x="4361948" y="5050"/>
                        </a:cubicBezTo>
                        <a:lnTo>
                          <a:pt x="4300197" y="69057"/>
                        </a:lnTo>
                        <a:lnTo>
                          <a:pt x="4029075" y="1314450"/>
                        </a:lnTo>
                        <a:lnTo>
                          <a:pt x="3876675" y="1809750"/>
                        </a:lnTo>
                        <a:cubicBezTo>
                          <a:pt x="3787775" y="1762125"/>
                          <a:pt x="3698875" y="1704975"/>
                          <a:pt x="3600450" y="1600200"/>
                        </a:cubicBezTo>
                        <a:lnTo>
                          <a:pt x="3124200" y="1228725"/>
                        </a:lnTo>
                        <a:lnTo>
                          <a:pt x="2662366" y="866775"/>
                        </a:lnTo>
                        <a:cubicBezTo>
                          <a:pt x="2490916" y="857250"/>
                          <a:pt x="2447925" y="733425"/>
                          <a:pt x="2114550" y="857250"/>
                        </a:cubicBezTo>
                        <a:cubicBezTo>
                          <a:pt x="1897020" y="1030287"/>
                          <a:pt x="1745913" y="1127125"/>
                          <a:pt x="1461961" y="1376362"/>
                        </a:cubicBezTo>
                        <a:cubicBezTo>
                          <a:pt x="1318392" y="1481931"/>
                          <a:pt x="1205013" y="1585119"/>
                          <a:pt x="998042" y="1678781"/>
                        </a:cubicBezTo>
                        <a:cubicBezTo>
                          <a:pt x="867399" y="1670844"/>
                          <a:pt x="833835" y="1660525"/>
                          <a:pt x="594036" y="1504950"/>
                        </a:cubicBezTo>
                        <a:cubicBezTo>
                          <a:pt x="522641" y="1501775"/>
                          <a:pt x="508608" y="1467643"/>
                          <a:pt x="385889" y="1504950"/>
                        </a:cubicBezTo>
                        <a:lnTo>
                          <a:pt x="85725" y="1781175"/>
                        </a:lnTo>
                        <a:lnTo>
                          <a:pt x="0" y="1914525"/>
                        </a:lnTo>
                        <a:close/>
                      </a:path>
                    </a:pathLst>
                  </a:custGeom>
                </p:spPr>
                <p:style>
                  <a:lnRef idx="1">
                    <a:schemeClr val="accent3"/>
                  </a:lnRef>
                  <a:fillRef idx="3">
                    <a:schemeClr val="accent3"/>
                  </a:fillRef>
                  <a:effectRef idx="2">
                    <a:schemeClr val="accent3"/>
                  </a:effectRef>
                  <a:fontRef idx="minor">
                    <a:schemeClr val="lt1"/>
                  </a:fontRef>
                </p:style>
                <p:txBody>
                  <a:bodyPr vert="horz" wrap="square" lIns="51451" tIns="25726" rIns="51451" bIns="25726" numCol="1" rtlCol="0" anchor="ctr" anchorCtr="0" compatLnSpc="1">
                    <a:prstTxWarp prst="textNoShape">
                      <a:avLst/>
                    </a:prstTxWarp>
                  </a:bodyPr>
                  <a:lstStyle/>
                  <a:p>
                    <a:pPr algn="ctr" defTabSz="685472"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76" name="Freeform 75"/>
                  <p:cNvSpPr/>
                  <p:nvPr/>
                </p:nvSpPr>
                <p:spPr>
                  <a:xfrm>
                    <a:off x="573023" y="2744771"/>
                    <a:ext cx="3783601" cy="1528763"/>
                  </a:xfrm>
                  <a:custGeom>
                    <a:avLst/>
                    <a:gdLst>
                      <a:gd name="connsiteX0" fmla="*/ 4991100 w 5010150"/>
                      <a:gd name="connsiteY0" fmla="*/ 2047875 h 2047875"/>
                      <a:gd name="connsiteX1" fmla="*/ 0 w 5010150"/>
                      <a:gd name="connsiteY1" fmla="*/ 2019300 h 2047875"/>
                      <a:gd name="connsiteX2" fmla="*/ 533400 w 5010150"/>
                      <a:gd name="connsiteY2" fmla="*/ 1504950 h 2047875"/>
                      <a:gd name="connsiteX3" fmla="*/ 1371600 w 5010150"/>
                      <a:gd name="connsiteY3" fmla="*/ 1495425 h 2047875"/>
                      <a:gd name="connsiteX4" fmla="*/ 2228850 w 5010150"/>
                      <a:gd name="connsiteY4" fmla="*/ 752475 h 2047875"/>
                      <a:gd name="connsiteX5" fmla="*/ 3429000 w 5010150"/>
                      <a:gd name="connsiteY5" fmla="*/ 762000 h 2047875"/>
                      <a:gd name="connsiteX6" fmla="*/ 3695700 w 5010150"/>
                      <a:gd name="connsiteY6" fmla="*/ 0 h 2047875"/>
                      <a:gd name="connsiteX7" fmla="*/ 5010150 w 5010150"/>
                      <a:gd name="connsiteY7" fmla="*/ 0 h 2047875"/>
                      <a:gd name="connsiteX8" fmla="*/ 4991100 w 5010150"/>
                      <a:gd name="connsiteY8" fmla="*/ 2047875 h 2047875"/>
                      <a:gd name="connsiteX0" fmla="*/ 4991100 w 5010150"/>
                      <a:gd name="connsiteY0" fmla="*/ 2047875 h 2047875"/>
                      <a:gd name="connsiteX1" fmla="*/ 0 w 5010150"/>
                      <a:gd name="connsiteY1" fmla="*/ 2019300 h 2047875"/>
                      <a:gd name="connsiteX2" fmla="*/ 800100 w 5010150"/>
                      <a:gd name="connsiteY2" fmla="*/ 1495425 h 2047875"/>
                      <a:gd name="connsiteX3" fmla="*/ 1371600 w 5010150"/>
                      <a:gd name="connsiteY3" fmla="*/ 1495425 h 2047875"/>
                      <a:gd name="connsiteX4" fmla="*/ 2228850 w 5010150"/>
                      <a:gd name="connsiteY4" fmla="*/ 752475 h 2047875"/>
                      <a:gd name="connsiteX5" fmla="*/ 3429000 w 5010150"/>
                      <a:gd name="connsiteY5" fmla="*/ 762000 h 2047875"/>
                      <a:gd name="connsiteX6" fmla="*/ 3695700 w 5010150"/>
                      <a:gd name="connsiteY6" fmla="*/ 0 h 2047875"/>
                      <a:gd name="connsiteX7" fmla="*/ 5010150 w 5010150"/>
                      <a:gd name="connsiteY7" fmla="*/ 0 h 2047875"/>
                      <a:gd name="connsiteX8" fmla="*/ 4991100 w 5010150"/>
                      <a:gd name="connsiteY8" fmla="*/ 2047875 h 2047875"/>
                      <a:gd name="connsiteX0" fmla="*/ 4991100 w 5010150"/>
                      <a:gd name="connsiteY0" fmla="*/ 2047875 h 2047875"/>
                      <a:gd name="connsiteX1" fmla="*/ 0 w 5010150"/>
                      <a:gd name="connsiteY1" fmla="*/ 2019300 h 2047875"/>
                      <a:gd name="connsiteX2" fmla="*/ 800100 w 5010150"/>
                      <a:gd name="connsiteY2" fmla="*/ 1495425 h 2047875"/>
                      <a:gd name="connsiteX3" fmla="*/ 1543050 w 5010150"/>
                      <a:gd name="connsiteY3" fmla="*/ 1495425 h 2047875"/>
                      <a:gd name="connsiteX4" fmla="*/ 2228850 w 5010150"/>
                      <a:gd name="connsiteY4" fmla="*/ 752475 h 2047875"/>
                      <a:gd name="connsiteX5" fmla="*/ 3429000 w 5010150"/>
                      <a:gd name="connsiteY5" fmla="*/ 762000 h 2047875"/>
                      <a:gd name="connsiteX6" fmla="*/ 3695700 w 5010150"/>
                      <a:gd name="connsiteY6" fmla="*/ 0 h 2047875"/>
                      <a:gd name="connsiteX7" fmla="*/ 5010150 w 5010150"/>
                      <a:gd name="connsiteY7" fmla="*/ 0 h 2047875"/>
                      <a:gd name="connsiteX8" fmla="*/ 4991100 w 5010150"/>
                      <a:gd name="connsiteY8" fmla="*/ 2047875 h 2047875"/>
                      <a:gd name="connsiteX0" fmla="*/ 4991100 w 5010150"/>
                      <a:gd name="connsiteY0" fmla="*/ 2047875 h 2047875"/>
                      <a:gd name="connsiteX1" fmla="*/ 0 w 5010150"/>
                      <a:gd name="connsiteY1" fmla="*/ 2019300 h 2047875"/>
                      <a:gd name="connsiteX2" fmla="*/ 800100 w 5010150"/>
                      <a:gd name="connsiteY2" fmla="*/ 1495425 h 2047875"/>
                      <a:gd name="connsiteX3" fmla="*/ 1543050 w 5010150"/>
                      <a:gd name="connsiteY3" fmla="*/ 1495425 h 2047875"/>
                      <a:gd name="connsiteX4" fmla="*/ 2566987 w 5010150"/>
                      <a:gd name="connsiteY4" fmla="*/ 757238 h 2047875"/>
                      <a:gd name="connsiteX5" fmla="*/ 3429000 w 5010150"/>
                      <a:gd name="connsiteY5" fmla="*/ 762000 h 2047875"/>
                      <a:gd name="connsiteX6" fmla="*/ 3695700 w 5010150"/>
                      <a:gd name="connsiteY6" fmla="*/ 0 h 2047875"/>
                      <a:gd name="connsiteX7" fmla="*/ 5010150 w 5010150"/>
                      <a:gd name="connsiteY7" fmla="*/ 0 h 2047875"/>
                      <a:gd name="connsiteX8" fmla="*/ 4991100 w 5010150"/>
                      <a:gd name="connsiteY8" fmla="*/ 2047875 h 2047875"/>
                      <a:gd name="connsiteX0" fmla="*/ 4991100 w 5010150"/>
                      <a:gd name="connsiteY0" fmla="*/ 2047875 h 2047875"/>
                      <a:gd name="connsiteX1" fmla="*/ 0 w 5010150"/>
                      <a:gd name="connsiteY1" fmla="*/ 2019300 h 2047875"/>
                      <a:gd name="connsiteX2" fmla="*/ 800100 w 5010150"/>
                      <a:gd name="connsiteY2" fmla="*/ 1495425 h 2047875"/>
                      <a:gd name="connsiteX3" fmla="*/ 1543050 w 5010150"/>
                      <a:gd name="connsiteY3" fmla="*/ 1495425 h 2047875"/>
                      <a:gd name="connsiteX4" fmla="*/ 2566987 w 5010150"/>
                      <a:gd name="connsiteY4" fmla="*/ 757238 h 2047875"/>
                      <a:gd name="connsiteX5" fmla="*/ 3429000 w 5010150"/>
                      <a:gd name="connsiteY5" fmla="*/ 762000 h 2047875"/>
                      <a:gd name="connsiteX6" fmla="*/ 4205288 w 5010150"/>
                      <a:gd name="connsiteY6" fmla="*/ 0 h 2047875"/>
                      <a:gd name="connsiteX7" fmla="*/ 5010150 w 5010150"/>
                      <a:gd name="connsiteY7" fmla="*/ 0 h 2047875"/>
                      <a:gd name="connsiteX8" fmla="*/ 4991100 w 5010150"/>
                      <a:gd name="connsiteY8" fmla="*/ 2047875 h 2047875"/>
                      <a:gd name="connsiteX0" fmla="*/ 5043488 w 5043488"/>
                      <a:gd name="connsiteY0" fmla="*/ 2038350 h 2038350"/>
                      <a:gd name="connsiteX1" fmla="*/ 0 w 5043488"/>
                      <a:gd name="connsiteY1" fmla="*/ 2019300 h 2038350"/>
                      <a:gd name="connsiteX2" fmla="*/ 800100 w 5043488"/>
                      <a:gd name="connsiteY2" fmla="*/ 1495425 h 2038350"/>
                      <a:gd name="connsiteX3" fmla="*/ 1543050 w 5043488"/>
                      <a:gd name="connsiteY3" fmla="*/ 1495425 h 2038350"/>
                      <a:gd name="connsiteX4" fmla="*/ 2566987 w 5043488"/>
                      <a:gd name="connsiteY4" fmla="*/ 757238 h 2038350"/>
                      <a:gd name="connsiteX5" fmla="*/ 3429000 w 5043488"/>
                      <a:gd name="connsiteY5" fmla="*/ 762000 h 2038350"/>
                      <a:gd name="connsiteX6" fmla="*/ 4205288 w 5043488"/>
                      <a:gd name="connsiteY6" fmla="*/ 0 h 2038350"/>
                      <a:gd name="connsiteX7" fmla="*/ 5010150 w 5043488"/>
                      <a:gd name="connsiteY7" fmla="*/ 0 h 2038350"/>
                      <a:gd name="connsiteX8" fmla="*/ 5043488 w 5043488"/>
                      <a:gd name="connsiteY8" fmla="*/ 2038350 h 2038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43488" h="2038350">
                        <a:moveTo>
                          <a:pt x="5043488" y="2038350"/>
                        </a:moveTo>
                        <a:lnTo>
                          <a:pt x="0" y="2019300"/>
                        </a:lnTo>
                        <a:lnTo>
                          <a:pt x="800100" y="1495425"/>
                        </a:lnTo>
                        <a:lnTo>
                          <a:pt x="1543050" y="1495425"/>
                        </a:lnTo>
                        <a:lnTo>
                          <a:pt x="2566987" y="757238"/>
                        </a:lnTo>
                        <a:lnTo>
                          <a:pt x="3429000" y="762000"/>
                        </a:lnTo>
                        <a:lnTo>
                          <a:pt x="4205288" y="0"/>
                        </a:lnTo>
                        <a:lnTo>
                          <a:pt x="5010150" y="0"/>
                        </a:lnTo>
                        <a:lnTo>
                          <a:pt x="5043488" y="2038350"/>
                        </a:lnTo>
                        <a:close/>
                      </a:path>
                    </a:pathLst>
                  </a:custGeom>
                </p:spPr>
                <p:style>
                  <a:lnRef idx="1">
                    <a:schemeClr val="accent2"/>
                  </a:lnRef>
                  <a:fillRef idx="3">
                    <a:schemeClr val="accent2"/>
                  </a:fillRef>
                  <a:effectRef idx="2">
                    <a:schemeClr val="accent2"/>
                  </a:effectRef>
                  <a:fontRef idx="minor">
                    <a:schemeClr val="lt1"/>
                  </a:fontRef>
                </p:style>
                <p:txBody>
                  <a:bodyPr vert="horz" wrap="square" lIns="51451" tIns="25726" rIns="51451" bIns="25726" numCol="1" rtlCol="0" anchor="ctr" anchorCtr="0" compatLnSpc="1">
                    <a:prstTxWarp prst="textNoShape">
                      <a:avLst/>
                    </a:prstTxWarp>
                  </a:bodyPr>
                  <a:lstStyle/>
                  <a:p>
                    <a:pPr algn="ctr" defTabSz="685472" fontAlgn="base">
                      <a:spcBef>
                        <a:spcPct val="0"/>
                      </a:spcBef>
                      <a:spcAft>
                        <a:spcPct val="0"/>
                      </a:spcAft>
                    </a:pPr>
                    <a:endParaRPr lang="en-US" sz="1725" dirty="0">
                      <a:gradFill>
                        <a:gsLst>
                          <a:gs pos="0">
                            <a:srgbClr val="FFFFFF"/>
                          </a:gs>
                          <a:gs pos="100000">
                            <a:srgbClr val="FFFFFF"/>
                          </a:gs>
                        </a:gsLst>
                        <a:lin ang="5400000" scaled="0"/>
                      </a:gradFill>
                    </a:endParaRPr>
                  </a:p>
                </p:txBody>
              </p:sp>
              <p:cxnSp>
                <p:nvCxnSpPr>
                  <p:cNvPr id="77" name="Straight Connector 76"/>
                  <p:cNvCxnSpPr/>
                  <p:nvPr/>
                </p:nvCxnSpPr>
                <p:spPr>
                  <a:xfrm>
                    <a:off x="573023" y="4269961"/>
                    <a:ext cx="3787310" cy="0"/>
                  </a:xfrm>
                  <a:prstGeom prst="line">
                    <a:avLst/>
                  </a:prstGeom>
                </p:spPr>
                <p:style>
                  <a:lnRef idx="2">
                    <a:schemeClr val="accent1"/>
                  </a:lnRef>
                  <a:fillRef idx="0">
                    <a:schemeClr val="accent1"/>
                  </a:fillRef>
                  <a:effectRef idx="1">
                    <a:schemeClr val="accent1"/>
                  </a:effectRef>
                  <a:fontRef idx="minor">
                    <a:schemeClr val="tx1"/>
                  </a:fontRef>
                </p:style>
              </p:cxnSp>
              <p:sp>
                <p:nvSpPr>
                  <p:cNvPr id="78" name="Freeform 77"/>
                  <p:cNvSpPr/>
                  <p:nvPr/>
                </p:nvSpPr>
                <p:spPr>
                  <a:xfrm>
                    <a:off x="2218714" y="3314701"/>
                    <a:ext cx="821745" cy="850106"/>
                  </a:xfrm>
                  <a:custGeom>
                    <a:avLst/>
                    <a:gdLst>
                      <a:gd name="connsiteX0" fmla="*/ 0 w 1095375"/>
                      <a:gd name="connsiteY0" fmla="*/ 266700 h 1133475"/>
                      <a:gd name="connsiteX1" fmla="*/ 166687 w 1095375"/>
                      <a:gd name="connsiteY1" fmla="*/ 395288 h 1133475"/>
                      <a:gd name="connsiteX2" fmla="*/ 290512 w 1095375"/>
                      <a:gd name="connsiteY2" fmla="*/ 528638 h 1133475"/>
                      <a:gd name="connsiteX3" fmla="*/ 423862 w 1095375"/>
                      <a:gd name="connsiteY3" fmla="*/ 661988 h 1133475"/>
                      <a:gd name="connsiteX4" fmla="*/ 509587 w 1095375"/>
                      <a:gd name="connsiteY4" fmla="*/ 723900 h 1133475"/>
                      <a:gd name="connsiteX5" fmla="*/ 566737 w 1095375"/>
                      <a:gd name="connsiteY5" fmla="*/ 790575 h 1133475"/>
                      <a:gd name="connsiteX6" fmla="*/ 657225 w 1095375"/>
                      <a:gd name="connsiteY6" fmla="*/ 900113 h 1133475"/>
                      <a:gd name="connsiteX7" fmla="*/ 733425 w 1095375"/>
                      <a:gd name="connsiteY7" fmla="*/ 1047750 h 1133475"/>
                      <a:gd name="connsiteX8" fmla="*/ 785812 w 1095375"/>
                      <a:gd name="connsiteY8" fmla="*/ 1133475 h 1133475"/>
                      <a:gd name="connsiteX9" fmla="*/ 876300 w 1095375"/>
                      <a:gd name="connsiteY9" fmla="*/ 1114425 h 1133475"/>
                      <a:gd name="connsiteX10" fmla="*/ 933450 w 1095375"/>
                      <a:gd name="connsiteY10" fmla="*/ 947738 h 1133475"/>
                      <a:gd name="connsiteX11" fmla="*/ 1000125 w 1095375"/>
                      <a:gd name="connsiteY11" fmla="*/ 609600 h 1133475"/>
                      <a:gd name="connsiteX12" fmla="*/ 1047750 w 1095375"/>
                      <a:gd name="connsiteY12" fmla="*/ 371475 h 1133475"/>
                      <a:gd name="connsiteX13" fmla="*/ 1090612 w 1095375"/>
                      <a:gd name="connsiteY13" fmla="*/ 38100 h 1133475"/>
                      <a:gd name="connsiteX14" fmla="*/ 1095375 w 1095375"/>
                      <a:gd name="connsiteY14" fmla="*/ 0 h 1133475"/>
                      <a:gd name="connsiteX15" fmla="*/ 395287 w 1095375"/>
                      <a:gd name="connsiteY15" fmla="*/ 4763 h 1133475"/>
                      <a:gd name="connsiteX16" fmla="*/ 0 w 1095375"/>
                      <a:gd name="connsiteY16" fmla="*/ 266700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95375" h="1133475">
                        <a:moveTo>
                          <a:pt x="0" y="266700"/>
                        </a:moveTo>
                        <a:lnTo>
                          <a:pt x="166687" y="395288"/>
                        </a:lnTo>
                        <a:lnTo>
                          <a:pt x="290512" y="528638"/>
                        </a:lnTo>
                        <a:lnTo>
                          <a:pt x="423862" y="661988"/>
                        </a:lnTo>
                        <a:lnTo>
                          <a:pt x="509587" y="723900"/>
                        </a:lnTo>
                        <a:lnTo>
                          <a:pt x="566737" y="790575"/>
                        </a:lnTo>
                        <a:lnTo>
                          <a:pt x="657225" y="900113"/>
                        </a:lnTo>
                        <a:lnTo>
                          <a:pt x="733425" y="1047750"/>
                        </a:lnTo>
                        <a:lnTo>
                          <a:pt x="785812" y="1133475"/>
                        </a:lnTo>
                        <a:lnTo>
                          <a:pt x="876300" y="1114425"/>
                        </a:lnTo>
                        <a:lnTo>
                          <a:pt x="933450" y="947738"/>
                        </a:lnTo>
                        <a:lnTo>
                          <a:pt x="1000125" y="609600"/>
                        </a:lnTo>
                        <a:lnTo>
                          <a:pt x="1047750" y="371475"/>
                        </a:lnTo>
                        <a:lnTo>
                          <a:pt x="1090612" y="38100"/>
                        </a:lnTo>
                        <a:lnTo>
                          <a:pt x="1095375" y="0"/>
                        </a:lnTo>
                        <a:lnTo>
                          <a:pt x="395287" y="4763"/>
                        </a:lnTo>
                        <a:lnTo>
                          <a:pt x="0" y="266700"/>
                        </a:lnTo>
                        <a:close/>
                      </a:path>
                    </a:pathLst>
                  </a:custGeom>
                  <a:solidFill>
                    <a:srgbClr val="FFC000"/>
                  </a:solidFill>
                  <a:ln>
                    <a:solidFill>
                      <a:srgbClr val="FFC000"/>
                    </a:solidFill>
                  </a:ln>
                </p:spPr>
                <p:style>
                  <a:lnRef idx="1">
                    <a:schemeClr val="accent2"/>
                  </a:lnRef>
                  <a:fillRef idx="3">
                    <a:schemeClr val="accent2"/>
                  </a:fillRef>
                  <a:effectRef idx="2">
                    <a:schemeClr val="accent2"/>
                  </a:effectRef>
                  <a:fontRef idx="minor">
                    <a:schemeClr val="lt1"/>
                  </a:fontRef>
                </p:style>
                <p:txBody>
                  <a:bodyPr vert="horz" wrap="square" lIns="51451" tIns="25726" rIns="51451" bIns="25726" numCol="1" rtlCol="0" anchor="ctr" anchorCtr="0" compatLnSpc="1">
                    <a:prstTxWarp prst="textNoShape">
                      <a:avLst/>
                    </a:prstTxWarp>
                  </a:bodyPr>
                  <a:lstStyle/>
                  <a:p>
                    <a:pPr algn="ctr" defTabSz="685472"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79" name="Freeform 78"/>
                  <p:cNvSpPr/>
                  <p:nvPr/>
                </p:nvSpPr>
                <p:spPr>
                  <a:xfrm>
                    <a:off x="1003959" y="3871913"/>
                    <a:ext cx="425163" cy="200025"/>
                  </a:xfrm>
                  <a:custGeom>
                    <a:avLst/>
                    <a:gdLst>
                      <a:gd name="connsiteX0" fmla="*/ 0 w 566737"/>
                      <a:gd name="connsiteY0" fmla="*/ 152400 h 266700"/>
                      <a:gd name="connsiteX1" fmla="*/ 90487 w 566737"/>
                      <a:gd name="connsiteY1" fmla="*/ 233363 h 266700"/>
                      <a:gd name="connsiteX2" fmla="*/ 190500 w 566737"/>
                      <a:gd name="connsiteY2" fmla="*/ 266700 h 266700"/>
                      <a:gd name="connsiteX3" fmla="*/ 280987 w 566737"/>
                      <a:gd name="connsiteY3" fmla="*/ 252413 h 266700"/>
                      <a:gd name="connsiteX4" fmla="*/ 366712 w 566737"/>
                      <a:gd name="connsiteY4" fmla="*/ 195263 h 266700"/>
                      <a:gd name="connsiteX5" fmla="*/ 485775 w 566737"/>
                      <a:gd name="connsiteY5" fmla="*/ 61913 h 266700"/>
                      <a:gd name="connsiteX6" fmla="*/ 566737 w 566737"/>
                      <a:gd name="connsiteY6" fmla="*/ 0 h 266700"/>
                      <a:gd name="connsiteX7" fmla="*/ 257175 w 566737"/>
                      <a:gd name="connsiteY7" fmla="*/ 0 h 266700"/>
                      <a:gd name="connsiteX8" fmla="*/ 223837 w 566737"/>
                      <a:gd name="connsiteY8" fmla="*/ 9525 h 266700"/>
                      <a:gd name="connsiteX9" fmla="*/ 0 w 566737"/>
                      <a:gd name="connsiteY9" fmla="*/ 1524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6737" h="266700">
                        <a:moveTo>
                          <a:pt x="0" y="152400"/>
                        </a:moveTo>
                        <a:lnTo>
                          <a:pt x="90487" y="233363"/>
                        </a:lnTo>
                        <a:lnTo>
                          <a:pt x="190500" y="266700"/>
                        </a:lnTo>
                        <a:lnTo>
                          <a:pt x="280987" y="252413"/>
                        </a:lnTo>
                        <a:lnTo>
                          <a:pt x="366712" y="195263"/>
                        </a:lnTo>
                        <a:lnTo>
                          <a:pt x="485775" y="61913"/>
                        </a:lnTo>
                        <a:lnTo>
                          <a:pt x="566737" y="0"/>
                        </a:lnTo>
                        <a:lnTo>
                          <a:pt x="257175" y="0"/>
                        </a:lnTo>
                        <a:lnTo>
                          <a:pt x="223837" y="9525"/>
                        </a:lnTo>
                        <a:lnTo>
                          <a:pt x="0" y="152400"/>
                        </a:lnTo>
                        <a:close/>
                      </a:path>
                    </a:pathLst>
                  </a:custGeom>
                  <a:solidFill>
                    <a:srgbClr val="FFC000"/>
                  </a:solidFill>
                  <a:ln>
                    <a:solidFill>
                      <a:srgbClr val="FFC000"/>
                    </a:solidFill>
                  </a:ln>
                </p:spPr>
                <p:style>
                  <a:lnRef idx="1">
                    <a:schemeClr val="accent2"/>
                  </a:lnRef>
                  <a:fillRef idx="3">
                    <a:schemeClr val="accent2"/>
                  </a:fillRef>
                  <a:effectRef idx="2">
                    <a:schemeClr val="accent2"/>
                  </a:effectRef>
                  <a:fontRef idx="minor">
                    <a:schemeClr val="lt1"/>
                  </a:fontRef>
                </p:style>
                <p:txBody>
                  <a:bodyPr vert="horz" wrap="square" lIns="51451" tIns="25726" rIns="51451" bIns="25726" numCol="1" rtlCol="0" anchor="ctr" anchorCtr="0" compatLnSpc="1">
                    <a:prstTxWarp prst="textNoShape">
                      <a:avLst/>
                    </a:prstTxWarp>
                  </a:bodyPr>
                  <a:lstStyle/>
                  <a:p>
                    <a:pPr algn="ctr" defTabSz="685472"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80" name="Freeform 79"/>
                  <p:cNvSpPr/>
                  <p:nvPr/>
                </p:nvSpPr>
                <p:spPr>
                  <a:xfrm>
                    <a:off x="3369157" y="2761061"/>
                    <a:ext cx="971803" cy="1368028"/>
                  </a:xfrm>
                  <a:custGeom>
                    <a:avLst/>
                    <a:gdLst>
                      <a:gd name="connsiteX0" fmla="*/ 0 w 1285875"/>
                      <a:gd name="connsiteY0" fmla="*/ 461963 h 1828800"/>
                      <a:gd name="connsiteX1" fmla="*/ 80962 w 1285875"/>
                      <a:gd name="connsiteY1" fmla="*/ 681038 h 1828800"/>
                      <a:gd name="connsiteX2" fmla="*/ 123825 w 1285875"/>
                      <a:gd name="connsiteY2" fmla="*/ 847725 h 1828800"/>
                      <a:gd name="connsiteX3" fmla="*/ 180975 w 1285875"/>
                      <a:gd name="connsiteY3" fmla="*/ 1023938 h 1828800"/>
                      <a:gd name="connsiteX4" fmla="*/ 233362 w 1285875"/>
                      <a:gd name="connsiteY4" fmla="*/ 1281113 h 1828800"/>
                      <a:gd name="connsiteX5" fmla="*/ 257175 w 1285875"/>
                      <a:gd name="connsiteY5" fmla="*/ 1547813 h 1828800"/>
                      <a:gd name="connsiteX6" fmla="*/ 319087 w 1285875"/>
                      <a:gd name="connsiteY6" fmla="*/ 1724025 h 1828800"/>
                      <a:gd name="connsiteX7" fmla="*/ 390525 w 1285875"/>
                      <a:gd name="connsiteY7" fmla="*/ 1824038 h 1828800"/>
                      <a:gd name="connsiteX8" fmla="*/ 476250 w 1285875"/>
                      <a:gd name="connsiteY8" fmla="*/ 1828800 h 1828800"/>
                      <a:gd name="connsiteX9" fmla="*/ 552450 w 1285875"/>
                      <a:gd name="connsiteY9" fmla="*/ 1790700 h 1828800"/>
                      <a:gd name="connsiteX10" fmla="*/ 681037 w 1285875"/>
                      <a:gd name="connsiteY10" fmla="*/ 1695450 h 1828800"/>
                      <a:gd name="connsiteX11" fmla="*/ 852487 w 1285875"/>
                      <a:gd name="connsiteY11" fmla="*/ 1609725 h 1828800"/>
                      <a:gd name="connsiteX12" fmla="*/ 1028700 w 1285875"/>
                      <a:gd name="connsiteY12" fmla="*/ 1595438 h 1828800"/>
                      <a:gd name="connsiteX13" fmla="*/ 1243012 w 1285875"/>
                      <a:gd name="connsiteY13" fmla="*/ 1595438 h 1828800"/>
                      <a:gd name="connsiteX14" fmla="*/ 1243012 w 1285875"/>
                      <a:gd name="connsiteY14" fmla="*/ 1595438 h 1828800"/>
                      <a:gd name="connsiteX15" fmla="*/ 1285875 w 1285875"/>
                      <a:gd name="connsiteY15" fmla="*/ 9525 h 1828800"/>
                      <a:gd name="connsiteX16" fmla="*/ 466725 w 1285875"/>
                      <a:gd name="connsiteY16" fmla="*/ 0 h 1828800"/>
                      <a:gd name="connsiteX17" fmla="*/ 0 w 1285875"/>
                      <a:gd name="connsiteY17" fmla="*/ 461963 h 1828800"/>
                      <a:gd name="connsiteX0" fmla="*/ 0 w 1295400"/>
                      <a:gd name="connsiteY0" fmla="*/ 461963 h 1828800"/>
                      <a:gd name="connsiteX1" fmla="*/ 80962 w 1295400"/>
                      <a:gd name="connsiteY1" fmla="*/ 681038 h 1828800"/>
                      <a:gd name="connsiteX2" fmla="*/ 123825 w 1295400"/>
                      <a:gd name="connsiteY2" fmla="*/ 847725 h 1828800"/>
                      <a:gd name="connsiteX3" fmla="*/ 180975 w 1295400"/>
                      <a:gd name="connsiteY3" fmla="*/ 1023938 h 1828800"/>
                      <a:gd name="connsiteX4" fmla="*/ 233362 w 1295400"/>
                      <a:gd name="connsiteY4" fmla="*/ 1281113 h 1828800"/>
                      <a:gd name="connsiteX5" fmla="*/ 257175 w 1295400"/>
                      <a:gd name="connsiteY5" fmla="*/ 1547813 h 1828800"/>
                      <a:gd name="connsiteX6" fmla="*/ 319087 w 1295400"/>
                      <a:gd name="connsiteY6" fmla="*/ 1724025 h 1828800"/>
                      <a:gd name="connsiteX7" fmla="*/ 390525 w 1295400"/>
                      <a:gd name="connsiteY7" fmla="*/ 1824038 h 1828800"/>
                      <a:gd name="connsiteX8" fmla="*/ 476250 w 1295400"/>
                      <a:gd name="connsiteY8" fmla="*/ 1828800 h 1828800"/>
                      <a:gd name="connsiteX9" fmla="*/ 552450 w 1295400"/>
                      <a:gd name="connsiteY9" fmla="*/ 1790700 h 1828800"/>
                      <a:gd name="connsiteX10" fmla="*/ 681037 w 1295400"/>
                      <a:gd name="connsiteY10" fmla="*/ 1695450 h 1828800"/>
                      <a:gd name="connsiteX11" fmla="*/ 852487 w 1295400"/>
                      <a:gd name="connsiteY11" fmla="*/ 1609725 h 1828800"/>
                      <a:gd name="connsiteX12" fmla="*/ 1028700 w 1295400"/>
                      <a:gd name="connsiteY12" fmla="*/ 1595438 h 1828800"/>
                      <a:gd name="connsiteX13" fmla="*/ 1243012 w 1295400"/>
                      <a:gd name="connsiteY13" fmla="*/ 1595438 h 1828800"/>
                      <a:gd name="connsiteX14" fmla="*/ 1295400 w 1295400"/>
                      <a:gd name="connsiteY14" fmla="*/ 1595438 h 1828800"/>
                      <a:gd name="connsiteX15" fmla="*/ 1285875 w 1295400"/>
                      <a:gd name="connsiteY15" fmla="*/ 9525 h 1828800"/>
                      <a:gd name="connsiteX16" fmla="*/ 466725 w 1295400"/>
                      <a:gd name="connsiteY16" fmla="*/ 0 h 1828800"/>
                      <a:gd name="connsiteX17" fmla="*/ 0 w 1295400"/>
                      <a:gd name="connsiteY17" fmla="*/ 461963 h 1828800"/>
                      <a:gd name="connsiteX0" fmla="*/ 0 w 1295400"/>
                      <a:gd name="connsiteY0" fmla="*/ 481013 h 1828800"/>
                      <a:gd name="connsiteX1" fmla="*/ 80962 w 1295400"/>
                      <a:gd name="connsiteY1" fmla="*/ 681038 h 1828800"/>
                      <a:gd name="connsiteX2" fmla="*/ 123825 w 1295400"/>
                      <a:gd name="connsiteY2" fmla="*/ 847725 h 1828800"/>
                      <a:gd name="connsiteX3" fmla="*/ 180975 w 1295400"/>
                      <a:gd name="connsiteY3" fmla="*/ 1023938 h 1828800"/>
                      <a:gd name="connsiteX4" fmla="*/ 233362 w 1295400"/>
                      <a:gd name="connsiteY4" fmla="*/ 1281113 h 1828800"/>
                      <a:gd name="connsiteX5" fmla="*/ 257175 w 1295400"/>
                      <a:gd name="connsiteY5" fmla="*/ 1547813 h 1828800"/>
                      <a:gd name="connsiteX6" fmla="*/ 319087 w 1295400"/>
                      <a:gd name="connsiteY6" fmla="*/ 1724025 h 1828800"/>
                      <a:gd name="connsiteX7" fmla="*/ 390525 w 1295400"/>
                      <a:gd name="connsiteY7" fmla="*/ 1824038 h 1828800"/>
                      <a:gd name="connsiteX8" fmla="*/ 476250 w 1295400"/>
                      <a:gd name="connsiteY8" fmla="*/ 1828800 h 1828800"/>
                      <a:gd name="connsiteX9" fmla="*/ 552450 w 1295400"/>
                      <a:gd name="connsiteY9" fmla="*/ 1790700 h 1828800"/>
                      <a:gd name="connsiteX10" fmla="*/ 681037 w 1295400"/>
                      <a:gd name="connsiteY10" fmla="*/ 1695450 h 1828800"/>
                      <a:gd name="connsiteX11" fmla="*/ 852487 w 1295400"/>
                      <a:gd name="connsiteY11" fmla="*/ 1609725 h 1828800"/>
                      <a:gd name="connsiteX12" fmla="*/ 1028700 w 1295400"/>
                      <a:gd name="connsiteY12" fmla="*/ 1595438 h 1828800"/>
                      <a:gd name="connsiteX13" fmla="*/ 1243012 w 1295400"/>
                      <a:gd name="connsiteY13" fmla="*/ 1595438 h 1828800"/>
                      <a:gd name="connsiteX14" fmla="*/ 1295400 w 1295400"/>
                      <a:gd name="connsiteY14" fmla="*/ 1595438 h 1828800"/>
                      <a:gd name="connsiteX15" fmla="*/ 1285875 w 1295400"/>
                      <a:gd name="connsiteY15" fmla="*/ 9525 h 1828800"/>
                      <a:gd name="connsiteX16" fmla="*/ 466725 w 1295400"/>
                      <a:gd name="connsiteY16" fmla="*/ 0 h 1828800"/>
                      <a:gd name="connsiteX17" fmla="*/ 0 w 1295400"/>
                      <a:gd name="connsiteY17" fmla="*/ 481013 h 1828800"/>
                      <a:gd name="connsiteX0" fmla="*/ 0 w 1295400"/>
                      <a:gd name="connsiteY0" fmla="*/ 485775 h 1833562"/>
                      <a:gd name="connsiteX1" fmla="*/ 80962 w 1295400"/>
                      <a:gd name="connsiteY1" fmla="*/ 685800 h 1833562"/>
                      <a:gd name="connsiteX2" fmla="*/ 123825 w 1295400"/>
                      <a:gd name="connsiteY2" fmla="*/ 852487 h 1833562"/>
                      <a:gd name="connsiteX3" fmla="*/ 180975 w 1295400"/>
                      <a:gd name="connsiteY3" fmla="*/ 1028700 h 1833562"/>
                      <a:gd name="connsiteX4" fmla="*/ 233362 w 1295400"/>
                      <a:gd name="connsiteY4" fmla="*/ 1285875 h 1833562"/>
                      <a:gd name="connsiteX5" fmla="*/ 257175 w 1295400"/>
                      <a:gd name="connsiteY5" fmla="*/ 1552575 h 1833562"/>
                      <a:gd name="connsiteX6" fmla="*/ 319087 w 1295400"/>
                      <a:gd name="connsiteY6" fmla="*/ 1728787 h 1833562"/>
                      <a:gd name="connsiteX7" fmla="*/ 390525 w 1295400"/>
                      <a:gd name="connsiteY7" fmla="*/ 1828800 h 1833562"/>
                      <a:gd name="connsiteX8" fmla="*/ 476250 w 1295400"/>
                      <a:gd name="connsiteY8" fmla="*/ 1833562 h 1833562"/>
                      <a:gd name="connsiteX9" fmla="*/ 552450 w 1295400"/>
                      <a:gd name="connsiteY9" fmla="*/ 1795462 h 1833562"/>
                      <a:gd name="connsiteX10" fmla="*/ 681037 w 1295400"/>
                      <a:gd name="connsiteY10" fmla="*/ 1700212 h 1833562"/>
                      <a:gd name="connsiteX11" fmla="*/ 852487 w 1295400"/>
                      <a:gd name="connsiteY11" fmla="*/ 1614487 h 1833562"/>
                      <a:gd name="connsiteX12" fmla="*/ 1028700 w 1295400"/>
                      <a:gd name="connsiteY12" fmla="*/ 1600200 h 1833562"/>
                      <a:gd name="connsiteX13" fmla="*/ 1243012 w 1295400"/>
                      <a:gd name="connsiteY13" fmla="*/ 1600200 h 1833562"/>
                      <a:gd name="connsiteX14" fmla="*/ 1295400 w 1295400"/>
                      <a:gd name="connsiteY14" fmla="*/ 1600200 h 1833562"/>
                      <a:gd name="connsiteX15" fmla="*/ 1285875 w 1295400"/>
                      <a:gd name="connsiteY15" fmla="*/ 14287 h 1833562"/>
                      <a:gd name="connsiteX16" fmla="*/ 481013 w 1295400"/>
                      <a:gd name="connsiteY16" fmla="*/ 0 h 1833562"/>
                      <a:gd name="connsiteX17" fmla="*/ 0 w 1295400"/>
                      <a:gd name="connsiteY17" fmla="*/ 485775 h 1833562"/>
                      <a:gd name="connsiteX0" fmla="*/ 0 w 1295400"/>
                      <a:gd name="connsiteY0" fmla="*/ 476250 h 1824037"/>
                      <a:gd name="connsiteX1" fmla="*/ 80962 w 1295400"/>
                      <a:gd name="connsiteY1" fmla="*/ 676275 h 1824037"/>
                      <a:gd name="connsiteX2" fmla="*/ 123825 w 1295400"/>
                      <a:gd name="connsiteY2" fmla="*/ 842962 h 1824037"/>
                      <a:gd name="connsiteX3" fmla="*/ 180975 w 1295400"/>
                      <a:gd name="connsiteY3" fmla="*/ 1019175 h 1824037"/>
                      <a:gd name="connsiteX4" fmla="*/ 233362 w 1295400"/>
                      <a:gd name="connsiteY4" fmla="*/ 1276350 h 1824037"/>
                      <a:gd name="connsiteX5" fmla="*/ 257175 w 1295400"/>
                      <a:gd name="connsiteY5" fmla="*/ 1543050 h 1824037"/>
                      <a:gd name="connsiteX6" fmla="*/ 319087 w 1295400"/>
                      <a:gd name="connsiteY6" fmla="*/ 1719262 h 1824037"/>
                      <a:gd name="connsiteX7" fmla="*/ 390525 w 1295400"/>
                      <a:gd name="connsiteY7" fmla="*/ 1819275 h 1824037"/>
                      <a:gd name="connsiteX8" fmla="*/ 476250 w 1295400"/>
                      <a:gd name="connsiteY8" fmla="*/ 1824037 h 1824037"/>
                      <a:gd name="connsiteX9" fmla="*/ 552450 w 1295400"/>
                      <a:gd name="connsiteY9" fmla="*/ 1785937 h 1824037"/>
                      <a:gd name="connsiteX10" fmla="*/ 681037 w 1295400"/>
                      <a:gd name="connsiteY10" fmla="*/ 1690687 h 1824037"/>
                      <a:gd name="connsiteX11" fmla="*/ 852487 w 1295400"/>
                      <a:gd name="connsiteY11" fmla="*/ 1604962 h 1824037"/>
                      <a:gd name="connsiteX12" fmla="*/ 1028700 w 1295400"/>
                      <a:gd name="connsiteY12" fmla="*/ 1590675 h 1824037"/>
                      <a:gd name="connsiteX13" fmla="*/ 1243012 w 1295400"/>
                      <a:gd name="connsiteY13" fmla="*/ 1590675 h 1824037"/>
                      <a:gd name="connsiteX14" fmla="*/ 1295400 w 1295400"/>
                      <a:gd name="connsiteY14" fmla="*/ 1590675 h 1824037"/>
                      <a:gd name="connsiteX15" fmla="*/ 1285875 w 1295400"/>
                      <a:gd name="connsiteY15" fmla="*/ 4762 h 1824037"/>
                      <a:gd name="connsiteX16" fmla="*/ 481013 w 1295400"/>
                      <a:gd name="connsiteY16" fmla="*/ 0 h 1824037"/>
                      <a:gd name="connsiteX17" fmla="*/ 0 w 1295400"/>
                      <a:gd name="connsiteY17" fmla="*/ 476250 h 182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95400" h="1824037">
                        <a:moveTo>
                          <a:pt x="0" y="476250"/>
                        </a:moveTo>
                        <a:lnTo>
                          <a:pt x="80962" y="676275"/>
                        </a:lnTo>
                        <a:lnTo>
                          <a:pt x="123825" y="842962"/>
                        </a:lnTo>
                        <a:lnTo>
                          <a:pt x="180975" y="1019175"/>
                        </a:lnTo>
                        <a:lnTo>
                          <a:pt x="233362" y="1276350"/>
                        </a:lnTo>
                        <a:lnTo>
                          <a:pt x="257175" y="1543050"/>
                        </a:lnTo>
                        <a:lnTo>
                          <a:pt x="319087" y="1719262"/>
                        </a:lnTo>
                        <a:lnTo>
                          <a:pt x="390525" y="1819275"/>
                        </a:lnTo>
                        <a:lnTo>
                          <a:pt x="476250" y="1824037"/>
                        </a:lnTo>
                        <a:lnTo>
                          <a:pt x="552450" y="1785937"/>
                        </a:lnTo>
                        <a:lnTo>
                          <a:pt x="681037" y="1690687"/>
                        </a:lnTo>
                        <a:lnTo>
                          <a:pt x="852487" y="1604962"/>
                        </a:lnTo>
                        <a:lnTo>
                          <a:pt x="1028700" y="1590675"/>
                        </a:lnTo>
                        <a:lnTo>
                          <a:pt x="1243012" y="1590675"/>
                        </a:lnTo>
                        <a:lnTo>
                          <a:pt x="1295400" y="1590675"/>
                        </a:lnTo>
                        <a:lnTo>
                          <a:pt x="1285875" y="4762"/>
                        </a:lnTo>
                        <a:lnTo>
                          <a:pt x="481013" y="0"/>
                        </a:lnTo>
                        <a:lnTo>
                          <a:pt x="0" y="476250"/>
                        </a:lnTo>
                        <a:close/>
                      </a:path>
                    </a:pathLst>
                  </a:custGeom>
                  <a:solidFill>
                    <a:srgbClr val="FFC000"/>
                  </a:solidFill>
                  <a:ln>
                    <a:solidFill>
                      <a:srgbClr val="FFC000"/>
                    </a:solidFill>
                  </a:ln>
                </p:spPr>
                <p:style>
                  <a:lnRef idx="1">
                    <a:schemeClr val="accent2"/>
                  </a:lnRef>
                  <a:fillRef idx="3">
                    <a:schemeClr val="accent2"/>
                  </a:fillRef>
                  <a:effectRef idx="2">
                    <a:schemeClr val="accent2"/>
                  </a:effectRef>
                  <a:fontRef idx="minor">
                    <a:schemeClr val="lt1"/>
                  </a:fontRef>
                </p:style>
                <p:txBody>
                  <a:bodyPr vert="horz" wrap="square" lIns="51451" tIns="25726" rIns="51451" bIns="25726" numCol="1" rtlCol="0" anchor="ctr" anchorCtr="0" compatLnSpc="1">
                    <a:prstTxWarp prst="textNoShape">
                      <a:avLst/>
                    </a:prstTxWarp>
                  </a:bodyPr>
                  <a:lstStyle/>
                  <a:p>
                    <a:pPr algn="ctr" defTabSz="685472"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81" name="Freeform 80"/>
                  <p:cNvSpPr/>
                  <p:nvPr/>
                </p:nvSpPr>
                <p:spPr>
                  <a:xfrm>
                    <a:off x="578659" y="2798166"/>
                    <a:ext cx="3776038" cy="1457327"/>
                  </a:xfrm>
                  <a:custGeom>
                    <a:avLst/>
                    <a:gdLst>
                      <a:gd name="connsiteX0" fmla="*/ 0 w 6381750"/>
                      <a:gd name="connsiteY0" fmla="*/ 2479798 h 2479798"/>
                      <a:gd name="connsiteX1" fmla="*/ 476250 w 6381750"/>
                      <a:gd name="connsiteY1" fmla="*/ 1898773 h 2479798"/>
                      <a:gd name="connsiteX2" fmla="*/ 1085850 w 6381750"/>
                      <a:gd name="connsiteY2" fmla="*/ 2117848 h 2479798"/>
                      <a:gd name="connsiteX3" fmla="*/ 2324100 w 6381750"/>
                      <a:gd name="connsiteY3" fmla="*/ 1022473 h 2479798"/>
                      <a:gd name="connsiteX4" fmla="*/ 3371850 w 6381750"/>
                      <a:gd name="connsiteY4" fmla="*/ 1765423 h 2479798"/>
                      <a:gd name="connsiteX5" fmla="*/ 3905250 w 6381750"/>
                      <a:gd name="connsiteY5" fmla="*/ 2232148 h 2479798"/>
                      <a:gd name="connsiteX6" fmla="*/ 4362450 w 6381750"/>
                      <a:gd name="connsiteY6" fmla="*/ 31873 h 2479798"/>
                      <a:gd name="connsiteX7" fmla="*/ 4867275 w 6381750"/>
                      <a:gd name="connsiteY7" fmla="*/ 1012948 h 2479798"/>
                      <a:gd name="connsiteX8" fmla="*/ 5172075 w 6381750"/>
                      <a:gd name="connsiteY8" fmla="*/ 2213098 h 2479798"/>
                      <a:gd name="connsiteX9" fmla="*/ 5791200 w 6381750"/>
                      <a:gd name="connsiteY9" fmla="*/ 1984498 h 2479798"/>
                      <a:gd name="connsiteX10" fmla="*/ 6381750 w 6381750"/>
                      <a:gd name="connsiteY10" fmla="*/ 1955923 h 2479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81750" h="2479798">
                        <a:moveTo>
                          <a:pt x="0" y="2479798"/>
                        </a:moveTo>
                        <a:cubicBezTo>
                          <a:pt x="147637" y="2219448"/>
                          <a:pt x="295275" y="1959098"/>
                          <a:pt x="476250" y="1898773"/>
                        </a:cubicBezTo>
                        <a:cubicBezTo>
                          <a:pt x="657225" y="1838448"/>
                          <a:pt x="777875" y="2263898"/>
                          <a:pt x="1085850" y="2117848"/>
                        </a:cubicBezTo>
                        <a:cubicBezTo>
                          <a:pt x="1393825" y="1971798"/>
                          <a:pt x="1943100" y="1081210"/>
                          <a:pt x="2324100" y="1022473"/>
                        </a:cubicBezTo>
                        <a:cubicBezTo>
                          <a:pt x="2705100" y="963736"/>
                          <a:pt x="3108325" y="1563811"/>
                          <a:pt x="3371850" y="1765423"/>
                        </a:cubicBezTo>
                        <a:cubicBezTo>
                          <a:pt x="3635375" y="1967035"/>
                          <a:pt x="3740150" y="2521073"/>
                          <a:pt x="3905250" y="2232148"/>
                        </a:cubicBezTo>
                        <a:cubicBezTo>
                          <a:pt x="4070350" y="1943223"/>
                          <a:pt x="4202113" y="235073"/>
                          <a:pt x="4362450" y="31873"/>
                        </a:cubicBezTo>
                        <a:cubicBezTo>
                          <a:pt x="4522787" y="-171327"/>
                          <a:pt x="4732337" y="649410"/>
                          <a:pt x="4867275" y="1012948"/>
                        </a:cubicBezTo>
                        <a:cubicBezTo>
                          <a:pt x="5002213" y="1376486"/>
                          <a:pt x="5018088" y="2051173"/>
                          <a:pt x="5172075" y="2213098"/>
                        </a:cubicBezTo>
                        <a:cubicBezTo>
                          <a:pt x="5326062" y="2375023"/>
                          <a:pt x="5589588" y="2027360"/>
                          <a:pt x="5791200" y="1984498"/>
                        </a:cubicBezTo>
                        <a:cubicBezTo>
                          <a:pt x="5992812" y="1941636"/>
                          <a:pt x="6187281" y="1948779"/>
                          <a:pt x="6381750" y="1955923"/>
                        </a:cubicBezTo>
                      </a:path>
                    </a:pathLst>
                  </a:custGeom>
                  <a:ln w="50800">
                    <a:solidFill>
                      <a:srgbClr val="FF0000"/>
                    </a:solidFill>
                  </a:ln>
                </p:spPr>
                <p:style>
                  <a:lnRef idx="2">
                    <a:schemeClr val="accent3"/>
                  </a:lnRef>
                  <a:fillRef idx="0">
                    <a:schemeClr val="accent3"/>
                  </a:fillRef>
                  <a:effectRef idx="1">
                    <a:schemeClr val="accent3"/>
                  </a:effectRef>
                  <a:fontRef idx="minor">
                    <a:schemeClr val="tx1"/>
                  </a:fontRef>
                </p:style>
                <p:txBody>
                  <a:bodyPr lIns="51453" tIns="25727" rIns="51453" bIns="25727" rtlCol="0" anchor="ctr"/>
                  <a:lstStyle/>
                  <a:p>
                    <a:pPr algn="ctr" defTabSz="685670"/>
                    <a:endParaRPr lang="en-US" sz="1425" dirty="0">
                      <a:solidFill>
                        <a:srgbClr val="FFFFFF"/>
                      </a:solidFill>
                    </a:endParaRPr>
                  </a:p>
                </p:txBody>
              </p:sp>
            </p:grpSp>
          </p:grpSp>
          <p:grpSp>
            <p:nvGrpSpPr>
              <p:cNvPr id="66" name="Group 65"/>
              <p:cNvGrpSpPr/>
              <p:nvPr/>
            </p:nvGrpSpPr>
            <p:grpSpPr>
              <a:xfrm>
                <a:off x="797112" y="4313706"/>
                <a:ext cx="3718847" cy="1479978"/>
                <a:chOff x="6498068" y="3098314"/>
                <a:chExt cx="5091909" cy="2618221"/>
              </a:xfrm>
            </p:grpSpPr>
            <p:cxnSp>
              <p:nvCxnSpPr>
                <p:cNvPr id="68" name="Straight Connector 67"/>
                <p:cNvCxnSpPr/>
                <p:nvPr/>
              </p:nvCxnSpPr>
              <p:spPr>
                <a:xfrm>
                  <a:off x="6498068" y="5715002"/>
                  <a:ext cx="5048432"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nvCxnSpPr>
              <p:spPr>
                <a:xfrm>
                  <a:off x="6541547" y="5716535"/>
                  <a:ext cx="5048430" cy="0"/>
                </a:xfrm>
                <a:prstGeom prst="line">
                  <a:avLst/>
                </a:prstGeom>
              </p:spPr>
              <p:style>
                <a:lnRef idx="2">
                  <a:schemeClr val="accent1"/>
                </a:lnRef>
                <a:fillRef idx="0">
                  <a:schemeClr val="accent1"/>
                </a:fillRef>
                <a:effectRef idx="1">
                  <a:schemeClr val="accent1"/>
                </a:effectRef>
                <a:fontRef idx="minor">
                  <a:schemeClr val="tx1"/>
                </a:fontRef>
              </p:style>
            </p:cxnSp>
            <p:sp>
              <p:nvSpPr>
                <p:cNvPr id="70" name="Freeform 69"/>
                <p:cNvSpPr/>
                <p:nvPr/>
              </p:nvSpPr>
              <p:spPr bwMode="auto">
                <a:xfrm>
                  <a:off x="6526305" y="3098314"/>
                  <a:ext cx="5056094" cy="2603240"/>
                </a:xfrm>
                <a:custGeom>
                  <a:avLst/>
                  <a:gdLst>
                    <a:gd name="connsiteX0" fmla="*/ 8965 w 5056094"/>
                    <a:gd name="connsiteY0" fmla="*/ 2052917 h 2061882"/>
                    <a:gd name="connsiteX1" fmla="*/ 0 w 5056094"/>
                    <a:gd name="connsiteY1" fmla="*/ 1541929 h 2061882"/>
                    <a:gd name="connsiteX2" fmla="*/ 502023 w 5056094"/>
                    <a:gd name="connsiteY2" fmla="*/ 1541929 h 2061882"/>
                    <a:gd name="connsiteX3" fmla="*/ 1219200 w 5056094"/>
                    <a:gd name="connsiteY3" fmla="*/ 753035 h 2061882"/>
                    <a:gd name="connsiteX4" fmla="*/ 2321859 w 5056094"/>
                    <a:gd name="connsiteY4" fmla="*/ 744070 h 2061882"/>
                    <a:gd name="connsiteX5" fmla="*/ 2895600 w 5056094"/>
                    <a:gd name="connsiteY5" fmla="*/ 0 h 2061882"/>
                    <a:gd name="connsiteX6" fmla="*/ 5002306 w 5056094"/>
                    <a:gd name="connsiteY6" fmla="*/ 8964 h 2061882"/>
                    <a:gd name="connsiteX7" fmla="*/ 5056094 w 5056094"/>
                    <a:gd name="connsiteY7" fmla="*/ 2061882 h 2061882"/>
                    <a:gd name="connsiteX8" fmla="*/ 8965 w 5056094"/>
                    <a:gd name="connsiteY8" fmla="*/ 2052917 h 206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56094" h="2061882">
                      <a:moveTo>
                        <a:pt x="8965" y="2052917"/>
                      </a:moveTo>
                      <a:lnTo>
                        <a:pt x="0" y="1541929"/>
                      </a:lnTo>
                      <a:lnTo>
                        <a:pt x="502023" y="1541929"/>
                      </a:lnTo>
                      <a:lnTo>
                        <a:pt x="1219200" y="753035"/>
                      </a:lnTo>
                      <a:lnTo>
                        <a:pt x="2321859" y="744070"/>
                      </a:lnTo>
                      <a:lnTo>
                        <a:pt x="2895600" y="0"/>
                      </a:lnTo>
                      <a:lnTo>
                        <a:pt x="5002306" y="8964"/>
                      </a:lnTo>
                      <a:lnTo>
                        <a:pt x="5056094" y="2061882"/>
                      </a:lnTo>
                      <a:lnTo>
                        <a:pt x="8965" y="2052917"/>
                      </a:lnTo>
                      <a:close/>
                    </a:path>
                  </a:pathLst>
                </a:cu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 name="Freeform 70"/>
                <p:cNvSpPr/>
                <p:nvPr/>
              </p:nvSpPr>
              <p:spPr>
                <a:xfrm>
                  <a:off x="6536946" y="3759707"/>
                  <a:ext cx="5025894" cy="1943100"/>
                </a:xfrm>
                <a:custGeom>
                  <a:avLst/>
                  <a:gdLst>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67150 w 6372225"/>
                    <a:gd name="connsiteY10" fmla="*/ 1743075 h 1943100"/>
                    <a:gd name="connsiteX11" fmla="*/ 3562350 w 6372225"/>
                    <a:gd name="connsiteY11" fmla="*/ 1638300 h 1943100"/>
                    <a:gd name="connsiteX12" fmla="*/ 3124200 w 6372225"/>
                    <a:gd name="connsiteY12" fmla="*/ 1228725 h 1943100"/>
                    <a:gd name="connsiteX13" fmla="*/ 2600325 w 6372225"/>
                    <a:gd name="connsiteY13" fmla="*/ 876300 h 1943100"/>
                    <a:gd name="connsiteX14" fmla="*/ 2085975 w 6372225"/>
                    <a:gd name="connsiteY14" fmla="*/ 847725 h 1943100"/>
                    <a:gd name="connsiteX15" fmla="*/ 1428750 w 6372225"/>
                    <a:gd name="connsiteY15" fmla="*/ 1362075 h 1943100"/>
                    <a:gd name="connsiteX16" fmla="*/ 1019175 w 6372225"/>
                    <a:gd name="connsiteY16" fmla="*/ 1695450 h 1943100"/>
                    <a:gd name="connsiteX17" fmla="*/ 581025 w 6372225"/>
                    <a:gd name="connsiteY17" fmla="*/ 1562100 h 1943100"/>
                    <a:gd name="connsiteX18" fmla="*/ 419100 w 6372225"/>
                    <a:gd name="connsiteY18" fmla="*/ 1495425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67150 w 6372225"/>
                    <a:gd name="connsiteY10" fmla="*/ 1743075 h 1943100"/>
                    <a:gd name="connsiteX11" fmla="*/ 3562350 w 6372225"/>
                    <a:gd name="connsiteY11" fmla="*/ 1638300 h 1943100"/>
                    <a:gd name="connsiteX12" fmla="*/ 3124200 w 6372225"/>
                    <a:gd name="connsiteY12" fmla="*/ 1228725 h 1943100"/>
                    <a:gd name="connsiteX13" fmla="*/ 2600325 w 6372225"/>
                    <a:gd name="connsiteY13" fmla="*/ 876300 h 1943100"/>
                    <a:gd name="connsiteX14" fmla="*/ 2085975 w 6372225"/>
                    <a:gd name="connsiteY14" fmla="*/ 847725 h 1943100"/>
                    <a:gd name="connsiteX15" fmla="*/ 1428750 w 6372225"/>
                    <a:gd name="connsiteY15" fmla="*/ 1362075 h 1943100"/>
                    <a:gd name="connsiteX16" fmla="*/ 1019175 w 6372225"/>
                    <a:gd name="connsiteY16" fmla="*/ 1695450 h 1943100"/>
                    <a:gd name="connsiteX17" fmla="*/ 581025 w 6372225"/>
                    <a:gd name="connsiteY17" fmla="*/ 1562100 h 1943100"/>
                    <a:gd name="connsiteX18" fmla="*/ 419100 w 6372225"/>
                    <a:gd name="connsiteY18" fmla="*/ 1495425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67150 w 6372225"/>
                    <a:gd name="connsiteY10" fmla="*/ 1743075 h 1943100"/>
                    <a:gd name="connsiteX11" fmla="*/ 3562350 w 6372225"/>
                    <a:gd name="connsiteY11" fmla="*/ 1638300 h 1943100"/>
                    <a:gd name="connsiteX12" fmla="*/ 3124200 w 6372225"/>
                    <a:gd name="connsiteY12" fmla="*/ 1228725 h 1943100"/>
                    <a:gd name="connsiteX13" fmla="*/ 2695575 w 6372225"/>
                    <a:gd name="connsiteY13" fmla="*/ 885825 h 1943100"/>
                    <a:gd name="connsiteX14" fmla="*/ 2085975 w 6372225"/>
                    <a:gd name="connsiteY14" fmla="*/ 847725 h 1943100"/>
                    <a:gd name="connsiteX15" fmla="*/ 1428750 w 6372225"/>
                    <a:gd name="connsiteY15" fmla="*/ 1362075 h 1943100"/>
                    <a:gd name="connsiteX16" fmla="*/ 1019175 w 6372225"/>
                    <a:gd name="connsiteY16" fmla="*/ 1695450 h 1943100"/>
                    <a:gd name="connsiteX17" fmla="*/ 581025 w 6372225"/>
                    <a:gd name="connsiteY17" fmla="*/ 1562100 h 1943100"/>
                    <a:gd name="connsiteX18" fmla="*/ 419100 w 6372225"/>
                    <a:gd name="connsiteY18" fmla="*/ 1495425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67150 w 6372225"/>
                    <a:gd name="connsiteY10" fmla="*/ 1743075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085975 w 6372225"/>
                    <a:gd name="connsiteY14" fmla="*/ 847725 h 1943100"/>
                    <a:gd name="connsiteX15" fmla="*/ 1428750 w 6372225"/>
                    <a:gd name="connsiteY15" fmla="*/ 1362075 h 1943100"/>
                    <a:gd name="connsiteX16" fmla="*/ 1019175 w 6372225"/>
                    <a:gd name="connsiteY16" fmla="*/ 1695450 h 1943100"/>
                    <a:gd name="connsiteX17" fmla="*/ 581025 w 6372225"/>
                    <a:gd name="connsiteY17" fmla="*/ 1562100 h 1943100"/>
                    <a:gd name="connsiteX18" fmla="*/ 419100 w 6372225"/>
                    <a:gd name="connsiteY18" fmla="*/ 1495425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67150 w 6372225"/>
                    <a:gd name="connsiteY10" fmla="*/ 1743075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085975 w 6372225"/>
                    <a:gd name="connsiteY14" fmla="*/ 847725 h 1943100"/>
                    <a:gd name="connsiteX15" fmla="*/ 1428750 w 6372225"/>
                    <a:gd name="connsiteY15" fmla="*/ 1362075 h 1943100"/>
                    <a:gd name="connsiteX16" fmla="*/ 1019175 w 6372225"/>
                    <a:gd name="connsiteY16" fmla="*/ 1695450 h 1943100"/>
                    <a:gd name="connsiteX17" fmla="*/ 581025 w 6372225"/>
                    <a:gd name="connsiteY17" fmla="*/ 1562100 h 1943100"/>
                    <a:gd name="connsiteX18" fmla="*/ 419100 w 6372225"/>
                    <a:gd name="connsiteY18" fmla="*/ 1495425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085975 w 6372225"/>
                    <a:gd name="connsiteY14" fmla="*/ 847725 h 1943100"/>
                    <a:gd name="connsiteX15" fmla="*/ 1428750 w 6372225"/>
                    <a:gd name="connsiteY15" fmla="*/ 1362075 h 1943100"/>
                    <a:gd name="connsiteX16" fmla="*/ 1019175 w 6372225"/>
                    <a:gd name="connsiteY16" fmla="*/ 1695450 h 1943100"/>
                    <a:gd name="connsiteX17" fmla="*/ 581025 w 6372225"/>
                    <a:gd name="connsiteY17" fmla="*/ 1562100 h 1943100"/>
                    <a:gd name="connsiteX18" fmla="*/ 419100 w 6372225"/>
                    <a:gd name="connsiteY18" fmla="*/ 1495425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085975 w 6372225"/>
                    <a:gd name="connsiteY14" fmla="*/ 847725 h 1943100"/>
                    <a:gd name="connsiteX15" fmla="*/ 1428750 w 6372225"/>
                    <a:gd name="connsiteY15" fmla="*/ 1362075 h 1943100"/>
                    <a:gd name="connsiteX16" fmla="*/ 1019175 w 6372225"/>
                    <a:gd name="connsiteY16" fmla="*/ 1695450 h 1943100"/>
                    <a:gd name="connsiteX17" fmla="*/ 600075 w 6372225"/>
                    <a:gd name="connsiteY17" fmla="*/ 1514475 h 1943100"/>
                    <a:gd name="connsiteX18" fmla="*/ 419100 w 6372225"/>
                    <a:gd name="connsiteY18" fmla="*/ 1495425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085975 w 6372225"/>
                    <a:gd name="connsiteY14" fmla="*/ 847725 h 1943100"/>
                    <a:gd name="connsiteX15" fmla="*/ 1428750 w 6372225"/>
                    <a:gd name="connsiteY15" fmla="*/ 1362075 h 1943100"/>
                    <a:gd name="connsiteX16" fmla="*/ 1019175 w 6372225"/>
                    <a:gd name="connsiteY16" fmla="*/ 1695450 h 1943100"/>
                    <a:gd name="connsiteX17" fmla="*/ 600075 w 6372225"/>
                    <a:gd name="connsiteY17" fmla="*/ 1514475 h 1943100"/>
                    <a:gd name="connsiteX18" fmla="*/ 419100 w 6372225"/>
                    <a:gd name="connsiteY18" fmla="*/ 1495425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28750 w 6372225"/>
                    <a:gd name="connsiteY15" fmla="*/ 1362075 h 1943100"/>
                    <a:gd name="connsiteX16" fmla="*/ 1019175 w 6372225"/>
                    <a:gd name="connsiteY16" fmla="*/ 1695450 h 1943100"/>
                    <a:gd name="connsiteX17" fmla="*/ 600075 w 6372225"/>
                    <a:gd name="connsiteY17" fmla="*/ 1514475 h 1943100"/>
                    <a:gd name="connsiteX18" fmla="*/ 419100 w 6372225"/>
                    <a:gd name="connsiteY18" fmla="*/ 1495425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28750 w 6372225"/>
                    <a:gd name="connsiteY15" fmla="*/ 1362075 h 1943100"/>
                    <a:gd name="connsiteX16" fmla="*/ 1019175 w 6372225"/>
                    <a:gd name="connsiteY16" fmla="*/ 1695450 h 1943100"/>
                    <a:gd name="connsiteX17" fmla="*/ 600075 w 6372225"/>
                    <a:gd name="connsiteY17" fmla="*/ 1514475 h 1943100"/>
                    <a:gd name="connsiteX18" fmla="*/ 419100 w 6372225"/>
                    <a:gd name="connsiteY18" fmla="*/ 1495425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28750 w 6372225"/>
                    <a:gd name="connsiteY15" fmla="*/ 1362075 h 1943100"/>
                    <a:gd name="connsiteX16" fmla="*/ 1019175 w 6372225"/>
                    <a:gd name="connsiteY16" fmla="*/ 1695450 h 1943100"/>
                    <a:gd name="connsiteX17" fmla="*/ 600075 w 6372225"/>
                    <a:gd name="connsiteY17" fmla="*/ 1514475 h 1943100"/>
                    <a:gd name="connsiteX18" fmla="*/ 419100 w 6372225"/>
                    <a:gd name="connsiteY18" fmla="*/ 1495425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28750 w 6372225"/>
                    <a:gd name="connsiteY15" fmla="*/ 1362075 h 1943100"/>
                    <a:gd name="connsiteX16" fmla="*/ 1019175 w 6372225"/>
                    <a:gd name="connsiteY16" fmla="*/ 1695450 h 1943100"/>
                    <a:gd name="connsiteX17" fmla="*/ 600075 w 6372225"/>
                    <a:gd name="connsiteY17" fmla="*/ 1514475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28750 w 6372225"/>
                    <a:gd name="connsiteY15" fmla="*/ 1362075 h 1943100"/>
                    <a:gd name="connsiteX16" fmla="*/ 1019175 w 6372225"/>
                    <a:gd name="connsiteY16" fmla="*/ 1695450 h 1943100"/>
                    <a:gd name="connsiteX17" fmla="*/ 600075 w 6372225"/>
                    <a:gd name="connsiteY17" fmla="*/ 1514475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28750 w 6372225"/>
                    <a:gd name="connsiteY15" fmla="*/ 1362075 h 1943100"/>
                    <a:gd name="connsiteX16" fmla="*/ 1019175 w 6372225"/>
                    <a:gd name="connsiteY16" fmla="*/ 1695450 h 1943100"/>
                    <a:gd name="connsiteX17" fmla="*/ 594036 w 6372225"/>
                    <a:gd name="connsiteY17" fmla="*/ 1504950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28750 w 6372225"/>
                    <a:gd name="connsiteY15" fmla="*/ 1362075 h 1943100"/>
                    <a:gd name="connsiteX16" fmla="*/ 1019175 w 6372225"/>
                    <a:gd name="connsiteY16" fmla="*/ 1695450 h 1943100"/>
                    <a:gd name="connsiteX17" fmla="*/ 594036 w 6372225"/>
                    <a:gd name="connsiteY17" fmla="*/ 1504950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28750 w 6372225"/>
                    <a:gd name="connsiteY15" fmla="*/ 1362075 h 1943100"/>
                    <a:gd name="connsiteX16" fmla="*/ 998042 w 6372225"/>
                    <a:gd name="connsiteY16" fmla="*/ 1678781 h 1943100"/>
                    <a:gd name="connsiteX17" fmla="*/ 594036 w 6372225"/>
                    <a:gd name="connsiteY17" fmla="*/ 1504950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28750 w 6372225"/>
                    <a:gd name="connsiteY15" fmla="*/ 1362075 h 1943100"/>
                    <a:gd name="connsiteX16" fmla="*/ 998042 w 6372225"/>
                    <a:gd name="connsiteY16" fmla="*/ 1678781 h 1943100"/>
                    <a:gd name="connsiteX17" fmla="*/ 594036 w 6372225"/>
                    <a:gd name="connsiteY17" fmla="*/ 1504950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28750 w 6372225"/>
                    <a:gd name="connsiteY15" fmla="*/ 1362075 h 1943100"/>
                    <a:gd name="connsiteX16" fmla="*/ 998042 w 6372225"/>
                    <a:gd name="connsiteY16" fmla="*/ 1678781 h 1943100"/>
                    <a:gd name="connsiteX17" fmla="*/ 594036 w 6372225"/>
                    <a:gd name="connsiteY17" fmla="*/ 1504950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61961 w 6372225"/>
                    <a:gd name="connsiteY15" fmla="*/ 1376362 h 1943100"/>
                    <a:gd name="connsiteX16" fmla="*/ 998042 w 6372225"/>
                    <a:gd name="connsiteY16" fmla="*/ 1678781 h 1943100"/>
                    <a:gd name="connsiteX17" fmla="*/ 594036 w 6372225"/>
                    <a:gd name="connsiteY17" fmla="*/ 1504950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95575 w 6372225"/>
                    <a:gd name="connsiteY13" fmla="*/ 885825 h 1943100"/>
                    <a:gd name="connsiteX14" fmla="*/ 2114550 w 6372225"/>
                    <a:gd name="connsiteY14" fmla="*/ 857250 h 1943100"/>
                    <a:gd name="connsiteX15" fmla="*/ 1461961 w 6372225"/>
                    <a:gd name="connsiteY15" fmla="*/ 1376362 h 1943100"/>
                    <a:gd name="connsiteX16" fmla="*/ 998042 w 6372225"/>
                    <a:gd name="connsiteY16" fmla="*/ 1678781 h 1943100"/>
                    <a:gd name="connsiteX17" fmla="*/ 594036 w 6372225"/>
                    <a:gd name="connsiteY17" fmla="*/ 1504950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65385 w 6372225"/>
                    <a:gd name="connsiteY13" fmla="*/ 859631 h 1943100"/>
                    <a:gd name="connsiteX14" fmla="*/ 2114550 w 6372225"/>
                    <a:gd name="connsiteY14" fmla="*/ 857250 h 1943100"/>
                    <a:gd name="connsiteX15" fmla="*/ 1461961 w 6372225"/>
                    <a:gd name="connsiteY15" fmla="*/ 1376362 h 1943100"/>
                    <a:gd name="connsiteX16" fmla="*/ 998042 w 6372225"/>
                    <a:gd name="connsiteY16" fmla="*/ 1678781 h 1943100"/>
                    <a:gd name="connsiteX17" fmla="*/ 594036 w 6372225"/>
                    <a:gd name="connsiteY17" fmla="*/ 1504950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24350 w 6372225"/>
                    <a:gd name="connsiteY8" fmla="*/ 0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62366 w 6372225"/>
                    <a:gd name="connsiteY13" fmla="*/ 866775 h 1943100"/>
                    <a:gd name="connsiteX14" fmla="*/ 2114550 w 6372225"/>
                    <a:gd name="connsiteY14" fmla="*/ 857250 h 1943100"/>
                    <a:gd name="connsiteX15" fmla="*/ 1461961 w 6372225"/>
                    <a:gd name="connsiteY15" fmla="*/ 1376362 h 1943100"/>
                    <a:gd name="connsiteX16" fmla="*/ 998042 w 6372225"/>
                    <a:gd name="connsiteY16" fmla="*/ 1678781 h 1943100"/>
                    <a:gd name="connsiteX17" fmla="*/ 594036 w 6372225"/>
                    <a:gd name="connsiteY17" fmla="*/ 1504950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00197 w 6372225"/>
                    <a:gd name="connsiteY8" fmla="*/ 69057 h 1943100"/>
                    <a:gd name="connsiteX9" fmla="*/ 4029075 w 6372225"/>
                    <a:gd name="connsiteY9" fmla="*/ 1314450 h 1943100"/>
                    <a:gd name="connsiteX10" fmla="*/ 3876675 w 6372225"/>
                    <a:gd name="connsiteY10" fmla="*/ 1809750 h 1943100"/>
                    <a:gd name="connsiteX11" fmla="*/ 3600450 w 6372225"/>
                    <a:gd name="connsiteY11" fmla="*/ 1600200 h 1943100"/>
                    <a:gd name="connsiteX12" fmla="*/ 3124200 w 6372225"/>
                    <a:gd name="connsiteY12" fmla="*/ 1228725 h 1943100"/>
                    <a:gd name="connsiteX13" fmla="*/ 2662366 w 6372225"/>
                    <a:gd name="connsiteY13" fmla="*/ 866775 h 1943100"/>
                    <a:gd name="connsiteX14" fmla="*/ 2114550 w 6372225"/>
                    <a:gd name="connsiteY14" fmla="*/ 857250 h 1943100"/>
                    <a:gd name="connsiteX15" fmla="*/ 1461961 w 6372225"/>
                    <a:gd name="connsiteY15" fmla="*/ 1376362 h 1943100"/>
                    <a:gd name="connsiteX16" fmla="*/ 998042 w 6372225"/>
                    <a:gd name="connsiteY16" fmla="*/ 1678781 h 1943100"/>
                    <a:gd name="connsiteX17" fmla="*/ 594036 w 6372225"/>
                    <a:gd name="connsiteY17" fmla="*/ 1504950 h 1943100"/>
                    <a:gd name="connsiteX18" fmla="*/ 385889 w 6372225"/>
                    <a:gd name="connsiteY18" fmla="*/ 1504950 h 1943100"/>
                    <a:gd name="connsiteX19" fmla="*/ 85725 w 6372225"/>
                    <a:gd name="connsiteY19" fmla="*/ 1781175 h 1943100"/>
                    <a:gd name="connsiteX20" fmla="*/ 0 w 6372225"/>
                    <a:gd name="connsiteY20" fmla="*/ 1914525 h 1943100"/>
                    <a:gd name="connsiteX0" fmla="*/ 0 w 6372225"/>
                    <a:gd name="connsiteY0" fmla="*/ 1914525 h 1943100"/>
                    <a:gd name="connsiteX1" fmla="*/ 6372225 w 6372225"/>
                    <a:gd name="connsiteY1" fmla="*/ 1943100 h 1943100"/>
                    <a:gd name="connsiteX2" fmla="*/ 6372225 w 6372225"/>
                    <a:gd name="connsiteY2" fmla="*/ 1543050 h 1943100"/>
                    <a:gd name="connsiteX3" fmla="*/ 5810250 w 6372225"/>
                    <a:gd name="connsiteY3" fmla="*/ 1543050 h 1943100"/>
                    <a:gd name="connsiteX4" fmla="*/ 5343525 w 6372225"/>
                    <a:gd name="connsiteY4" fmla="*/ 1752600 h 1943100"/>
                    <a:gd name="connsiteX5" fmla="*/ 5133975 w 6372225"/>
                    <a:gd name="connsiteY5" fmla="*/ 1743075 h 1943100"/>
                    <a:gd name="connsiteX6" fmla="*/ 4733925 w 6372225"/>
                    <a:gd name="connsiteY6" fmla="*/ 504825 h 1943100"/>
                    <a:gd name="connsiteX7" fmla="*/ 4467225 w 6372225"/>
                    <a:gd name="connsiteY7" fmla="*/ 0 h 1943100"/>
                    <a:gd name="connsiteX8" fmla="*/ 4361948 w 6372225"/>
                    <a:gd name="connsiteY8" fmla="*/ 5050 h 1943100"/>
                    <a:gd name="connsiteX9" fmla="*/ 4300197 w 6372225"/>
                    <a:gd name="connsiteY9" fmla="*/ 69057 h 1943100"/>
                    <a:gd name="connsiteX10" fmla="*/ 4029075 w 6372225"/>
                    <a:gd name="connsiteY10" fmla="*/ 1314450 h 1943100"/>
                    <a:gd name="connsiteX11" fmla="*/ 3876675 w 6372225"/>
                    <a:gd name="connsiteY11" fmla="*/ 1809750 h 1943100"/>
                    <a:gd name="connsiteX12" fmla="*/ 3600450 w 6372225"/>
                    <a:gd name="connsiteY12" fmla="*/ 1600200 h 1943100"/>
                    <a:gd name="connsiteX13" fmla="*/ 3124200 w 6372225"/>
                    <a:gd name="connsiteY13" fmla="*/ 1228725 h 1943100"/>
                    <a:gd name="connsiteX14" fmla="*/ 2662366 w 6372225"/>
                    <a:gd name="connsiteY14" fmla="*/ 866775 h 1943100"/>
                    <a:gd name="connsiteX15" fmla="*/ 2114550 w 6372225"/>
                    <a:gd name="connsiteY15" fmla="*/ 857250 h 1943100"/>
                    <a:gd name="connsiteX16" fmla="*/ 1461961 w 6372225"/>
                    <a:gd name="connsiteY16" fmla="*/ 1376362 h 1943100"/>
                    <a:gd name="connsiteX17" fmla="*/ 998042 w 6372225"/>
                    <a:gd name="connsiteY17" fmla="*/ 1678781 h 1943100"/>
                    <a:gd name="connsiteX18" fmla="*/ 594036 w 6372225"/>
                    <a:gd name="connsiteY18" fmla="*/ 1504950 h 1943100"/>
                    <a:gd name="connsiteX19" fmla="*/ 385889 w 6372225"/>
                    <a:gd name="connsiteY19" fmla="*/ 1504950 h 1943100"/>
                    <a:gd name="connsiteX20" fmla="*/ 85725 w 6372225"/>
                    <a:gd name="connsiteY20" fmla="*/ 1781175 h 1943100"/>
                    <a:gd name="connsiteX21" fmla="*/ 0 w 6372225"/>
                    <a:gd name="connsiteY21" fmla="*/ 1914525 h 194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72225" h="1943100">
                      <a:moveTo>
                        <a:pt x="0" y="1914525"/>
                      </a:moveTo>
                      <a:lnTo>
                        <a:pt x="6372225" y="1943100"/>
                      </a:lnTo>
                      <a:lnTo>
                        <a:pt x="6372225" y="1543050"/>
                      </a:lnTo>
                      <a:lnTo>
                        <a:pt x="5810250" y="1543050"/>
                      </a:lnTo>
                      <a:lnTo>
                        <a:pt x="5343525" y="1752600"/>
                      </a:lnTo>
                      <a:lnTo>
                        <a:pt x="5133975" y="1743075"/>
                      </a:lnTo>
                      <a:lnTo>
                        <a:pt x="4733925" y="504825"/>
                      </a:lnTo>
                      <a:lnTo>
                        <a:pt x="4467225" y="0"/>
                      </a:lnTo>
                      <a:cubicBezTo>
                        <a:pt x="4434145" y="12796"/>
                        <a:pt x="4395028" y="-7746"/>
                        <a:pt x="4361948" y="5050"/>
                      </a:cubicBezTo>
                      <a:lnTo>
                        <a:pt x="4300197" y="69057"/>
                      </a:lnTo>
                      <a:lnTo>
                        <a:pt x="4029075" y="1314450"/>
                      </a:lnTo>
                      <a:lnTo>
                        <a:pt x="3876675" y="1809750"/>
                      </a:lnTo>
                      <a:cubicBezTo>
                        <a:pt x="3787775" y="1762125"/>
                        <a:pt x="3698875" y="1704975"/>
                        <a:pt x="3600450" y="1600200"/>
                      </a:cubicBezTo>
                      <a:lnTo>
                        <a:pt x="3124200" y="1228725"/>
                      </a:lnTo>
                      <a:lnTo>
                        <a:pt x="2662366" y="866775"/>
                      </a:lnTo>
                      <a:cubicBezTo>
                        <a:pt x="2490916" y="857250"/>
                        <a:pt x="2447925" y="733425"/>
                        <a:pt x="2114550" y="857250"/>
                      </a:cubicBezTo>
                      <a:cubicBezTo>
                        <a:pt x="1897020" y="1030287"/>
                        <a:pt x="1745913" y="1127125"/>
                        <a:pt x="1461961" y="1376362"/>
                      </a:cubicBezTo>
                      <a:cubicBezTo>
                        <a:pt x="1318392" y="1481931"/>
                        <a:pt x="1205013" y="1585119"/>
                        <a:pt x="998042" y="1678781"/>
                      </a:cubicBezTo>
                      <a:cubicBezTo>
                        <a:pt x="867399" y="1670844"/>
                        <a:pt x="833835" y="1660525"/>
                        <a:pt x="594036" y="1504950"/>
                      </a:cubicBezTo>
                      <a:cubicBezTo>
                        <a:pt x="522641" y="1501775"/>
                        <a:pt x="508608" y="1467643"/>
                        <a:pt x="385889" y="1504950"/>
                      </a:cubicBezTo>
                      <a:lnTo>
                        <a:pt x="85725" y="1781175"/>
                      </a:lnTo>
                      <a:lnTo>
                        <a:pt x="0" y="1914525"/>
                      </a:lnTo>
                      <a:close/>
                    </a:path>
                  </a:pathLst>
                </a:custGeom>
                <a:solidFill>
                  <a:srgbClr val="00AEEF"/>
                </a:solidFill>
              </p:spPr>
              <p:style>
                <a:lnRef idx="1">
                  <a:schemeClr val="accent3"/>
                </a:lnRef>
                <a:fillRef idx="3">
                  <a:schemeClr val="accent3"/>
                </a:fillRef>
                <a:effectRef idx="2">
                  <a:schemeClr val="accent3"/>
                </a:effectRef>
                <a:fontRef idx="minor">
                  <a:schemeClr val="lt1"/>
                </a:fontRef>
              </p:style>
              <p:txBody>
                <a:bodyPr vert="horz" wrap="square" lIns="51451" tIns="25726" rIns="51451" bIns="25726" numCol="1" rtlCol="0" anchor="ctr" anchorCtr="0" compatLnSpc="1">
                  <a:prstTxWarp prst="textNoShape">
                    <a:avLst/>
                  </a:prstTxWarp>
                </a:bodyPr>
                <a:lstStyle/>
                <a:p>
                  <a:pPr algn="ctr" defTabSz="685472"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72" name="Freeform 71"/>
                <p:cNvSpPr/>
                <p:nvPr/>
              </p:nvSpPr>
              <p:spPr>
                <a:xfrm>
                  <a:off x="6533190" y="3766653"/>
                  <a:ext cx="5033406" cy="1943101"/>
                </a:xfrm>
                <a:custGeom>
                  <a:avLst/>
                  <a:gdLst>
                    <a:gd name="connsiteX0" fmla="*/ 0 w 6381750"/>
                    <a:gd name="connsiteY0" fmla="*/ 2479798 h 2479798"/>
                    <a:gd name="connsiteX1" fmla="*/ 476250 w 6381750"/>
                    <a:gd name="connsiteY1" fmla="*/ 1898773 h 2479798"/>
                    <a:gd name="connsiteX2" fmla="*/ 1085850 w 6381750"/>
                    <a:gd name="connsiteY2" fmla="*/ 2117848 h 2479798"/>
                    <a:gd name="connsiteX3" fmla="*/ 2324100 w 6381750"/>
                    <a:gd name="connsiteY3" fmla="*/ 1022473 h 2479798"/>
                    <a:gd name="connsiteX4" fmla="*/ 3371850 w 6381750"/>
                    <a:gd name="connsiteY4" fmla="*/ 1765423 h 2479798"/>
                    <a:gd name="connsiteX5" fmla="*/ 3905250 w 6381750"/>
                    <a:gd name="connsiteY5" fmla="*/ 2232148 h 2479798"/>
                    <a:gd name="connsiteX6" fmla="*/ 4362450 w 6381750"/>
                    <a:gd name="connsiteY6" fmla="*/ 31873 h 2479798"/>
                    <a:gd name="connsiteX7" fmla="*/ 4867275 w 6381750"/>
                    <a:gd name="connsiteY7" fmla="*/ 1012948 h 2479798"/>
                    <a:gd name="connsiteX8" fmla="*/ 5172075 w 6381750"/>
                    <a:gd name="connsiteY8" fmla="*/ 2213098 h 2479798"/>
                    <a:gd name="connsiteX9" fmla="*/ 5791200 w 6381750"/>
                    <a:gd name="connsiteY9" fmla="*/ 1984498 h 2479798"/>
                    <a:gd name="connsiteX10" fmla="*/ 6381750 w 6381750"/>
                    <a:gd name="connsiteY10" fmla="*/ 1955923 h 2479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81750" h="2479798">
                      <a:moveTo>
                        <a:pt x="0" y="2479798"/>
                      </a:moveTo>
                      <a:cubicBezTo>
                        <a:pt x="147637" y="2219448"/>
                        <a:pt x="295275" y="1959098"/>
                        <a:pt x="476250" y="1898773"/>
                      </a:cubicBezTo>
                      <a:cubicBezTo>
                        <a:pt x="657225" y="1838448"/>
                        <a:pt x="777875" y="2263898"/>
                        <a:pt x="1085850" y="2117848"/>
                      </a:cubicBezTo>
                      <a:cubicBezTo>
                        <a:pt x="1393825" y="1971798"/>
                        <a:pt x="1943100" y="1081210"/>
                        <a:pt x="2324100" y="1022473"/>
                      </a:cubicBezTo>
                      <a:cubicBezTo>
                        <a:pt x="2705100" y="963736"/>
                        <a:pt x="3108325" y="1563811"/>
                        <a:pt x="3371850" y="1765423"/>
                      </a:cubicBezTo>
                      <a:cubicBezTo>
                        <a:pt x="3635375" y="1967035"/>
                        <a:pt x="3740150" y="2521073"/>
                        <a:pt x="3905250" y="2232148"/>
                      </a:cubicBezTo>
                      <a:cubicBezTo>
                        <a:pt x="4070350" y="1943223"/>
                        <a:pt x="4202113" y="235073"/>
                        <a:pt x="4362450" y="31873"/>
                      </a:cubicBezTo>
                      <a:cubicBezTo>
                        <a:pt x="4522787" y="-171327"/>
                        <a:pt x="4732337" y="649410"/>
                        <a:pt x="4867275" y="1012948"/>
                      </a:cubicBezTo>
                      <a:cubicBezTo>
                        <a:pt x="5002213" y="1376486"/>
                        <a:pt x="5018088" y="2051173"/>
                        <a:pt x="5172075" y="2213098"/>
                      </a:cubicBezTo>
                      <a:cubicBezTo>
                        <a:pt x="5326062" y="2375023"/>
                        <a:pt x="5589588" y="2027360"/>
                        <a:pt x="5791200" y="1984498"/>
                      </a:cubicBezTo>
                      <a:cubicBezTo>
                        <a:pt x="5992812" y="1941636"/>
                        <a:pt x="6187281" y="1948779"/>
                        <a:pt x="6381750" y="1955923"/>
                      </a:cubicBezTo>
                    </a:path>
                  </a:pathLst>
                </a:custGeom>
                <a:ln w="50800">
                  <a:solidFill>
                    <a:srgbClr val="FF0000"/>
                  </a:solidFill>
                </a:ln>
              </p:spPr>
              <p:style>
                <a:lnRef idx="2">
                  <a:schemeClr val="accent3"/>
                </a:lnRef>
                <a:fillRef idx="0">
                  <a:schemeClr val="accent3"/>
                </a:fillRef>
                <a:effectRef idx="1">
                  <a:schemeClr val="accent3"/>
                </a:effectRef>
                <a:fontRef idx="minor">
                  <a:schemeClr val="tx1"/>
                </a:fontRef>
              </p:style>
              <p:txBody>
                <a:bodyPr lIns="51453" tIns="25727" rIns="51453" bIns="25727" rtlCol="0" anchor="ctr"/>
                <a:lstStyle/>
                <a:p>
                  <a:pPr algn="ctr" defTabSz="685670"/>
                  <a:endParaRPr lang="en-US" sz="1425" dirty="0">
                    <a:solidFill>
                      <a:srgbClr val="FFFFFF"/>
                    </a:solidFill>
                  </a:endParaRPr>
                </a:p>
              </p:txBody>
            </p:sp>
          </p:grpSp>
          <p:cxnSp>
            <p:nvCxnSpPr>
              <p:cNvPr id="67" name="Straight Connector 66"/>
              <p:cNvCxnSpPr/>
              <p:nvPr/>
            </p:nvCxnSpPr>
            <p:spPr>
              <a:xfrm flipH="1">
                <a:off x="803202" y="4466170"/>
                <a:ext cx="11093" cy="1312856"/>
              </a:xfrm>
              <a:prstGeom prst="line">
                <a:avLst/>
              </a:prstGeom>
            </p:spPr>
            <p:style>
              <a:lnRef idx="2">
                <a:schemeClr val="accent1"/>
              </a:lnRef>
              <a:fillRef idx="0">
                <a:schemeClr val="accent1"/>
              </a:fillRef>
              <a:effectRef idx="1">
                <a:schemeClr val="accent1"/>
              </a:effectRef>
              <a:fontRef idx="minor">
                <a:schemeClr val="tx1"/>
              </a:fontRef>
            </p:style>
          </p:cxnSp>
        </p:grpSp>
        <p:grpSp>
          <p:nvGrpSpPr>
            <p:cNvPr id="49" name="Group 48"/>
            <p:cNvGrpSpPr/>
            <p:nvPr/>
          </p:nvGrpSpPr>
          <p:grpSpPr>
            <a:xfrm>
              <a:off x="786552" y="3354842"/>
              <a:ext cx="3707279" cy="1021636"/>
              <a:chOff x="735450" y="3963024"/>
              <a:chExt cx="5038901" cy="1656628"/>
            </a:xfrm>
          </p:grpSpPr>
          <p:cxnSp>
            <p:nvCxnSpPr>
              <p:cNvPr id="56" name="Straight Connector 55"/>
              <p:cNvCxnSpPr/>
              <p:nvPr/>
            </p:nvCxnSpPr>
            <p:spPr>
              <a:xfrm flipV="1">
                <a:off x="735450" y="5145496"/>
                <a:ext cx="868599" cy="474156"/>
              </a:xfrm>
              <a:prstGeom prst="line">
                <a:avLst/>
              </a:prstGeom>
              <a:ln w="5080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592807" y="5155121"/>
                <a:ext cx="742950" cy="0"/>
              </a:xfrm>
              <a:prstGeom prst="line">
                <a:avLst/>
              </a:prstGeom>
              <a:ln w="5080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endCxn id="78" idx="15"/>
              </p:cNvCxnSpPr>
              <p:nvPr/>
            </p:nvCxnSpPr>
            <p:spPr>
              <a:xfrm flipV="1">
                <a:off x="2326132" y="4606878"/>
                <a:ext cx="999027" cy="557870"/>
              </a:xfrm>
              <a:prstGeom prst="line">
                <a:avLst/>
              </a:prstGeom>
              <a:ln w="5080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V="1">
                <a:off x="3323926" y="4597019"/>
                <a:ext cx="840030" cy="2671"/>
              </a:xfrm>
              <a:prstGeom prst="line">
                <a:avLst/>
              </a:prstGeom>
              <a:ln w="5080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stCxn id="76" idx="5"/>
                <a:endCxn id="80" idx="16"/>
              </p:cNvCxnSpPr>
              <p:nvPr/>
            </p:nvCxnSpPr>
            <p:spPr>
              <a:xfrm flipV="1">
                <a:off x="4168110" y="4005919"/>
                <a:ext cx="781930" cy="598799"/>
              </a:xfrm>
              <a:prstGeom prst="line">
                <a:avLst/>
              </a:prstGeom>
              <a:ln w="5080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V="1">
                <a:off x="4911739" y="3963024"/>
                <a:ext cx="862612" cy="14488"/>
              </a:xfrm>
              <a:prstGeom prst="line">
                <a:avLst/>
              </a:prstGeom>
              <a:ln w="50800">
                <a:solidFill>
                  <a:srgbClr val="FFFF00"/>
                </a:solidFill>
              </a:ln>
            </p:spPr>
            <p:style>
              <a:lnRef idx="1">
                <a:schemeClr val="accent1"/>
              </a:lnRef>
              <a:fillRef idx="0">
                <a:schemeClr val="accent1"/>
              </a:fillRef>
              <a:effectRef idx="0">
                <a:schemeClr val="accent1"/>
              </a:effectRef>
              <a:fontRef idx="minor">
                <a:schemeClr val="tx1"/>
              </a:fontRef>
            </p:style>
          </p:cxnSp>
        </p:grpSp>
        <p:grpSp>
          <p:nvGrpSpPr>
            <p:cNvPr id="50" name="Group 49"/>
            <p:cNvGrpSpPr/>
            <p:nvPr/>
          </p:nvGrpSpPr>
          <p:grpSpPr>
            <a:xfrm>
              <a:off x="817735" y="4577866"/>
              <a:ext cx="3653406" cy="1100433"/>
              <a:chOff x="753844" y="3748168"/>
              <a:chExt cx="4965677" cy="1784401"/>
            </a:xfrm>
          </p:grpSpPr>
          <p:cxnSp>
            <p:nvCxnSpPr>
              <p:cNvPr id="51" name="Straight Connector 50"/>
              <p:cNvCxnSpPr>
                <a:stCxn id="70" idx="1"/>
                <a:endCxn id="70" idx="2"/>
              </p:cNvCxnSpPr>
              <p:nvPr/>
            </p:nvCxnSpPr>
            <p:spPr>
              <a:xfrm>
                <a:off x="753844" y="5532569"/>
                <a:ext cx="498347" cy="0"/>
              </a:xfrm>
              <a:prstGeom prst="line">
                <a:avLst/>
              </a:prstGeom>
              <a:ln w="5080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70" idx="2"/>
                <a:endCxn id="70" idx="3"/>
              </p:cNvCxnSpPr>
              <p:nvPr/>
            </p:nvCxnSpPr>
            <p:spPr>
              <a:xfrm flipV="1">
                <a:off x="1252191" y="4619620"/>
                <a:ext cx="711925" cy="912949"/>
              </a:xfrm>
              <a:prstGeom prst="line">
                <a:avLst/>
              </a:prstGeom>
              <a:ln w="5080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70" idx="3"/>
                <a:endCxn id="70" idx="4"/>
              </p:cNvCxnSpPr>
              <p:nvPr/>
            </p:nvCxnSpPr>
            <p:spPr>
              <a:xfrm flipV="1">
                <a:off x="1964117" y="4609245"/>
                <a:ext cx="1094585" cy="10375"/>
              </a:xfrm>
              <a:prstGeom prst="line">
                <a:avLst/>
              </a:prstGeom>
              <a:ln w="5080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stCxn id="70" idx="4"/>
                <a:endCxn id="70" idx="5"/>
              </p:cNvCxnSpPr>
              <p:nvPr/>
            </p:nvCxnSpPr>
            <p:spPr>
              <a:xfrm flipV="1">
                <a:off x="3058702" y="3748168"/>
                <a:ext cx="569539" cy="861077"/>
              </a:xfrm>
              <a:prstGeom prst="line">
                <a:avLst/>
              </a:prstGeom>
              <a:ln w="5080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a:stCxn id="70" idx="5"/>
                <a:endCxn id="70" idx="6"/>
              </p:cNvCxnSpPr>
              <p:nvPr/>
            </p:nvCxnSpPr>
            <p:spPr>
              <a:xfrm>
                <a:off x="3628241" y="3748168"/>
                <a:ext cx="2091280" cy="10373"/>
              </a:xfrm>
              <a:prstGeom prst="line">
                <a:avLst/>
              </a:prstGeom>
              <a:ln w="50800">
                <a:solidFill>
                  <a:srgbClr val="FFFF00"/>
                </a:solidFill>
              </a:ln>
            </p:spPr>
            <p:style>
              <a:lnRef idx="1">
                <a:schemeClr val="accent1"/>
              </a:lnRef>
              <a:fillRef idx="0">
                <a:schemeClr val="accent1"/>
              </a:fillRef>
              <a:effectRef idx="0">
                <a:schemeClr val="accent1"/>
              </a:effectRef>
              <a:fontRef idx="minor">
                <a:schemeClr val="tx1"/>
              </a:fontRef>
            </p:style>
          </p:cxnSp>
        </p:grpSp>
      </p:grpSp>
      <p:sp>
        <p:nvSpPr>
          <p:cNvPr id="82" name="Freeform 81"/>
          <p:cNvSpPr/>
          <p:nvPr/>
        </p:nvSpPr>
        <p:spPr>
          <a:xfrm>
            <a:off x="6735399" y="4134819"/>
            <a:ext cx="3776039" cy="1457704"/>
          </a:xfrm>
          <a:custGeom>
            <a:avLst/>
            <a:gdLst>
              <a:gd name="connsiteX0" fmla="*/ 0 w 6381750"/>
              <a:gd name="connsiteY0" fmla="*/ 2479798 h 2479798"/>
              <a:gd name="connsiteX1" fmla="*/ 476250 w 6381750"/>
              <a:gd name="connsiteY1" fmla="*/ 1898773 h 2479798"/>
              <a:gd name="connsiteX2" fmla="*/ 1085850 w 6381750"/>
              <a:gd name="connsiteY2" fmla="*/ 2117848 h 2479798"/>
              <a:gd name="connsiteX3" fmla="*/ 2324100 w 6381750"/>
              <a:gd name="connsiteY3" fmla="*/ 1022473 h 2479798"/>
              <a:gd name="connsiteX4" fmla="*/ 3371850 w 6381750"/>
              <a:gd name="connsiteY4" fmla="*/ 1765423 h 2479798"/>
              <a:gd name="connsiteX5" fmla="*/ 3905250 w 6381750"/>
              <a:gd name="connsiteY5" fmla="*/ 2232148 h 2479798"/>
              <a:gd name="connsiteX6" fmla="*/ 4362450 w 6381750"/>
              <a:gd name="connsiteY6" fmla="*/ 31873 h 2479798"/>
              <a:gd name="connsiteX7" fmla="*/ 4867275 w 6381750"/>
              <a:gd name="connsiteY7" fmla="*/ 1012948 h 2479798"/>
              <a:gd name="connsiteX8" fmla="*/ 5172075 w 6381750"/>
              <a:gd name="connsiteY8" fmla="*/ 2213098 h 2479798"/>
              <a:gd name="connsiteX9" fmla="*/ 5791200 w 6381750"/>
              <a:gd name="connsiteY9" fmla="*/ 1984498 h 2479798"/>
              <a:gd name="connsiteX10" fmla="*/ 6381750 w 6381750"/>
              <a:gd name="connsiteY10" fmla="*/ 1955923 h 2479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81750" h="2479798">
                <a:moveTo>
                  <a:pt x="0" y="2479798"/>
                </a:moveTo>
                <a:cubicBezTo>
                  <a:pt x="147637" y="2219448"/>
                  <a:pt x="295275" y="1959098"/>
                  <a:pt x="476250" y="1898773"/>
                </a:cubicBezTo>
                <a:cubicBezTo>
                  <a:pt x="657225" y="1838448"/>
                  <a:pt x="777875" y="2263898"/>
                  <a:pt x="1085850" y="2117848"/>
                </a:cubicBezTo>
                <a:cubicBezTo>
                  <a:pt x="1393825" y="1971798"/>
                  <a:pt x="1943100" y="1081210"/>
                  <a:pt x="2324100" y="1022473"/>
                </a:cubicBezTo>
                <a:cubicBezTo>
                  <a:pt x="2705100" y="963736"/>
                  <a:pt x="3108325" y="1563811"/>
                  <a:pt x="3371850" y="1765423"/>
                </a:cubicBezTo>
                <a:cubicBezTo>
                  <a:pt x="3635375" y="1967035"/>
                  <a:pt x="3740150" y="2521073"/>
                  <a:pt x="3905250" y="2232148"/>
                </a:cubicBezTo>
                <a:cubicBezTo>
                  <a:pt x="4070350" y="1943223"/>
                  <a:pt x="4202113" y="235073"/>
                  <a:pt x="4362450" y="31873"/>
                </a:cubicBezTo>
                <a:cubicBezTo>
                  <a:pt x="4522787" y="-171327"/>
                  <a:pt x="4732337" y="649410"/>
                  <a:pt x="4867275" y="1012948"/>
                </a:cubicBezTo>
                <a:cubicBezTo>
                  <a:pt x="5002213" y="1376486"/>
                  <a:pt x="5018088" y="2051173"/>
                  <a:pt x="5172075" y="2213098"/>
                </a:cubicBezTo>
                <a:cubicBezTo>
                  <a:pt x="5326062" y="2375023"/>
                  <a:pt x="5589588" y="2027360"/>
                  <a:pt x="5791200" y="1984498"/>
                </a:cubicBezTo>
                <a:cubicBezTo>
                  <a:pt x="5992812" y="1941636"/>
                  <a:pt x="6187281" y="1948779"/>
                  <a:pt x="6381750" y="1955923"/>
                </a:cubicBezTo>
              </a:path>
            </a:pathLst>
          </a:custGeom>
          <a:ln w="63500">
            <a:solidFill>
              <a:srgbClr val="FF0000"/>
            </a:solidFill>
          </a:ln>
        </p:spPr>
        <p:style>
          <a:lnRef idx="3">
            <a:schemeClr val="accent3"/>
          </a:lnRef>
          <a:fillRef idx="0">
            <a:schemeClr val="accent3"/>
          </a:fillRef>
          <a:effectRef idx="2">
            <a:schemeClr val="accent3"/>
          </a:effectRef>
          <a:fontRef idx="minor">
            <a:schemeClr val="tx1"/>
          </a:fontRef>
        </p:style>
        <p:txBody>
          <a:bodyPr rtlCol="0" anchor="ctr"/>
          <a:lstStyle/>
          <a:p>
            <a:pPr algn="ctr" defTabSz="685670"/>
            <a:endParaRPr lang="en-US" sz="1425" dirty="0">
              <a:solidFill>
                <a:srgbClr val="FFFFFF"/>
              </a:solidFill>
            </a:endParaRPr>
          </a:p>
        </p:txBody>
      </p:sp>
      <p:sp>
        <p:nvSpPr>
          <p:cNvPr id="83" name="Freeform 82"/>
          <p:cNvSpPr/>
          <p:nvPr/>
        </p:nvSpPr>
        <p:spPr>
          <a:xfrm>
            <a:off x="6726593" y="3959019"/>
            <a:ext cx="3781675" cy="1618912"/>
          </a:xfrm>
          <a:custGeom>
            <a:avLst/>
            <a:gdLst>
              <a:gd name="connsiteX0" fmla="*/ 0 w 6391275"/>
              <a:gd name="connsiteY0" fmla="*/ 2157988 h 2157988"/>
              <a:gd name="connsiteX1" fmla="*/ 381000 w 6391275"/>
              <a:gd name="connsiteY1" fmla="*/ 1691263 h 2157988"/>
              <a:gd name="connsiteX2" fmla="*/ 733425 w 6391275"/>
              <a:gd name="connsiteY2" fmla="*/ 1643638 h 2157988"/>
              <a:gd name="connsiteX3" fmla="*/ 971550 w 6391275"/>
              <a:gd name="connsiteY3" fmla="*/ 1796038 h 2157988"/>
              <a:gd name="connsiteX4" fmla="*/ 1343025 w 6391275"/>
              <a:gd name="connsiteY4" fmla="*/ 1853188 h 2157988"/>
              <a:gd name="connsiteX5" fmla="*/ 2000250 w 6391275"/>
              <a:gd name="connsiteY5" fmla="*/ 1034038 h 2157988"/>
              <a:gd name="connsiteX6" fmla="*/ 2466975 w 6391275"/>
              <a:gd name="connsiteY6" fmla="*/ 881638 h 2157988"/>
              <a:gd name="connsiteX7" fmla="*/ 2981325 w 6391275"/>
              <a:gd name="connsiteY7" fmla="*/ 1186438 h 2157988"/>
              <a:gd name="connsiteX8" fmla="*/ 3762375 w 6391275"/>
              <a:gd name="connsiteY8" fmla="*/ 1738888 h 2157988"/>
              <a:gd name="connsiteX9" fmla="*/ 4086225 w 6391275"/>
              <a:gd name="connsiteY9" fmla="*/ 1538863 h 2157988"/>
              <a:gd name="connsiteX10" fmla="*/ 4267200 w 6391275"/>
              <a:gd name="connsiteY10" fmla="*/ 81538 h 2157988"/>
              <a:gd name="connsiteX11" fmla="*/ 4648200 w 6391275"/>
              <a:gd name="connsiteY11" fmla="*/ 252988 h 2157988"/>
              <a:gd name="connsiteX12" fmla="*/ 5029200 w 6391275"/>
              <a:gd name="connsiteY12" fmla="*/ 824488 h 2157988"/>
              <a:gd name="connsiteX13" fmla="*/ 5372100 w 6391275"/>
              <a:gd name="connsiteY13" fmla="*/ 1738888 h 2157988"/>
              <a:gd name="connsiteX14" fmla="*/ 5810250 w 6391275"/>
              <a:gd name="connsiteY14" fmla="*/ 1643638 h 2157988"/>
              <a:gd name="connsiteX15" fmla="*/ 6391275 w 6391275"/>
              <a:gd name="connsiteY15" fmla="*/ 1615063 h 215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91275" h="2157988">
                <a:moveTo>
                  <a:pt x="0" y="2157988"/>
                </a:moveTo>
                <a:cubicBezTo>
                  <a:pt x="129381" y="1967488"/>
                  <a:pt x="258763" y="1776988"/>
                  <a:pt x="381000" y="1691263"/>
                </a:cubicBezTo>
                <a:cubicBezTo>
                  <a:pt x="503238" y="1605538"/>
                  <a:pt x="635000" y="1626175"/>
                  <a:pt x="733425" y="1643638"/>
                </a:cubicBezTo>
                <a:cubicBezTo>
                  <a:pt x="831850" y="1661100"/>
                  <a:pt x="869950" y="1761113"/>
                  <a:pt x="971550" y="1796038"/>
                </a:cubicBezTo>
                <a:cubicBezTo>
                  <a:pt x="1073150" y="1830963"/>
                  <a:pt x="1171575" y="1980188"/>
                  <a:pt x="1343025" y="1853188"/>
                </a:cubicBezTo>
                <a:cubicBezTo>
                  <a:pt x="1514475" y="1726188"/>
                  <a:pt x="1812925" y="1195963"/>
                  <a:pt x="2000250" y="1034038"/>
                </a:cubicBezTo>
                <a:cubicBezTo>
                  <a:pt x="2187575" y="872113"/>
                  <a:pt x="2303463" y="856238"/>
                  <a:pt x="2466975" y="881638"/>
                </a:cubicBezTo>
                <a:cubicBezTo>
                  <a:pt x="2630488" y="907038"/>
                  <a:pt x="2765425" y="1043563"/>
                  <a:pt x="2981325" y="1186438"/>
                </a:cubicBezTo>
                <a:cubicBezTo>
                  <a:pt x="3197225" y="1329313"/>
                  <a:pt x="3578225" y="1680150"/>
                  <a:pt x="3762375" y="1738888"/>
                </a:cubicBezTo>
                <a:cubicBezTo>
                  <a:pt x="3946525" y="1797625"/>
                  <a:pt x="4002088" y="1815088"/>
                  <a:pt x="4086225" y="1538863"/>
                </a:cubicBezTo>
                <a:cubicBezTo>
                  <a:pt x="4170362" y="1262638"/>
                  <a:pt x="4173538" y="295850"/>
                  <a:pt x="4267200" y="81538"/>
                </a:cubicBezTo>
                <a:cubicBezTo>
                  <a:pt x="4360862" y="-132774"/>
                  <a:pt x="4521200" y="129163"/>
                  <a:pt x="4648200" y="252988"/>
                </a:cubicBezTo>
                <a:cubicBezTo>
                  <a:pt x="4775200" y="376813"/>
                  <a:pt x="4908550" y="576838"/>
                  <a:pt x="5029200" y="824488"/>
                </a:cubicBezTo>
                <a:cubicBezTo>
                  <a:pt x="5149850" y="1072138"/>
                  <a:pt x="5241925" y="1602363"/>
                  <a:pt x="5372100" y="1738888"/>
                </a:cubicBezTo>
                <a:cubicBezTo>
                  <a:pt x="5502275" y="1875413"/>
                  <a:pt x="5640388" y="1664275"/>
                  <a:pt x="5810250" y="1643638"/>
                </a:cubicBezTo>
                <a:cubicBezTo>
                  <a:pt x="5980112" y="1623001"/>
                  <a:pt x="6185693" y="1619032"/>
                  <a:pt x="6391275" y="1615063"/>
                </a:cubicBezTo>
              </a:path>
            </a:pathLst>
          </a:custGeom>
          <a:ln w="63500">
            <a:solidFill>
              <a:srgbClr val="FFFF00"/>
            </a:solidFill>
          </a:ln>
        </p:spPr>
        <p:style>
          <a:lnRef idx="2">
            <a:schemeClr val="accent2"/>
          </a:lnRef>
          <a:fillRef idx="0">
            <a:schemeClr val="accent2"/>
          </a:fillRef>
          <a:effectRef idx="1">
            <a:schemeClr val="accent2"/>
          </a:effectRef>
          <a:fontRef idx="minor">
            <a:schemeClr val="tx1"/>
          </a:fontRef>
        </p:style>
        <p:txBody>
          <a:bodyPr rtlCol="0" anchor="ctr"/>
          <a:lstStyle/>
          <a:p>
            <a:pPr algn="ctr" defTabSz="685670"/>
            <a:endParaRPr lang="en-US" sz="1425" dirty="0">
              <a:solidFill>
                <a:srgbClr val="FFFFFF"/>
              </a:solidFill>
            </a:endParaRPr>
          </a:p>
        </p:txBody>
      </p:sp>
      <p:sp>
        <p:nvSpPr>
          <p:cNvPr id="84" name="Title 2"/>
          <p:cNvSpPr txBox="1">
            <a:spLocks/>
          </p:cNvSpPr>
          <p:nvPr/>
        </p:nvSpPr>
        <p:spPr>
          <a:xfrm>
            <a:off x="2804160" y="129134"/>
            <a:ext cx="7467600" cy="563562"/>
          </a:xfrm>
          <a:prstGeom prst="rect">
            <a:avLst/>
          </a:prstGeom>
        </p:spPr>
        <p:txBody>
          <a:bodyPr vert="horz" lIns="91440" tIns="45720" rIns="91440" bIns="45720" rtlCol="0" anchor="ctr">
            <a:normAutofit fontScale="97500" lnSpcReduction="10000"/>
          </a:bodyPr>
          <a:lstStyle>
            <a:lvl1pPr>
              <a:defRPr lang="en-US" sz="3200" b="0" dirty="0" smtClean="0">
                <a:solidFill>
                  <a:schemeClr val="bg1"/>
                </a:solidFill>
                <a:latin typeface="Segoe UI Symbol" panose="020B0502040204020203" pitchFamily="34" charset="0"/>
                <a:ea typeface="Segoe UI Symbol" panose="020B0502040204020203" pitchFamily="34" charset="0"/>
                <a:cs typeface="+mj-cs"/>
              </a:defRPr>
            </a:lvl1pPr>
          </a:lstStyle>
          <a:p>
            <a:r>
              <a:rPr lang="en-US" b="1" u="sng" dirty="0">
                <a:solidFill>
                  <a:schemeClr val="tx1"/>
                </a:solidFill>
                <a:effectLst>
                  <a:outerShdw blurRad="38100" dist="38100" dir="2700000" algn="tl">
                    <a:srgbClr val="000000">
                      <a:alpha val="43137"/>
                    </a:srgbClr>
                  </a:outerShdw>
                </a:effectLst>
              </a:rPr>
              <a:t>Elasticity-Provision Vs Workload</a:t>
            </a:r>
          </a:p>
        </p:txBody>
      </p:sp>
    </p:spTree>
    <p:extLst>
      <p:ext uri="{BB962C8B-B14F-4D97-AF65-F5344CB8AC3E}">
        <p14:creationId xmlns:p14="http://schemas.microsoft.com/office/powerpoint/2010/main" val="1213190027"/>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childTnLst>
                          </p:cTn>
                        </p:par>
                        <p:par>
                          <p:cTn id="13" fill="hold">
                            <p:stCondLst>
                              <p:cond delay="500"/>
                            </p:stCondLst>
                            <p:childTnLst>
                              <p:par>
                                <p:cTn id="14" presetID="22" presetClass="entr" presetSubtype="8" fill="hold" grpId="0" nodeType="afterEffect">
                                  <p:stCondLst>
                                    <p:cond delay="0"/>
                                  </p:stCondLst>
                                  <p:childTnLst>
                                    <p:set>
                                      <p:cBhvr>
                                        <p:cTn id="15" dur="1" fill="hold">
                                          <p:stCondLst>
                                            <p:cond delay="0"/>
                                          </p:stCondLst>
                                        </p:cTn>
                                        <p:tgtEl>
                                          <p:spTgt spid="82"/>
                                        </p:tgtEl>
                                        <p:attrNameLst>
                                          <p:attrName>style.visibility</p:attrName>
                                        </p:attrNameLst>
                                      </p:cBhvr>
                                      <p:to>
                                        <p:strVal val="visible"/>
                                      </p:to>
                                    </p:set>
                                    <p:animEffect transition="in" filter="wipe(left)">
                                      <p:cBhvr>
                                        <p:cTn id="16" dur="3000"/>
                                        <p:tgtEl>
                                          <p:spTgt spid="82"/>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83"/>
                                        </p:tgtEl>
                                        <p:attrNameLst>
                                          <p:attrName>style.visibility</p:attrName>
                                        </p:attrNameLst>
                                      </p:cBhvr>
                                      <p:to>
                                        <p:strVal val="visible"/>
                                      </p:to>
                                    </p:set>
                                    <p:animEffect transition="in" filter="wipe(left)">
                                      <p:cBhvr>
                                        <p:cTn id="21" dur="3000"/>
                                        <p:tgtEl>
                                          <p:spTgt spid="83"/>
                                        </p:tgtEl>
                                      </p:cBhvr>
                                    </p:animEffect>
                                  </p:childTnLst>
                                </p:cTn>
                              </p:par>
                            </p:childTnLst>
                          </p:cTn>
                        </p:par>
                        <p:par>
                          <p:cTn id="22" fill="hold">
                            <p:stCondLst>
                              <p:cond delay="3000"/>
                            </p:stCondLst>
                            <p:childTnLst>
                              <p:par>
                                <p:cTn id="23" presetID="22" presetClass="entr" presetSubtype="8" fill="hold" nodeType="after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wipe(left)">
                                      <p:cBhvr>
                                        <p:cTn id="25"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83" grpId="0"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6" name="Straight Connector 65"/>
          <p:cNvCxnSpPr/>
          <p:nvPr/>
        </p:nvCxnSpPr>
        <p:spPr>
          <a:xfrm>
            <a:off x="8960280" y="1596815"/>
            <a:ext cx="873347" cy="1757483"/>
          </a:xfrm>
          <a:prstGeom prst="line">
            <a:avLst/>
          </a:prstGeom>
          <a:ln w="254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7889682" y="1632329"/>
            <a:ext cx="692237" cy="1721969"/>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rmAutofit/>
          </a:bodyPr>
          <a:lstStyle/>
          <a:p>
            <a:r>
              <a:rPr lang="en-US" sz="3600" b="1" u="sng" dirty="0" smtClean="0">
                <a:effectLst>
                  <a:outerShdw blurRad="38100" dist="38100" dir="2700000" algn="tl">
                    <a:srgbClr val="000000">
                      <a:alpha val="43137"/>
                    </a:srgbClr>
                  </a:outerShdw>
                </a:effectLst>
              </a:rPr>
              <a:t>Reserved IPs</a:t>
            </a:r>
            <a:endParaRPr lang="en-US" sz="3600" b="1" u="sng" dirty="0">
              <a:effectLst>
                <a:outerShdw blurRad="38100" dist="38100" dir="2700000" algn="tl">
                  <a:srgbClr val="000000">
                    <a:alpha val="43137"/>
                  </a:srgbClr>
                </a:outerShdw>
              </a:effectLst>
            </a:endParaRPr>
          </a:p>
        </p:txBody>
      </p:sp>
      <p:sp>
        <p:nvSpPr>
          <p:cNvPr id="3" name="Text Placeholder 2"/>
          <p:cNvSpPr>
            <a:spLocks noGrp="1"/>
          </p:cNvSpPr>
          <p:nvPr>
            <p:ph type="body" sz="quarter" idx="11"/>
          </p:nvPr>
        </p:nvSpPr>
        <p:spPr>
          <a:xfrm>
            <a:off x="269241" y="1629589"/>
            <a:ext cx="6010377" cy="3608647"/>
          </a:xfrm>
          <a:prstGeom prst="rect">
            <a:avLst/>
          </a:prstGeom>
        </p:spPr>
        <p:txBody>
          <a:bodyPr>
            <a:normAutofit lnSpcReduction="10000"/>
          </a:bodyPr>
          <a:lstStyle/>
          <a:p>
            <a:pPr marL="457200" indent="-457200">
              <a:buFont typeface="Arial" panose="020B0604020202020204" pitchFamily="34" charset="0"/>
              <a:buChar char="•"/>
            </a:pPr>
            <a:r>
              <a:rPr lang="en-US" sz="3137" dirty="0"/>
              <a:t>Retain your IP addresses</a:t>
            </a:r>
          </a:p>
          <a:p>
            <a:pPr>
              <a:buFont typeface="Arial" panose="020B0604020202020204" pitchFamily="34" charset="0"/>
              <a:buChar char="•"/>
            </a:pPr>
            <a:endParaRPr lang="en-US" sz="3137" dirty="0"/>
          </a:p>
          <a:p>
            <a:pPr marL="457200" indent="-457200">
              <a:buFont typeface="Arial" panose="020B0604020202020204" pitchFamily="34" charset="0"/>
              <a:buChar char="•"/>
            </a:pPr>
            <a:r>
              <a:rPr lang="en-US" sz="3137" dirty="0"/>
              <a:t>IPs on existing services can be reserved</a:t>
            </a:r>
          </a:p>
          <a:p>
            <a:pPr>
              <a:buFont typeface="Arial" panose="020B0604020202020204" pitchFamily="34" charset="0"/>
              <a:buChar char="•"/>
            </a:pPr>
            <a:endParaRPr lang="en-US" sz="3137" dirty="0"/>
          </a:p>
          <a:p>
            <a:pPr marL="457200" indent="-457200">
              <a:buFont typeface="Arial" panose="020B0604020202020204" pitchFamily="34" charset="0"/>
              <a:buChar char="•"/>
            </a:pPr>
            <a:r>
              <a:rPr lang="en-US" sz="3137" dirty="0"/>
              <a:t>IPs can be moved between services in seconds </a:t>
            </a:r>
          </a:p>
        </p:txBody>
      </p:sp>
      <p:sp>
        <p:nvSpPr>
          <p:cNvPr id="29" name="TextBox 28"/>
          <p:cNvSpPr txBox="1"/>
          <p:nvPr/>
        </p:nvSpPr>
        <p:spPr>
          <a:xfrm>
            <a:off x="6147664" y="5878251"/>
            <a:ext cx="3137487"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tx2"/>
                </a:solidFill>
              </a:rPr>
              <a:t>Cloud Service 1</a:t>
            </a:r>
          </a:p>
        </p:txBody>
      </p:sp>
      <p:sp>
        <p:nvSpPr>
          <p:cNvPr id="30" name="TextBox 29"/>
          <p:cNvSpPr txBox="1"/>
          <p:nvPr/>
        </p:nvSpPr>
        <p:spPr>
          <a:xfrm>
            <a:off x="9236936" y="5893395"/>
            <a:ext cx="3137487"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tx2"/>
                </a:solidFill>
              </a:rPr>
              <a:t>Cloud Service 2</a:t>
            </a:r>
          </a:p>
        </p:txBody>
      </p:sp>
      <p:sp>
        <p:nvSpPr>
          <p:cNvPr id="31" name="Rounded Rectangle 30"/>
          <p:cNvSpPr/>
          <p:nvPr/>
        </p:nvSpPr>
        <p:spPr bwMode="auto">
          <a:xfrm>
            <a:off x="7141829" y="2756681"/>
            <a:ext cx="3286891" cy="597617"/>
          </a:xfrm>
          <a:prstGeom prst="roundRect">
            <a:avLst/>
          </a:prstGeom>
          <a:ln w="3175">
            <a:no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a:gradFill>
                  <a:gsLst>
                    <a:gs pos="0">
                      <a:srgbClr val="FFFFFF"/>
                    </a:gs>
                    <a:gs pos="100000">
                      <a:srgbClr val="FFFFFF"/>
                    </a:gs>
                  </a:gsLst>
                  <a:lin ang="5400000" scaled="0"/>
                </a:gradFill>
              </a:rPr>
              <a:t>Azure Load Balancer</a:t>
            </a:r>
            <a:endParaRPr lang="en-US" sz="1961" dirty="0">
              <a:gradFill>
                <a:gsLst>
                  <a:gs pos="0">
                    <a:srgbClr val="FFFFFF"/>
                  </a:gs>
                  <a:gs pos="100000">
                    <a:srgbClr val="FFFFFF"/>
                  </a:gs>
                </a:gsLst>
                <a:lin ang="5400000" scaled="0"/>
              </a:gradFill>
            </a:endParaRPr>
          </a:p>
        </p:txBody>
      </p:sp>
      <p:pic>
        <p:nvPicPr>
          <p:cNvPr id="32" name="Picture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20852" y="4309151"/>
            <a:ext cx="919773" cy="919773"/>
          </a:xfrm>
          <a:prstGeom prst="rect">
            <a:avLst/>
          </a:prstGeom>
        </p:spPr>
      </p:pic>
      <p:pic>
        <p:nvPicPr>
          <p:cNvPr id="33"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29795" y="4769037"/>
            <a:ext cx="919773" cy="919773"/>
          </a:xfrm>
          <a:prstGeom prst="rect">
            <a:avLst/>
          </a:prstGeom>
        </p:spPr>
      </p:pic>
      <p:pic>
        <p:nvPicPr>
          <p:cNvPr id="34" name="Picture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373739" y="4361611"/>
            <a:ext cx="919773" cy="919773"/>
          </a:xfrm>
          <a:prstGeom prst="rect">
            <a:avLst/>
          </a:prstGeom>
        </p:spPr>
      </p:pic>
      <p:pic>
        <p:nvPicPr>
          <p:cNvPr id="35"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82683" y="4821497"/>
            <a:ext cx="919773" cy="919773"/>
          </a:xfrm>
          <a:prstGeom prst="rect">
            <a:avLst/>
          </a:prstGeom>
        </p:spPr>
      </p:pic>
      <p:cxnSp>
        <p:nvCxnSpPr>
          <p:cNvPr id="47" name="Straight Arrow Connector 46"/>
          <p:cNvCxnSpPr/>
          <p:nvPr/>
        </p:nvCxnSpPr>
        <p:spPr>
          <a:xfrm flipH="1">
            <a:off x="7291232" y="3354298"/>
            <a:ext cx="598450" cy="954853"/>
          </a:xfrm>
          <a:prstGeom prst="straightConnector1">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7889682" y="3354298"/>
            <a:ext cx="223274" cy="1414740"/>
          </a:xfrm>
          <a:prstGeom prst="straightConnector1">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H="1">
            <a:off x="9606997" y="3354298"/>
            <a:ext cx="226629" cy="1007313"/>
          </a:xfrm>
          <a:prstGeom prst="straightConnector1">
            <a:avLst/>
          </a:prstGeom>
          <a:ln w="25400">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endCxn id="35" idx="0"/>
          </p:cNvCxnSpPr>
          <p:nvPr/>
        </p:nvCxnSpPr>
        <p:spPr>
          <a:xfrm>
            <a:off x="9833626" y="3354298"/>
            <a:ext cx="908944" cy="1467200"/>
          </a:xfrm>
          <a:prstGeom prst="straightConnector1">
            <a:avLst/>
          </a:prstGeom>
          <a:ln w="25400">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ounded Rectangle 73"/>
          <p:cNvSpPr/>
          <p:nvPr/>
        </p:nvSpPr>
        <p:spPr bwMode="auto">
          <a:xfrm>
            <a:off x="6097161" y="4087898"/>
            <a:ext cx="2652487" cy="1856951"/>
          </a:xfrm>
          <a:prstGeom prst="round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75" name="Rounded Rectangle 74"/>
          <p:cNvSpPr/>
          <p:nvPr/>
        </p:nvSpPr>
        <p:spPr bwMode="auto">
          <a:xfrm>
            <a:off x="9076500" y="4097865"/>
            <a:ext cx="2652487" cy="1856951"/>
          </a:xfrm>
          <a:prstGeom prst="round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cxnSp>
        <p:nvCxnSpPr>
          <p:cNvPr id="83" name="Straight Arrow Connector 82"/>
          <p:cNvCxnSpPr/>
          <p:nvPr/>
        </p:nvCxnSpPr>
        <p:spPr>
          <a:xfrm>
            <a:off x="8001318" y="3653106"/>
            <a:ext cx="171899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a:off x="8223470" y="3312804"/>
            <a:ext cx="1274012" cy="724143"/>
          </a:xfrm>
          <a:prstGeom prst="rect">
            <a:avLst/>
          </a:prstGeom>
          <a:noFill/>
        </p:spPr>
        <p:txBody>
          <a:bodyPr wrap="square" lIns="179285" tIns="143428" rIns="179285" bIns="143428" rtlCol="0">
            <a:spAutoFit/>
          </a:bodyPr>
          <a:lstStyle/>
          <a:p>
            <a:pPr>
              <a:lnSpc>
                <a:spcPct val="90000"/>
              </a:lnSpc>
              <a:spcAft>
                <a:spcPts val="588"/>
              </a:spcAft>
            </a:pPr>
            <a:r>
              <a:rPr lang="en-US" sz="1568" dirty="0">
                <a:solidFill>
                  <a:schemeClr val="tx2"/>
                </a:solidFill>
              </a:rPr>
              <a:t>Reserved IP Moves</a:t>
            </a:r>
          </a:p>
        </p:txBody>
      </p:sp>
      <p:sp>
        <p:nvSpPr>
          <p:cNvPr id="87" name="TextBox 86"/>
          <p:cNvSpPr txBox="1"/>
          <p:nvPr/>
        </p:nvSpPr>
        <p:spPr>
          <a:xfrm>
            <a:off x="8061415" y="1927625"/>
            <a:ext cx="1462971" cy="506901"/>
          </a:xfrm>
          <a:prstGeom prst="rect">
            <a:avLst/>
          </a:prstGeom>
          <a:solidFill>
            <a:schemeClr val="accent6"/>
          </a:solidFill>
        </p:spPr>
        <p:txBody>
          <a:bodyPr wrap="square" lIns="179285" tIns="143428" rIns="179285" bIns="143428" rtlCol="0">
            <a:spAutoFit/>
          </a:bodyPr>
          <a:lstStyle/>
          <a:p>
            <a:pPr>
              <a:lnSpc>
                <a:spcPct val="90000"/>
              </a:lnSpc>
              <a:spcAft>
                <a:spcPts val="588"/>
              </a:spcAft>
            </a:pPr>
            <a:r>
              <a:rPr lang="en-US" sz="1568" b="1" dirty="0">
                <a:solidFill>
                  <a:srgbClr val="FFFFFF"/>
                </a:solidFill>
                <a:effectLst>
                  <a:outerShdw blurRad="38100" dist="38100" dir="2700000" algn="tl">
                    <a:srgbClr val="000000">
                      <a:alpha val="43137"/>
                    </a:srgbClr>
                  </a:outerShdw>
                </a:effectLst>
              </a:rPr>
              <a:t>Reserved IP</a:t>
            </a:r>
            <a:endParaRPr lang="en-US" sz="1568" dirty="0">
              <a:solidFill>
                <a:srgbClr val="FFFFFF"/>
              </a:solidFill>
              <a:effectLst>
                <a:outerShdw blurRad="38100" dist="38100" dir="2700000" algn="tl">
                  <a:srgbClr val="000000">
                    <a:alpha val="43137"/>
                  </a:srgbClr>
                </a:outerShdw>
              </a:effectLst>
            </a:endParaRPr>
          </a:p>
        </p:txBody>
      </p:sp>
      <p:grpSp>
        <p:nvGrpSpPr>
          <p:cNvPr id="4" name="Group 8"/>
          <p:cNvGrpSpPr/>
          <p:nvPr/>
        </p:nvGrpSpPr>
        <p:grpSpPr>
          <a:xfrm>
            <a:off x="8262360" y="739725"/>
            <a:ext cx="974576" cy="896425"/>
            <a:chOff x="1438858" y="2335312"/>
            <a:chExt cx="1214435" cy="1117050"/>
          </a:xfrm>
        </p:grpSpPr>
        <p:sp>
          <p:nvSpPr>
            <p:cNvPr id="5" name="Oval 15"/>
            <p:cNvSpPr/>
            <p:nvPr/>
          </p:nvSpPr>
          <p:spPr bwMode="auto">
            <a:xfrm>
              <a:off x="1487553" y="2335312"/>
              <a:ext cx="1117050" cy="1117050"/>
            </a:xfrm>
            <a:prstGeom prst="ellipse">
              <a:avLst/>
            </a:prstGeom>
            <a:pattFill prst="ltUpDiag">
              <a:fgClr>
                <a:srgbClr val="CDCDCD"/>
              </a:fgClr>
              <a:bgClr>
                <a:srgbClr val="FFFFFF"/>
              </a:bgClr>
            </a:pattFill>
            <a:ln w="57150" cap="flat" cmpd="sng" algn="ctr">
              <a:solidFill>
                <a:srgbClr val="4F81BD"/>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091" fontAlgn="base">
                <a:lnSpc>
                  <a:spcPct val="90000"/>
                </a:lnSpc>
                <a:spcBef>
                  <a:spcPct val="0"/>
                </a:spcBef>
                <a:spcAft>
                  <a:spcPct val="0"/>
                </a:spcAft>
                <a:defRPr/>
              </a:pPr>
              <a:endParaRPr lang="en-US" sz="2353" kern="0" spc="-49" dirty="0">
                <a:gradFill>
                  <a:gsLst>
                    <a:gs pos="36283">
                      <a:srgbClr val="505050"/>
                    </a:gs>
                    <a:gs pos="28000">
                      <a:srgbClr val="505050"/>
                    </a:gs>
                  </a:gsLst>
                  <a:lin ang="5400000" scaled="0"/>
                </a:gradFill>
                <a:latin typeface="Calibri"/>
              </a:endParaRPr>
            </a:p>
          </p:txBody>
        </p:sp>
        <p:sp>
          <p:nvSpPr>
            <p:cNvPr id="6" name="Freeform 16"/>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1F497D"/>
            </a:solidFill>
            <a:ln>
              <a:noFill/>
            </a:ln>
            <a:extLst/>
          </p:spPr>
          <p:txBody>
            <a:bodyPr vert="horz" wrap="square" lIns="89642" tIns="44821" rIns="89642" bIns="44821" numCol="1" anchor="t" anchorCtr="0" compatLnSpc="1">
              <a:prstTxWarp prst="textNoShape">
                <a:avLst/>
              </a:prstTxWarp>
            </a:bodyPr>
            <a:lstStyle/>
            <a:p>
              <a:pPr defTabSz="914133">
                <a:defRPr/>
              </a:pPr>
              <a:endParaRPr lang="en-US" sz="1765" kern="0">
                <a:solidFill>
                  <a:srgbClr val="00188F"/>
                </a:solidFill>
                <a:latin typeface="Calibri"/>
              </a:endParaRPr>
            </a:p>
          </p:txBody>
        </p:sp>
        <p:sp>
          <p:nvSpPr>
            <p:cNvPr id="7" name="TextBox 17"/>
            <p:cNvSpPr txBox="1"/>
            <p:nvPr/>
          </p:nvSpPr>
          <p:spPr>
            <a:xfrm>
              <a:off x="1438858" y="2771688"/>
              <a:ext cx="1214435" cy="631657"/>
            </a:xfrm>
            <a:prstGeom prst="rect">
              <a:avLst/>
            </a:prstGeom>
            <a:noFill/>
          </p:spPr>
          <p:txBody>
            <a:bodyPr wrap="none" lIns="179285" tIns="143428" rIns="179285" bIns="143428" rtlCol="0" anchor="ctr">
              <a:spAutoFit/>
            </a:bodyPr>
            <a:lstStyle/>
            <a:p>
              <a:pPr algn="ctr" defTabSz="914133">
                <a:lnSpc>
                  <a:spcPct val="90000"/>
                </a:lnSpc>
                <a:defRPr/>
              </a:pPr>
              <a:r>
                <a:rPr lang="en-US" sz="1568" kern="0" spc="-49" dirty="0">
                  <a:solidFill>
                    <a:srgbClr val="00188F"/>
                  </a:solidFill>
                  <a:latin typeface="Calibri"/>
                </a:rPr>
                <a:t>Internet</a:t>
              </a:r>
            </a:p>
          </p:txBody>
        </p:sp>
      </p:grpSp>
    </p:spTree>
    <p:extLst>
      <p:ext uri="{BB962C8B-B14F-4D97-AF65-F5344CB8AC3E}">
        <p14:creationId xmlns:p14="http://schemas.microsoft.com/office/powerpoint/2010/main" val="37580224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9521" y="-274180"/>
            <a:ext cx="10515600" cy="1416368"/>
          </a:xfrm>
        </p:spPr>
        <p:txBody>
          <a:bodyPr/>
          <a:lstStyle/>
          <a:p>
            <a:r>
              <a:rPr lang="en-US" dirty="0" smtClean="0"/>
              <a:t>DNS names for public IP</a:t>
            </a:r>
            <a:endParaRPr lang="en-US" dirty="0"/>
          </a:p>
        </p:txBody>
      </p:sp>
      <p:sp>
        <p:nvSpPr>
          <p:cNvPr id="4" name="Text Placeholder 3"/>
          <p:cNvSpPr>
            <a:spLocks noGrp="1"/>
          </p:cNvSpPr>
          <p:nvPr>
            <p:ph type="body" sz="quarter" idx="10"/>
          </p:nvPr>
        </p:nvSpPr>
        <p:spPr>
          <a:xfrm>
            <a:off x="269241" y="1189494"/>
            <a:ext cx="5939653" cy="4891532"/>
          </a:xfrm>
        </p:spPr>
        <p:txBody>
          <a:bodyPr/>
          <a:lstStyle/>
          <a:p>
            <a:pPr marL="571500" indent="-571500">
              <a:buFont typeface="Arial" panose="020B0604020202020204" pitchFamily="34" charset="0"/>
              <a:buChar char="•"/>
            </a:pPr>
            <a:r>
              <a:rPr lang="en-US" dirty="0"/>
              <a:t>FQDN access to a virtual </a:t>
            </a:r>
            <a:r>
              <a:rPr lang="en-US" dirty="0" smtClean="0"/>
              <a:t>machine</a:t>
            </a:r>
            <a:endParaRPr lang="en-US" dirty="0"/>
          </a:p>
          <a:p>
            <a:pPr marL="571500" indent="-571500">
              <a:buFont typeface="Arial" panose="020B0604020202020204" pitchFamily="34" charset="0"/>
              <a:buChar char="•"/>
            </a:pPr>
            <a:r>
              <a:rPr lang="en-US" dirty="0"/>
              <a:t>Available for virtual machines </a:t>
            </a:r>
            <a:r>
              <a:rPr lang="en-US" dirty="0" smtClean="0"/>
              <a:t>and </a:t>
            </a:r>
            <a:r>
              <a:rPr lang="en-US" dirty="0"/>
              <a:t>web/worker </a:t>
            </a:r>
            <a:r>
              <a:rPr lang="en-US" dirty="0" smtClean="0"/>
              <a:t>roles</a:t>
            </a:r>
            <a:endParaRPr lang="en-US" dirty="0"/>
          </a:p>
          <a:p>
            <a:pPr marL="571500" indent="-571500">
              <a:buFont typeface="Arial" panose="020B0604020202020204" pitchFamily="34" charset="0"/>
              <a:buChar char="•"/>
            </a:pPr>
            <a:r>
              <a:rPr lang="en-US" dirty="0"/>
              <a:t>Automatic DNS registration/de-registration during </a:t>
            </a:r>
            <a:r>
              <a:rPr lang="en-US" dirty="0" smtClean="0"/>
              <a:t>scale-up, scale-down</a:t>
            </a:r>
            <a:endParaRPr lang="en-US" dirty="0"/>
          </a:p>
        </p:txBody>
      </p:sp>
      <p:grpSp>
        <p:nvGrpSpPr>
          <p:cNvPr id="6" name="Group 5"/>
          <p:cNvGrpSpPr/>
          <p:nvPr/>
        </p:nvGrpSpPr>
        <p:grpSpPr>
          <a:xfrm>
            <a:off x="8297991" y="879326"/>
            <a:ext cx="1204041" cy="1209706"/>
            <a:chOff x="1487553" y="2335312"/>
            <a:chExt cx="1117050" cy="1117050"/>
          </a:xfrm>
        </p:grpSpPr>
        <p:sp>
          <p:nvSpPr>
            <p:cNvPr id="7" name="Oval 6"/>
            <p:cNvSpPr/>
            <p:nvPr/>
          </p:nvSpPr>
          <p:spPr bwMode="auto">
            <a:xfrm>
              <a:off x="1487553" y="2335312"/>
              <a:ext cx="1117050" cy="1117050"/>
            </a:xfrm>
            <a:prstGeom prst="ellipse">
              <a:avLst/>
            </a:prstGeom>
            <a:pattFill prst="ltUpDiag">
              <a:fgClr>
                <a:srgbClr val="CDCDCD"/>
              </a:fgClr>
              <a:bgClr>
                <a:srgbClr val="FFFFFF"/>
              </a:bgClr>
            </a:pattFill>
            <a:ln w="57150" cap="flat" cmpd="sng" algn="ctr">
              <a:solidFill>
                <a:srgbClr val="4F81BD"/>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091" fontAlgn="base">
                <a:lnSpc>
                  <a:spcPct val="90000"/>
                </a:lnSpc>
                <a:spcBef>
                  <a:spcPct val="0"/>
                </a:spcBef>
                <a:spcAft>
                  <a:spcPct val="0"/>
                </a:spcAft>
                <a:defRPr/>
              </a:pPr>
              <a:endParaRPr lang="en-US" sz="2353" kern="0" spc="-49" dirty="0">
                <a:gradFill>
                  <a:gsLst>
                    <a:gs pos="36283">
                      <a:srgbClr val="505050"/>
                    </a:gs>
                    <a:gs pos="28000">
                      <a:srgbClr val="505050"/>
                    </a:gs>
                  </a:gsLst>
                  <a:lin ang="5400000" scaled="0"/>
                </a:gradFill>
                <a:latin typeface="Calibri"/>
              </a:endParaRPr>
            </a:p>
          </p:txBody>
        </p:sp>
        <p:sp>
          <p:nvSpPr>
            <p:cNvPr id="8" name="Freeform 7"/>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1F497D"/>
            </a:solidFill>
            <a:ln>
              <a:noFill/>
            </a:ln>
            <a:extLst/>
          </p:spPr>
          <p:txBody>
            <a:bodyPr vert="horz" wrap="square" lIns="89642" tIns="44821" rIns="89642" bIns="44821" numCol="1" anchor="t" anchorCtr="0" compatLnSpc="1">
              <a:prstTxWarp prst="textNoShape">
                <a:avLst/>
              </a:prstTxWarp>
            </a:bodyPr>
            <a:lstStyle/>
            <a:p>
              <a:pPr defTabSz="914133">
                <a:defRPr/>
              </a:pPr>
              <a:endParaRPr lang="en-US" sz="1765" kern="0">
                <a:solidFill>
                  <a:srgbClr val="00188F"/>
                </a:solidFill>
                <a:latin typeface="Calibri"/>
              </a:endParaRPr>
            </a:p>
          </p:txBody>
        </p:sp>
        <p:sp>
          <p:nvSpPr>
            <p:cNvPr id="9" name="TextBox 8"/>
            <p:cNvSpPr txBox="1"/>
            <p:nvPr/>
          </p:nvSpPr>
          <p:spPr>
            <a:xfrm>
              <a:off x="1592103" y="2853509"/>
              <a:ext cx="907945" cy="468013"/>
            </a:xfrm>
            <a:prstGeom prst="rect">
              <a:avLst/>
            </a:prstGeom>
            <a:noFill/>
          </p:spPr>
          <p:txBody>
            <a:bodyPr wrap="none" lIns="179285" tIns="143428" rIns="179285" bIns="143428" rtlCol="0" anchor="ctr">
              <a:spAutoFit/>
            </a:bodyPr>
            <a:lstStyle/>
            <a:p>
              <a:pPr algn="ctr" defTabSz="914133">
                <a:lnSpc>
                  <a:spcPct val="90000"/>
                </a:lnSpc>
                <a:defRPr/>
              </a:pPr>
              <a:r>
                <a:rPr lang="en-US" sz="1568" kern="0" spc="-49" dirty="0">
                  <a:solidFill>
                    <a:srgbClr val="00188F"/>
                  </a:solidFill>
                  <a:latin typeface="Calibri"/>
                </a:rPr>
                <a:t>Internet</a:t>
              </a:r>
            </a:p>
          </p:txBody>
        </p:sp>
      </p:gr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88985" y="5061805"/>
            <a:ext cx="919773" cy="919773"/>
          </a:xfrm>
          <a:prstGeom prst="rect">
            <a:avLst/>
          </a:prstGeom>
        </p:spPr>
      </p:pic>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03422" y="5111794"/>
            <a:ext cx="896425" cy="896425"/>
          </a:xfrm>
          <a:prstGeom prst="rect">
            <a:avLst/>
          </a:prstGeom>
        </p:spPr>
      </p:pic>
      <p:cxnSp>
        <p:nvCxnSpPr>
          <p:cNvPr id="20" name="Straight Arrow Connector 19"/>
          <p:cNvCxnSpPr>
            <a:stCxn id="7" idx="4"/>
            <a:endCxn id="16" idx="0"/>
          </p:cNvCxnSpPr>
          <p:nvPr/>
        </p:nvCxnSpPr>
        <p:spPr>
          <a:xfrm>
            <a:off x="8900013" y="2089031"/>
            <a:ext cx="2051622" cy="3022763"/>
          </a:xfrm>
          <a:prstGeom prst="straightConnector1">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7" idx="4"/>
            <a:endCxn id="11" idx="0"/>
          </p:cNvCxnSpPr>
          <p:nvPr/>
        </p:nvCxnSpPr>
        <p:spPr>
          <a:xfrm flipH="1">
            <a:off x="7048872" y="2089031"/>
            <a:ext cx="1851141" cy="2972774"/>
          </a:xfrm>
          <a:prstGeom prst="straightConnector1">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ounded Rectangle 23"/>
          <p:cNvSpPr/>
          <p:nvPr/>
        </p:nvSpPr>
        <p:spPr bwMode="auto">
          <a:xfrm>
            <a:off x="8785274" y="2628658"/>
            <a:ext cx="3137485" cy="883979"/>
          </a:xfrm>
          <a:prstGeom prst="roundRect">
            <a:avLst/>
          </a:prstGeom>
          <a:solidFill>
            <a:srgbClr val="0000CC"/>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nSpc>
                <a:spcPct val="90000"/>
              </a:lnSpc>
              <a:spcAft>
                <a:spcPts val="588"/>
              </a:spcAft>
            </a:pPr>
            <a:r>
              <a:rPr lang="en-US" sz="1568" dirty="0">
                <a:solidFill>
                  <a:srgbClr val="FFFFFF"/>
                </a:solidFill>
                <a:effectLst>
                  <a:outerShdw blurRad="38100" dist="38100" dir="2700000" algn="tl">
                    <a:srgbClr val="000000">
                      <a:alpha val="43137"/>
                    </a:srgbClr>
                  </a:outerShdw>
                </a:effectLst>
              </a:rPr>
              <a:t>Webrole.1.contoso.cloudapp.net</a:t>
            </a:r>
            <a:r>
              <a:rPr lang="en-US" sz="1568" dirty="0">
                <a:solidFill>
                  <a:srgbClr val="FFFFFF"/>
                </a:solidFill>
                <a:effectLst>
                  <a:outerShdw blurRad="38100" dist="38100" dir="2700000" algn="tl">
                    <a:srgbClr val="000000">
                      <a:alpha val="43137"/>
                    </a:srgbClr>
                  </a:outerShdw>
                </a:effectLst>
                <a:sym typeface="Wingdings" panose="05000000000000000000" pitchFamily="2" charset="2"/>
              </a:rPr>
              <a:t> </a:t>
            </a:r>
            <a:r>
              <a:rPr lang="en-US" sz="1961" dirty="0">
                <a:solidFill>
                  <a:srgbClr val="FFFFFF"/>
                </a:solidFill>
                <a:effectLst>
                  <a:outerShdw blurRad="38100" dist="38100" dir="2700000" algn="tl">
                    <a:srgbClr val="000000">
                      <a:alpha val="43137"/>
                    </a:srgbClr>
                  </a:outerShdw>
                </a:effectLst>
                <a:sym typeface="Wingdings" panose="05000000000000000000" pitchFamily="2" charset="2"/>
              </a:rPr>
              <a:t>       	</a:t>
            </a:r>
            <a:r>
              <a:rPr lang="en-US" sz="1568" dirty="0">
                <a:solidFill>
                  <a:srgbClr val="FFFFFF"/>
                </a:solidFill>
                <a:effectLst>
                  <a:outerShdw blurRad="38100" dist="38100" dir="2700000" algn="tl">
                    <a:srgbClr val="000000">
                      <a:alpha val="43137"/>
                    </a:srgbClr>
                  </a:outerShdw>
                </a:effectLst>
              </a:rPr>
              <a:t>130.26.5.120</a:t>
            </a:r>
            <a:r>
              <a:rPr lang="en-US" sz="1961" dirty="0">
                <a:solidFill>
                  <a:srgbClr val="FFFFFF"/>
                </a:solidFill>
                <a:effectLst>
                  <a:outerShdw blurRad="38100" dist="38100" dir="2700000" algn="tl">
                    <a:srgbClr val="000000">
                      <a:alpha val="43137"/>
                    </a:srgbClr>
                  </a:outerShdw>
                </a:effectLst>
              </a:rPr>
              <a:t> </a:t>
            </a:r>
            <a:endParaRPr lang="en-US" sz="1961" dirty="0">
              <a:solidFill>
                <a:srgbClr val="D83B01"/>
              </a:solidFill>
            </a:endParaRPr>
          </a:p>
        </p:txBody>
      </p:sp>
      <p:sp>
        <p:nvSpPr>
          <p:cNvPr id="35" name="TextBox 34"/>
          <p:cNvSpPr txBox="1"/>
          <p:nvPr/>
        </p:nvSpPr>
        <p:spPr>
          <a:xfrm>
            <a:off x="6267935" y="5916881"/>
            <a:ext cx="1942254" cy="506901"/>
          </a:xfrm>
          <a:prstGeom prst="rect">
            <a:avLst/>
          </a:prstGeom>
          <a:noFill/>
        </p:spPr>
        <p:txBody>
          <a:bodyPr wrap="square" lIns="179285" tIns="143428" rIns="179285" bIns="143428" rtlCol="0">
            <a:spAutoFit/>
          </a:bodyPr>
          <a:lstStyle/>
          <a:p>
            <a:pPr>
              <a:lnSpc>
                <a:spcPct val="90000"/>
              </a:lnSpc>
              <a:spcAft>
                <a:spcPts val="588"/>
              </a:spcAft>
            </a:pPr>
            <a:r>
              <a:rPr lang="en-US" sz="1568" dirty="0">
                <a:solidFill>
                  <a:schemeClr val="tx2"/>
                </a:solidFill>
                <a:effectLst>
                  <a:outerShdw blurRad="38100" dist="38100" dir="2700000" algn="tl">
                    <a:srgbClr val="000000">
                      <a:alpha val="43137"/>
                    </a:srgbClr>
                  </a:outerShdw>
                </a:effectLst>
              </a:rPr>
              <a:t>VM Instance 1</a:t>
            </a:r>
            <a:endParaRPr lang="en-US" sz="1568" dirty="0">
              <a:solidFill>
                <a:schemeClr val="tx2"/>
              </a:solidFill>
            </a:endParaRPr>
          </a:p>
        </p:txBody>
      </p:sp>
      <p:sp>
        <p:nvSpPr>
          <p:cNvPr id="36" name="TextBox 35"/>
          <p:cNvSpPr txBox="1"/>
          <p:nvPr/>
        </p:nvSpPr>
        <p:spPr>
          <a:xfrm>
            <a:off x="10152444" y="5981585"/>
            <a:ext cx="1942254" cy="506901"/>
          </a:xfrm>
          <a:prstGeom prst="rect">
            <a:avLst/>
          </a:prstGeom>
          <a:noFill/>
        </p:spPr>
        <p:txBody>
          <a:bodyPr wrap="square" lIns="179285" tIns="143428" rIns="179285" bIns="143428" rtlCol="0">
            <a:spAutoFit/>
          </a:bodyPr>
          <a:lstStyle/>
          <a:p>
            <a:pPr>
              <a:lnSpc>
                <a:spcPct val="90000"/>
              </a:lnSpc>
              <a:spcAft>
                <a:spcPts val="588"/>
              </a:spcAft>
            </a:pPr>
            <a:r>
              <a:rPr lang="en-US" sz="1568" dirty="0">
                <a:solidFill>
                  <a:schemeClr val="tx2"/>
                </a:solidFill>
                <a:effectLst>
                  <a:outerShdw blurRad="38100" dist="38100" dir="2700000" algn="tl">
                    <a:srgbClr val="000000">
                      <a:alpha val="43137"/>
                    </a:srgbClr>
                  </a:outerShdw>
                </a:effectLst>
              </a:rPr>
              <a:t>VM Instance 2</a:t>
            </a:r>
            <a:endParaRPr lang="en-US" sz="1568" dirty="0">
              <a:solidFill>
                <a:schemeClr val="tx2"/>
              </a:solidFill>
            </a:endParaRPr>
          </a:p>
        </p:txBody>
      </p:sp>
      <p:sp>
        <p:nvSpPr>
          <p:cNvPr id="37" name="TextBox 36"/>
          <p:cNvSpPr txBox="1"/>
          <p:nvPr/>
        </p:nvSpPr>
        <p:spPr>
          <a:xfrm>
            <a:off x="7888851" y="4773637"/>
            <a:ext cx="2402417" cy="1267233"/>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tx2"/>
                </a:solidFill>
                <a:effectLst>
                  <a:outerShdw blurRad="38100" dist="38100" dir="2700000" algn="tl">
                    <a:srgbClr val="000000">
                      <a:alpha val="43137"/>
                    </a:srgbClr>
                  </a:outerShdw>
                </a:effectLst>
              </a:rPr>
              <a:t>Contoso App with </a:t>
            </a:r>
            <a:r>
              <a:rPr lang="en-US" sz="2353" dirty="0" smtClean="0">
                <a:solidFill>
                  <a:schemeClr val="tx2"/>
                </a:solidFill>
                <a:effectLst>
                  <a:outerShdw blurRad="38100" dist="38100" dir="2700000" algn="tl">
                    <a:srgbClr val="000000">
                      <a:alpha val="43137"/>
                    </a:srgbClr>
                  </a:outerShdw>
                </a:effectLst>
              </a:rPr>
              <a:t>two </a:t>
            </a:r>
            <a:r>
              <a:rPr lang="en-US" sz="2353" dirty="0">
                <a:solidFill>
                  <a:schemeClr val="tx2"/>
                </a:solidFill>
                <a:effectLst>
                  <a:outerShdw blurRad="38100" dist="38100" dir="2700000" algn="tl">
                    <a:srgbClr val="000000">
                      <a:alpha val="43137"/>
                    </a:srgbClr>
                  </a:outerShdw>
                </a:effectLst>
              </a:rPr>
              <a:t>virtual machines</a:t>
            </a:r>
            <a:endParaRPr lang="en-US" sz="2353" dirty="0">
              <a:solidFill>
                <a:schemeClr val="tx2"/>
              </a:solidFill>
            </a:endParaRPr>
          </a:p>
        </p:txBody>
      </p:sp>
      <p:sp>
        <p:nvSpPr>
          <p:cNvPr id="19" name="Rounded Rectangle 2"/>
          <p:cNvSpPr/>
          <p:nvPr/>
        </p:nvSpPr>
        <p:spPr bwMode="auto">
          <a:xfrm>
            <a:off x="6231989" y="4087898"/>
            <a:ext cx="5526792" cy="2359252"/>
          </a:xfrm>
          <a:prstGeom prst="roundRect">
            <a:avLst/>
          </a:prstGeom>
          <a:no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31" name="Rounded Rectangle 30"/>
          <p:cNvSpPr/>
          <p:nvPr/>
        </p:nvSpPr>
        <p:spPr bwMode="auto">
          <a:xfrm>
            <a:off x="6320108" y="3662042"/>
            <a:ext cx="3137485" cy="883979"/>
          </a:xfrm>
          <a:prstGeom prst="roundRect">
            <a:avLst/>
          </a:prstGeom>
          <a:solidFill>
            <a:srgbClr val="0000CC"/>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a:lnSpc>
                <a:spcPct val="90000"/>
              </a:lnSpc>
              <a:spcAft>
                <a:spcPts val="588"/>
              </a:spcAft>
            </a:pPr>
            <a:r>
              <a:rPr lang="en-US" sz="1568" dirty="0">
                <a:solidFill>
                  <a:srgbClr val="FFFFFF"/>
                </a:solidFill>
                <a:effectLst>
                  <a:outerShdw blurRad="38100" dist="38100" dir="2700000" algn="tl">
                    <a:srgbClr val="000000">
                      <a:alpha val="43137"/>
                    </a:srgbClr>
                  </a:outerShdw>
                </a:effectLst>
              </a:rPr>
              <a:t>Webrole.0.contoso.cloudapp.net</a:t>
            </a:r>
            <a:r>
              <a:rPr lang="en-US" sz="1568" dirty="0">
                <a:solidFill>
                  <a:srgbClr val="FFFFFF"/>
                </a:solidFill>
                <a:effectLst>
                  <a:outerShdw blurRad="38100" dist="38100" dir="2700000" algn="tl">
                    <a:srgbClr val="000000">
                      <a:alpha val="43137"/>
                    </a:srgbClr>
                  </a:outerShdw>
                </a:effectLst>
                <a:sym typeface="Wingdings" panose="05000000000000000000" pitchFamily="2" charset="2"/>
              </a:rPr>
              <a:t> </a:t>
            </a:r>
            <a:r>
              <a:rPr lang="en-US" sz="1961" dirty="0">
                <a:solidFill>
                  <a:srgbClr val="FFFFFF"/>
                </a:solidFill>
                <a:effectLst>
                  <a:outerShdw blurRad="38100" dist="38100" dir="2700000" algn="tl">
                    <a:srgbClr val="000000">
                      <a:alpha val="43137"/>
                    </a:srgbClr>
                  </a:outerShdw>
                </a:effectLst>
                <a:sym typeface="Wingdings" panose="05000000000000000000" pitchFamily="2" charset="2"/>
              </a:rPr>
              <a:t>       </a:t>
            </a:r>
            <a:r>
              <a:rPr lang="en-US" sz="1568" dirty="0">
                <a:solidFill>
                  <a:srgbClr val="FFFFFF"/>
                </a:solidFill>
                <a:effectLst>
                  <a:outerShdw blurRad="38100" dist="38100" dir="2700000" algn="tl">
                    <a:srgbClr val="000000">
                      <a:alpha val="43137"/>
                    </a:srgbClr>
                  </a:outerShdw>
                </a:effectLst>
              </a:rPr>
              <a:t>130.26.10.80</a:t>
            </a:r>
            <a:r>
              <a:rPr lang="en-US" sz="1961" dirty="0">
                <a:solidFill>
                  <a:srgbClr val="FFFFFF"/>
                </a:solidFill>
                <a:effectLst>
                  <a:outerShdw blurRad="38100" dist="38100" dir="2700000" algn="tl">
                    <a:srgbClr val="000000">
                      <a:alpha val="43137"/>
                    </a:srgbClr>
                  </a:outerShdw>
                </a:effectLst>
              </a:rPr>
              <a:t> </a:t>
            </a:r>
          </a:p>
        </p:txBody>
      </p:sp>
    </p:spTree>
    <p:extLst>
      <p:ext uri="{BB962C8B-B14F-4D97-AF65-F5344CB8AC3E}">
        <p14:creationId xmlns:p14="http://schemas.microsoft.com/office/powerpoint/2010/main" val="2216103001"/>
      </p:ext>
    </p:extLst>
  </p:cSld>
  <p:clrMapOvr>
    <a:masterClrMapping/>
  </p:clrMapOvr>
  <p:transition>
    <p:fade/>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3600" b="1" u="sng" dirty="0" smtClean="0">
                <a:effectLst>
                  <a:outerShdw blurRad="38100" dist="38100" dir="2700000" algn="tl">
                    <a:srgbClr val="000000">
                      <a:alpha val="43137"/>
                    </a:srgbClr>
                  </a:outerShdw>
                </a:effectLst>
              </a:rPr>
              <a:t>DNS Services</a:t>
            </a:r>
            <a:endParaRPr lang="en-US" sz="3600" b="1" u="sng" dirty="0">
              <a:effectLst>
                <a:outerShdw blurRad="38100" dist="38100" dir="2700000" algn="tl">
                  <a:srgbClr val="000000">
                    <a:alpha val="43137"/>
                  </a:srgbClr>
                </a:outerShdw>
              </a:effectLst>
            </a:endParaRPr>
          </a:p>
        </p:txBody>
      </p:sp>
      <p:sp>
        <p:nvSpPr>
          <p:cNvPr id="26" name="Text Placeholder 2"/>
          <p:cNvSpPr txBox="1">
            <a:spLocks/>
          </p:cNvSpPr>
          <p:nvPr/>
        </p:nvSpPr>
        <p:spPr>
          <a:xfrm>
            <a:off x="7248304" y="1534293"/>
            <a:ext cx="3076265" cy="54310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5"/>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5"/>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5"/>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896261">
              <a:defRPr/>
            </a:pPr>
            <a:r>
              <a:rPr lang="en-GB" sz="3921" dirty="0">
                <a:solidFill>
                  <a:schemeClr val="tx1"/>
                </a:solidFill>
              </a:rPr>
              <a:t>Traffic Manager</a:t>
            </a:r>
          </a:p>
        </p:txBody>
      </p:sp>
      <p:pic>
        <p:nvPicPr>
          <p:cNvPr id="6" name="Picture 5"/>
          <p:cNvPicPr>
            <a:picLocks noChangeAspect="1"/>
          </p:cNvPicPr>
          <p:nvPr/>
        </p:nvPicPr>
        <p:blipFill>
          <a:blip r:embed="rId6"/>
          <a:stretch>
            <a:fillRect/>
          </a:stretch>
        </p:blipFill>
        <p:spPr>
          <a:xfrm>
            <a:off x="8119715" y="2559685"/>
            <a:ext cx="1333440" cy="1381445"/>
          </a:xfrm>
          <a:prstGeom prst="rect">
            <a:avLst/>
          </a:prstGeom>
        </p:spPr>
      </p:pic>
      <p:grpSp>
        <p:nvGrpSpPr>
          <p:cNvPr id="4" name="Group 1"/>
          <p:cNvGrpSpPr/>
          <p:nvPr/>
        </p:nvGrpSpPr>
        <p:grpSpPr>
          <a:xfrm>
            <a:off x="2834171" y="2578912"/>
            <a:ext cx="1447759" cy="1396125"/>
            <a:chOff x="2150647" y="2498241"/>
            <a:chExt cx="1737341" cy="1737341"/>
          </a:xfrm>
        </p:grpSpPr>
        <p:sp>
          <p:nvSpPr>
            <p:cNvPr id="7" name="Rectangle 4"/>
            <p:cNvSpPr/>
            <p:nvPr/>
          </p:nvSpPr>
          <p:spPr bwMode="auto">
            <a:xfrm>
              <a:off x="2150647" y="2498241"/>
              <a:ext cx="1737341" cy="1737341"/>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grpSp>
          <p:nvGrpSpPr>
            <p:cNvPr id="8" name="Group 18"/>
            <p:cNvGrpSpPr/>
            <p:nvPr/>
          </p:nvGrpSpPr>
          <p:grpSpPr>
            <a:xfrm>
              <a:off x="2242084" y="2567585"/>
              <a:ext cx="1579417" cy="1579418"/>
              <a:chOff x="5118263" y="1282535"/>
              <a:chExt cx="1579417" cy="1579418"/>
            </a:xfrm>
            <a:solidFill>
              <a:srgbClr val="0078D7"/>
            </a:solidFill>
          </p:grpSpPr>
          <p:grpSp>
            <p:nvGrpSpPr>
              <p:cNvPr id="9" name="Group 19"/>
              <p:cNvGrpSpPr/>
              <p:nvPr/>
            </p:nvGrpSpPr>
            <p:grpSpPr>
              <a:xfrm>
                <a:off x="5118263" y="1282535"/>
                <a:ext cx="1579417" cy="1579418"/>
                <a:chOff x="5118265" y="1282535"/>
                <a:chExt cx="2458192" cy="2458192"/>
              </a:xfrm>
              <a:grpFill/>
            </p:grpSpPr>
            <p:sp>
              <p:nvSpPr>
                <p:cNvPr id="11" name="Freeform 22"/>
                <p:cNvSpPr/>
                <p:nvPr/>
              </p:nvSpPr>
              <p:spPr>
                <a:xfrm>
                  <a:off x="5441574" y="1282535"/>
                  <a:ext cx="1811574" cy="593768"/>
                </a:xfrm>
                <a:custGeom>
                  <a:avLst/>
                  <a:gdLst>
                    <a:gd name="connsiteX0" fmla="*/ 905787 w 1811574"/>
                    <a:gd name="connsiteY0" fmla="*/ 0 h 593768"/>
                    <a:gd name="connsiteX1" fmla="*/ 1774889 w 1811574"/>
                    <a:gd name="connsiteY1" fmla="*/ 359994 h 593768"/>
                    <a:gd name="connsiteX2" fmla="*/ 1811574 w 1811574"/>
                    <a:gd name="connsiteY2" fmla="*/ 400358 h 593768"/>
                    <a:gd name="connsiteX3" fmla="*/ 1774889 w 1811574"/>
                    <a:gd name="connsiteY3" fmla="*/ 419857 h 593768"/>
                    <a:gd name="connsiteX4" fmla="*/ 905787 w 1811574"/>
                    <a:gd name="connsiteY4" fmla="*/ 593768 h 593768"/>
                    <a:gd name="connsiteX5" fmla="*/ 36685 w 1811574"/>
                    <a:gd name="connsiteY5" fmla="*/ 419857 h 593768"/>
                    <a:gd name="connsiteX6" fmla="*/ 0 w 1811574"/>
                    <a:gd name="connsiteY6" fmla="*/ 400358 h 593768"/>
                    <a:gd name="connsiteX7" fmla="*/ 36685 w 1811574"/>
                    <a:gd name="connsiteY7" fmla="*/ 359994 h 593768"/>
                    <a:gd name="connsiteX8" fmla="*/ 905787 w 1811574"/>
                    <a:gd name="connsiteY8" fmla="*/ 0 h 59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1574" h="593768">
                      <a:moveTo>
                        <a:pt x="905787" y="0"/>
                      </a:moveTo>
                      <a:cubicBezTo>
                        <a:pt x="1245193" y="0"/>
                        <a:pt x="1552467" y="137571"/>
                        <a:pt x="1774889" y="359994"/>
                      </a:cubicBezTo>
                      <a:lnTo>
                        <a:pt x="1811574" y="400358"/>
                      </a:lnTo>
                      <a:lnTo>
                        <a:pt x="1774889" y="419857"/>
                      </a:lnTo>
                      <a:cubicBezTo>
                        <a:pt x="1552467" y="527308"/>
                        <a:pt x="1245193" y="593768"/>
                        <a:pt x="905787" y="593768"/>
                      </a:cubicBezTo>
                      <a:cubicBezTo>
                        <a:pt x="566382" y="593768"/>
                        <a:pt x="259108" y="527308"/>
                        <a:pt x="36685" y="419857"/>
                      </a:cubicBezTo>
                      <a:lnTo>
                        <a:pt x="0" y="400358"/>
                      </a:lnTo>
                      <a:lnTo>
                        <a:pt x="36685" y="359994"/>
                      </a:lnTo>
                      <a:cubicBezTo>
                        <a:pt x="259108" y="137571"/>
                        <a:pt x="566382" y="0"/>
                        <a:pt x="905787" y="0"/>
                      </a:cubicBezTo>
                      <a:close/>
                    </a:path>
                  </a:pathLst>
                </a:custGeom>
                <a:grpFill/>
                <a:ln w="666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65" dirty="0">
                    <a:solidFill>
                      <a:srgbClr val="FFFFFF"/>
                    </a:solidFill>
                  </a:endParaRPr>
                </a:p>
              </p:txBody>
            </p:sp>
            <p:sp>
              <p:nvSpPr>
                <p:cNvPr id="12" name="Freeform 23"/>
                <p:cNvSpPr/>
                <p:nvPr/>
              </p:nvSpPr>
              <p:spPr>
                <a:xfrm>
                  <a:off x="5441575" y="3146961"/>
                  <a:ext cx="1811572" cy="593766"/>
                </a:xfrm>
                <a:custGeom>
                  <a:avLst/>
                  <a:gdLst>
                    <a:gd name="connsiteX0" fmla="*/ 905786 w 1811572"/>
                    <a:gd name="connsiteY0" fmla="*/ 0 h 593766"/>
                    <a:gd name="connsiteX1" fmla="*/ 1774888 w 1811572"/>
                    <a:gd name="connsiteY1" fmla="*/ 173911 h 593766"/>
                    <a:gd name="connsiteX2" fmla="*/ 1811572 w 1811572"/>
                    <a:gd name="connsiteY2" fmla="*/ 193410 h 593766"/>
                    <a:gd name="connsiteX3" fmla="*/ 1774888 w 1811572"/>
                    <a:gd name="connsiteY3" fmla="*/ 233772 h 593766"/>
                    <a:gd name="connsiteX4" fmla="*/ 905786 w 1811572"/>
                    <a:gd name="connsiteY4" fmla="*/ 593766 h 593766"/>
                    <a:gd name="connsiteX5" fmla="*/ 36684 w 1811572"/>
                    <a:gd name="connsiteY5" fmla="*/ 233772 h 593766"/>
                    <a:gd name="connsiteX6" fmla="*/ 0 w 1811572"/>
                    <a:gd name="connsiteY6" fmla="*/ 193410 h 593766"/>
                    <a:gd name="connsiteX7" fmla="*/ 36684 w 1811572"/>
                    <a:gd name="connsiteY7" fmla="*/ 173911 h 593766"/>
                    <a:gd name="connsiteX8" fmla="*/ 905786 w 1811572"/>
                    <a:gd name="connsiteY8" fmla="*/ 0 h 593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1572" h="593766">
                      <a:moveTo>
                        <a:pt x="905786" y="0"/>
                      </a:moveTo>
                      <a:cubicBezTo>
                        <a:pt x="1245192" y="0"/>
                        <a:pt x="1552466" y="66460"/>
                        <a:pt x="1774888" y="173911"/>
                      </a:cubicBezTo>
                      <a:lnTo>
                        <a:pt x="1811572" y="193410"/>
                      </a:lnTo>
                      <a:lnTo>
                        <a:pt x="1774888" y="233772"/>
                      </a:lnTo>
                      <a:cubicBezTo>
                        <a:pt x="1552466" y="456195"/>
                        <a:pt x="1245192" y="593766"/>
                        <a:pt x="905786" y="593766"/>
                      </a:cubicBezTo>
                      <a:cubicBezTo>
                        <a:pt x="566381" y="593766"/>
                        <a:pt x="259107" y="456195"/>
                        <a:pt x="36684" y="233772"/>
                      </a:cubicBezTo>
                      <a:lnTo>
                        <a:pt x="0" y="193410"/>
                      </a:lnTo>
                      <a:lnTo>
                        <a:pt x="36684" y="173911"/>
                      </a:lnTo>
                      <a:cubicBezTo>
                        <a:pt x="259107" y="66460"/>
                        <a:pt x="566381" y="0"/>
                        <a:pt x="905786" y="0"/>
                      </a:cubicBezTo>
                      <a:close/>
                    </a:path>
                  </a:pathLst>
                </a:custGeom>
                <a:grpFill/>
                <a:ln w="666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65" dirty="0">
                    <a:solidFill>
                      <a:srgbClr val="FFFFFF"/>
                    </a:solidFill>
                  </a:endParaRPr>
                </a:p>
              </p:txBody>
            </p:sp>
            <p:sp>
              <p:nvSpPr>
                <p:cNvPr id="13" name="Freeform 24"/>
                <p:cNvSpPr/>
                <p:nvPr/>
              </p:nvSpPr>
              <p:spPr>
                <a:xfrm>
                  <a:off x="5118265" y="1682893"/>
                  <a:ext cx="2458192" cy="1657478"/>
                </a:xfrm>
                <a:custGeom>
                  <a:avLst/>
                  <a:gdLst>
                    <a:gd name="connsiteX0" fmla="*/ 323309 w 2458192"/>
                    <a:gd name="connsiteY0" fmla="*/ 0 h 1657478"/>
                    <a:gd name="connsiteX1" fmla="*/ 359994 w 2458192"/>
                    <a:gd name="connsiteY1" fmla="*/ 19499 h 1657478"/>
                    <a:gd name="connsiteX2" fmla="*/ 1229096 w 2458192"/>
                    <a:gd name="connsiteY2" fmla="*/ 193410 h 1657478"/>
                    <a:gd name="connsiteX3" fmla="*/ 2098198 w 2458192"/>
                    <a:gd name="connsiteY3" fmla="*/ 19499 h 1657478"/>
                    <a:gd name="connsiteX4" fmla="*/ 2134883 w 2458192"/>
                    <a:gd name="connsiteY4" fmla="*/ 0 h 1657478"/>
                    <a:gd name="connsiteX5" fmla="*/ 2177526 w 2458192"/>
                    <a:gd name="connsiteY5" fmla="*/ 46919 h 1657478"/>
                    <a:gd name="connsiteX6" fmla="*/ 2458192 w 2458192"/>
                    <a:gd name="connsiteY6" fmla="*/ 828738 h 1657478"/>
                    <a:gd name="connsiteX7" fmla="*/ 2177526 w 2458192"/>
                    <a:gd name="connsiteY7" fmla="*/ 1610557 h 1657478"/>
                    <a:gd name="connsiteX8" fmla="*/ 2134882 w 2458192"/>
                    <a:gd name="connsiteY8" fmla="*/ 1657478 h 1657478"/>
                    <a:gd name="connsiteX9" fmla="*/ 2098198 w 2458192"/>
                    <a:gd name="connsiteY9" fmla="*/ 1637979 h 1657478"/>
                    <a:gd name="connsiteX10" fmla="*/ 1229096 w 2458192"/>
                    <a:gd name="connsiteY10" fmla="*/ 1464068 h 1657478"/>
                    <a:gd name="connsiteX11" fmla="*/ 359994 w 2458192"/>
                    <a:gd name="connsiteY11" fmla="*/ 1637979 h 1657478"/>
                    <a:gd name="connsiteX12" fmla="*/ 323310 w 2458192"/>
                    <a:gd name="connsiteY12" fmla="*/ 1657478 h 1657478"/>
                    <a:gd name="connsiteX13" fmla="*/ 280666 w 2458192"/>
                    <a:gd name="connsiteY13" fmla="*/ 1610557 h 1657478"/>
                    <a:gd name="connsiteX14" fmla="*/ 0 w 2458192"/>
                    <a:gd name="connsiteY14" fmla="*/ 828738 h 1657478"/>
                    <a:gd name="connsiteX15" fmla="*/ 280666 w 2458192"/>
                    <a:gd name="connsiteY15" fmla="*/ 46919 h 1657478"/>
                    <a:gd name="connsiteX16" fmla="*/ 323309 w 2458192"/>
                    <a:gd name="connsiteY16" fmla="*/ 0 h 165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58192" h="1657478">
                      <a:moveTo>
                        <a:pt x="323309" y="0"/>
                      </a:moveTo>
                      <a:lnTo>
                        <a:pt x="359994" y="19499"/>
                      </a:lnTo>
                      <a:cubicBezTo>
                        <a:pt x="582417" y="126950"/>
                        <a:pt x="889691" y="193410"/>
                        <a:pt x="1229096" y="193410"/>
                      </a:cubicBezTo>
                      <a:cubicBezTo>
                        <a:pt x="1568502" y="193410"/>
                        <a:pt x="1875776" y="126950"/>
                        <a:pt x="2098198" y="19499"/>
                      </a:cubicBezTo>
                      <a:lnTo>
                        <a:pt x="2134883" y="0"/>
                      </a:lnTo>
                      <a:lnTo>
                        <a:pt x="2177526" y="46919"/>
                      </a:lnTo>
                      <a:cubicBezTo>
                        <a:pt x="2352864" y="259379"/>
                        <a:pt x="2458192" y="531758"/>
                        <a:pt x="2458192" y="828738"/>
                      </a:cubicBezTo>
                      <a:cubicBezTo>
                        <a:pt x="2458192" y="1125718"/>
                        <a:pt x="2352864" y="1398097"/>
                        <a:pt x="2177526" y="1610557"/>
                      </a:cubicBezTo>
                      <a:lnTo>
                        <a:pt x="2134882" y="1657478"/>
                      </a:lnTo>
                      <a:lnTo>
                        <a:pt x="2098198" y="1637979"/>
                      </a:lnTo>
                      <a:cubicBezTo>
                        <a:pt x="1875776" y="1530528"/>
                        <a:pt x="1568502" y="1464068"/>
                        <a:pt x="1229096" y="1464068"/>
                      </a:cubicBezTo>
                      <a:cubicBezTo>
                        <a:pt x="889691" y="1464068"/>
                        <a:pt x="582417" y="1530528"/>
                        <a:pt x="359994" y="1637979"/>
                      </a:cubicBezTo>
                      <a:lnTo>
                        <a:pt x="323310" y="1657478"/>
                      </a:lnTo>
                      <a:lnTo>
                        <a:pt x="280666" y="1610557"/>
                      </a:lnTo>
                      <a:cubicBezTo>
                        <a:pt x="105328" y="1398097"/>
                        <a:pt x="0" y="1125718"/>
                        <a:pt x="0" y="828738"/>
                      </a:cubicBezTo>
                      <a:cubicBezTo>
                        <a:pt x="0" y="531758"/>
                        <a:pt x="105328" y="259379"/>
                        <a:pt x="280666" y="46919"/>
                      </a:cubicBezTo>
                      <a:lnTo>
                        <a:pt x="323309" y="0"/>
                      </a:lnTo>
                      <a:close/>
                    </a:path>
                  </a:pathLst>
                </a:custGeom>
                <a:grpFill/>
                <a:ln w="666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65" dirty="0">
                    <a:solidFill>
                      <a:srgbClr val="FFFFFF"/>
                    </a:solidFill>
                  </a:endParaRPr>
                </a:p>
              </p:txBody>
            </p:sp>
            <p:sp>
              <p:nvSpPr>
                <p:cNvPr id="14" name="Oval 26"/>
                <p:cNvSpPr/>
                <p:nvPr/>
              </p:nvSpPr>
              <p:spPr>
                <a:xfrm>
                  <a:off x="5747657" y="1282535"/>
                  <a:ext cx="1187533" cy="2458192"/>
                </a:xfrm>
                <a:prstGeom prst="ellipse">
                  <a:avLst/>
                </a:prstGeom>
                <a:grpFill/>
                <a:ln w="666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65" dirty="0">
                    <a:solidFill>
                      <a:srgbClr val="FFFFFF"/>
                    </a:solidFill>
                  </a:endParaRPr>
                </a:p>
              </p:txBody>
            </p:sp>
            <p:cxnSp>
              <p:nvCxnSpPr>
                <p:cNvPr id="15" name="Straight Connector 27"/>
                <p:cNvCxnSpPr>
                  <a:stCxn id="13" idx="14"/>
                  <a:endCxn id="13" idx="6"/>
                </p:cNvCxnSpPr>
                <p:nvPr/>
              </p:nvCxnSpPr>
              <p:spPr>
                <a:xfrm>
                  <a:off x="5118265" y="2511632"/>
                  <a:ext cx="2458192" cy="0"/>
                </a:xfrm>
                <a:prstGeom prst="line">
                  <a:avLst/>
                </a:prstGeom>
                <a:grpFill/>
                <a:ln w="666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0" name="TextBox 21"/>
              <p:cNvSpPr txBox="1"/>
              <p:nvPr/>
            </p:nvSpPr>
            <p:spPr>
              <a:xfrm>
                <a:off x="5252745" y="1778773"/>
                <a:ext cx="1292589" cy="558410"/>
              </a:xfrm>
              <a:prstGeom prst="rect">
                <a:avLst/>
              </a:prstGeom>
              <a:grpFill/>
              <a:ln>
                <a:noFill/>
              </a:ln>
            </p:spPr>
            <p:txBody>
              <a:bodyPr wrap="none" lIns="35292" tIns="0" rIns="35292" bIns="0" rtlCol="0" anchor="ctr" anchorCtr="0">
                <a:noAutofit/>
              </a:bodyPr>
              <a:lstStyle/>
              <a:p>
                <a:pPr algn="ctr"/>
                <a:r>
                  <a:rPr lang="en-GB" sz="4313" dirty="0">
                    <a:solidFill>
                      <a:srgbClr val="FFFFFF"/>
                    </a:solidFill>
                    <a:latin typeface="Segoe UI Light" panose="020B0502040204020203" pitchFamily="34" charset="0"/>
                    <a:cs typeface="Segoe UI Light" panose="020B0502040204020203" pitchFamily="34" charset="0"/>
                  </a:rPr>
                  <a:t>DNS</a:t>
                </a:r>
              </a:p>
            </p:txBody>
          </p:sp>
        </p:grpSp>
      </p:grpSp>
      <p:grpSp>
        <p:nvGrpSpPr>
          <p:cNvPr id="5" name="Group 39"/>
          <p:cNvGrpSpPr/>
          <p:nvPr/>
        </p:nvGrpSpPr>
        <p:grpSpPr>
          <a:xfrm>
            <a:off x="2272715" y="1507137"/>
            <a:ext cx="3076265" cy="597419"/>
            <a:chOff x="1937286" y="1536862"/>
            <a:chExt cx="3137951" cy="609398"/>
          </a:xfrm>
        </p:grpSpPr>
        <p:sp>
          <p:nvSpPr>
            <p:cNvPr id="21" name="Text Placeholder 2"/>
            <p:cNvSpPr txBox="1">
              <a:spLocks/>
            </p:cNvSpPr>
            <p:nvPr/>
          </p:nvSpPr>
          <p:spPr>
            <a:xfrm>
              <a:off x="1937286" y="1592262"/>
              <a:ext cx="3137951"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5"/>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5"/>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5"/>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896261">
                <a:defRPr/>
              </a:pPr>
              <a:r>
                <a:rPr lang="en-GB" sz="3921" dirty="0">
                  <a:solidFill>
                    <a:schemeClr val="tx1"/>
                  </a:solidFill>
                </a:rPr>
                <a:t>Azure DNS</a:t>
              </a:r>
            </a:p>
          </p:txBody>
        </p:sp>
        <p:sp>
          <p:nvSpPr>
            <p:cNvPr id="16" name="Text Placeholder 2"/>
            <p:cNvSpPr txBox="1">
              <a:spLocks/>
            </p:cNvSpPr>
            <p:nvPr/>
          </p:nvSpPr>
          <p:spPr>
            <a:xfrm>
              <a:off x="4223286" y="1536862"/>
              <a:ext cx="699551" cy="332399"/>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5"/>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5"/>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5"/>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896261">
                <a:defRPr/>
              </a:pPr>
              <a:endParaRPr lang="en-GB" sz="2353" b="1" i="1" dirty="0">
                <a:solidFill>
                  <a:schemeClr val="accent4"/>
                </a:solidFill>
              </a:endParaRPr>
            </a:p>
          </p:txBody>
        </p:sp>
      </p:grpSp>
      <p:sp>
        <p:nvSpPr>
          <p:cNvPr id="17" name="Rectangle 16"/>
          <p:cNvSpPr/>
          <p:nvPr>
            <p:custDataLst>
              <p:tags r:id="rId1"/>
            </p:custDataLst>
          </p:nvPr>
        </p:nvSpPr>
        <p:spPr bwMode="auto">
          <a:xfrm>
            <a:off x="1315068" y="4436404"/>
            <a:ext cx="4485965" cy="995697"/>
          </a:xfrm>
          <a:prstGeom prst="rect">
            <a:avLst/>
          </a:prstGeom>
          <a:solidFill>
            <a:schemeClr val="accent1">
              <a:lumMod val="50000"/>
            </a:schemeClr>
          </a:solidFill>
          <a:ln>
            <a:noFill/>
          </a:ln>
          <a:scene3d>
            <a:camera prst="orthographicFront"/>
            <a:lightRig rig="threePt" dir="t"/>
          </a:scene3d>
          <a:sp3d>
            <a:bevelT/>
          </a:sp3d>
        </p:spPr>
        <p:txBody>
          <a:bodyPr vert="horz" wrap="square" lIns="0" tIns="0" rIns="0" bIns="0" rtlCol="0">
            <a:spAutoFit/>
          </a:bodyPr>
          <a:lstStyle/>
          <a:p>
            <a:pPr algn="ctr" defTabSz="914192">
              <a:spcAft>
                <a:spcPts val="588"/>
              </a:spcAft>
            </a:pPr>
            <a:r>
              <a:rPr lang="en-US" sz="784" dirty="0">
                <a:gradFill>
                  <a:gsLst>
                    <a:gs pos="1250">
                      <a:srgbClr val="FFFFFF"/>
                    </a:gs>
                    <a:gs pos="99000">
                      <a:srgbClr val="FFFFFF"/>
                    </a:gs>
                  </a:gsLst>
                  <a:lin ang="5400000" scaled="0"/>
                </a:gradFill>
                <a:effectLst>
                  <a:outerShdw blurRad="38100" dist="38100" dir="2700000" algn="tl">
                    <a:srgbClr val="000000">
                      <a:alpha val="43137"/>
                    </a:srgbClr>
                  </a:outerShdw>
                </a:effectLst>
                <a:latin typeface="Calibri" panose="020F0502020204030204" pitchFamily="34" charset="0"/>
              </a:rPr>
              <a:t/>
            </a:r>
            <a:br>
              <a:rPr lang="en-US" sz="784" dirty="0">
                <a:gradFill>
                  <a:gsLst>
                    <a:gs pos="1250">
                      <a:srgbClr val="FFFFFF"/>
                    </a:gs>
                    <a:gs pos="99000">
                      <a:srgbClr val="FFFFFF"/>
                    </a:gs>
                  </a:gsLst>
                  <a:lin ang="5400000" scaled="0"/>
                </a:gradFill>
                <a:effectLst>
                  <a:outerShdw blurRad="38100" dist="38100" dir="2700000" algn="tl">
                    <a:srgbClr val="000000">
                      <a:alpha val="43137"/>
                    </a:srgbClr>
                  </a:outerShdw>
                </a:effectLst>
                <a:latin typeface="Calibri" panose="020F0502020204030204" pitchFamily="34" charset="0"/>
              </a:rPr>
            </a:br>
            <a:r>
              <a:rPr lang="en-US" sz="1961" dirty="0">
                <a:gradFill>
                  <a:gsLst>
                    <a:gs pos="1250">
                      <a:srgbClr val="FFFFFF"/>
                    </a:gs>
                    <a:gs pos="99000">
                      <a:srgbClr val="FFFFFF"/>
                    </a:gs>
                  </a:gsLst>
                  <a:lin ang="5400000" scaled="0"/>
                </a:gradFill>
                <a:effectLst>
                  <a:outerShdw blurRad="38100" dist="38100" dir="2700000" algn="tl">
                    <a:srgbClr val="000000">
                      <a:alpha val="43137"/>
                    </a:srgbClr>
                  </a:outerShdw>
                </a:effectLst>
                <a:latin typeface="Calibri" panose="020F0502020204030204" pitchFamily="34" charset="0"/>
              </a:rPr>
              <a:t>Host your DNS domains in Azure</a:t>
            </a:r>
          </a:p>
          <a:p>
            <a:pPr algn="ctr" defTabSz="914192">
              <a:spcAft>
                <a:spcPts val="588"/>
              </a:spcAft>
            </a:pPr>
            <a:r>
              <a:rPr lang="en-US" sz="1961" dirty="0">
                <a:gradFill>
                  <a:gsLst>
                    <a:gs pos="1250">
                      <a:srgbClr val="FFFFFF"/>
                    </a:gs>
                    <a:gs pos="99000">
                      <a:srgbClr val="FFFFFF"/>
                    </a:gs>
                  </a:gsLst>
                  <a:lin ang="5400000" scaled="0"/>
                </a:gradFill>
                <a:effectLst>
                  <a:outerShdw blurRad="38100" dist="38100" dir="2700000" algn="tl">
                    <a:srgbClr val="000000">
                      <a:alpha val="43137"/>
                    </a:srgbClr>
                  </a:outerShdw>
                </a:effectLst>
                <a:latin typeface="Calibri" panose="020F0502020204030204" pitchFamily="34" charset="0"/>
              </a:rPr>
              <a:t>Integrate your Web and Domain hosting</a:t>
            </a:r>
          </a:p>
          <a:p>
            <a:pPr algn="ctr" defTabSz="914192">
              <a:spcAft>
                <a:spcPts val="588"/>
              </a:spcAft>
            </a:pPr>
            <a:endParaRPr lang="en-US" sz="784" dirty="0">
              <a:gradFill>
                <a:gsLst>
                  <a:gs pos="1250">
                    <a:srgbClr val="FFFFFF"/>
                  </a:gs>
                  <a:gs pos="99000">
                    <a:srgbClr val="FFFFFF"/>
                  </a:gs>
                </a:gsLst>
                <a:lin ang="5400000" scaled="0"/>
              </a:gradFill>
              <a:effectLst>
                <a:outerShdw blurRad="38100" dist="38100" dir="2700000" algn="tl">
                  <a:srgbClr val="000000">
                    <a:alpha val="43137"/>
                  </a:srgbClr>
                </a:outerShdw>
              </a:effectLst>
              <a:latin typeface="Calibri" panose="020F0502020204030204" pitchFamily="34" charset="0"/>
            </a:endParaRPr>
          </a:p>
        </p:txBody>
      </p:sp>
      <p:sp>
        <p:nvSpPr>
          <p:cNvPr id="18" name="Rectangle 17"/>
          <p:cNvSpPr/>
          <p:nvPr>
            <p:custDataLst>
              <p:tags r:id="rId2"/>
            </p:custDataLst>
          </p:nvPr>
        </p:nvSpPr>
        <p:spPr bwMode="auto">
          <a:xfrm>
            <a:off x="6097161" y="4436404"/>
            <a:ext cx="5378549" cy="995697"/>
          </a:xfrm>
          <a:prstGeom prst="rect">
            <a:avLst/>
          </a:prstGeom>
          <a:solidFill>
            <a:schemeClr val="accent1">
              <a:lumMod val="50000"/>
            </a:schemeClr>
          </a:solidFill>
          <a:ln>
            <a:noFill/>
          </a:ln>
          <a:scene3d>
            <a:camera prst="orthographicFront"/>
            <a:lightRig rig="threePt" dir="t"/>
          </a:scene3d>
          <a:sp3d>
            <a:bevelT/>
          </a:sp3d>
        </p:spPr>
        <p:txBody>
          <a:bodyPr vert="horz" wrap="square" lIns="0" tIns="0" rIns="0" bIns="0" rtlCol="0">
            <a:spAutoFit/>
          </a:bodyPr>
          <a:lstStyle/>
          <a:p>
            <a:pPr algn="ctr" defTabSz="914192">
              <a:spcAft>
                <a:spcPts val="588"/>
              </a:spcAft>
            </a:pPr>
            <a:endParaRPr lang="en-US" sz="784" dirty="0">
              <a:gradFill>
                <a:gsLst>
                  <a:gs pos="1250">
                    <a:srgbClr val="FFFFFF"/>
                  </a:gs>
                  <a:gs pos="99000">
                    <a:srgbClr val="FFFFFF"/>
                  </a:gs>
                </a:gsLst>
                <a:lin ang="5400000" scaled="0"/>
              </a:gradFill>
              <a:effectLst>
                <a:outerShdw blurRad="38100" dist="38100" dir="2700000" algn="tl">
                  <a:srgbClr val="000000">
                    <a:alpha val="43137"/>
                  </a:srgbClr>
                </a:outerShdw>
              </a:effectLst>
              <a:latin typeface="Calibri" panose="020F0502020204030204" pitchFamily="34" charset="0"/>
            </a:endParaRPr>
          </a:p>
          <a:p>
            <a:pPr algn="ctr" defTabSz="914192">
              <a:spcAft>
                <a:spcPts val="588"/>
              </a:spcAft>
            </a:pPr>
            <a:r>
              <a:rPr lang="en-US" sz="1961" dirty="0">
                <a:gradFill>
                  <a:gsLst>
                    <a:gs pos="1250">
                      <a:srgbClr val="FFFFFF"/>
                    </a:gs>
                    <a:gs pos="99000">
                      <a:srgbClr val="FFFFFF"/>
                    </a:gs>
                  </a:gsLst>
                  <a:lin ang="5400000" scaled="0"/>
                </a:gradFill>
                <a:effectLst>
                  <a:outerShdw blurRad="38100" dist="38100" dir="2700000" algn="tl">
                    <a:srgbClr val="000000">
                      <a:alpha val="43137"/>
                    </a:srgbClr>
                  </a:outerShdw>
                </a:effectLst>
                <a:latin typeface="Calibri" panose="020F0502020204030204" pitchFamily="34" charset="0"/>
              </a:rPr>
              <a:t>Globally route user traffic with flexible policies</a:t>
            </a:r>
          </a:p>
          <a:p>
            <a:pPr algn="ctr" defTabSz="914192">
              <a:spcAft>
                <a:spcPts val="588"/>
              </a:spcAft>
            </a:pPr>
            <a:r>
              <a:rPr lang="en-US" sz="1961" dirty="0">
                <a:gradFill>
                  <a:gsLst>
                    <a:gs pos="1250">
                      <a:srgbClr val="FFFFFF"/>
                    </a:gs>
                    <a:gs pos="99000">
                      <a:srgbClr val="FFFFFF"/>
                    </a:gs>
                  </a:gsLst>
                  <a:lin ang="5400000" scaled="0"/>
                </a:gradFill>
                <a:effectLst>
                  <a:outerShdw blurRad="38100" dist="38100" dir="2700000" algn="tl">
                    <a:srgbClr val="000000">
                      <a:alpha val="43137"/>
                    </a:srgbClr>
                  </a:outerShdw>
                </a:effectLst>
                <a:latin typeface="Calibri" panose="020F0502020204030204" pitchFamily="34" charset="0"/>
              </a:rPr>
              <a:t>Enable best-of-class end to end user experience</a:t>
            </a:r>
            <a:r>
              <a:rPr lang="en-US" sz="784" dirty="0">
                <a:gradFill>
                  <a:gsLst>
                    <a:gs pos="1250">
                      <a:srgbClr val="FFFFFF"/>
                    </a:gs>
                    <a:gs pos="99000">
                      <a:srgbClr val="FFFFFF"/>
                    </a:gs>
                  </a:gsLst>
                  <a:lin ang="5400000" scaled="0"/>
                </a:gradFill>
                <a:effectLst>
                  <a:outerShdw blurRad="38100" dist="38100" dir="2700000" algn="tl">
                    <a:srgbClr val="000000">
                      <a:alpha val="43137"/>
                    </a:srgbClr>
                  </a:outerShdw>
                </a:effectLst>
                <a:latin typeface="Calibri" panose="020F0502020204030204" pitchFamily="34" charset="0"/>
              </a:rPr>
              <a:t/>
            </a:r>
            <a:br>
              <a:rPr lang="en-US" sz="784" dirty="0">
                <a:gradFill>
                  <a:gsLst>
                    <a:gs pos="1250">
                      <a:srgbClr val="FFFFFF"/>
                    </a:gs>
                    <a:gs pos="99000">
                      <a:srgbClr val="FFFFFF"/>
                    </a:gs>
                  </a:gsLst>
                  <a:lin ang="5400000" scaled="0"/>
                </a:gradFill>
                <a:effectLst>
                  <a:outerShdw blurRad="38100" dist="38100" dir="2700000" algn="tl">
                    <a:srgbClr val="000000">
                      <a:alpha val="43137"/>
                    </a:srgbClr>
                  </a:outerShdw>
                </a:effectLst>
                <a:latin typeface="Calibri" panose="020F0502020204030204" pitchFamily="34" charset="0"/>
              </a:rPr>
            </a:br>
            <a:r>
              <a:rPr lang="en-US" sz="784" dirty="0">
                <a:gradFill>
                  <a:gsLst>
                    <a:gs pos="1250">
                      <a:srgbClr val="FFFFFF"/>
                    </a:gs>
                    <a:gs pos="99000">
                      <a:srgbClr val="FFFFFF"/>
                    </a:gs>
                  </a:gsLst>
                  <a:lin ang="5400000" scaled="0"/>
                </a:gradFill>
                <a:effectLst>
                  <a:outerShdw blurRad="38100" dist="38100" dir="2700000" algn="tl">
                    <a:srgbClr val="000000">
                      <a:alpha val="43137"/>
                    </a:srgbClr>
                  </a:outerShdw>
                </a:effectLst>
                <a:latin typeface="Calibri" panose="020F0502020204030204" pitchFamily="34" charset="0"/>
              </a:rPr>
              <a:t>  </a:t>
            </a:r>
          </a:p>
        </p:txBody>
      </p:sp>
    </p:spTree>
    <p:extLst>
      <p:ext uri="{BB962C8B-B14F-4D97-AF65-F5344CB8AC3E}">
        <p14:creationId xmlns:p14="http://schemas.microsoft.com/office/powerpoint/2010/main" val="9281461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836972" y="-559191"/>
            <a:ext cx="10515600" cy="1873569"/>
          </a:xfrm>
        </p:spPr>
        <p:txBody>
          <a:bodyPr>
            <a:normAutofit/>
          </a:bodyPr>
          <a:lstStyle/>
          <a:p>
            <a:r>
              <a:rPr lang="en-US" sz="3600" b="1" u="sng" dirty="0" smtClean="0">
                <a:effectLst>
                  <a:outerShdw blurRad="38100" dist="38100" dir="2700000" algn="tl">
                    <a:srgbClr val="000000">
                      <a:alpha val="43137"/>
                    </a:srgbClr>
                  </a:outerShdw>
                </a:effectLst>
              </a:rPr>
              <a:t>Virtual networks and services</a:t>
            </a:r>
            <a:endParaRPr lang="en-US" sz="3600" b="1" u="sng" dirty="0">
              <a:effectLst>
                <a:outerShdw blurRad="38100" dist="38100" dir="2700000" algn="tl">
                  <a:srgbClr val="000000">
                    <a:alpha val="43137"/>
                  </a:srgbClr>
                </a:outerShdw>
              </a:effectLst>
            </a:endParaRPr>
          </a:p>
        </p:txBody>
      </p:sp>
      <p:sp>
        <p:nvSpPr>
          <p:cNvPr id="6" name="Text Placeholder 5"/>
          <p:cNvSpPr>
            <a:spLocks noGrp="1"/>
          </p:cNvSpPr>
          <p:nvPr>
            <p:ph type="body" sz="quarter" idx="11"/>
          </p:nvPr>
        </p:nvSpPr>
        <p:spPr>
          <a:xfrm>
            <a:off x="269240" y="1189176"/>
            <a:ext cx="11655840" cy="3936847"/>
          </a:xfrm>
        </p:spPr>
        <p:txBody>
          <a:bodyPr>
            <a:normAutofit/>
          </a:bodyPr>
          <a:lstStyle/>
          <a:p>
            <a:r>
              <a:rPr lang="en-US" dirty="0" smtClean="0"/>
              <a:t>DNS</a:t>
            </a:r>
          </a:p>
          <a:p>
            <a:pPr lvl="1"/>
            <a:endParaRPr lang="en-US" dirty="0" smtClean="0"/>
          </a:p>
          <a:p>
            <a:pPr lvl="1"/>
            <a:r>
              <a:rPr lang="en-US" b="1" dirty="0" smtClean="0"/>
              <a:t>Option 1:</a:t>
            </a:r>
            <a:r>
              <a:rPr lang="en-US" dirty="0" smtClean="0"/>
              <a:t> Azure provides host name resolution for VMs and role instances that reside in the same cloud service by using host names, and between VMs and role instances in different cloud services that reside on the same virtual network by using FQDNs.</a:t>
            </a:r>
          </a:p>
          <a:p>
            <a:pPr lvl="1"/>
            <a:endParaRPr lang="en-US" dirty="0" smtClean="0"/>
          </a:p>
          <a:p>
            <a:pPr lvl="1"/>
            <a:r>
              <a:rPr lang="en-US" b="1" dirty="0" smtClean="0"/>
              <a:t>Option 2:</a:t>
            </a:r>
            <a:r>
              <a:rPr lang="en-US" dirty="0" smtClean="0"/>
              <a:t> BYOD DNS use your on-premises DNS servers.</a:t>
            </a:r>
          </a:p>
          <a:p>
            <a:pPr lvl="1"/>
            <a:endParaRPr lang="en-US" dirty="0" smtClean="0"/>
          </a:p>
          <a:p>
            <a:pPr lvl="1"/>
            <a:r>
              <a:rPr lang="en-US" b="1" dirty="0" smtClean="0"/>
              <a:t>Option 3:</a:t>
            </a:r>
            <a:r>
              <a:rPr lang="en-US" dirty="0" smtClean="0"/>
              <a:t> Deploy a DNS server in Windows Azure.</a:t>
            </a:r>
          </a:p>
          <a:p>
            <a:pPr lvl="1"/>
            <a:endParaRPr lang="en-US" dirty="0" smtClean="0"/>
          </a:p>
          <a:p>
            <a:pPr lvl="1"/>
            <a:r>
              <a:rPr lang="en-US" b="1" dirty="0" smtClean="0"/>
              <a:t>Option 4:</a:t>
            </a:r>
            <a:r>
              <a:rPr lang="en-US" dirty="0" smtClean="0"/>
              <a:t> Use public DNS services.</a:t>
            </a:r>
            <a:endParaRPr lang="en-US" dirty="0"/>
          </a:p>
        </p:txBody>
      </p:sp>
    </p:spTree>
    <p:extLst>
      <p:ext uri="{BB962C8B-B14F-4D97-AF65-F5344CB8AC3E}">
        <p14:creationId xmlns:p14="http://schemas.microsoft.com/office/powerpoint/2010/main" val="270394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77930" y="110249"/>
            <a:ext cx="10515600" cy="1325563"/>
          </a:xfrm>
        </p:spPr>
        <p:txBody>
          <a:bodyPr>
            <a:normAutofit/>
          </a:bodyPr>
          <a:lstStyle/>
          <a:p>
            <a:r>
              <a:rPr lang="en-US" sz="3600" b="1" u="sng" dirty="0" smtClean="0">
                <a:effectLst>
                  <a:outerShdw blurRad="38100" dist="38100" dir="2700000" algn="tl">
                    <a:srgbClr val="000000">
                      <a:alpha val="43137"/>
                    </a:srgbClr>
                  </a:outerShdw>
                </a:effectLst>
              </a:rPr>
              <a:t>Multiple NICs in Azure VMs</a:t>
            </a:r>
            <a:endParaRPr lang="en-US" sz="3600" b="1" u="sng" dirty="0">
              <a:effectLst>
                <a:outerShdw blurRad="38100" dist="38100" dir="2700000" algn="tl">
                  <a:srgbClr val="000000">
                    <a:alpha val="43137"/>
                  </a:srgbClr>
                </a:outerShdw>
              </a:effectLst>
            </a:endParaRPr>
          </a:p>
        </p:txBody>
      </p:sp>
      <p:sp>
        <p:nvSpPr>
          <p:cNvPr id="4" name="Text Placeholder 3"/>
          <p:cNvSpPr>
            <a:spLocks noGrp="1"/>
          </p:cNvSpPr>
          <p:nvPr>
            <p:ph type="body" sz="quarter" idx="10"/>
          </p:nvPr>
        </p:nvSpPr>
        <p:spPr>
          <a:xfrm>
            <a:off x="424250" y="1459526"/>
            <a:ext cx="5378548" cy="4079340"/>
          </a:xfrm>
        </p:spPr>
        <p:txBody>
          <a:bodyPr/>
          <a:lstStyle/>
          <a:p>
            <a:pPr>
              <a:buFont typeface="Arial" panose="020B0604020202020204" pitchFamily="34" charset="0"/>
              <a:buChar char="•"/>
            </a:pPr>
            <a:r>
              <a:rPr lang="en-US" dirty="0"/>
              <a:t>Up to 16 NICs per VM</a:t>
            </a:r>
          </a:p>
          <a:p>
            <a:pPr marL="863602" lvl="2" indent="-342900">
              <a:buFont typeface="Arial" panose="020B0604020202020204" pitchFamily="34" charset="0"/>
              <a:buChar char="•"/>
            </a:pPr>
            <a:endParaRPr lang="en-US" dirty="0"/>
          </a:p>
          <a:p>
            <a:pPr>
              <a:buFont typeface="Arial" panose="020B0604020202020204" pitchFamily="34" charset="0"/>
              <a:buChar char="•"/>
            </a:pPr>
            <a:r>
              <a:rPr lang="en-US" dirty="0"/>
              <a:t>NSG and </a:t>
            </a:r>
            <a:r>
              <a:rPr lang="en-US" dirty="0" smtClean="0"/>
              <a:t>routes </a:t>
            </a:r>
            <a:r>
              <a:rPr lang="en-US" dirty="0"/>
              <a:t>on all NICs</a:t>
            </a:r>
            <a:endParaRPr lang="en-US" sz="3137" dirty="0"/>
          </a:p>
          <a:p>
            <a:pPr marL="1028702" lvl="3" indent="-342900">
              <a:buFont typeface="Arial" panose="020B0604020202020204" pitchFamily="34" charset="0"/>
              <a:buChar char="•"/>
            </a:pPr>
            <a:endParaRPr lang="en-US" dirty="0"/>
          </a:p>
          <a:p>
            <a:pPr>
              <a:buFont typeface="Arial" panose="020B0604020202020204" pitchFamily="34" charset="0"/>
              <a:buChar char="•"/>
            </a:pPr>
            <a:r>
              <a:rPr lang="en-US" dirty="0"/>
              <a:t>Can </a:t>
            </a:r>
            <a:r>
              <a:rPr lang="en-US" dirty="0" smtClean="0"/>
              <a:t>separate front end</a:t>
            </a:r>
            <a:r>
              <a:rPr lang="en-US" dirty="0"/>
              <a:t>, </a:t>
            </a:r>
            <a:r>
              <a:rPr lang="en-US" dirty="0" smtClean="0"/>
              <a:t>back end, </a:t>
            </a:r>
            <a:r>
              <a:rPr lang="en-US" dirty="0"/>
              <a:t>and </a:t>
            </a:r>
            <a:r>
              <a:rPr lang="en-US" dirty="0" smtClean="0"/>
              <a:t>management</a:t>
            </a:r>
            <a:endParaRPr lang="en-US" dirty="0"/>
          </a:p>
        </p:txBody>
      </p:sp>
      <p:sp>
        <p:nvSpPr>
          <p:cNvPr id="6" name="Rounded Rectangle 5"/>
          <p:cNvSpPr/>
          <p:nvPr/>
        </p:nvSpPr>
        <p:spPr>
          <a:xfrm>
            <a:off x="6704252" y="2383172"/>
            <a:ext cx="4025611" cy="979427"/>
          </a:xfrm>
          <a:prstGeom prst="roundRect">
            <a:avLst>
              <a:gd name="adj" fmla="val 8772"/>
            </a:avLst>
          </a:prstGeom>
          <a:solidFill>
            <a:schemeClr val="accent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53" dirty="0">
                <a:solidFill>
                  <a:schemeClr val="tx2"/>
                </a:solidFill>
                <a:effectLst>
                  <a:outerShdw blurRad="38100" dist="38100" dir="2700000" algn="tl">
                    <a:srgbClr val="000000">
                      <a:alpha val="43137"/>
                    </a:srgbClr>
                  </a:outerShdw>
                </a:effectLst>
              </a:rPr>
              <a:t>Virtual Machine</a:t>
            </a:r>
          </a:p>
        </p:txBody>
      </p:sp>
      <p:grpSp>
        <p:nvGrpSpPr>
          <p:cNvPr id="7" name="Group 6"/>
          <p:cNvGrpSpPr/>
          <p:nvPr/>
        </p:nvGrpSpPr>
        <p:grpSpPr>
          <a:xfrm>
            <a:off x="7069359" y="3265698"/>
            <a:ext cx="782815" cy="309812"/>
            <a:chOff x="2854896" y="4613852"/>
            <a:chExt cx="1043369" cy="316024"/>
          </a:xfrm>
          <a:solidFill>
            <a:schemeClr val="accent3">
              <a:lumMod val="50000"/>
            </a:schemeClr>
          </a:solidFill>
        </p:grpSpPr>
        <p:sp>
          <p:nvSpPr>
            <p:cNvPr id="8" name="Rectangle 7"/>
            <p:cNvSpPr/>
            <p:nvPr/>
          </p:nvSpPr>
          <p:spPr>
            <a:xfrm>
              <a:off x="2854896" y="4613852"/>
              <a:ext cx="1043369" cy="255037"/>
            </a:xfrm>
            <a:prstGeom prst="rect">
              <a:avLst/>
            </a:prstGeom>
            <a:grpFill/>
            <a:scene3d>
              <a:camera prst="orthographicFront">
                <a:rot lat="0" lon="0" rev="0"/>
              </a:camera>
              <a:lightRig rig="twoPt" dir="tl"/>
            </a:scene3d>
            <a:sp3d prstMaterial="flat">
              <a:bevelT w="19050" h="31750"/>
            </a:sp3d>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372" dirty="0">
                  <a:solidFill>
                    <a:srgbClr val="FFFFFF"/>
                  </a:solidFill>
                </a:rPr>
                <a:t>NIC2</a:t>
              </a:r>
            </a:p>
          </p:txBody>
        </p:sp>
        <p:sp>
          <p:nvSpPr>
            <p:cNvPr id="9" name="Rectangle 8"/>
            <p:cNvSpPr/>
            <p:nvPr/>
          </p:nvSpPr>
          <p:spPr>
            <a:xfrm>
              <a:off x="2854896" y="4866117"/>
              <a:ext cx="328230" cy="63759"/>
            </a:xfrm>
            <a:prstGeom prst="rect">
              <a:avLst/>
            </a:prstGeom>
            <a:grpFill/>
            <a:scene3d>
              <a:camera prst="orthographicFront">
                <a:rot lat="0" lon="0" rev="0"/>
              </a:camera>
              <a:lightRig rig="twoPt" dir="tl"/>
            </a:scene3d>
            <a:sp3d prstMaterial="flat">
              <a:bevelT w="19050" h="31750"/>
            </a:sp3d>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sz="1372">
                <a:solidFill>
                  <a:srgbClr val="FFFFFF"/>
                </a:solidFill>
              </a:endParaRPr>
            </a:p>
          </p:txBody>
        </p:sp>
      </p:grpSp>
      <p:grpSp>
        <p:nvGrpSpPr>
          <p:cNvPr id="10" name="Group 9"/>
          <p:cNvGrpSpPr/>
          <p:nvPr/>
        </p:nvGrpSpPr>
        <p:grpSpPr>
          <a:xfrm>
            <a:off x="8325649" y="3265698"/>
            <a:ext cx="782815" cy="309812"/>
            <a:chOff x="2854896" y="4613852"/>
            <a:chExt cx="1043369" cy="316024"/>
          </a:xfrm>
          <a:solidFill>
            <a:schemeClr val="accent3">
              <a:lumMod val="50000"/>
            </a:schemeClr>
          </a:solidFill>
        </p:grpSpPr>
        <p:sp>
          <p:nvSpPr>
            <p:cNvPr id="11" name="Rectangle 10"/>
            <p:cNvSpPr/>
            <p:nvPr/>
          </p:nvSpPr>
          <p:spPr>
            <a:xfrm>
              <a:off x="2854896" y="4613852"/>
              <a:ext cx="1043369" cy="255037"/>
            </a:xfrm>
            <a:prstGeom prst="rect">
              <a:avLst/>
            </a:prstGeom>
            <a:grpFill/>
            <a:scene3d>
              <a:camera prst="orthographicFront">
                <a:rot lat="0" lon="0" rev="0"/>
              </a:camera>
              <a:lightRig rig="twoPt" dir="tl"/>
            </a:scene3d>
            <a:sp3d prstMaterial="flat">
              <a:bevelT w="19050" h="31750"/>
            </a:sp3d>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372" dirty="0">
                  <a:solidFill>
                    <a:srgbClr val="FFFFFF"/>
                  </a:solidFill>
                </a:rPr>
                <a:t>NIC1</a:t>
              </a:r>
            </a:p>
          </p:txBody>
        </p:sp>
        <p:sp>
          <p:nvSpPr>
            <p:cNvPr id="12" name="Rectangle 11"/>
            <p:cNvSpPr/>
            <p:nvPr/>
          </p:nvSpPr>
          <p:spPr>
            <a:xfrm>
              <a:off x="2854896" y="4866117"/>
              <a:ext cx="328230" cy="63759"/>
            </a:xfrm>
            <a:prstGeom prst="rect">
              <a:avLst/>
            </a:prstGeom>
            <a:grpFill/>
            <a:scene3d>
              <a:camera prst="orthographicFront">
                <a:rot lat="0" lon="0" rev="0"/>
              </a:camera>
              <a:lightRig rig="twoPt" dir="tl"/>
            </a:scene3d>
            <a:sp3d prstMaterial="flat">
              <a:bevelT w="19050" h="31750"/>
            </a:sp3d>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sz="1372">
                <a:solidFill>
                  <a:srgbClr val="FFFFFF"/>
                </a:solidFill>
              </a:endParaRPr>
            </a:p>
          </p:txBody>
        </p:sp>
      </p:grpSp>
      <p:grpSp>
        <p:nvGrpSpPr>
          <p:cNvPr id="13" name="Group 12"/>
          <p:cNvGrpSpPr/>
          <p:nvPr/>
        </p:nvGrpSpPr>
        <p:grpSpPr>
          <a:xfrm>
            <a:off x="9581939" y="3265698"/>
            <a:ext cx="782815" cy="309812"/>
            <a:chOff x="2854896" y="4613852"/>
            <a:chExt cx="1043369" cy="316024"/>
          </a:xfrm>
          <a:solidFill>
            <a:schemeClr val="accent3">
              <a:lumMod val="50000"/>
            </a:schemeClr>
          </a:solidFill>
        </p:grpSpPr>
        <p:sp>
          <p:nvSpPr>
            <p:cNvPr id="14" name="Rectangle 13"/>
            <p:cNvSpPr/>
            <p:nvPr/>
          </p:nvSpPr>
          <p:spPr>
            <a:xfrm>
              <a:off x="2854896" y="4613852"/>
              <a:ext cx="1043369" cy="255037"/>
            </a:xfrm>
            <a:prstGeom prst="rect">
              <a:avLst/>
            </a:prstGeom>
            <a:grpFill/>
            <a:scene3d>
              <a:camera prst="orthographicFront">
                <a:rot lat="0" lon="0" rev="0"/>
              </a:camera>
              <a:lightRig rig="twoPt" dir="tl"/>
            </a:scene3d>
            <a:sp3d prstMaterial="flat">
              <a:bevelT w="19050" h="31750"/>
            </a:sp3d>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372" dirty="0">
                  <a:solidFill>
                    <a:srgbClr val="FFFFFF"/>
                  </a:solidFill>
                </a:rPr>
                <a:t>Default</a:t>
              </a:r>
            </a:p>
          </p:txBody>
        </p:sp>
        <p:sp>
          <p:nvSpPr>
            <p:cNvPr id="15" name="Rectangle 14"/>
            <p:cNvSpPr/>
            <p:nvPr/>
          </p:nvSpPr>
          <p:spPr>
            <a:xfrm>
              <a:off x="2854896" y="4866117"/>
              <a:ext cx="328230" cy="63759"/>
            </a:xfrm>
            <a:prstGeom prst="rect">
              <a:avLst/>
            </a:prstGeom>
            <a:grpFill/>
            <a:scene3d>
              <a:camera prst="orthographicFront">
                <a:rot lat="0" lon="0" rev="0"/>
              </a:camera>
              <a:lightRig rig="twoPt" dir="tl"/>
            </a:scene3d>
            <a:sp3d prstMaterial="flat">
              <a:bevelT w="19050" h="31750"/>
            </a:sp3d>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sz="1372">
                <a:solidFill>
                  <a:srgbClr val="FFFFFF"/>
                </a:solidFill>
              </a:endParaRPr>
            </a:p>
          </p:txBody>
        </p:sp>
      </p:grpSp>
      <p:sp>
        <p:nvSpPr>
          <p:cNvPr id="16" name="Freeform 15"/>
          <p:cNvSpPr/>
          <p:nvPr/>
        </p:nvSpPr>
        <p:spPr bwMode="auto">
          <a:xfrm>
            <a:off x="6554849" y="3846547"/>
            <a:ext cx="4399121" cy="2364502"/>
          </a:xfrm>
          <a:custGeom>
            <a:avLst/>
            <a:gdLst>
              <a:gd name="connsiteX0" fmla="*/ 269674 w 3173565"/>
              <a:gd name="connsiteY0" fmla="*/ 0 h 1618014"/>
              <a:gd name="connsiteX1" fmla="*/ 2323469 w 3173565"/>
              <a:gd name="connsiteY1" fmla="*/ 0 h 1618014"/>
              <a:gd name="connsiteX2" fmla="*/ 2337182 w 3173565"/>
              <a:gd name="connsiteY2" fmla="*/ 1382 h 1618014"/>
              <a:gd name="connsiteX3" fmla="*/ 2364558 w 3173565"/>
              <a:gd name="connsiteY3" fmla="*/ 0 h 1618014"/>
              <a:gd name="connsiteX4" fmla="*/ 3173565 w 3173565"/>
              <a:gd name="connsiteY4" fmla="*/ 809007 h 1618014"/>
              <a:gd name="connsiteX5" fmla="*/ 2364558 w 3173565"/>
              <a:gd name="connsiteY5" fmla="*/ 1618014 h 1618014"/>
              <a:gd name="connsiteX6" fmla="*/ 2337182 w 3173565"/>
              <a:gd name="connsiteY6" fmla="*/ 1616632 h 1618014"/>
              <a:gd name="connsiteX7" fmla="*/ 2323469 w 3173565"/>
              <a:gd name="connsiteY7" fmla="*/ 1618014 h 1618014"/>
              <a:gd name="connsiteX8" fmla="*/ 269674 w 3173565"/>
              <a:gd name="connsiteY8" fmla="*/ 1618014 h 1618014"/>
              <a:gd name="connsiteX9" fmla="*/ 0 w 3173565"/>
              <a:gd name="connsiteY9" fmla="*/ 1348340 h 1618014"/>
              <a:gd name="connsiteX10" fmla="*/ 0 w 3173565"/>
              <a:gd name="connsiteY10" fmla="*/ 269674 h 1618014"/>
              <a:gd name="connsiteX11" fmla="*/ 269674 w 3173565"/>
              <a:gd name="connsiteY11" fmla="*/ 0 h 161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73565" h="1618014">
                <a:moveTo>
                  <a:pt x="269674" y="0"/>
                </a:moveTo>
                <a:lnTo>
                  <a:pt x="2323469" y="0"/>
                </a:lnTo>
                <a:lnTo>
                  <a:pt x="2337182" y="1382"/>
                </a:lnTo>
                <a:lnTo>
                  <a:pt x="2364558" y="0"/>
                </a:lnTo>
                <a:cubicBezTo>
                  <a:pt x="2811360" y="0"/>
                  <a:pt x="3173565" y="362205"/>
                  <a:pt x="3173565" y="809007"/>
                </a:cubicBezTo>
                <a:cubicBezTo>
                  <a:pt x="3173565" y="1255809"/>
                  <a:pt x="2811360" y="1618014"/>
                  <a:pt x="2364558" y="1618014"/>
                </a:cubicBezTo>
                <a:lnTo>
                  <a:pt x="2337182" y="1616632"/>
                </a:lnTo>
                <a:lnTo>
                  <a:pt x="2323469" y="1618014"/>
                </a:lnTo>
                <a:lnTo>
                  <a:pt x="269674" y="1618014"/>
                </a:lnTo>
                <a:cubicBezTo>
                  <a:pt x="120737" y="1618014"/>
                  <a:pt x="0" y="1497277"/>
                  <a:pt x="0" y="1348340"/>
                </a:cubicBezTo>
                <a:lnTo>
                  <a:pt x="0" y="269674"/>
                </a:lnTo>
                <a:cubicBezTo>
                  <a:pt x="0" y="120737"/>
                  <a:pt x="120737" y="0"/>
                  <a:pt x="269674" y="0"/>
                </a:cubicBezTo>
                <a:close/>
              </a:path>
            </a:pathLst>
          </a:custGeom>
          <a:solidFill>
            <a:schemeClr val="tx2">
              <a:lumMod val="75000"/>
              <a:lumOff val="25000"/>
            </a:schemeClr>
          </a:solidFill>
          <a:ln>
            <a:no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297" tIns="143373" rIns="0" bIns="44821" numCol="1" spcCol="0" rtlCol="0" fromWordArt="0" anchor="b" anchorCtr="0" forceAA="0" compatLnSpc="1">
            <a:prstTxWarp prst="textNoShape">
              <a:avLst/>
            </a:prstTxWarp>
            <a:noAutofit/>
          </a:bodyPr>
          <a:lstStyle/>
          <a:p>
            <a:r>
              <a:rPr lang="en-US" sz="1961" dirty="0">
                <a:solidFill>
                  <a:srgbClr val="FFFFFF"/>
                </a:solidFill>
                <a:effectLst>
                  <a:outerShdw blurRad="38100" dist="38100" dir="2700000" algn="tl">
                    <a:srgbClr val="000000">
                      <a:alpha val="43137"/>
                    </a:srgbClr>
                  </a:outerShdw>
                </a:effectLst>
              </a:rPr>
              <a:t>Virtual Network</a:t>
            </a:r>
          </a:p>
        </p:txBody>
      </p:sp>
      <p:grpSp>
        <p:nvGrpSpPr>
          <p:cNvPr id="17" name="Group 75"/>
          <p:cNvGrpSpPr/>
          <p:nvPr/>
        </p:nvGrpSpPr>
        <p:grpSpPr>
          <a:xfrm>
            <a:off x="7016359" y="4088137"/>
            <a:ext cx="901888" cy="1197716"/>
            <a:chOff x="4495738" y="4181100"/>
            <a:chExt cx="919973" cy="1221733"/>
          </a:xfrm>
          <a:solidFill>
            <a:schemeClr val="accent5">
              <a:lumMod val="20000"/>
              <a:lumOff val="80000"/>
            </a:schemeClr>
          </a:solidFill>
        </p:grpSpPr>
        <p:sp>
          <p:nvSpPr>
            <p:cNvPr id="18" name="Rounded Rectangle 76"/>
            <p:cNvSpPr/>
            <p:nvPr/>
          </p:nvSpPr>
          <p:spPr bwMode="auto">
            <a:xfrm>
              <a:off x="4495738" y="4181100"/>
              <a:ext cx="919973" cy="1221733"/>
            </a:xfrm>
            <a:prstGeom prst="roundRect">
              <a:avLst>
                <a:gd name="adj" fmla="val 10259"/>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505050"/>
                    </a:gs>
                    <a:gs pos="10417">
                      <a:srgbClr val="505050"/>
                    </a:gs>
                  </a:gsLst>
                  <a:lin ang="5400000" scaled="0"/>
                </a:gradFill>
              </a:endParaRPr>
            </a:p>
          </p:txBody>
        </p:sp>
        <p:pic>
          <p:nvPicPr>
            <p:cNvPr id="19" name="Picture 77"/>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560004" y="5001487"/>
              <a:ext cx="790965" cy="341639"/>
            </a:xfrm>
            <a:prstGeom prst="roundRect">
              <a:avLst>
                <a:gd name="adj" fmla="val 11234"/>
              </a:avLst>
            </a:prstGeom>
            <a:grpFill/>
            <a:ln w="63500">
              <a:noFill/>
            </a:ln>
            <a:effectLst/>
          </p:spPr>
        </p:pic>
        <p:pic>
          <p:nvPicPr>
            <p:cNvPr id="20" name="Picture 78"/>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560004" y="4615483"/>
              <a:ext cx="790965" cy="341639"/>
            </a:xfrm>
            <a:prstGeom prst="roundRect">
              <a:avLst>
                <a:gd name="adj" fmla="val 11234"/>
              </a:avLst>
            </a:prstGeom>
            <a:grpFill/>
            <a:ln w="63500">
              <a:noFill/>
            </a:ln>
            <a:effectLst/>
          </p:spPr>
        </p:pic>
        <p:pic>
          <p:nvPicPr>
            <p:cNvPr id="21" name="Picture 79"/>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560004" y="4229478"/>
              <a:ext cx="790965" cy="341639"/>
            </a:xfrm>
            <a:prstGeom prst="roundRect">
              <a:avLst>
                <a:gd name="adj" fmla="val 11234"/>
              </a:avLst>
            </a:prstGeom>
            <a:grpFill/>
            <a:ln w="63500">
              <a:noFill/>
            </a:ln>
            <a:effectLst/>
          </p:spPr>
        </p:pic>
      </p:grpSp>
      <p:sp>
        <p:nvSpPr>
          <p:cNvPr id="22" name="TextBox 21"/>
          <p:cNvSpPr txBox="1"/>
          <p:nvPr/>
        </p:nvSpPr>
        <p:spPr>
          <a:xfrm>
            <a:off x="9522723" y="5176795"/>
            <a:ext cx="980699" cy="724143"/>
          </a:xfrm>
          <a:prstGeom prst="rect">
            <a:avLst/>
          </a:prstGeom>
          <a:noFill/>
        </p:spPr>
        <p:txBody>
          <a:bodyPr wrap="square" lIns="89642" tIns="143428" rIns="89642" bIns="143428" rtlCol="0">
            <a:spAutoFit/>
          </a:bodyPr>
          <a:lstStyle/>
          <a:p>
            <a:pPr algn="ctr">
              <a:lnSpc>
                <a:spcPct val="90000"/>
              </a:lnSpc>
            </a:pPr>
            <a:r>
              <a:rPr lang="en-US" sz="1568" dirty="0">
                <a:solidFill>
                  <a:srgbClr val="FFFFFF"/>
                </a:solidFill>
                <a:effectLst>
                  <a:outerShdw blurRad="38100" dist="38100" dir="2700000" algn="tl">
                    <a:srgbClr val="000000">
                      <a:alpha val="43137"/>
                    </a:srgbClr>
                  </a:outerShdw>
                </a:effectLst>
              </a:rPr>
              <a:t>Frontend</a:t>
            </a:r>
          </a:p>
          <a:p>
            <a:pPr algn="ctr">
              <a:lnSpc>
                <a:spcPct val="90000"/>
              </a:lnSpc>
            </a:pPr>
            <a:r>
              <a:rPr lang="en-US" sz="1568" dirty="0">
                <a:solidFill>
                  <a:srgbClr val="FFFFFF"/>
                </a:solidFill>
                <a:effectLst>
                  <a:outerShdw blurRad="38100" dist="38100" dir="2700000" algn="tl">
                    <a:srgbClr val="000000">
                      <a:alpha val="43137"/>
                    </a:srgbClr>
                  </a:outerShdw>
                </a:effectLst>
              </a:rPr>
              <a:t>Subnet</a:t>
            </a:r>
          </a:p>
        </p:txBody>
      </p:sp>
      <p:grpSp>
        <p:nvGrpSpPr>
          <p:cNvPr id="23" name="Group 85"/>
          <p:cNvGrpSpPr/>
          <p:nvPr/>
        </p:nvGrpSpPr>
        <p:grpSpPr>
          <a:xfrm>
            <a:off x="8277147" y="4088138"/>
            <a:ext cx="901888" cy="1197716"/>
            <a:chOff x="8913268" y="1889001"/>
            <a:chExt cx="919973" cy="1221733"/>
          </a:xfrm>
          <a:solidFill>
            <a:schemeClr val="accent6">
              <a:lumMod val="20000"/>
              <a:lumOff val="80000"/>
            </a:schemeClr>
          </a:solidFill>
        </p:grpSpPr>
        <p:sp>
          <p:nvSpPr>
            <p:cNvPr id="24" name="Rounded Rectangle 86"/>
            <p:cNvSpPr/>
            <p:nvPr/>
          </p:nvSpPr>
          <p:spPr bwMode="auto">
            <a:xfrm>
              <a:off x="8913268" y="1889001"/>
              <a:ext cx="919973" cy="1221733"/>
            </a:xfrm>
            <a:prstGeom prst="roundRect">
              <a:avLst>
                <a:gd name="adj" fmla="val 10259"/>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505050"/>
                    </a:gs>
                    <a:gs pos="10417">
                      <a:srgbClr val="505050"/>
                    </a:gs>
                  </a:gsLst>
                  <a:lin ang="5400000" scaled="0"/>
                </a:gradFill>
              </a:endParaRPr>
            </a:p>
          </p:txBody>
        </p:sp>
        <p:pic>
          <p:nvPicPr>
            <p:cNvPr id="25" name="Picture 87"/>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977772" y="2709388"/>
              <a:ext cx="790965" cy="341639"/>
            </a:xfrm>
            <a:prstGeom prst="roundRect">
              <a:avLst>
                <a:gd name="adj" fmla="val 11234"/>
              </a:avLst>
            </a:prstGeom>
            <a:grpFill/>
            <a:ln w="63500">
              <a:noFill/>
            </a:ln>
            <a:effectLst/>
          </p:spPr>
        </p:pic>
        <p:pic>
          <p:nvPicPr>
            <p:cNvPr id="26" name="Picture 88"/>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977772" y="2323384"/>
              <a:ext cx="790965" cy="341639"/>
            </a:xfrm>
            <a:prstGeom prst="roundRect">
              <a:avLst>
                <a:gd name="adj" fmla="val 11234"/>
              </a:avLst>
            </a:prstGeom>
            <a:grpFill/>
            <a:ln w="63500">
              <a:noFill/>
            </a:ln>
            <a:effectLst/>
          </p:spPr>
        </p:pic>
        <p:pic>
          <p:nvPicPr>
            <p:cNvPr id="27" name="Picture 89"/>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977772" y="1937379"/>
              <a:ext cx="790965" cy="341639"/>
            </a:xfrm>
            <a:prstGeom prst="roundRect">
              <a:avLst>
                <a:gd name="adj" fmla="val 11234"/>
              </a:avLst>
            </a:prstGeom>
            <a:grpFill/>
            <a:ln w="63500">
              <a:noFill/>
            </a:ln>
            <a:effectLst/>
          </p:spPr>
        </p:pic>
      </p:grpSp>
      <p:grpSp>
        <p:nvGrpSpPr>
          <p:cNvPr id="28" name="Group 95"/>
          <p:cNvGrpSpPr/>
          <p:nvPr/>
        </p:nvGrpSpPr>
        <p:grpSpPr>
          <a:xfrm>
            <a:off x="9526901" y="4085203"/>
            <a:ext cx="901888" cy="1197716"/>
            <a:chOff x="9897377" y="1889001"/>
            <a:chExt cx="919973" cy="1221733"/>
          </a:xfrm>
          <a:solidFill>
            <a:srgbClr val="FFC1C0"/>
          </a:solidFill>
        </p:grpSpPr>
        <p:sp>
          <p:nvSpPr>
            <p:cNvPr id="29" name="Rounded Rectangle 96"/>
            <p:cNvSpPr/>
            <p:nvPr/>
          </p:nvSpPr>
          <p:spPr bwMode="auto">
            <a:xfrm>
              <a:off x="9897377" y="1889001"/>
              <a:ext cx="919973" cy="1221733"/>
            </a:xfrm>
            <a:prstGeom prst="roundRect">
              <a:avLst>
                <a:gd name="adj" fmla="val 10259"/>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solidFill>
                  <a:srgbClr val="505050"/>
                </a:solidFill>
              </a:endParaRPr>
            </a:p>
          </p:txBody>
        </p:sp>
        <p:pic>
          <p:nvPicPr>
            <p:cNvPr id="30" name="Picture 97"/>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9961881" y="2709388"/>
              <a:ext cx="790965" cy="341639"/>
            </a:xfrm>
            <a:prstGeom prst="roundRect">
              <a:avLst>
                <a:gd name="adj" fmla="val 11234"/>
              </a:avLst>
            </a:prstGeom>
            <a:grpFill/>
            <a:ln w="63500">
              <a:noFill/>
            </a:ln>
            <a:effectLst/>
          </p:spPr>
        </p:pic>
        <p:pic>
          <p:nvPicPr>
            <p:cNvPr id="31" name="Picture 98"/>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9961881" y="2323384"/>
              <a:ext cx="790965" cy="341639"/>
            </a:xfrm>
            <a:prstGeom prst="roundRect">
              <a:avLst>
                <a:gd name="adj" fmla="val 11234"/>
              </a:avLst>
            </a:prstGeom>
            <a:grpFill/>
            <a:ln w="63500">
              <a:noFill/>
            </a:ln>
            <a:effectLst/>
          </p:spPr>
        </p:pic>
        <p:pic>
          <p:nvPicPr>
            <p:cNvPr id="32" name="Picture 99"/>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9961881" y="1937379"/>
              <a:ext cx="790965" cy="341639"/>
            </a:xfrm>
            <a:prstGeom prst="roundRect">
              <a:avLst>
                <a:gd name="adj" fmla="val 11234"/>
              </a:avLst>
            </a:prstGeom>
            <a:grpFill/>
            <a:ln w="63500">
              <a:noFill/>
            </a:ln>
            <a:effectLst/>
          </p:spPr>
        </p:pic>
      </p:grpSp>
      <p:sp>
        <p:nvSpPr>
          <p:cNvPr id="36" name="TextBox 35"/>
          <p:cNvSpPr txBox="1"/>
          <p:nvPr/>
        </p:nvSpPr>
        <p:spPr>
          <a:xfrm>
            <a:off x="8248588" y="5176795"/>
            <a:ext cx="906065" cy="724143"/>
          </a:xfrm>
          <a:prstGeom prst="rect">
            <a:avLst/>
          </a:prstGeom>
          <a:noFill/>
        </p:spPr>
        <p:txBody>
          <a:bodyPr wrap="square" lIns="89642" tIns="143428" rIns="89642" bIns="143428" rtlCol="0">
            <a:spAutoFit/>
          </a:bodyPr>
          <a:lstStyle/>
          <a:p>
            <a:pPr algn="ctr">
              <a:lnSpc>
                <a:spcPct val="90000"/>
              </a:lnSpc>
            </a:pPr>
            <a:r>
              <a:rPr lang="en-US" sz="1568" dirty="0">
                <a:solidFill>
                  <a:srgbClr val="FFFFFF"/>
                </a:solidFill>
                <a:effectLst>
                  <a:outerShdw blurRad="38100" dist="38100" dir="2700000" algn="tl">
                    <a:srgbClr val="000000">
                      <a:alpha val="43137"/>
                    </a:srgbClr>
                  </a:outerShdw>
                </a:effectLst>
              </a:rPr>
              <a:t>Mgmt</a:t>
            </a:r>
          </a:p>
          <a:p>
            <a:pPr algn="ctr">
              <a:lnSpc>
                <a:spcPct val="90000"/>
              </a:lnSpc>
            </a:pPr>
            <a:r>
              <a:rPr lang="en-US" sz="1568" dirty="0">
                <a:solidFill>
                  <a:srgbClr val="FFFFFF"/>
                </a:solidFill>
                <a:effectLst>
                  <a:outerShdw blurRad="38100" dist="38100" dir="2700000" algn="tl">
                    <a:srgbClr val="000000">
                      <a:alpha val="43137"/>
                    </a:srgbClr>
                  </a:outerShdw>
                </a:effectLst>
              </a:rPr>
              <a:t>Subnet</a:t>
            </a:r>
          </a:p>
        </p:txBody>
      </p:sp>
      <p:sp>
        <p:nvSpPr>
          <p:cNvPr id="37" name="TextBox 36"/>
          <p:cNvSpPr txBox="1"/>
          <p:nvPr/>
        </p:nvSpPr>
        <p:spPr>
          <a:xfrm>
            <a:off x="6843438" y="5176795"/>
            <a:ext cx="1037081" cy="724143"/>
          </a:xfrm>
          <a:prstGeom prst="rect">
            <a:avLst/>
          </a:prstGeom>
          <a:noFill/>
        </p:spPr>
        <p:txBody>
          <a:bodyPr wrap="square" lIns="89642" tIns="143428" rIns="89642" bIns="143428" rtlCol="0">
            <a:spAutoFit/>
          </a:bodyPr>
          <a:lstStyle/>
          <a:p>
            <a:pPr algn="ctr">
              <a:lnSpc>
                <a:spcPct val="90000"/>
              </a:lnSpc>
            </a:pPr>
            <a:r>
              <a:rPr lang="en-US" sz="1568" dirty="0">
                <a:solidFill>
                  <a:srgbClr val="FFFFFF"/>
                </a:solidFill>
                <a:effectLst>
                  <a:outerShdw blurRad="38100" dist="38100" dir="2700000" algn="tl">
                    <a:srgbClr val="000000">
                      <a:alpha val="43137"/>
                    </a:srgbClr>
                  </a:outerShdw>
                </a:effectLst>
              </a:rPr>
              <a:t>Backend</a:t>
            </a:r>
          </a:p>
          <a:p>
            <a:pPr algn="ctr">
              <a:lnSpc>
                <a:spcPct val="90000"/>
              </a:lnSpc>
            </a:pPr>
            <a:r>
              <a:rPr lang="en-US" sz="1568" dirty="0">
                <a:solidFill>
                  <a:srgbClr val="FFFFFF"/>
                </a:solidFill>
                <a:effectLst>
                  <a:outerShdw blurRad="38100" dist="38100" dir="2700000" algn="tl">
                    <a:srgbClr val="000000">
                      <a:alpha val="43137"/>
                    </a:srgbClr>
                  </a:outerShdw>
                </a:effectLst>
              </a:rPr>
              <a:t>Subnet</a:t>
            </a:r>
          </a:p>
        </p:txBody>
      </p:sp>
      <p:cxnSp>
        <p:nvCxnSpPr>
          <p:cNvPr id="38" name="Straight Arrow Connector 37"/>
          <p:cNvCxnSpPr/>
          <p:nvPr/>
        </p:nvCxnSpPr>
        <p:spPr>
          <a:xfrm>
            <a:off x="7192490" y="3575510"/>
            <a:ext cx="0" cy="509693"/>
          </a:xfrm>
          <a:prstGeom prst="straightConnector1">
            <a:avLst/>
          </a:prstGeom>
          <a:ln w="31750">
            <a:tailEnd type="triangle"/>
          </a:ln>
        </p:spPr>
        <p:style>
          <a:lnRef idx="2">
            <a:schemeClr val="accent1"/>
          </a:lnRef>
          <a:fillRef idx="0">
            <a:schemeClr val="accent1"/>
          </a:fillRef>
          <a:effectRef idx="1">
            <a:schemeClr val="accent1"/>
          </a:effectRef>
          <a:fontRef idx="minor">
            <a:schemeClr val="tx1"/>
          </a:fontRef>
        </p:style>
      </p:cxnSp>
      <p:cxnSp>
        <p:nvCxnSpPr>
          <p:cNvPr id="39" name="Straight Arrow Connector 38"/>
          <p:cNvCxnSpPr>
            <a:stCxn id="12" idx="2"/>
          </p:cNvCxnSpPr>
          <p:nvPr/>
        </p:nvCxnSpPr>
        <p:spPr>
          <a:xfrm>
            <a:off x="8448781" y="3575510"/>
            <a:ext cx="0" cy="525883"/>
          </a:xfrm>
          <a:prstGeom prst="straightConnector1">
            <a:avLst/>
          </a:prstGeom>
          <a:ln w="31750">
            <a:tailEnd type="triangle"/>
          </a:ln>
        </p:spPr>
        <p:style>
          <a:lnRef idx="2">
            <a:schemeClr val="accent1"/>
          </a:lnRef>
          <a:fillRef idx="0">
            <a:schemeClr val="accent1"/>
          </a:fillRef>
          <a:effectRef idx="1">
            <a:schemeClr val="accent1"/>
          </a:effectRef>
          <a:fontRef idx="minor">
            <a:schemeClr val="tx1"/>
          </a:fontRef>
        </p:style>
      </p:cxnSp>
      <p:cxnSp>
        <p:nvCxnSpPr>
          <p:cNvPr id="40" name="Straight Arrow Connector 39"/>
          <p:cNvCxnSpPr/>
          <p:nvPr/>
        </p:nvCxnSpPr>
        <p:spPr>
          <a:xfrm>
            <a:off x="9705070" y="3575509"/>
            <a:ext cx="0" cy="509693"/>
          </a:xfrm>
          <a:prstGeom prst="straightConnector1">
            <a:avLst/>
          </a:prstGeom>
          <a:ln w="31750">
            <a:tailEnd type="triangle"/>
          </a:ln>
        </p:spPr>
        <p:style>
          <a:lnRef idx="2">
            <a:schemeClr val="accent1"/>
          </a:lnRef>
          <a:fillRef idx="0">
            <a:schemeClr val="accent1"/>
          </a:fillRef>
          <a:effectRef idx="1">
            <a:schemeClr val="accent1"/>
          </a:effectRef>
          <a:fontRef idx="minor">
            <a:schemeClr val="tx1"/>
          </a:fontRef>
        </p:style>
      </p:cxnSp>
      <p:sp>
        <p:nvSpPr>
          <p:cNvPr id="43" name="TextBox 42"/>
          <p:cNvSpPr txBox="1"/>
          <p:nvPr/>
        </p:nvSpPr>
        <p:spPr>
          <a:xfrm>
            <a:off x="11198876" y="4596419"/>
            <a:ext cx="969496" cy="363946"/>
          </a:xfrm>
          <a:prstGeom prst="rect">
            <a:avLst/>
          </a:prstGeom>
          <a:noFill/>
        </p:spPr>
        <p:txBody>
          <a:bodyPr wrap="none" rtlCol="0">
            <a:spAutoFit/>
          </a:bodyPr>
          <a:lstStyle/>
          <a:p>
            <a:pPr algn="ctr"/>
            <a:r>
              <a:rPr lang="en-US" sz="1765" dirty="0">
                <a:solidFill>
                  <a:schemeClr val="tx2"/>
                </a:solidFill>
              </a:rPr>
              <a:t>Internet</a:t>
            </a:r>
          </a:p>
        </p:txBody>
      </p:sp>
      <p:sp>
        <p:nvSpPr>
          <p:cNvPr id="44" name="Left Arrow 43"/>
          <p:cNvSpPr/>
          <p:nvPr/>
        </p:nvSpPr>
        <p:spPr>
          <a:xfrm flipH="1">
            <a:off x="10629115" y="4580220"/>
            <a:ext cx="564415" cy="400923"/>
          </a:xfrm>
          <a:prstGeom prst="leftArrow">
            <a:avLst/>
          </a:prstGeom>
          <a:solidFill>
            <a:schemeClr val="accent6"/>
          </a:solidFill>
          <a:ln>
            <a:solidFill>
              <a:schemeClr val="bg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rgbClr val="FFFFFF"/>
              </a:solidFill>
            </a:endParaRPr>
          </a:p>
        </p:txBody>
      </p:sp>
      <p:sp>
        <p:nvSpPr>
          <p:cNvPr id="45" name="TextBox 44"/>
          <p:cNvSpPr txBox="1"/>
          <p:nvPr/>
        </p:nvSpPr>
        <p:spPr>
          <a:xfrm>
            <a:off x="8423243" y="3430269"/>
            <a:ext cx="906065" cy="479745"/>
          </a:xfrm>
          <a:prstGeom prst="rect">
            <a:avLst/>
          </a:prstGeom>
          <a:noFill/>
        </p:spPr>
        <p:txBody>
          <a:bodyPr wrap="square" lIns="89642" tIns="143428" rIns="89642" bIns="143428" rtlCol="0">
            <a:spAutoFit/>
          </a:bodyPr>
          <a:lstStyle/>
          <a:p>
            <a:pPr algn="ctr">
              <a:lnSpc>
                <a:spcPct val="90000"/>
              </a:lnSpc>
            </a:pPr>
            <a:r>
              <a:rPr lang="en-US" sz="1372" dirty="0">
                <a:solidFill>
                  <a:schemeClr val="tx2"/>
                </a:solidFill>
                <a:effectLst>
                  <a:outerShdw blurRad="38100" dist="38100" dir="2700000" algn="tl">
                    <a:srgbClr val="000000">
                      <a:alpha val="43137"/>
                    </a:srgbClr>
                  </a:outerShdw>
                </a:effectLst>
              </a:rPr>
              <a:t>10.2.2.22</a:t>
            </a:r>
          </a:p>
        </p:txBody>
      </p:sp>
      <p:sp>
        <p:nvSpPr>
          <p:cNvPr id="46" name="TextBox 45"/>
          <p:cNvSpPr txBox="1"/>
          <p:nvPr/>
        </p:nvSpPr>
        <p:spPr>
          <a:xfrm>
            <a:off x="7145744" y="3409845"/>
            <a:ext cx="906065" cy="479745"/>
          </a:xfrm>
          <a:prstGeom prst="rect">
            <a:avLst/>
          </a:prstGeom>
          <a:noFill/>
        </p:spPr>
        <p:txBody>
          <a:bodyPr wrap="square" lIns="89642" tIns="143428" rIns="89642" bIns="143428" rtlCol="0">
            <a:spAutoFit/>
          </a:bodyPr>
          <a:lstStyle/>
          <a:p>
            <a:pPr algn="ctr">
              <a:lnSpc>
                <a:spcPct val="90000"/>
              </a:lnSpc>
            </a:pPr>
            <a:r>
              <a:rPr lang="en-US" sz="1372" dirty="0">
                <a:solidFill>
                  <a:schemeClr val="tx2"/>
                </a:solidFill>
                <a:effectLst>
                  <a:outerShdw blurRad="38100" dist="38100" dir="2700000" algn="tl">
                    <a:srgbClr val="000000">
                      <a:alpha val="43137"/>
                    </a:srgbClr>
                  </a:outerShdw>
                </a:effectLst>
              </a:rPr>
              <a:t>10.3.3.33</a:t>
            </a:r>
          </a:p>
        </p:txBody>
      </p:sp>
      <p:sp>
        <p:nvSpPr>
          <p:cNvPr id="47" name="TextBox 46"/>
          <p:cNvSpPr txBox="1"/>
          <p:nvPr/>
        </p:nvSpPr>
        <p:spPr>
          <a:xfrm>
            <a:off x="9695664" y="3544326"/>
            <a:ext cx="906065" cy="190087"/>
          </a:xfrm>
          <a:prstGeom prst="rect">
            <a:avLst/>
          </a:prstGeom>
          <a:noFill/>
        </p:spPr>
        <p:txBody>
          <a:bodyPr wrap="square" lIns="0" tIns="0" rIns="0" bIns="0" rtlCol="0">
            <a:spAutoFit/>
          </a:bodyPr>
          <a:lstStyle/>
          <a:p>
            <a:pPr algn="ctr">
              <a:lnSpc>
                <a:spcPct val="90000"/>
              </a:lnSpc>
            </a:pPr>
            <a:r>
              <a:rPr lang="en-US" sz="1372" dirty="0">
                <a:solidFill>
                  <a:schemeClr val="tx2"/>
                </a:solidFill>
                <a:effectLst>
                  <a:outerShdw blurRad="38100" dist="38100" dir="2700000" algn="tl">
                    <a:srgbClr val="000000">
                      <a:alpha val="43137"/>
                    </a:srgbClr>
                  </a:outerShdw>
                </a:effectLst>
              </a:rPr>
              <a:t>10.1.1.11</a:t>
            </a:r>
          </a:p>
        </p:txBody>
      </p:sp>
      <p:sp>
        <p:nvSpPr>
          <p:cNvPr id="48" name="TextBox 47"/>
          <p:cNvSpPr txBox="1"/>
          <p:nvPr/>
        </p:nvSpPr>
        <p:spPr>
          <a:xfrm>
            <a:off x="10618555" y="4281651"/>
            <a:ext cx="1154802" cy="380175"/>
          </a:xfrm>
          <a:prstGeom prst="rect">
            <a:avLst/>
          </a:prstGeom>
          <a:noFill/>
        </p:spPr>
        <p:txBody>
          <a:bodyPr wrap="square" lIns="0" tIns="0" rIns="0" bIns="0" rtlCol="0">
            <a:spAutoFit/>
          </a:bodyPr>
          <a:lstStyle/>
          <a:p>
            <a:pPr algn="ctr">
              <a:lnSpc>
                <a:spcPct val="90000"/>
              </a:lnSpc>
            </a:pPr>
            <a:r>
              <a:rPr lang="en-US" sz="1372" b="1" dirty="0">
                <a:solidFill>
                  <a:schemeClr val="tx2"/>
                </a:solidFill>
                <a:effectLst>
                  <a:outerShdw blurRad="38100" dist="38100" dir="2700000" algn="tl">
                    <a:srgbClr val="000000">
                      <a:alpha val="43137"/>
                    </a:srgbClr>
                  </a:outerShdw>
                </a:effectLst>
              </a:rPr>
              <a:t>VIP 133.44.55.66</a:t>
            </a:r>
          </a:p>
        </p:txBody>
      </p:sp>
      <p:cxnSp>
        <p:nvCxnSpPr>
          <p:cNvPr id="49" name="Elbow Connector 48"/>
          <p:cNvCxnSpPr>
            <a:stCxn id="48" idx="0"/>
            <a:endCxn id="47" idx="2"/>
          </p:cNvCxnSpPr>
          <p:nvPr/>
        </p:nvCxnSpPr>
        <p:spPr>
          <a:xfrm rot="16200000" flipV="1">
            <a:off x="10398707" y="3484402"/>
            <a:ext cx="547239" cy="1047260"/>
          </a:xfrm>
          <a:prstGeom prst="bentConnector3">
            <a:avLst>
              <a:gd name="adj1" fmla="val 50000"/>
            </a:avLst>
          </a:prstGeom>
          <a:ln w="28575">
            <a:solidFill>
              <a:schemeClr val="tx1"/>
            </a:solidFill>
            <a:prstDash val="sysDot"/>
            <a:headEnd type="triangle"/>
            <a:tailEnd type="triangle"/>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2493882135"/>
      </p:ext>
    </p:extLst>
  </p:cSld>
  <p:clrMapOvr>
    <a:masterClrMapping/>
  </p:clrMapOvr>
  <p:transition>
    <p:fade/>
  </p:transition>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66169" y="295278"/>
            <a:ext cx="11702551" cy="917575"/>
          </a:xfrm>
          <a:prstGeom prst="rect">
            <a:avLst/>
          </a:prstGeom>
        </p:spPr>
        <p:txBody>
          <a:bodyPr vert="horz" wrap="square" lIns="146304" tIns="91440" rIns="146304" bIns="91440" rtlCol="0" anchor="t">
            <a:noAutofit/>
          </a:bodyPr>
          <a:lstStyle>
            <a:lvl1pPr algn="l" defTabSz="932594" rtl="0" eaLnBrk="1" latinLnBrk="0" hangingPunct="1">
              <a:lnSpc>
                <a:spcPct val="90000"/>
              </a:lnSpc>
              <a:spcBef>
                <a:spcPct val="0"/>
              </a:spcBef>
              <a:buNone/>
              <a:defRPr lang="en-US" sz="5867"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94"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1" normalizeH="0" baseline="0" noProof="0" dirty="0" smtClean="0">
                <a:ln w="3175">
                  <a:noFill/>
                </a:ln>
                <a:gradFill>
                  <a:gsLst>
                    <a:gs pos="1250">
                      <a:srgbClr val="505050"/>
                    </a:gs>
                    <a:gs pos="100000">
                      <a:srgbClr val="505050"/>
                    </a:gs>
                  </a:gsLst>
                  <a:lin ang="5400000" scaled="0"/>
                </a:gradFill>
                <a:effectLst/>
                <a:uLnTx/>
                <a:uFillTx/>
                <a:latin typeface="Segoe UI Light"/>
                <a:ea typeface="+mn-ea"/>
                <a:cs typeface="Segoe UI" pitchFamily="34" charset="0"/>
              </a:rPr>
              <a:t>Connectivity options and hybrid offerings</a:t>
            </a:r>
            <a:endParaRPr kumimoji="0" lang="en-US" sz="4800" b="0" i="0" u="none" strike="noStrike" kern="1200" cap="none" spc="-101"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endParaRPr>
          </a:p>
        </p:txBody>
      </p:sp>
      <p:sp>
        <p:nvSpPr>
          <p:cNvPr id="5" name="Rectangle 14"/>
          <p:cNvSpPr/>
          <p:nvPr/>
        </p:nvSpPr>
        <p:spPr bwMode="auto">
          <a:xfrm>
            <a:off x="542086" y="1307689"/>
            <a:ext cx="2034915" cy="704495"/>
          </a:xfrm>
          <a:prstGeom prst="rect">
            <a:avLst/>
          </a:prstGeom>
          <a:solidFill>
            <a:srgbClr val="505050">
              <a:lumMod val="50000"/>
              <a:alpha val="40000"/>
            </a:srgbClr>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vert="horz" wrap="square" lIns="146284" tIns="91428" rIns="91428" bIns="91428" numCol="1" rtlCol="0" anchor="ctr" anchorCtr="0" compatLnSpc="1">
            <a:prstTxWarp prst="textNoShape">
              <a:avLst/>
            </a:prstTxWarp>
          </a:bodyPr>
          <a:lstStyle/>
          <a:p>
            <a:pPr marL="0" marR="0" lvl="0" indent="0" algn="ctr" defTabSz="1242928"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smtClean="0">
                <a:ln>
                  <a:noFill/>
                </a:ln>
                <a:gradFill>
                  <a:gsLst>
                    <a:gs pos="0">
                      <a:srgbClr val="FFFFFF"/>
                    </a:gs>
                    <a:gs pos="100000">
                      <a:srgbClr val="FFFFFF"/>
                    </a:gs>
                  </a:gsLst>
                  <a:lin ang="5400000" scaled="0"/>
                </a:gradFill>
                <a:uLnTx/>
                <a:uFillTx/>
                <a:latin typeface="Segoe UI"/>
                <a:ea typeface="+mn-ea"/>
                <a:cs typeface="Segoe UI" panose="020B0502040204020203" pitchFamily="34" charset="0"/>
              </a:rPr>
              <a:t>Cloud</a:t>
            </a:r>
          </a:p>
        </p:txBody>
      </p:sp>
      <p:sp>
        <p:nvSpPr>
          <p:cNvPr id="6" name="Rectangle 17"/>
          <p:cNvSpPr/>
          <p:nvPr/>
        </p:nvSpPr>
        <p:spPr bwMode="auto">
          <a:xfrm>
            <a:off x="6131527" y="1323079"/>
            <a:ext cx="2016904" cy="704495"/>
          </a:xfrm>
          <a:prstGeom prst="rect">
            <a:avLst/>
          </a:prstGeom>
          <a:solidFill>
            <a:srgbClr val="505050">
              <a:lumMod val="50000"/>
              <a:alpha val="40000"/>
            </a:srgbClr>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vert="horz" wrap="square" lIns="146284" tIns="91428" rIns="91428" bIns="91428" numCol="1" rtlCol="0" anchor="ctr" anchorCtr="0" compatLnSpc="1">
            <a:prstTxWarp prst="textNoShape">
              <a:avLst/>
            </a:prstTxWarp>
          </a:bodyPr>
          <a:lstStyle/>
          <a:p>
            <a:pPr marL="0" marR="0" lvl="0" indent="0" algn="ctr" defTabSz="1242928"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smtClean="0">
                <a:ln>
                  <a:noFill/>
                </a:ln>
                <a:gradFill>
                  <a:gsLst>
                    <a:gs pos="0">
                      <a:srgbClr val="FFFFFF"/>
                    </a:gs>
                    <a:gs pos="100000">
                      <a:srgbClr val="FFFFFF"/>
                    </a:gs>
                  </a:gsLst>
                  <a:lin ang="5400000" scaled="0"/>
                </a:gradFill>
                <a:uLnTx/>
                <a:uFillTx/>
                <a:latin typeface="Segoe UI"/>
                <a:ea typeface="+mn-ea"/>
                <a:cs typeface="Segoe UI" panose="020B0502040204020203" pitchFamily="34" charset="0"/>
              </a:rPr>
              <a:t>Customer</a:t>
            </a:r>
          </a:p>
        </p:txBody>
      </p:sp>
      <p:sp>
        <p:nvSpPr>
          <p:cNvPr id="7" name="Rectangle 6"/>
          <p:cNvSpPr/>
          <p:nvPr/>
        </p:nvSpPr>
        <p:spPr bwMode="auto">
          <a:xfrm>
            <a:off x="8154362" y="1323079"/>
            <a:ext cx="3531488" cy="704495"/>
          </a:xfrm>
          <a:prstGeom prst="rect">
            <a:avLst/>
          </a:prstGeom>
          <a:solidFill>
            <a:srgbClr val="505050">
              <a:lumMod val="50000"/>
              <a:alpha val="40000"/>
            </a:srgbClr>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vert="horz" wrap="square" lIns="146284" tIns="91428" rIns="91428" bIns="91428" numCol="1" rtlCol="0" anchor="ctr" anchorCtr="0" compatLnSpc="1">
            <a:prstTxWarp prst="textNoShape">
              <a:avLst/>
            </a:prstTxWarp>
          </a:bodyPr>
          <a:lstStyle/>
          <a:p>
            <a:pPr marL="0" marR="0" lvl="0" indent="0" defTabSz="1242928"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smtClean="0">
                <a:ln>
                  <a:noFill/>
                </a:ln>
                <a:gradFill>
                  <a:gsLst>
                    <a:gs pos="0">
                      <a:srgbClr val="FFFFFF"/>
                    </a:gs>
                    <a:gs pos="100000">
                      <a:srgbClr val="FFFFFF"/>
                    </a:gs>
                  </a:gsLst>
                  <a:lin ang="5400000" scaled="0"/>
                </a:gradFill>
                <a:uLnTx/>
                <a:uFillTx/>
                <a:latin typeface="Segoe UI"/>
                <a:ea typeface="+mn-ea"/>
                <a:cs typeface="Segoe UI" panose="020B0502040204020203" pitchFamily="34" charset="0"/>
              </a:rPr>
              <a:t>Segment and workloads</a:t>
            </a:r>
          </a:p>
        </p:txBody>
      </p:sp>
      <p:grpSp>
        <p:nvGrpSpPr>
          <p:cNvPr id="8" name="Group 7"/>
          <p:cNvGrpSpPr/>
          <p:nvPr/>
        </p:nvGrpSpPr>
        <p:grpSpPr>
          <a:xfrm>
            <a:off x="524920" y="4308557"/>
            <a:ext cx="11154999" cy="1228545"/>
            <a:chOff x="312738" y="4254537"/>
            <a:chExt cx="11156422" cy="1228702"/>
          </a:xfrm>
        </p:grpSpPr>
        <p:grpSp>
          <p:nvGrpSpPr>
            <p:cNvPr id="9" name="Group 8"/>
            <p:cNvGrpSpPr/>
            <p:nvPr/>
          </p:nvGrpSpPr>
          <p:grpSpPr>
            <a:xfrm>
              <a:off x="312738" y="4353320"/>
              <a:ext cx="11156422" cy="1100878"/>
              <a:chOff x="312738" y="4315336"/>
              <a:chExt cx="11156422" cy="1100878"/>
            </a:xfrm>
          </p:grpSpPr>
          <p:sp>
            <p:nvSpPr>
              <p:cNvPr id="11" name="Rectangle 10"/>
              <p:cNvSpPr/>
              <p:nvPr/>
            </p:nvSpPr>
            <p:spPr>
              <a:xfrm>
                <a:off x="312738" y="4315336"/>
                <a:ext cx="11156422" cy="1100878"/>
              </a:xfrm>
              <a:prstGeom prst="rect">
                <a:avLst/>
              </a:prstGeom>
              <a:solidFill>
                <a:srgbClr val="0070C0"/>
              </a:solidFill>
              <a:ln w="10795" cap="flat" cmpd="sng" algn="ctr">
                <a:noFill/>
                <a:prstDash val="solid"/>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srgbClr val="FFFFFF"/>
                  </a:solidFill>
                  <a:effectLst/>
                  <a:uLnTx/>
                  <a:uFillTx/>
                  <a:latin typeface="Segoe UI"/>
                  <a:ea typeface="+mn-ea"/>
                  <a:cs typeface="Segoe UI" panose="020B0502040204020203" pitchFamily="34" charset="0"/>
                </a:endParaRPr>
              </a:p>
            </p:txBody>
          </p:sp>
          <p:sp>
            <p:nvSpPr>
              <p:cNvPr id="12" name="Freeform 11"/>
              <p:cNvSpPr/>
              <p:nvPr/>
            </p:nvSpPr>
            <p:spPr>
              <a:xfrm rot="5400000">
                <a:off x="6341213" y="3839364"/>
                <a:ext cx="1100392"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3046224" tIns="38077" rIns="76151" bIns="38077" rtlCol="0" anchor="ctr"/>
              <a:lstStyle/>
              <a:p>
                <a:pPr marL="239605" marR="0" lvl="0" indent="-239605" defTabSz="475888" eaLnBrk="1" fontAlgn="auto" latinLnBrk="0" hangingPunct="1">
                  <a:lnSpc>
                    <a:spcPct val="90000"/>
                  </a:lnSpc>
                  <a:spcBef>
                    <a:spcPct val="20000"/>
                  </a:spcBef>
                  <a:spcAft>
                    <a:spcPts val="0"/>
                  </a:spcAft>
                  <a:buClrTx/>
                  <a:buSzPct val="90000"/>
                  <a:buFontTx/>
                  <a:buBlip>
                    <a:blip r:embed="rId3"/>
                  </a:buBlip>
                  <a:tabLst/>
                  <a:defRPr/>
                </a:pPr>
                <a:endParaRPr kumimoji="0" lang="en-US" sz="2400" b="0" i="0" u="none" strike="noStrike" kern="0" cap="none" spc="0" normalizeH="0" baseline="0" noProof="0" dirty="0" smtClean="0">
                  <a:ln>
                    <a:noFill/>
                  </a:ln>
                  <a:gradFill>
                    <a:gsLst>
                      <a:gs pos="80000">
                        <a:srgbClr val="EFEFEF">
                          <a:lumMod val="10000"/>
                        </a:srgbClr>
                      </a:gs>
                      <a:gs pos="64762">
                        <a:srgbClr val="EFEFEF">
                          <a:lumMod val="10000"/>
                        </a:srgbClr>
                      </a:gs>
                    </a:gsLst>
                    <a:lin ang="5400000" scaled="0"/>
                  </a:gradFill>
                  <a:effectLst/>
                  <a:uLnTx/>
                  <a:uFillTx/>
                  <a:cs typeface="Segoe UI" panose="020B0502040204020203" pitchFamily="34" charset="0"/>
                </a:endParaRPr>
              </a:p>
            </p:txBody>
          </p:sp>
          <p:sp>
            <p:nvSpPr>
              <p:cNvPr id="13" name="Freeform 12"/>
              <p:cNvSpPr/>
              <p:nvPr/>
            </p:nvSpPr>
            <p:spPr>
              <a:xfrm rot="5400000">
                <a:off x="788716" y="3839364"/>
                <a:ext cx="1100394"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solidFill>
              <a:ln w="12700" cap="flat" cmpd="thickThin" algn="ctr">
                <a:noFill/>
                <a:prstDash val="solid"/>
              </a:ln>
              <a:effectLst/>
            </p:spPr>
            <p:txBody>
              <a:bodyPr lIns="3046224" tIns="38077" rIns="76151" bIns="38077" rtlCol="0" anchor="ctr"/>
              <a:lstStyle/>
              <a:p>
                <a:pPr marL="239605" marR="0" lvl="0" indent="-239605" defTabSz="475888" eaLnBrk="1" fontAlgn="auto" latinLnBrk="0" hangingPunct="1">
                  <a:lnSpc>
                    <a:spcPct val="90000"/>
                  </a:lnSpc>
                  <a:spcBef>
                    <a:spcPct val="20000"/>
                  </a:spcBef>
                  <a:spcAft>
                    <a:spcPts val="0"/>
                  </a:spcAft>
                  <a:buClrTx/>
                  <a:buSzPct val="90000"/>
                  <a:buFontTx/>
                  <a:buBlip>
                    <a:blip r:embed="rId3"/>
                  </a:buBlip>
                  <a:tabLst/>
                  <a:defRPr/>
                </a:pPr>
                <a:endParaRPr kumimoji="0" lang="en-US" sz="2400" b="0" i="0" u="none" strike="noStrike" kern="0" cap="none" spc="0" normalizeH="0" baseline="0" noProof="0" dirty="0" smtClean="0">
                  <a:ln>
                    <a:noFill/>
                  </a:ln>
                  <a:gradFill>
                    <a:gsLst>
                      <a:gs pos="80000">
                        <a:srgbClr val="EFEFEF">
                          <a:lumMod val="10000"/>
                        </a:srgbClr>
                      </a:gs>
                      <a:gs pos="64762">
                        <a:srgbClr val="EFEFEF">
                          <a:lumMod val="10000"/>
                        </a:srgbClr>
                      </a:gs>
                    </a:gsLst>
                    <a:lin ang="5400000" scaled="0"/>
                  </a:gradFill>
                  <a:effectLst/>
                  <a:uLnTx/>
                  <a:uFillTx/>
                  <a:cs typeface="Segoe UI" panose="020B0502040204020203" pitchFamily="34" charset="0"/>
                </a:endParaRPr>
              </a:p>
            </p:txBody>
          </p:sp>
          <p:grpSp>
            <p:nvGrpSpPr>
              <p:cNvPr id="14" name="Group 13"/>
              <p:cNvGrpSpPr/>
              <p:nvPr/>
            </p:nvGrpSpPr>
            <p:grpSpPr>
              <a:xfrm>
                <a:off x="881372" y="4344939"/>
                <a:ext cx="549467" cy="750287"/>
                <a:chOff x="5293615" y="2178868"/>
                <a:chExt cx="1189325" cy="1488408"/>
              </a:xfrm>
            </p:grpSpPr>
            <p:pic>
              <p:nvPicPr>
                <p:cNvPr id="20" name="Picture 2"/>
                <p:cNvPicPr>
                  <a:picLocks noChangeAspect="1" noChangeArrowheads="1"/>
                </p:cNvPicPr>
                <p:nvPr/>
              </p:nvPicPr>
              <p:blipFill>
                <a:blip r:embed="rId4" cstate="print">
                  <a:lum bright="100000" contrast="100000"/>
                </a:blip>
                <a:srcRect/>
                <a:stretch>
                  <a:fillRect/>
                </a:stretch>
              </p:blipFill>
              <p:spPr bwMode="auto">
                <a:xfrm>
                  <a:off x="5293615" y="2178868"/>
                  <a:ext cx="1178385" cy="1079716"/>
                </a:xfrm>
                <a:prstGeom prst="rect">
                  <a:avLst/>
                </a:prstGeom>
                <a:noFill/>
                <a:ln w="9525">
                  <a:noFill/>
                  <a:miter lim="800000"/>
                  <a:headEnd/>
                  <a:tailEnd/>
                </a:ln>
                <a:effectLst/>
              </p:spPr>
            </p:pic>
            <p:sp>
              <p:nvSpPr>
                <p:cNvPr id="21" name="Isosceles Triangle 20"/>
                <p:cNvSpPr/>
                <p:nvPr/>
              </p:nvSpPr>
              <p:spPr bwMode="auto">
                <a:xfrm rot="9180217">
                  <a:off x="5900777" y="2938035"/>
                  <a:ext cx="582163" cy="729241"/>
                </a:xfrm>
                <a:prstGeom prst="triangle">
                  <a:avLst>
                    <a:gd name="adj" fmla="val 64317"/>
                  </a:avLst>
                </a:pr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91424" tIns="45711" rIns="91424" bIns="45711" numCol="1" rtlCol="0" anchor="ctr" anchorCtr="0" compatLnSpc="1">
                  <a:prstTxWarp prst="textNoShape">
                    <a:avLst/>
                  </a:prstTxWarp>
                </a:bodyPr>
                <a:lstStyle/>
                <a:p>
                  <a:pPr marL="0" marR="0" lvl="0" indent="0" algn="ctr" defTabSz="571156"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gradFill>
                      <a:gsLst>
                        <a:gs pos="80000">
                          <a:srgbClr val="EFEFEF">
                            <a:lumMod val="10000"/>
                          </a:srgbClr>
                        </a:gs>
                        <a:gs pos="64762">
                          <a:srgbClr val="EFEFEF">
                            <a:lumMod val="10000"/>
                          </a:srgbClr>
                        </a:gs>
                      </a:gsLst>
                      <a:lin ang="5400000" scaled="0"/>
                    </a:gradFill>
                    <a:effectLst/>
                    <a:uLnTx/>
                    <a:uFillTx/>
                    <a:cs typeface="Segoe UI" panose="020B0502040204020203" pitchFamily="34" charset="0"/>
                  </a:endParaRPr>
                </a:p>
              </p:txBody>
            </p:sp>
          </p:grpSp>
          <p:cxnSp>
            <p:nvCxnSpPr>
              <p:cNvPr id="15" name="Straight Connector 14"/>
              <p:cNvCxnSpPr/>
              <p:nvPr/>
            </p:nvCxnSpPr>
            <p:spPr>
              <a:xfrm flipH="1">
                <a:off x="2204323" y="4868888"/>
                <a:ext cx="941118" cy="0"/>
              </a:xfrm>
              <a:prstGeom prst="line">
                <a:avLst/>
              </a:prstGeom>
              <a:noFill/>
              <a:ln w="38100" cap="flat" cmpd="sng" algn="ctr">
                <a:gradFill>
                  <a:gsLst>
                    <a:gs pos="0">
                      <a:srgbClr val="107C10"/>
                    </a:gs>
                    <a:gs pos="100000">
                      <a:srgbClr val="107C10">
                        <a:alpha val="0"/>
                      </a:srgbClr>
                    </a:gs>
                  </a:gsLst>
                  <a:lin ang="10800000" scaled="0"/>
                </a:gradFill>
                <a:prstDash val="solid"/>
                <a:tailEnd type="oval"/>
              </a:ln>
              <a:effectLst/>
            </p:spPr>
          </p:cxnSp>
          <p:sp>
            <p:nvSpPr>
              <p:cNvPr id="16" name="Rectangle 15"/>
              <p:cNvSpPr/>
              <p:nvPr/>
            </p:nvSpPr>
            <p:spPr>
              <a:xfrm>
                <a:off x="2865436" y="4593996"/>
                <a:ext cx="2534410" cy="566340"/>
              </a:xfrm>
              <a:prstGeom prst="rect">
                <a:avLst/>
              </a:prstGeom>
            </p:spPr>
            <p:txBody>
              <a:bodyPr wrap="square" lIns="121877" tIns="60940" rIns="121877" bIns="60940">
                <a:spAutoFit/>
              </a:bodyPr>
              <a:lstStyle/>
              <a:p>
                <a:pPr marL="0" marR="0" lvl="0" indent="0" algn="ctr" defTabSz="475968" eaLnBrk="1" fontAlgn="base" latinLnBrk="0" hangingPunct="1">
                  <a:lnSpc>
                    <a:spcPct val="8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cs typeface="Segoe UI" panose="020B0502040204020203" pitchFamily="34" charset="0"/>
                  </a:rPr>
                  <a:t>Secure site-to-site </a:t>
                </a:r>
              </a:p>
              <a:p>
                <a:pPr marL="0" marR="0" lvl="0" indent="0" algn="ctr" defTabSz="475968" eaLnBrk="1" fontAlgn="base" latinLnBrk="0" hangingPunct="1">
                  <a:lnSpc>
                    <a:spcPct val="8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cs typeface="Segoe UI" panose="020B0502040204020203" pitchFamily="34" charset="0"/>
                  </a:rPr>
                  <a:t>VPN connectivity</a:t>
                </a:r>
              </a:p>
            </p:txBody>
          </p:sp>
          <p:cxnSp>
            <p:nvCxnSpPr>
              <p:cNvPr id="17" name="Straight Connector 16"/>
              <p:cNvCxnSpPr/>
              <p:nvPr/>
            </p:nvCxnSpPr>
            <p:spPr>
              <a:xfrm>
                <a:off x="5151437" y="4868888"/>
                <a:ext cx="930002" cy="0"/>
              </a:xfrm>
              <a:prstGeom prst="line">
                <a:avLst/>
              </a:prstGeom>
              <a:noFill/>
              <a:ln w="38100" cap="flat" cmpd="sng" algn="ctr">
                <a:gradFill>
                  <a:gsLst>
                    <a:gs pos="0">
                      <a:srgbClr val="107C10"/>
                    </a:gs>
                    <a:gs pos="100000">
                      <a:srgbClr val="107C10">
                        <a:alpha val="0"/>
                      </a:srgbClr>
                    </a:gs>
                  </a:gsLst>
                  <a:lin ang="10800000" scaled="0"/>
                </a:gradFill>
                <a:prstDash val="solid"/>
                <a:tailEnd type="oval"/>
              </a:ln>
              <a:effectLst/>
            </p:spPr>
          </p:cxnSp>
          <p:sp>
            <p:nvSpPr>
              <p:cNvPr id="18" name="Rectangle 77"/>
              <p:cNvSpPr/>
              <p:nvPr/>
            </p:nvSpPr>
            <p:spPr>
              <a:xfrm>
                <a:off x="7937222" y="4317275"/>
                <a:ext cx="3208600" cy="689467"/>
              </a:xfrm>
              <a:prstGeom prst="rect">
                <a:avLst/>
              </a:prstGeom>
            </p:spPr>
            <p:txBody>
              <a:bodyPr wrap="square" lIns="182858" tIns="146284" rIns="182858" bIns="146284">
                <a:spAutoFit/>
              </a:bodyPr>
              <a:lstStyle/>
              <a:p>
                <a:pPr marR="0" lvl="0" defTabSz="475968" eaLnBrk="1" fontAlgn="base" latinLnBrk="0" hangingPunct="1">
                  <a:lnSpc>
                    <a:spcPct val="80000"/>
                  </a:lnSpc>
                  <a:spcBef>
                    <a:spcPts val="0"/>
                  </a:spcBef>
                  <a:spcAft>
                    <a:spcPts val="0"/>
                  </a:spcAft>
                  <a:buClrTx/>
                  <a:buSzTx/>
                  <a:tabLst/>
                  <a:defRPr/>
                </a:pPr>
                <a:r>
                  <a:rPr kumimoji="0" lang="en-US" sz="1600" b="1"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cs typeface="Segoe UI" panose="020B0502040204020203" pitchFamily="34" charset="0"/>
                  </a:rPr>
                  <a:t>SMB, Enterprises</a:t>
                </a:r>
              </a:p>
              <a:p>
                <a:pPr marL="171429" marR="0" lvl="0" indent="-171429" defTabSz="475968" eaLnBrk="1" fontAlgn="base" latinLnBrk="0" hangingPunct="1">
                  <a:lnSpc>
                    <a:spcPct val="80000"/>
                  </a:lnSpc>
                  <a:spcBef>
                    <a:spcPts val="0"/>
                  </a:spcBef>
                  <a:spcAft>
                    <a:spcPts val="0"/>
                  </a:spcAft>
                  <a:buClrTx/>
                  <a:buSzTx/>
                  <a:buFont typeface="Arial" pitchFamily="34" charset="0"/>
                  <a:buChar char="•"/>
                  <a:tabLst/>
                  <a:defRPr/>
                </a:pPr>
                <a:r>
                  <a:rPr kumimoji="0" lang="en-US" sz="16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cs typeface="Segoe UI" panose="020B0502040204020203" pitchFamily="34" charset="0"/>
                  </a:rPr>
                  <a:t>Connect to Azure compute</a:t>
                </a:r>
              </a:p>
            </p:txBody>
          </p:sp>
          <p:sp>
            <p:nvSpPr>
              <p:cNvPr id="19" name="Freeform 539"/>
              <p:cNvSpPr>
                <a:spLocks noChangeAspect="1"/>
              </p:cNvSpPr>
              <p:nvPr/>
            </p:nvSpPr>
            <p:spPr bwMode="auto">
              <a:xfrm>
                <a:off x="1181338" y="4895499"/>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1428" tIns="45714" rIns="91428" bIns="45714" numCol="1" anchor="t" anchorCtr="0" compatLnSpc="1">
                <a:prstTxWarp prst="textNoShape">
                  <a:avLst/>
                </a:prstTxWarp>
              </a:bodyPr>
              <a:lstStyle/>
              <a:p>
                <a:pPr marL="0" marR="0" lvl="0" indent="0" defTabSz="9323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srgbClr val="505050"/>
                  </a:solidFill>
                  <a:effectLst/>
                  <a:uLnTx/>
                  <a:uFillTx/>
                  <a:cs typeface="Segoe UI" panose="020B0502040204020203" pitchFamily="34" charset="0"/>
                </a:endParaRPr>
              </a:p>
            </p:txBody>
          </p:sp>
        </p:grpSp>
        <p:pic>
          <p:nvPicPr>
            <p:cNvPr id="10" name="Picture 2"/>
            <p:cNvPicPr>
              <a:picLocks noChangeAspect="1" noChangeArrowheads="1"/>
            </p:cNvPicPr>
            <p:nvPr/>
          </p:nvPicPr>
          <p:blipFill>
            <a:blip r:embed="rId5" cstate="print">
              <a:lum bright="100000" contrast="100000"/>
            </a:blip>
            <a:srcRect/>
            <a:stretch>
              <a:fillRect/>
            </a:stretch>
          </p:blipFill>
          <p:spPr bwMode="auto">
            <a:xfrm>
              <a:off x="6440934" y="4254537"/>
              <a:ext cx="1005739" cy="1228702"/>
            </a:xfrm>
            <a:prstGeom prst="rect">
              <a:avLst/>
            </a:prstGeom>
            <a:noFill/>
            <a:ln w="9525">
              <a:noFill/>
              <a:miter lim="800000"/>
              <a:headEnd/>
              <a:tailEnd/>
            </a:ln>
            <a:effectLst/>
          </p:spPr>
        </p:pic>
      </p:grpSp>
      <p:grpSp>
        <p:nvGrpSpPr>
          <p:cNvPr id="22" name="Group 21"/>
          <p:cNvGrpSpPr/>
          <p:nvPr/>
        </p:nvGrpSpPr>
        <p:grpSpPr>
          <a:xfrm>
            <a:off x="524920" y="3255548"/>
            <a:ext cx="11154999" cy="1127750"/>
            <a:chOff x="312738" y="3159809"/>
            <a:chExt cx="11156422" cy="1127893"/>
          </a:xfrm>
        </p:grpSpPr>
        <p:sp>
          <p:nvSpPr>
            <p:cNvPr id="23" name="Rectangle 22"/>
            <p:cNvSpPr/>
            <p:nvPr/>
          </p:nvSpPr>
          <p:spPr>
            <a:xfrm>
              <a:off x="312738" y="3159817"/>
              <a:ext cx="11156422" cy="1096285"/>
            </a:xfrm>
            <a:prstGeom prst="rect">
              <a:avLst/>
            </a:prstGeom>
            <a:solidFill>
              <a:srgbClr val="0070C0"/>
            </a:solidFill>
            <a:ln w="10795" cap="flat" cmpd="sng" algn="ctr">
              <a:noFill/>
              <a:prstDash val="solid"/>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srgbClr val="FFFFFF"/>
                </a:solidFill>
                <a:effectLst/>
                <a:uLnTx/>
                <a:uFillTx/>
                <a:latin typeface="Segoe UI"/>
                <a:ea typeface="+mn-ea"/>
                <a:cs typeface="Segoe UI" panose="020B0502040204020203" pitchFamily="34" charset="0"/>
              </a:endParaRPr>
            </a:p>
          </p:txBody>
        </p:sp>
        <p:grpSp>
          <p:nvGrpSpPr>
            <p:cNvPr id="24" name="Group 23"/>
            <p:cNvGrpSpPr/>
            <p:nvPr/>
          </p:nvGrpSpPr>
          <p:grpSpPr>
            <a:xfrm>
              <a:off x="312739" y="3159809"/>
              <a:ext cx="7604838" cy="1127893"/>
              <a:chOff x="2916922" y="5310943"/>
              <a:chExt cx="8816693" cy="980720"/>
            </a:xfrm>
          </p:grpSpPr>
          <p:sp>
            <p:nvSpPr>
              <p:cNvPr id="29" name="Freeform 28"/>
              <p:cNvSpPr/>
              <p:nvPr/>
            </p:nvSpPr>
            <p:spPr>
              <a:xfrm rot="5400000">
                <a:off x="10066868" y="4598309"/>
                <a:ext cx="95410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3046224" tIns="38077" rIns="76151" bIns="38077" rtlCol="0" anchor="ctr"/>
              <a:lstStyle/>
              <a:p>
                <a:pPr marL="239605" marR="0" lvl="0" indent="-239605" defTabSz="475888" eaLnBrk="1" fontAlgn="auto" latinLnBrk="0" hangingPunct="1">
                  <a:lnSpc>
                    <a:spcPct val="90000"/>
                  </a:lnSpc>
                  <a:spcBef>
                    <a:spcPct val="20000"/>
                  </a:spcBef>
                  <a:spcAft>
                    <a:spcPts val="0"/>
                  </a:spcAft>
                  <a:buClrTx/>
                  <a:buSzPct val="90000"/>
                  <a:buFontTx/>
                  <a:buBlip>
                    <a:blip r:embed="rId3"/>
                  </a:buBlip>
                  <a:tabLst/>
                  <a:defRPr/>
                </a:pPr>
                <a:endParaRPr kumimoji="0" lang="en-US" sz="2400" b="0" i="0" u="none" strike="noStrike" kern="0" cap="none" spc="0" normalizeH="0" baseline="0" noProof="0" dirty="0" smtClean="0">
                  <a:ln>
                    <a:noFill/>
                  </a:ln>
                  <a:gradFill>
                    <a:gsLst>
                      <a:gs pos="80000">
                        <a:srgbClr val="EFEFEF">
                          <a:lumMod val="10000"/>
                        </a:srgbClr>
                      </a:gs>
                      <a:gs pos="64762">
                        <a:srgbClr val="EFEFEF">
                          <a:lumMod val="10000"/>
                        </a:srgbClr>
                      </a:gs>
                    </a:gsLst>
                    <a:lin ang="5400000" scaled="0"/>
                  </a:gradFill>
                  <a:effectLst/>
                  <a:uLnTx/>
                  <a:uFillTx/>
                  <a:cs typeface="Segoe UI" panose="020B0502040204020203" pitchFamily="34" charset="0"/>
                </a:endParaRPr>
              </a:p>
            </p:txBody>
          </p:sp>
          <p:sp>
            <p:nvSpPr>
              <p:cNvPr id="30" name="Freeform 29"/>
              <p:cNvSpPr/>
              <p:nvPr/>
            </p:nvSpPr>
            <p:spPr>
              <a:xfrm rot="5400000">
                <a:off x="3629998" y="4597869"/>
                <a:ext cx="95323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solidFill>
              <a:ln w="12700" cap="flat" cmpd="thickThin" algn="ctr">
                <a:noFill/>
                <a:prstDash val="solid"/>
              </a:ln>
              <a:effectLst/>
            </p:spPr>
            <p:txBody>
              <a:bodyPr lIns="3046224" tIns="38077" rIns="76151" bIns="38077" rtlCol="0" anchor="ctr"/>
              <a:lstStyle/>
              <a:p>
                <a:pPr marL="239605" marR="0" lvl="0" indent="-239605" defTabSz="475888" eaLnBrk="1" fontAlgn="auto" latinLnBrk="0" hangingPunct="1">
                  <a:lnSpc>
                    <a:spcPct val="90000"/>
                  </a:lnSpc>
                  <a:spcBef>
                    <a:spcPct val="20000"/>
                  </a:spcBef>
                  <a:spcAft>
                    <a:spcPts val="0"/>
                  </a:spcAft>
                  <a:buClrTx/>
                  <a:buSzPct val="90000"/>
                  <a:buFontTx/>
                  <a:buBlip>
                    <a:blip r:embed="rId3"/>
                  </a:buBlip>
                  <a:tabLst/>
                  <a:defRPr/>
                </a:pPr>
                <a:endParaRPr kumimoji="0" lang="en-US" sz="2400" b="0" i="0" u="none" strike="noStrike" kern="0" cap="none" spc="0" normalizeH="0" baseline="0" noProof="0" dirty="0" smtClean="0">
                  <a:ln>
                    <a:noFill/>
                  </a:ln>
                  <a:gradFill>
                    <a:gsLst>
                      <a:gs pos="80000">
                        <a:srgbClr val="EFEFEF">
                          <a:lumMod val="10000"/>
                        </a:srgbClr>
                      </a:gs>
                      <a:gs pos="64762">
                        <a:srgbClr val="EFEFEF">
                          <a:lumMod val="10000"/>
                        </a:srgbClr>
                      </a:gs>
                    </a:gsLst>
                    <a:lin ang="5400000" scaled="0"/>
                  </a:gradFill>
                  <a:effectLst/>
                  <a:uLnTx/>
                  <a:uFillTx/>
                  <a:cs typeface="Segoe UI" panose="020B0502040204020203" pitchFamily="34" charset="0"/>
                </a:endParaRPr>
              </a:p>
            </p:txBody>
          </p:sp>
          <p:pic>
            <p:nvPicPr>
              <p:cNvPr id="31" name="Picture 6" descr="\\magnum\Projects\Microsoft\Cloud Power FY12\Design\Icons\PNGs\Server_2.png"/>
              <p:cNvPicPr>
                <a:picLocks noChangeAspect="1" noChangeArrowheads="1"/>
              </p:cNvPicPr>
              <p:nvPr/>
            </p:nvPicPr>
            <p:blipFill>
              <a:blip r:embed="rId6" cstate="print">
                <a:lum bright="100000"/>
              </a:blip>
              <a:srcRect/>
              <a:stretch>
                <a:fillRect/>
              </a:stretch>
            </p:blipFill>
            <p:spPr bwMode="auto">
              <a:xfrm>
                <a:off x="10053562" y="5310943"/>
                <a:ext cx="980722" cy="980720"/>
              </a:xfrm>
              <a:prstGeom prst="rect">
                <a:avLst/>
              </a:prstGeom>
              <a:noFill/>
            </p:spPr>
          </p:pic>
          <p:sp>
            <p:nvSpPr>
              <p:cNvPr id="32" name="Rectangle 31"/>
              <p:cNvSpPr/>
              <p:nvPr/>
            </p:nvSpPr>
            <p:spPr>
              <a:xfrm>
                <a:off x="5853434" y="5535542"/>
                <a:ext cx="2938277" cy="492441"/>
              </a:xfrm>
              <a:prstGeom prst="rect">
                <a:avLst/>
              </a:prstGeom>
            </p:spPr>
            <p:txBody>
              <a:bodyPr wrap="square" lIns="121877" tIns="60940" rIns="121877" bIns="60940">
                <a:spAutoFit/>
              </a:bodyPr>
              <a:lstStyle/>
              <a:p>
                <a:pPr marL="0" marR="0" lvl="0" indent="0" algn="ctr" defTabSz="475968" eaLnBrk="1" fontAlgn="base" latinLnBrk="0" hangingPunct="1">
                  <a:lnSpc>
                    <a:spcPct val="8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cs typeface="Segoe UI" panose="020B0502040204020203" pitchFamily="34" charset="0"/>
                  </a:rPr>
                  <a:t>Secure point-to-site connectivity</a:t>
                </a:r>
                <a:endParaRPr kumimoji="0" lang="en-US" sz="12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cs typeface="Segoe UI" panose="020B0502040204020203" pitchFamily="34" charset="0"/>
                </a:endParaRPr>
              </a:p>
            </p:txBody>
          </p:sp>
          <p:cxnSp>
            <p:nvCxnSpPr>
              <p:cNvPr id="33" name="Straight Connector 32"/>
              <p:cNvCxnSpPr/>
              <p:nvPr/>
            </p:nvCxnSpPr>
            <p:spPr>
              <a:xfrm>
                <a:off x="8526682" y="5801304"/>
                <a:ext cx="1061437" cy="0"/>
              </a:xfrm>
              <a:prstGeom prst="line">
                <a:avLst/>
              </a:prstGeom>
              <a:noFill/>
              <a:ln w="38100" cap="flat" cmpd="sng" algn="ctr">
                <a:gradFill>
                  <a:gsLst>
                    <a:gs pos="0">
                      <a:srgbClr val="107C10"/>
                    </a:gs>
                    <a:gs pos="100000">
                      <a:srgbClr val="107C10">
                        <a:alpha val="0"/>
                      </a:srgbClr>
                    </a:gs>
                  </a:gsLst>
                  <a:lin ang="10800000" scaled="0"/>
                </a:gradFill>
                <a:prstDash val="solid"/>
                <a:tailEnd type="oval"/>
              </a:ln>
              <a:effectLst/>
            </p:spPr>
          </p:cxnSp>
          <p:cxnSp>
            <p:nvCxnSpPr>
              <p:cNvPr id="34" name="Straight Connector 33"/>
              <p:cNvCxnSpPr/>
              <p:nvPr/>
            </p:nvCxnSpPr>
            <p:spPr>
              <a:xfrm flipH="1">
                <a:off x="5093172" y="5801304"/>
                <a:ext cx="1107852" cy="0"/>
              </a:xfrm>
              <a:prstGeom prst="line">
                <a:avLst/>
              </a:prstGeom>
              <a:noFill/>
              <a:ln w="38100" cap="flat" cmpd="sng" algn="ctr">
                <a:gradFill>
                  <a:gsLst>
                    <a:gs pos="0">
                      <a:srgbClr val="107C10"/>
                    </a:gs>
                    <a:gs pos="100000">
                      <a:srgbClr val="107C10">
                        <a:alpha val="0"/>
                      </a:srgbClr>
                    </a:gs>
                  </a:gsLst>
                  <a:lin ang="10800000" scaled="0"/>
                </a:gradFill>
                <a:prstDash val="solid"/>
                <a:tailEnd type="oval"/>
              </a:ln>
              <a:effectLst/>
            </p:spPr>
          </p:cxnSp>
        </p:grpSp>
        <p:pic>
          <p:nvPicPr>
            <p:cNvPr id="25" name="Picture 2"/>
            <p:cNvPicPr>
              <a:picLocks noChangeAspect="1" noChangeArrowheads="1"/>
            </p:cNvPicPr>
            <p:nvPr/>
          </p:nvPicPr>
          <p:blipFill>
            <a:blip r:embed="rId4" cstate="print">
              <a:lum bright="100000" contrast="100000"/>
            </a:blip>
            <a:srcRect/>
            <a:stretch>
              <a:fillRect/>
            </a:stretch>
          </p:blipFill>
          <p:spPr bwMode="auto">
            <a:xfrm>
              <a:off x="881372" y="3165974"/>
              <a:ext cx="544413" cy="544270"/>
            </a:xfrm>
            <a:prstGeom prst="rect">
              <a:avLst/>
            </a:prstGeom>
            <a:noFill/>
            <a:ln w="9525">
              <a:noFill/>
              <a:miter lim="800000"/>
              <a:headEnd/>
              <a:tailEnd/>
            </a:ln>
            <a:effectLst/>
          </p:spPr>
        </p:pic>
        <p:sp>
          <p:nvSpPr>
            <p:cNvPr id="26" name="Isosceles Triangle 25"/>
            <p:cNvSpPr/>
            <p:nvPr/>
          </p:nvSpPr>
          <p:spPr bwMode="auto">
            <a:xfrm rot="9180217">
              <a:off x="1161880" y="3548661"/>
              <a:ext cx="268958" cy="367600"/>
            </a:xfrm>
            <a:prstGeom prst="triangle">
              <a:avLst>
                <a:gd name="adj" fmla="val 64317"/>
              </a:avLst>
            </a:pr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91424" tIns="45711" rIns="91424" bIns="45711" numCol="1" rtlCol="0" anchor="ctr" anchorCtr="0" compatLnSpc="1">
              <a:prstTxWarp prst="textNoShape">
                <a:avLst/>
              </a:prstTxWarp>
            </a:bodyPr>
            <a:lstStyle/>
            <a:p>
              <a:pPr marL="0" marR="0" lvl="0" indent="0" algn="ctr" defTabSz="571156"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gradFill>
                  <a:gsLst>
                    <a:gs pos="80000">
                      <a:srgbClr val="EFEFEF">
                        <a:lumMod val="10000"/>
                      </a:srgbClr>
                    </a:gs>
                    <a:gs pos="64762">
                      <a:srgbClr val="EFEFEF">
                        <a:lumMod val="10000"/>
                      </a:srgbClr>
                    </a:gs>
                  </a:gsLst>
                  <a:lin ang="5400000" scaled="0"/>
                </a:gradFill>
                <a:effectLst/>
                <a:uLnTx/>
                <a:uFillTx/>
                <a:cs typeface="Segoe UI" panose="020B0502040204020203" pitchFamily="34" charset="0"/>
              </a:endParaRPr>
            </a:p>
          </p:txBody>
        </p:sp>
        <p:sp>
          <p:nvSpPr>
            <p:cNvPr id="27" name="Rectangle 77"/>
            <p:cNvSpPr/>
            <p:nvPr/>
          </p:nvSpPr>
          <p:spPr>
            <a:xfrm>
              <a:off x="7937222" y="3160484"/>
              <a:ext cx="2908831" cy="1083471"/>
            </a:xfrm>
            <a:prstGeom prst="rect">
              <a:avLst/>
            </a:prstGeom>
            <a:solidFill>
              <a:srgbClr val="0070C0"/>
            </a:solidFill>
          </p:spPr>
          <p:txBody>
            <a:bodyPr wrap="square" lIns="182858" tIns="146284" rIns="182858" bIns="146284">
              <a:spAutoFit/>
            </a:bodyPr>
            <a:lstStyle/>
            <a:p>
              <a:pPr marR="0" lvl="0" defTabSz="475968" eaLnBrk="1" fontAlgn="base" latinLnBrk="0" hangingPunct="1">
                <a:lnSpc>
                  <a:spcPct val="80000"/>
                </a:lnSpc>
                <a:spcBef>
                  <a:spcPts val="0"/>
                </a:spcBef>
                <a:spcAft>
                  <a:spcPts val="0"/>
                </a:spcAft>
                <a:buClrTx/>
                <a:buSzTx/>
                <a:tabLst/>
                <a:defRPr/>
              </a:pPr>
              <a:r>
                <a:rPr kumimoji="0" lang="en-US" sz="1600" b="1"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cs typeface="Segoe UI" panose="020B0502040204020203" pitchFamily="34" charset="0"/>
                </a:rPr>
                <a:t>Developers</a:t>
              </a:r>
            </a:p>
            <a:p>
              <a:pPr marL="171429" marR="0" lvl="0" indent="-171429" defTabSz="475968" eaLnBrk="1" fontAlgn="base" latinLnBrk="0" hangingPunct="1">
                <a:lnSpc>
                  <a:spcPct val="80000"/>
                </a:lnSpc>
                <a:spcBef>
                  <a:spcPts val="0"/>
                </a:spcBef>
                <a:spcAft>
                  <a:spcPts val="0"/>
                </a:spcAft>
                <a:buClrTx/>
                <a:buSzTx/>
                <a:buFont typeface="Arial" pitchFamily="34" charset="0"/>
                <a:buChar char="•"/>
                <a:tabLst/>
                <a:defRPr/>
              </a:pPr>
              <a:r>
                <a:rPr kumimoji="0" lang="en-US" sz="16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cs typeface="Segoe UI" panose="020B0502040204020203" pitchFamily="34" charset="0"/>
                </a:rPr>
                <a:t>POC efforts</a:t>
              </a:r>
            </a:p>
            <a:p>
              <a:pPr marL="171429" marR="0" lvl="0" indent="-171429" defTabSz="475968" eaLnBrk="1" fontAlgn="base" latinLnBrk="0" hangingPunct="1">
                <a:lnSpc>
                  <a:spcPct val="80000"/>
                </a:lnSpc>
                <a:spcBef>
                  <a:spcPts val="0"/>
                </a:spcBef>
                <a:spcAft>
                  <a:spcPts val="0"/>
                </a:spcAft>
                <a:buClrTx/>
                <a:buSzTx/>
                <a:buFont typeface="Arial" pitchFamily="34" charset="0"/>
                <a:buChar char="•"/>
                <a:tabLst/>
                <a:defRPr/>
              </a:pPr>
              <a:r>
                <a:rPr kumimoji="0" lang="en-US" sz="16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cs typeface="Segoe UI" panose="020B0502040204020203" pitchFamily="34" charset="0"/>
                </a:rPr>
                <a:t>Small scale deployments</a:t>
              </a:r>
            </a:p>
            <a:p>
              <a:pPr marL="171429" marR="0" lvl="0" indent="-171429" defTabSz="475968" eaLnBrk="1" fontAlgn="base" latinLnBrk="0" hangingPunct="1">
                <a:lnSpc>
                  <a:spcPct val="80000"/>
                </a:lnSpc>
                <a:spcBef>
                  <a:spcPts val="0"/>
                </a:spcBef>
                <a:spcAft>
                  <a:spcPts val="0"/>
                </a:spcAft>
                <a:buClrTx/>
                <a:buSzTx/>
                <a:buFont typeface="Arial" pitchFamily="34" charset="0"/>
                <a:buChar char="•"/>
                <a:tabLst/>
                <a:defRPr/>
              </a:pPr>
              <a:r>
                <a:rPr kumimoji="0" lang="en-US" sz="16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cs typeface="Segoe UI" panose="020B0502040204020203" pitchFamily="34" charset="0"/>
                </a:rPr>
                <a:t>Connect from anywhere</a:t>
              </a:r>
            </a:p>
          </p:txBody>
        </p:sp>
        <p:sp>
          <p:nvSpPr>
            <p:cNvPr id="28" name="Freeform 539"/>
            <p:cNvSpPr>
              <a:spLocks noChangeAspect="1"/>
            </p:cNvSpPr>
            <p:nvPr/>
          </p:nvSpPr>
          <p:spPr bwMode="auto">
            <a:xfrm>
              <a:off x="1181338" y="3706479"/>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1428" tIns="45714" rIns="91428" bIns="45714" numCol="1" anchor="t" anchorCtr="0" compatLnSpc="1">
              <a:prstTxWarp prst="textNoShape">
                <a:avLst/>
              </a:prstTxWarp>
            </a:bodyPr>
            <a:lstStyle/>
            <a:p>
              <a:pPr marL="0" marR="0" lvl="0" indent="0" defTabSz="9323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srgbClr val="505050"/>
                </a:solidFill>
                <a:effectLst/>
                <a:uLnTx/>
                <a:uFillTx/>
                <a:cs typeface="Segoe UI" panose="020B0502040204020203" pitchFamily="34" charset="0"/>
              </a:endParaRPr>
            </a:p>
          </p:txBody>
        </p:sp>
      </p:grpSp>
      <p:grpSp>
        <p:nvGrpSpPr>
          <p:cNvPr id="35" name="Group 34"/>
          <p:cNvGrpSpPr/>
          <p:nvPr/>
        </p:nvGrpSpPr>
        <p:grpSpPr>
          <a:xfrm>
            <a:off x="524920" y="5532102"/>
            <a:ext cx="11154999" cy="1219274"/>
            <a:chOff x="312738" y="4914899"/>
            <a:chExt cx="11156422" cy="1219429"/>
          </a:xfrm>
        </p:grpSpPr>
        <p:sp>
          <p:nvSpPr>
            <p:cNvPr id="36" name="Rectangle 35"/>
            <p:cNvSpPr/>
            <p:nvPr/>
          </p:nvSpPr>
          <p:spPr>
            <a:xfrm>
              <a:off x="312738" y="4977547"/>
              <a:ext cx="11156422" cy="1089275"/>
            </a:xfrm>
            <a:prstGeom prst="rect">
              <a:avLst/>
            </a:prstGeom>
            <a:solidFill>
              <a:srgbClr val="0070C0"/>
            </a:solidFill>
            <a:ln w="38100" cap="sq"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w="76200">
                  <a:solidFill>
                    <a:srgbClr val="505050"/>
                  </a:solidFill>
                </a:ln>
                <a:solidFill>
                  <a:srgbClr val="EFEFEF"/>
                </a:solidFill>
                <a:effectLst/>
                <a:uLnTx/>
                <a:uFillTx/>
                <a:latin typeface="Segoe UI"/>
                <a:ea typeface="+mn-ea"/>
                <a:cs typeface="Segoe UI" panose="020B0502040204020203" pitchFamily="34" charset="0"/>
              </a:endParaRPr>
            </a:p>
          </p:txBody>
        </p:sp>
        <p:sp>
          <p:nvSpPr>
            <p:cNvPr id="37" name="Freeform 36"/>
            <p:cNvSpPr/>
            <p:nvPr/>
          </p:nvSpPr>
          <p:spPr>
            <a:xfrm rot="5400000">
              <a:off x="6349478" y="4492820"/>
              <a:ext cx="1083857"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3046224" tIns="38077" rIns="76151" bIns="38077" rtlCol="0" anchor="ctr"/>
            <a:lstStyle/>
            <a:p>
              <a:pPr marL="239605" marR="0" lvl="0" indent="-239605" defTabSz="475888" eaLnBrk="1" fontAlgn="auto" latinLnBrk="0" hangingPunct="1">
                <a:lnSpc>
                  <a:spcPct val="90000"/>
                </a:lnSpc>
                <a:spcBef>
                  <a:spcPct val="20000"/>
                </a:spcBef>
                <a:spcAft>
                  <a:spcPts val="0"/>
                </a:spcAft>
                <a:buClrTx/>
                <a:buSzPct val="90000"/>
                <a:buFontTx/>
                <a:buBlip>
                  <a:blip r:embed="rId3"/>
                </a:buBlip>
                <a:tabLst/>
                <a:defRPr/>
              </a:pPr>
              <a:endParaRPr kumimoji="0" lang="en-US" sz="2400" b="0" i="0" u="none" strike="noStrike" kern="0" cap="none" spc="0" normalizeH="0" baseline="0" noProof="0" dirty="0" smtClean="0">
                <a:ln>
                  <a:noFill/>
                </a:ln>
                <a:gradFill>
                  <a:gsLst>
                    <a:gs pos="80000">
                      <a:srgbClr val="EFEFEF">
                        <a:lumMod val="10000"/>
                      </a:srgbClr>
                    </a:gs>
                    <a:gs pos="64762">
                      <a:srgbClr val="EFEFEF">
                        <a:lumMod val="10000"/>
                      </a:srgbClr>
                    </a:gs>
                  </a:gsLst>
                  <a:lin ang="5400000" scaled="0"/>
                </a:gradFill>
                <a:effectLst/>
                <a:uLnTx/>
                <a:uFillTx/>
                <a:cs typeface="Segoe UI" panose="020B0502040204020203" pitchFamily="34" charset="0"/>
              </a:endParaRPr>
            </a:p>
          </p:txBody>
        </p:sp>
        <p:sp>
          <p:nvSpPr>
            <p:cNvPr id="38" name="Freeform 37"/>
            <p:cNvSpPr/>
            <p:nvPr/>
          </p:nvSpPr>
          <p:spPr>
            <a:xfrm rot="5400000">
              <a:off x="796981" y="4492820"/>
              <a:ext cx="1083858" cy="2052344"/>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solidFill>
            <a:ln w="12700" cap="flat" cmpd="thickThin" algn="ctr">
              <a:noFill/>
              <a:prstDash val="solid"/>
            </a:ln>
            <a:effectLst/>
          </p:spPr>
          <p:txBody>
            <a:bodyPr lIns="3046224" tIns="38077" rIns="76151" bIns="38077" rtlCol="0" anchor="ctr"/>
            <a:lstStyle/>
            <a:p>
              <a:pPr marL="239605" marR="0" lvl="0" indent="-239605" defTabSz="475888" eaLnBrk="1" fontAlgn="auto" latinLnBrk="0" hangingPunct="1">
                <a:lnSpc>
                  <a:spcPct val="90000"/>
                </a:lnSpc>
                <a:spcBef>
                  <a:spcPct val="20000"/>
                </a:spcBef>
                <a:spcAft>
                  <a:spcPts val="0"/>
                </a:spcAft>
                <a:buClrTx/>
                <a:buSzPct val="90000"/>
                <a:buFontTx/>
                <a:buBlip>
                  <a:blip r:embed="rId3"/>
                </a:buBlip>
                <a:tabLst/>
                <a:defRPr/>
              </a:pPr>
              <a:endParaRPr kumimoji="0" lang="en-US" sz="2400" b="0" i="0" u="none" strike="noStrike" kern="0" cap="none" spc="0" normalizeH="0" baseline="0" noProof="0" dirty="0" smtClean="0">
                <a:ln>
                  <a:noFill/>
                </a:ln>
                <a:gradFill>
                  <a:gsLst>
                    <a:gs pos="80000">
                      <a:srgbClr val="EFEFEF">
                        <a:lumMod val="10000"/>
                      </a:srgbClr>
                    </a:gs>
                    <a:gs pos="64762">
                      <a:srgbClr val="EFEFEF">
                        <a:lumMod val="10000"/>
                      </a:srgbClr>
                    </a:gs>
                  </a:gsLst>
                  <a:lin ang="5400000" scaled="0"/>
                </a:gradFill>
                <a:effectLst/>
                <a:uLnTx/>
                <a:uFillTx/>
                <a:cs typeface="Segoe UI" panose="020B0502040204020203" pitchFamily="34" charset="0"/>
              </a:endParaRPr>
            </a:p>
          </p:txBody>
        </p:sp>
        <p:grpSp>
          <p:nvGrpSpPr>
            <p:cNvPr id="39" name="Group 38"/>
            <p:cNvGrpSpPr/>
            <p:nvPr/>
          </p:nvGrpSpPr>
          <p:grpSpPr>
            <a:xfrm>
              <a:off x="881372" y="5053813"/>
              <a:ext cx="549467" cy="750287"/>
              <a:chOff x="5293615" y="2293499"/>
              <a:chExt cx="1189325" cy="1488408"/>
            </a:xfrm>
          </p:grpSpPr>
          <p:pic>
            <p:nvPicPr>
              <p:cNvPr id="47" name="Picture 2"/>
              <p:cNvPicPr>
                <a:picLocks noChangeAspect="1" noChangeArrowheads="1"/>
              </p:cNvPicPr>
              <p:nvPr/>
            </p:nvPicPr>
            <p:blipFill>
              <a:blip r:embed="rId4" cstate="print">
                <a:lum bright="100000" contrast="100000"/>
              </a:blip>
              <a:srcRect/>
              <a:stretch>
                <a:fillRect/>
              </a:stretch>
            </p:blipFill>
            <p:spPr bwMode="auto">
              <a:xfrm>
                <a:off x="5293615" y="2293499"/>
                <a:ext cx="1178386" cy="1079717"/>
              </a:xfrm>
              <a:prstGeom prst="rect">
                <a:avLst/>
              </a:prstGeom>
              <a:noFill/>
              <a:ln w="9525">
                <a:noFill/>
                <a:miter lim="800000"/>
                <a:headEnd/>
                <a:tailEnd/>
              </a:ln>
              <a:effectLst/>
            </p:spPr>
          </p:pic>
          <p:sp>
            <p:nvSpPr>
              <p:cNvPr id="48" name="Isosceles Triangle 47"/>
              <p:cNvSpPr/>
              <p:nvPr/>
            </p:nvSpPr>
            <p:spPr bwMode="auto">
              <a:xfrm rot="9180217">
                <a:off x="5900776" y="3052666"/>
                <a:ext cx="582164" cy="729241"/>
              </a:xfrm>
              <a:prstGeom prst="triangle">
                <a:avLst>
                  <a:gd name="adj" fmla="val 64317"/>
                </a:avLst>
              </a:pr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91424" tIns="45711" rIns="91424" bIns="45711" numCol="1" rtlCol="0" anchor="ctr" anchorCtr="0" compatLnSpc="1">
                <a:prstTxWarp prst="textNoShape">
                  <a:avLst/>
                </a:prstTxWarp>
              </a:bodyPr>
              <a:lstStyle/>
              <a:p>
                <a:pPr marL="0" marR="0" lvl="0" indent="0" algn="ctr" defTabSz="571156"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gradFill>
                    <a:gsLst>
                      <a:gs pos="80000">
                        <a:srgbClr val="EFEFEF">
                          <a:lumMod val="10000"/>
                        </a:srgbClr>
                      </a:gs>
                      <a:gs pos="64762">
                        <a:srgbClr val="EFEFEF">
                          <a:lumMod val="10000"/>
                        </a:srgbClr>
                      </a:gs>
                    </a:gsLst>
                    <a:lin ang="5400000" scaled="0"/>
                  </a:gradFill>
                  <a:effectLst/>
                  <a:uLnTx/>
                  <a:uFillTx/>
                  <a:cs typeface="Segoe UI" panose="020B0502040204020203" pitchFamily="34" charset="0"/>
                </a:endParaRPr>
              </a:p>
            </p:txBody>
          </p:sp>
        </p:grpSp>
        <p:pic>
          <p:nvPicPr>
            <p:cNvPr id="40" name="Picture 2"/>
            <p:cNvPicPr>
              <a:picLocks noChangeAspect="1" noChangeArrowheads="1"/>
            </p:cNvPicPr>
            <p:nvPr/>
          </p:nvPicPr>
          <p:blipFill>
            <a:blip r:embed="rId7" cstate="print">
              <a:lum bright="100000" contrast="100000"/>
            </a:blip>
            <a:srcRect/>
            <a:stretch>
              <a:fillRect/>
            </a:stretch>
          </p:blipFill>
          <p:spPr bwMode="auto">
            <a:xfrm>
              <a:off x="6440934" y="4914899"/>
              <a:ext cx="1005739" cy="1219429"/>
            </a:xfrm>
            <a:prstGeom prst="rect">
              <a:avLst/>
            </a:prstGeom>
            <a:noFill/>
            <a:ln w="9525">
              <a:noFill/>
              <a:miter lim="800000"/>
              <a:headEnd/>
              <a:tailEnd/>
            </a:ln>
            <a:effectLst/>
          </p:spPr>
        </p:pic>
        <p:cxnSp>
          <p:nvCxnSpPr>
            <p:cNvPr id="41" name="Straight Connector 40"/>
            <p:cNvCxnSpPr/>
            <p:nvPr/>
          </p:nvCxnSpPr>
          <p:spPr>
            <a:xfrm flipH="1">
              <a:off x="2204323" y="5519978"/>
              <a:ext cx="941118" cy="0"/>
            </a:xfrm>
            <a:prstGeom prst="line">
              <a:avLst/>
            </a:prstGeom>
            <a:noFill/>
            <a:ln w="38100" cap="flat" cmpd="sng" algn="ctr">
              <a:gradFill>
                <a:gsLst>
                  <a:gs pos="0">
                    <a:srgbClr val="107C10"/>
                  </a:gs>
                  <a:gs pos="100000">
                    <a:srgbClr val="107C10">
                      <a:alpha val="0"/>
                    </a:srgbClr>
                  </a:gs>
                </a:gsLst>
                <a:lin ang="10800000" scaled="0"/>
              </a:gradFill>
              <a:prstDash val="solid"/>
              <a:tailEnd type="oval"/>
            </a:ln>
            <a:effectLst/>
          </p:spPr>
        </p:cxnSp>
        <p:sp>
          <p:nvSpPr>
            <p:cNvPr id="42" name="Rectangle 41"/>
            <p:cNvSpPr/>
            <p:nvPr/>
          </p:nvSpPr>
          <p:spPr>
            <a:xfrm>
              <a:off x="2865436" y="5249862"/>
              <a:ext cx="2543503" cy="566340"/>
            </a:xfrm>
            <a:prstGeom prst="rect">
              <a:avLst/>
            </a:prstGeom>
          </p:spPr>
          <p:txBody>
            <a:bodyPr wrap="square" lIns="121877" tIns="60940" rIns="121877" bIns="60940">
              <a:spAutoFit/>
            </a:bodyPr>
            <a:lstStyle/>
            <a:p>
              <a:pPr marL="0" marR="0" lvl="0" indent="0" algn="ctr" defTabSz="475968" eaLnBrk="1" fontAlgn="base" latinLnBrk="0" hangingPunct="1">
                <a:lnSpc>
                  <a:spcPct val="8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cs typeface="Segoe UI" panose="020B0502040204020203" pitchFamily="34" charset="0"/>
                </a:rPr>
                <a:t>ExpressRoute private connectivity</a:t>
              </a:r>
            </a:p>
          </p:txBody>
        </p:sp>
        <p:cxnSp>
          <p:nvCxnSpPr>
            <p:cNvPr id="43" name="Straight Connector 42"/>
            <p:cNvCxnSpPr/>
            <p:nvPr/>
          </p:nvCxnSpPr>
          <p:spPr>
            <a:xfrm>
              <a:off x="5151437" y="5519978"/>
              <a:ext cx="930002" cy="0"/>
            </a:xfrm>
            <a:prstGeom prst="line">
              <a:avLst/>
            </a:prstGeom>
            <a:noFill/>
            <a:ln w="38100" cap="flat" cmpd="sng" algn="ctr">
              <a:gradFill>
                <a:gsLst>
                  <a:gs pos="0">
                    <a:srgbClr val="107C10"/>
                  </a:gs>
                  <a:gs pos="100000">
                    <a:srgbClr val="107C10">
                      <a:alpha val="0"/>
                    </a:srgbClr>
                  </a:gs>
                </a:gsLst>
                <a:lin ang="10800000" scaled="0"/>
              </a:gradFill>
              <a:prstDash val="solid"/>
              <a:tailEnd type="oval"/>
            </a:ln>
            <a:effectLst/>
          </p:spPr>
        </p:cxnSp>
        <p:sp>
          <p:nvSpPr>
            <p:cNvPr id="44" name="Rectangle 77"/>
            <p:cNvSpPr/>
            <p:nvPr/>
          </p:nvSpPr>
          <p:spPr>
            <a:xfrm>
              <a:off x="7937222" y="4977546"/>
              <a:ext cx="3260024" cy="1083471"/>
            </a:xfrm>
            <a:prstGeom prst="rect">
              <a:avLst/>
            </a:prstGeom>
          </p:spPr>
          <p:txBody>
            <a:bodyPr wrap="square" lIns="182858" tIns="146284" rIns="182858" bIns="146284">
              <a:spAutoFit/>
            </a:bodyPr>
            <a:lstStyle/>
            <a:p>
              <a:pPr marR="0" lvl="0" defTabSz="475968" eaLnBrk="1" fontAlgn="base" latinLnBrk="0" hangingPunct="1">
                <a:lnSpc>
                  <a:spcPct val="80000"/>
                </a:lnSpc>
                <a:spcBef>
                  <a:spcPts val="0"/>
                </a:spcBef>
                <a:spcAft>
                  <a:spcPts val="0"/>
                </a:spcAft>
                <a:buClrTx/>
                <a:buSzTx/>
                <a:tabLst/>
                <a:defRPr/>
              </a:pPr>
              <a:r>
                <a:rPr kumimoji="0" lang="en-US" sz="1600" b="1"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cs typeface="Segoe UI" panose="020B0502040204020203" pitchFamily="34" charset="0"/>
                </a:rPr>
                <a:t>SMB and Enterprises</a:t>
              </a:r>
            </a:p>
            <a:p>
              <a:pPr marL="171429" marR="0" lvl="0" indent="-171429" defTabSz="475968" eaLnBrk="1" fontAlgn="base" latinLnBrk="0" hangingPunct="1">
                <a:lnSpc>
                  <a:spcPct val="80000"/>
                </a:lnSpc>
                <a:spcBef>
                  <a:spcPts val="0"/>
                </a:spcBef>
                <a:spcAft>
                  <a:spcPts val="0"/>
                </a:spcAft>
                <a:buClrTx/>
                <a:buSzTx/>
                <a:buFont typeface="Arial" pitchFamily="34" charset="0"/>
                <a:buChar char="•"/>
                <a:tabLst/>
                <a:defRPr/>
              </a:pPr>
              <a:r>
                <a:rPr kumimoji="0" lang="en-US" sz="16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cs typeface="Segoe UI" panose="020B0502040204020203" pitchFamily="34" charset="0"/>
                </a:rPr>
                <a:t>Mission critical workloads</a:t>
              </a:r>
            </a:p>
            <a:p>
              <a:pPr marL="171429" marR="0" lvl="0" indent="-171429" defTabSz="475968" eaLnBrk="1" fontAlgn="base" latinLnBrk="0" hangingPunct="1">
                <a:lnSpc>
                  <a:spcPct val="80000"/>
                </a:lnSpc>
                <a:spcBef>
                  <a:spcPts val="0"/>
                </a:spcBef>
                <a:spcAft>
                  <a:spcPts val="0"/>
                </a:spcAft>
                <a:buClrTx/>
                <a:buSzTx/>
                <a:buFont typeface="Arial" pitchFamily="34" charset="0"/>
                <a:buChar char="•"/>
                <a:tabLst/>
                <a:defRPr/>
              </a:pPr>
              <a:r>
                <a:rPr kumimoji="0" lang="en-US" sz="16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cs typeface="Segoe UI" panose="020B0502040204020203" pitchFamily="34" charset="0"/>
                </a:rPr>
                <a:t>Backup/DR, media, HPC</a:t>
              </a:r>
            </a:p>
            <a:p>
              <a:pPr marL="171429" marR="0" lvl="0" indent="-171429" defTabSz="475968" eaLnBrk="1" fontAlgn="base" latinLnBrk="0" hangingPunct="1">
                <a:lnSpc>
                  <a:spcPct val="80000"/>
                </a:lnSpc>
                <a:spcBef>
                  <a:spcPts val="0"/>
                </a:spcBef>
                <a:spcAft>
                  <a:spcPts val="0"/>
                </a:spcAft>
                <a:buClrTx/>
                <a:buSzTx/>
                <a:buFont typeface="Arial" pitchFamily="34" charset="0"/>
                <a:buChar char="•"/>
                <a:tabLst/>
                <a:defRPr/>
              </a:pPr>
              <a:r>
                <a:rPr kumimoji="0" lang="en-US" sz="16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cs typeface="Segoe UI" panose="020B0502040204020203" pitchFamily="34" charset="0"/>
                </a:rPr>
                <a:t>Connect to all Azure services</a:t>
              </a:r>
            </a:p>
          </p:txBody>
        </p:sp>
        <p:sp>
          <p:nvSpPr>
            <p:cNvPr id="45" name="Rectangle 44"/>
            <p:cNvSpPr/>
            <p:nvPr/>
          </p:nvSpPr>
          <p:spPr bwMode="auto">
            <a:xfrm>
              <a:off x="312738" y="4977545"/>
              <a:ext cx="11156422" cy="1089276"/>
            </a:xfrm>
            <a:prstGeom prst="rect">
              <a:avLst/>
            </a:prstGeom>
            <a:noFill/>
            <a:ln w="12700" cap="flat" cmpd="sng" algn="ctr">
              <a:noFill/>
              <a:prstDash val="solid"/>
              <a:headEnd type="none" w="med" len="med"/>
              <a:tailEnd type="none" w="med" len="med"/>
            </a:ln>
            <a:effectLst/>
          </p:spPr>
          <p:txBody>
            <a:bodyPr rot="0" spcFirstLastPara="0" vertOverflow="overflow" horzOverflow="overflow" vert="horz" wrap="square" lIns="182858" tIns="146284" rIns="182858" bIns="146284" numCol="1" spcCol="0" rtlCol="0" fromWordArt="0" anchor="t" anchorCtr="0" forceAA="0" compatLnSpc="1">
              <a:prstTxWarp prst="textNoShape">
                <a:avLst/>
              </a:prstTxWarp>
              <a:noAutofit/>
            </a:bodyPr>
            <a:lstStyle/>
            <a:p>
              <a:pPr marL="0" marR="0" lvl="0" indent="0" algn="ctr" defTabSz="913985" eaLnBrk="1" fontAlgn="base" latinLnBrk="0" hangingPunct="1">
                <a:lnSpc>
                  <a:spcPct val="90000"/>
                </a:lnSpc>
                <a:spcBef>
                  <a:spcPct val="0"/>
                </a:spcBef>
                <a:spcAft>
                  <a:spcPct val="0"/>
                </a:spcAft>
                <a:buClrTx/>
                <a:buSzTx/>
                <a:buFontTx/>
                <a:buNone/>
                <a:tabLst/>
                <a:defRPr/>
              </a:pPr>
              <a:endParaRPr kumimoji="0" lang="en-US" sz="280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a typeface="+mn-ea"/>
                <a:cs typeface="Segoe UI" panose="020B0502040204020203" pitchFamily="34" charset="0"/>
              </a:endParaRPr>
            </a:p>
          </p:txBody>
        </p:sp>
        <p:sp>
          <p:nvSpPr>
            <p:cNvPr id="46" name="Freeform 539"/>
            <p:cNvSpPr>
              <a:spLocks noChangeAspect="1"/>
            </p:cNvSpPr>
            <p:nvPr/>
          </p:nvSpPr>
          <p:spPr bwMode="auto">
            <a:xfrm>
              <a:off x="1181338" y="5608663"/>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1428" tIns="45714" rIns="91428" bIns="45714" numCol="1" anchor="t" anchorCtr="0" compatLnSpc="1">
              <a:prstTxWarp prst="textNoShape">
                <a:avLst/>
              </a:prstTxWarp>
            </a:bodyPr>
            <a:lstStyle/>
            <a:p>
              <a:pPr marL="0" marR="0" lvl="0" indent="0" defTabSz="9323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srgbClr val="505050"/>
                </a:solidFill>
                <a:effectLst/>
                <a:uLnTx/>
                <a:uFillTx/>
                <a:cs typeface="Segoe UI" panose="020B0502040204020203" pitchFamily="34" charset="0"/>
              </a:endParaRPr>
            </a:p>
          </p:txBody>
        </p:sp>
      </p:grpSp>
      <p:grpSp>
        <p:nvGrpSpPr>
          <p:cNvPr id="49" name="Group 48"/>
          <p:cNvGrpSpPr/>
          <p:nvPr/>
        </p:nvGrpSpPr>
        <p:grpSpPr>
          <a:xfrm>
            <a:off x="531796" y="2103765"/>
            <a:ext cx="11154999" cy="1127749"/>
            <a:chOff x="319615" y="1973262"/>
            <a:chExt cx="11156422" cy="1127893"/>
          </a:xfrm>
        </p:grpSpPr>
        <p:sp>
          <p:nvSpPr>
            <p:cNvPr id="50" name="Rectangle 49"/>
            <p:cNvSpPr/>
            <p:nvPr/>
          </p:nvSpPr>
          <p:spPr>
            <a:xfrm>
              <a:off x="319615" y="1973270"/>
              <a:ext cx="11156422" cy="1096285"/>
            </a:xfrm>
            <a:prstGeom prst="rect">
              <a:avLst/>
            </a:prstGeom>
            <a:solidFill>
              <a:srgbClr val="0070C0"/>
            </a:solidFill>
            <a:ln w="10795" cap="flat" cmpd="sng" algn="ctr">
              <a:noFill/>
              <a:prstDash val="solid"/>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srgbClr val="FFFFFF"/>
                </a:solidFill>
                <a:effectLst/>
                <a:uLnTx/>
                <a:uFillTx/>
                <a:latin typeface="Segoe UI"/>
                <a:ea typeface="+mn-ea"/>
                <a:cs typeface="Segoe UI" panose="020B0502040204020203" pitchFamily="34" charset="0"/>
              </a:endParaRPr>
            </a:p>
          </p:txBody>
        </p:sp>
        <p:grpSp>
          <p:nvGrpSpPr>
            <p:cNvPr id="51" name="Group 50"/>
            <p:cNvGrpSpPr/>
            <p:nvPr/>
          </p:nvGrpSpPr>
          <p:grpSpPr>
            <a:xfrm>
              <a:off x="319616" y="1973262"/>
              <a:ext cx="7604838" cy="1127893"/>
              <a:chOff x="2916922" y="5310943"/>
              <a:chExt cx="8816693" cy="980720"/>
            </a:xfrm>
          </p:grpSpPr>
          <p:sp>
            <p:nvSpPr>
              <p:cNvPr id="56" name="Freeform 55"/>
              <p:cNvSpPr/>
              <p:nvPr/>
            </p:nvSpPr>
            <p:spPr>
              <a:xfrm rot="5400000">
                <a:off x="10066868" y="4598309"/>
                <a:ext cx="95410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3046224" tIns="38077" rIns="76151" bIns="38077" rtlCol="0" anchor="ctr"/>
              <a:lstStyle/>
              <a:p>
                <a:pPr marL="239605" marR="0" lvl="0" indent="-239605" defTabSz="475888" eaLnBrk="1" fontAlgn="auto" latinLnBrk="0" hangingPunct="1">
                  <a:lnSpc>
                    <a:spcPct val="90000"/>
                  </a:lnSpc>
                  <a:spcBef>
                    <a:spcPct val="20000"/>
                  </a:spcBef>
                  <a:spcAft>
                    <a:spcPts val="0"/>
                  </a:spcAft>
                  <a:buClrTx/>
                  <a:buSzPct val="90000"/>
                  <a:buFontTx/>
                  <a:buBlip>
                    <a:blip r:embed="rId3"/>
                  </a:buBlip>
                  <a:tabLst/>
                  <a:defRPr/>
                </a:pPr>
                <a:endParaRPr kumimoji="0" lang="en-US" sz="2400" b="0" i="0" u="none" strike="noStrike" kern="0" cap="none" spc="0" normalizeH="0" baseline="0" noProof="0" dirty="0" smtClean="0">
                  <a:ln>
                    <a:noFill/>
                  </a:ln>
                  <a:gradFill>
                    <a:gsLst>
                      <a:gs pos="80000">
                        <a:srgbClr val="EFEFEF">
                          <a:lumMod val="10000"/>
                        </a:srgbClr>
                      </a:gs>
                      <a:gs pos="64762">
                        <a:srgbClr val="EFEFEF">
                          <a:lumMod val="10000"/>
                        </a:srgbClr>
                      </a:gs>
                    </a:gsLst>
                    <a:lin ang="5400000" scaled="0"/>
                  </a:gradFill>
                  <a:effectLst/>
                  <a:uLnTx/>
                  <a:uFillTx/>
                  <a:cs typeface="Segoe UI" panose="020B0502040204020203" pitchFamily="34" charset="0"/>
                </a:endParaRPr>
              </a:p>
            </p:txBody>
          </p:sp>
          <p:sp>
            <p:nvSpPr>
              <p:cNvPr id="57" name="Freeform 56"/>
              <p:cNvSpPr/>
              <p:nvPr/>
            </p:nvSpPr>
            <p:spPr>
              <a:xfrm rot="5400000">
                <a:off x="3629998" y="4597869"/>
                <a:ext cx="95323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solidFill>
              <a:ln w="12700" cap="flat" cmpd="thickThin" algn="ctr">
                <a:noFill/>
                <a:prstDash val="solid"/>
              </a:ln>
              <a:effectLst/>
            </p:spPr>
            <p:txBody>
              <a:bodyPr lIns="3046224" tIns="38077" rIns="76151" bIns="38077" rtlCol="0" anchor="ctr"/>
              <a:lstStyle/>
              <a:p>
                <a:pPr marL="239605" marR="0" lvl="0" indent="-239605" defTabSz="475888" eaLnBrk="1" fontAlgn="auto" latinLnBrk="0" hangingPunct="1">
                  <a:lnSpc>
                    <a:spcPct val="90000"/>
                  </a:lnSpc>
                  <a:spcBef>
                    <a:spcPct val="20000"/>
                  </a:spcBef>
                  <a:spcAft>
                    <a:spcPts val="0"/>
                  </a:spcAft>
                  <a:buClrTx/>
                  <a:buSzPct val="90000"/>
                  <a:buFontTx/>
                  <a:buBlip>
                    <a:blip r:embed="rId3"/>
                  </a:buBlip>
                  <a:tabLst/>
                  <a:defRPr/>
                </a:pPr>
                <a:endParaRPr kumimoji="0" lang="en-US" sz="2400" b="0" i="0" u="none" strike="noStrike" kern="0" cap="none" spc="0" normalizeH="0" baseline="0" noProof="0" dirty="0" smtClean="0">
                  <a:ln>
                    <a:noFill/>
                  </a:ln>
                  <a:gradFill>
                    <a:gsLst>
                      <a:gs pos="80000">
                        <a:srgbClr val="EFEFEF">
                          <a:lumMod val="10000"/>
                        </a:srgbClr>
                      </a:gs>
                      <a:gs pos="64762">
                        <a:srgbClr val="EFEFEF">
                          <a:lumMod val="10000"/>
                        </a:srgbClr>
                      </a:gs>
                    </a:gsLst>
                    <a:lin ang="5400000" scaled="0"/>
                  </a:gradFill>
                  <a:effectLst/>
                  <a:uLnTx/>
                  <a:uFillTx/>
                  <a:cs typeface="Segoe UI" panose="020B0502040204020203" pitchFamily="34" charset="0"/>
                </a:endParaRPr>
              </a:p>
            </p:txBody>
          </p:sp>
          <p:pic>
            <p:nvPicPr>
              <p:cNvPr id="58" name="Picture 6" descr="\\magnum\Projects\Microsoft\Cloud Power FY12\Design\Icons\PNGs\Server_2.png"/>
              <p:cNvPicPr>
                <a:picLocks noChangeAspect="1" noChangeArrowheads="1"/>
              </p:cNvPicPr>
              <p:nvPr/>
            </p:nvPicPr>
            <p:blipFill>
              <a:blip r:embed="rId6" cstate="print">
                <a:lum bright="100000"/>
              </a:blip>
              <a:srcRect/>
              <a:stretch>
                <a:fillRect/>
              </a:stretch>
            </p:blipFill>
            <p:spPr bwMode="auto">
              <a:xfrm>
                <a:off x="10053562" y="5310943"/>
                <a:ext cx="980722" cy="980720"/>
              </a:xfrm>
              <a:prstGeom prst="rect">
                <a:avLst/>
              </a:prstGeom>
              <a:noFill/>
            </p:spPr>
          </p:pic>
          <p:sp>
            <p:nvSpPr>
              <p:cNvPr id="59" name="Rectangle 58"/>
              <p:cNvSpPr/>
              <p:nvPr/>
            </p:nvSpPr>
            <p:spPr>
              <a:xfrm>
                <a:off x="5853434" y="5708485"/>
                <a:ext cx="2938277" cy="299733"/>
              </a:xfrm>
              <a:prstGeom prst="rect">
                <a:avLst/>
              </a:prstGeom>
            </p:spPr>
            <p:txBody>
              <a:bodyPr wrap="square" lIns="121877" tIns="60940" rIns="121877" bIns="60940">
                <a:spAutoFit/>
              </a:bodyPr>
              <a:lstStyle/>
              <a:p>
                <a:pPr marL="0" marR="0" lvl="0" indent="0" algn="ctr" defTabSz="475968" eaLnBrk="1" fontAlgn="base" latinLnBrk="0" hangingPunct="1">
                  <a:lnSpc>
                    <a:spcPct val="8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cs typeface="Segoe UI" panose="020B0502040204020203" pitchFamily="34" charset="0"/>
                  </a:rPr>
                  <a:t>Internet connectivity</a:t>
                </a:r>
                <a:endParaRPr kumimoji="0" lang="en-US" sz="12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cs typeface="Segoe UI" panose="020B0502040204020203" pitchFamily="34" charset="0"/>
                </a:endParaRPr>
              </a:p>
            </p:txBody>
          </p:sp>
          <p:cxnSp>
            <p:nvCxnSpPr>
              <p:cNvPr id="60" name="Straight Connector 59"/>
              <p:cNvCxnSpPr/>
              <p:nvPr/>
            </p:nvCxnSpPr>
            <p:spPr>
              <a:xfrm>
                <a:off x="8526682" y="5801304"/>
                <a:ext cx="1061437" cy="0"/>
              </a:xfrm>
              <a:prstGeom prst="line">
                <a:avLst/>
              </a:prstGeom>
              <a:noFill/>
              <a:ln w="38100" cap="flat" cmpd="sng" algn="ctr">
                <a:gradFill>
                  <a:gsLst>
                    <a:gs pos="0">
                      <a:srgbClr val="107C10"/>
                    </a:gs>
                    <a:gs pos="100000">
                      <a:srgbClr val="107C10">
                        <a:alpha val="0"/>
                      </a:srgbClr>
                    </a:gs>
                  </a:gsLst>
                  <a:lin ang="10800000" scaled="0"/>
                </a:gradFill>
                <a:prstDash val="solid"/>
                <a:tailEnd type="oval"/>
              </a:ln>
              <a:effectLst/>
            </p:spPr>
          </p:cxnSp>
          <p:cxnSp>
            <p:nvCxnSpPr>
              <p:cNvPr id="61" name="Straight Connector 60"/>
              <p:cNvCxnSpPr/>
              <p:nvPr/>
            </p:nvCxnSpPr>
            <p:spPr>
              <a:xfrm flipH="1">
                <a:off x="5093172" y="5801304"/>
                <a:ext cx="1107852" cy="0"/>
              </a:xfrm>
              <a:prstGeom prst="line">
                <a:avLst/>
              </a:prstGeom>
              <a:noFill/>
              <a:ln w="38100" cap="flat" cmpd="sng" algn="ctr">
                <a:gradFill>
                  <a:gsLst>
                    <a:gs pos="0">
                      <a:srgbClr val="107C10"/>
                    </a:gs>
                    <a:gs pos="100000">
                      <a:srgbClr val="107C10">
                        <a:alpha val="0"/>
                      </a:srgbClr>
                    </a:gs>
                  </a:gsLst>
                  <a:lin ang="10800000" scaled="0"/>
                </a:gradFill>
                <a:prstDash val="solid"/>
                <a:tailEnd type="oval"/>
              </a:ln>
              <a:effectLst/>
            </p:spPr>
          </p:cxnSp>
        </p:grpSp>
        <p:pic>
          <p:nvPicPr>
            <p:cNvPr id="52" name="Picture 2"/>
            <p:cNvPicPr>
              <a:picLocks noChangeAspect="1" noChangeArrowheads="1"/>
            </p:cNvPicPr>
            <p:nvPr/>
          </p:nvPicPr>
          <p:blipFill>
            <a:blip r:embed="rId4" cstate="print">
              <a:lum bright="100000" contrast="100000"/>
            </a:blip>
            <a:srcRect/>
            <a:stretch>
              <a:fillRect/>
            </a:stretch>
          </p:blipFill>
          <p:spPr bwMode="auto">
            <a:xfrm>
              <a:off x="888249" y="1979427"/>
              <a:ext cx="544413" cy="544270"/>
            </a:xfrm>
            <a:prstGeom prst="rect">
              <a:avLst/>
            </a:prstGeom>
            <a:noFill/>
            <a:ln w="9525">
              <a:noFill/>
              <a:miter lim="800000"/>
              <a:headEnd/>
              <a:tailEnd/>
            </a:ln>
            <a:effectLst/>
          </p:spPr>
        </p:pic>
        <p:sp>
          <p:nvSpPr>
            <p:cNvPr id="53" name="Isosceles Triangle 52"/>
            <p:cNvSpPr/>
            <p:nvPr/>
          </p:nvSpPr>
          <p:spPr bwMode="auto">
            <a:xfrm rot="9180217">
              <a:off x="1168757" y="2362114"/>
              <a:ext cx="268958" cy="367600"/>
            </a:xfrm>
            <a:prstGeom prst="triangle">
              <a:avLst>
                <a:gd name="adj" fmla="val 64317"/>
              </a:avLst>
            </a:pr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91424" tIns="45711" rIns="91424" bIns="45711" numCol="1" rtlCol="0" anchor="ctr" anchorCtr="0" compatLnSpc="1">
              <a:prstTxWarp prst="textNoShape">
                <a:avLst/>
              </a:prstTxWarp>
            </a:bodyPr>
            <a:lstStyle/>
            <a:p>
              <a:pPr marL="0" marR="0" lvl="0" indent="0" algn="ctr" defTabSz="571156"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gradFill>
                  <a:gsLst>
                    <a:gs pos="80000">
                      <a:srgbClr val="EFEFEF">
                        <a:lumMod val="10000"/>
                      </a:srgbClr>
                    </a:gs>
                    <a:gs pos="64762">
                      <a:srgbClr val="EFEFEF">
                        <a:lumMod val="10000"/>
                      </a:srgbClr>
                    </a:gs>
                  </a:gsLst>
                  <a:lin ang="5400000" scaled="0"/>
                </a:gradFill>
                <a:effectLst/>
                <a:uLnTx/>
                <a:uFillTx/>
                <a:cs typeface="Segoe UI" panose="020B0502040204020203" pitchFamily="34" charset="0"/>
              </a:endParaRPr>
            </a:p>
          </p:txBody>
        </p:sp>
        <p:sp>
          <p:nvSpPr>
            <p:cNvPr id="54" name="Rectangle 77"/>
            <p:cNvSpPr/>
            <p:nvPr/>
          </p:nvSpPr>
          <p:spPr>
            <a:xfrm>
              <a:off x="7944098" y="1973937"/>
              <a:ext cx="3473635" cy="1083471"/>
            </a:xfrm>
            <a:prstGeom prst="rect">
              <a:avLst/>
            </a:prstGeom>
            <a:solidFill>
              <a:srgbClr val="0070C0"/>
            </a:solidFill>
          </p:spPr>
          <p:txBody>
            <a:bodyPr wrap="square" lIns="182858" tIns="146284" rIns="182858" bIns="146284">
              <a:spAutoFit/>
            </a:bodyPr>
            <a:lstStyle/>
            <a:p>
              <a:pPr marR="0" lvl="0" defTabSz="475968" eaLnBrk="1" fontAlgn="base" latinLnBrk="0" hangingPunct="1">
                <a:lnSpc>
                  <a:spcPct val="80000"/>
                </a:lnSpc>
                <a:spcBef>
                  <a:spcPts val="0"/>
                </a:spcBef>
                <a:spcAft>
                  <a:spcPts val="0"/>
                </a:spcAft>
                <a:buClrTx/>
                <a:buSzTx/>
                <a:tabLst/>
                <a:defRPr/>
              </a:pPr>
              <a:r>
                <a:rPr kumimoji="0" lang="en-US" sz="1600" b="1"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cs typeface="Segoe UI" panose="020B0502040204020203" pitchFamily="34" charset="0"/>
                </a:rPr>
                <a:t>Consumers</a:t>
              </a:r>
            </a:p>
            <a:p>
              <a:pPr marL="171429" marR="0" lvl="0" indent="-171429" defTabSz="475968" eaLnBrk="1" fontAlgn="base" latinLnBrk="0" hangingPunct="1">
                <a:lnSpc>
                  <a:spcPct val="80000"/>
                </a:lnSpc>
                <a:spcBef>
                  <a:spcPts val="0"/>
                </a:spcBef>
                <a:spcAft>
                  <a:spcPts val="0"/>
                </a:spcAft>
                <a:buClrTx/>
                <a:buSzTx/>
                <a:buFont typeface="Arial" pitchFamily="34" charset="0"/>
                <a:buChar char="•"/>
                <a:tabLst/>
                <a:defRPr/>
              </a:pPr>
              <a:r>
                <a:rPr kumimoji="0" lang="en-US" sz="16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cs typeface="Segoe UI" panose="020B0502040204020203" pitchFamily="34" charset="0"/>
                </a:rPr>
                <a:t>Access over public IP</a:t>
              </a:r>
            </a:p>
            <a:p>
              <a:pPr marL="171429" marR="0" lvl="0" indent="-171429" defTabSz="475968" eaLnBrk="1" fontAlgn="base" latinLnBrk="0" hangingPunct="1">
                <a:lnSpc>
                  <a:spcPct val="80000"/>
                </a:lnSpc>
                <a:spcBef>
                  <a:spcPts val="0"/>
                </a:spcBef>
                <a:spcAft>
                  <a:spcPts val="0"/>
                </a:spcAft>
                <a:buClrTx/>
                <a:buSzTx/>
                <a:buFont typeface="Arial" pitchFamily="34" charset="0"/>
                <a:buChar char="•"/>
                <a:tabLst/>
                <a:defRPr/>
              </a:pPr>
              <a:r>
                <a:rPr kumimoji="0" lang="en-US" sz="16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cs typeface="Segoe UI" panose="020B0502040204020203" pitchFamily="34" charset="0"/>
                </a:rPr>
                <a:t>DNS resolution</a:t>
              </a:r>
            </a:p>
            <a:p>
              <a:pPr marL="171429" marR="0" lvl="0" indent="-171429" defTabSz="475968" eaLnBrk="1" fontAlgn="base" latinLnBrk="0" hangingPunct="1">
                <a:lnSpc>
                  <a:spcPct val="80000"/>
                </a:lnSpc>
                <a:spcBef>
                  <a:spcPts val="0"/>
                </a:spcBef>
                <a:spcAft>
                  <a:spcPts val="0"/>
                </a:spcAft>
                <a:buClrTx/>
                <a:buSzTx/>
                <a:buFont typeface="Arial" pitchFamily="34" charset="0"/>
                <a:buChar char="•"/>
                <a:tabLst/>
                <a:defRPr/>
              </a:pPr>
              <a:r>
                <a:rPr kumimoji="0" lang="en-US" sz="16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cs typeface="Segoe UI" panose="020B0502040204020203" pitchFamily="34" charset="0"/>
                </a:rPr>
                <a:t>Connect from anywhere</a:t>
              </a:r>
            </a:p>
          </p:txBody>
        </p:sp>
        <p:sp>
          <p:nvSpPr>
            <p:cNvPr id="55" name="Freeform 539"/>
            <p:cNvSpPr>
              <a:spLocks noChangeAspect="1"/>
            </p:cNvSpPr>
            <p:nvPr/>
          </p:nvSpPr>
          <p:spPr bwMode="auto">
            <a:xfrm>
              <a:off x="1188215" y="2519932"/>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1428" tIns="45714" rIns="91428" bIns="45714" numCol="1" anchor="t" anchorCtr="0" compatLnSpc="1">
              <a:prstTxWarp prst="textNoShape">
                <a:avLst/>
              </a:prstTxWarp>
            </a:bodyPr>
            <a:lstStyle/>
            <a:p>
              <a:pPr marL="0" marR="0" lvl="0" indent="0" defTabSz="9323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srgbClr val="505050"/>
                </a:solidFill>
                <a:effectLst/>
                <a:uLnTx/>
                <a:uFillTx/>
                <a:cs typeface="Segoe UI" panose="020B0502040204020203" pitchFamily="34" charset="0"/>
              </a:endParaRPr>
            </a:p>
          </p:txBody>
        </p:sp>
      </p:grpSp>
    </p:spTree>
    <p:extLst>
      <p:ext uri="{BB962C8B-B14F-4D97-AF65-F5344CB8AC3E}">
        <p14:creationId xmlns:p14="http://schemas.microsoft.com/office/powerpoint/2010/main" val="18421927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701675"/>
          </a:xfrm>
        </p:spPr>
        <p:txBody>
          <a:bodyPr>
            <a:noAutofit/>
          </a:bodyPr>
          <a:lstStyle/>
          <a:p>
            <a:r>
              <a:rPr lang="en-IN" sz="3600" u="sng" dirty="0" smtClean="0">
                <a:effectLst>
                  <a:outerShdw blurRad="38100" dist="38100" dir="2700000" algn="tl">
                    <a:srgbClr val="000000">
                      <a:alpha val="43137"/>
                    </a:srgbClr>
                  </a:outerShdw>
                </a:effectLst>
              </a:rPr>
              <a:t>Azure </a:t>
            </a:r>
            <a:r>
              <a:rPr lang="en-IN" sz="3600" u="sng" dirty="0">
                <a:effectLst>
                  <a:outerShdw blurRad="38100" dist="38100" dir="2700000" algn="tl">
                    <a:srgbClr val="000000">
                      <a:alpha val="43137"/>
                    </a:srgbClr>
                  </a:outerShdw>
                </a:effectLst>
              </a:rPr>
              <a:t>L</a:t>
            </a:r>
            <a:r>
              <a:rPr lang="en-IN" sz="3600" u="sng" dirty="0" smtClean="0">
                <a:effectLst>
                  <a:outerShdw blurRad="38100" dist="38100" dir="2700000" algn="tl">
                    <a:srgbClr val="000000">
                      <a:alpha val="43137"/>
                    </a:srgbClr>
                  </a:outerShdw>
                </a:effectLst>
              </a:rPr>
              <a:t>oad </a:t>
            </a:r>
            <a:r>
              <a:rPr lang="en-IN" sz="3600" u="sng" dirty="0">
                <a:effectLst>
                  <a:outerShdw blurRad="38100" dist="38100" dir="2700000" algn="tl">
                    <a:srgbClr val="000000">
                      <a:alpha val="43137"/>
                    </a:srgbClr>
                  </a:outerShdw>
                </a:effectLst>
              </a:rPr>
              <a:t>B</a:t>
            </a:r>
            <a:r>
              <a:rPr lang="en-IN" sz="3600" u="sng" dirty="0" smtClean="0">
                <a:effectLst>
                  <a:outerShdw blurRad="38100" dist="38100" dir="2700000" algn="tl">
                    <a:srgbClr val="000000">
                      <a:alpha val="43137"/>
                    </a:srgbClr>
                  </a:outerShdw>
                </a:effectLst>
              </a:rPr>
              <a:t>alancer</a:t>
            </a:r>
            <a:r>
              <a:rPr lang="en-IN" sz="3600" u="sng" dirty="0">
                <a:effectLst>
                  <a:outerShdw blurRad="38100" dist="38100" dir="2700000" algn="tl">
                    <a:srgbClr val="000000">
                      <a:alpha val="43137"/>
                    </a:srgbClr>
                  </a:outerShdw>
                </a:effectLst>
              </a:rPr>
              <a:t> </a:t>
            </a:r>
            <a:br>
              <a:rPr lang="en-IN" sz="3600" u="sng" dirty="0">
                <a:effectLst>
                  <a:outerShdw blurRad="38100" dist="38100" dir="2700000" algn="tl">
                    <a:srgbClr val="000000">
                      <a:alpha val="43137"/>
                    </a:srgbClr>
                  </a:outerShdw>
                </a:effectLst>
              </a:rPr>
            </a:br>
            <a:endParaRPr lang="en-IN" sz="3600" u="sng"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838200" y="955964"/>
            <a:ext cx="10515600" cy="5220999"/>
          </a:xfrm>
        </p:spPr>
        <p:txBody>
          <a:bodyPr>
            <a:normAutofit/>
          </a:bodyPr>
          <a:lstStyle/>
          <a:p>
            <a:r>
              <a:rPr lang="en-IN" sz="2400" dirty="0"/>
              <a:t>Azure Load Balancer delivers high availability and network performance to your applications. It is a Layer 4 (TCP, UDP) load balancer that distributes incoming traffic among healthy instances </a:t>
            </a:r>
            <a:r>
              <a:rPr lang="en-IN" sz="2400" dirty="0" smtClean="0"/>
              <a:t>of </a:t>
            </a:r>
            <a:r>
              <a:rPr lang="en-IN" sz="2400" dirty="0"/>
              <a:t>services defined in a load-balanced </a:t>
            </a:r>
            <a:r>
              <a:rPr lang="en-IN" sz="2400" dirty="0" smtClean="0"/>
              <a:t>set</a:t>
            </a:r>
          </a:p>
          <a:p>
            <a:endParaRPr lang="en-IN" sz="2400" dirty="0"/>
          </a:p>
          <a:p>
            <a:pPr marL="0" indent="0">
              <a:buNone/>
            </a:pPr>
            <a:r>
              <a:rPr lang="en-IN" dirty="0" smtClean="0">
                <a:hlinkClick r:id="rId2"/>
              </a:rPr>
              <a:t>1.Internet-facing </a:t>
            </a:r>
            <a:r>
              <a:rPr lang="en-IN" dirty="0">
                <a:hlinkClick r:id="rId2"/>
              </a:rPr>
              <a:t>load </a:t>
            </a:r>
            <a:r>
              <a:rPr lang="en-IN" dirty="0" smtClean="0">
                <a:hlinkClick r:id="rId2"/>
              </a:rPr>
              <a:t>balancing</a:t>
            </a:r>
            <a:r>
              <a:rPr lang="en-IN" dirty="0" smtClean="0"/>
              <a:t>: </a:t>
            </a:r>
            <a:r>
              <a:rPr lang="en-IN" sz="2000" dirty="0"/>
              <a:t>Load balance incoming Internet traffic to virtual machines</a:t>
            </a:r>
            <a:r>
              <a:rPr lang="en-IN" sz="2000" dirty="0" smtClean="0"/>
              <a:t>. </a:t>
            </a:r>
            <a:endParaRPr lang="en-IN" sz="2000" dirty="0"/>
          </a:p>
        </p:txBody>
      </p:sp>
      <p:pic>
        <p:nvPicPr>
          <p:cNvPr id="4" name="Picture 3"/>
          <p:cNvPicPr>
            <a:picLocks noChangeAspect="1"/>
          </p:cNvPicPr>
          <p:nvPr/>
        </p:nvPicPr>
        <p:blipFill>
          <a:blip r:embed="rId3"/>
          <a:stretch>
            <a:fillRect/>
          </a:stretch>
        </p:blipFill>
        <p:spPr>
          <a:xfrm>
            <a:off x="3352800" y="3321021"/>
            <a:ext cx="5486400" cy="3446781"/>
          </a:xfrm>
          <a:prstGeom prst="rect">
            <a:avLst/>
          </a:prstGeom>
        </p:spPr>
      </p:pic>
    </p:spTree>
    <p:extLst>
      <p:ext uri="{BB962C8B-B14F-4D97-AF65-F5344CB8AC3E}">
        <p14:creationId xmlns:p14="http://schemas.microsoft.com/office/powerpoint/2010/main" val="250126140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66255" y="207818"/>
            <a:ext cx="12025745" cy="5969145"/>
          </a:xfrm>
        </p:spPr>
        <p:txBody>
          <a:bodyPr/>
          <a:lstStyle/>
          <a:p>
            <a:endParaRPr lang="en-IN" b="1" dirty="0" smtClean="0"/>
          </a:p>
          <a:p>
            <a:r>
              <a:rPr lang="en-IN" b="1" dirty="0" smtClean="0"/>
              <a:t>Front-end </a:t>
            </a:r>
            <a:r>
              <a:rPr lang="en-IN" b="1" dirty="0"/>
              <a:t>IP configuration </a:t>
            </a:r>
            <a:r>
              <a:rPr lang="en-IN" dirty="0"/>
              <a:t>- </a:t>
            </a:r>
            <a:r>
              <a:rPr lang="en-IN" sz="2000" dirty="0"/>
              <a:t>contains public IP addresses for incoming network traffic.</a:t>
            </a:r>
          </a:p>
          <a:p>
            <a:r>
              <a:rPr lang="en-IN" b="1" dirty="0"/>
              <a:t>Back-end address </a:t>
            </a:r>
            <a:r>
              <a:rPr lang="en-IN" b="1" dirty="0" smtClean="0"/>
              <a:t>Pool </a:t>
            </a:r>
            <a:r>
              <a:rPr lang="en-IN" dirty="0"/>
              <a:t>- </a:t>
            </a:r>
            <a:r>
              <a:rPr lang="en-IN" sz="2000" dirty="0"/>
              <a:t>contains network interfaces (NICs) for the virtual machines to receive network traffic from the load balancer.</a:t>
            </a:r>
          </a:p>
          <a:p>
            <a:r>
              <a:rPr lang="en-IN" b="1" dirty="0"/>
              <a:t>Load balancing rules </a:t>
            </a:r>
            <a:r>
              <a:rPr lang="en-IN" dirty="0"/>
              <a:t>- </a:t>
            </a:r>
            <a:r>
              <a:rPr lang="en-IN" sz="2000" dirty="0"/>
              <a:t>contains rules mapping a public port on the load balancer to port in the back-end address pool.</a:t>
            </a:r>
          </a:p>
          <a:p>
            <a:r>
              <a:rPr lang="en-IN" b="1" dirty="0"/>
              <a:t>Inbound NAT </a:t>
            </a:r>
            <a:r>
              <a:rPr lang="en-IN" b="1" dirty="0" smtClean="0"/>
              <a:t>Rules </a:t>
            </a:r>
            <a:r>
              <a:rPr lang="en-IN" dirty="0"/>
              <a:t>- </a:t>
            </a:r>
            <a:r>
              <a:rPr lang="en-IN" sz="2000" dirty="0"/>
              <a:t>contains rules mapping a public port on the load balancer to a port for a specific virtual machine in the back-end address pool.</a:t>
            </a:r>
          </a:p>
          <a:p>
            <a:r>
              <a:rPr lang="en-IN" b="1" dirty="0"/>
              <a:t>Probes</a:t>
            </a:r>
            <a:r>
              <a:rPr lang="en-IN" dirty="0"/>
              <a:t> - </a:t>
            </a:r>
            <a:r>
              <a:rPr lang="en-IN" sz="2000" dirty="0"/>
              <a:t>contains health probes used to check availability of virtual machines instances in the back-end address pool</a:t>
            </a:r>
            <a:r>
              <a:rPr lang="en-IN" sz="2000" dirty="0" smtClean="0"/>
              <a:t>.</a:t>
            </a:r>
          </a:p>
          <a:p>
            <a:pPr marL="0" indent="0">
              <a:buNone/>
            </a:pPr>
            <a:endParaRPr lang="en-IN" sz="2000" dirty="0"/>
          </a:p>
          <a:p>
            <a:pPr marL="0" indent="0">
              <a:buNone/>
            </a:pPr>
            <a:r>
              <a:rPr lang="en-IN" dirty="0" smtClean="0">
                <a:hlinkClick r:id="rId2"/>
              </a:rPr>
              <a:t>2.Internal </a:t>
            </a:r>
            <a:r>
              <a:rPr lang="en-IN" dirty="0">
                <a:hlinkClick r:id="rId2"/>
              </a:rPr>
              <a:t>load balancing</a:t>
            </a:r>
            <a:r>
              <a:rPr lang="en-IN" dirty="0" smtClean="0"/>
              <a:t>: </a:t>
            </a:r>
            <a:r>
              <a:rPr lang="en-IN" sz="2000" dirty="0"/>
              <a:t>An Azure internal load balancer (ILB) provides network load balancing between virtual machines that reside inside a cloud service, or a virtual network with a regional scope</a:t>
            </a:r>
          </a:p>
          <a:p>
            <a:endParaRPr lang="en-IN" dirty="0"/>
          </a:p>
        </p:txBody>
      </p:sp>
    </p:spTree>
    <p:extLst>
      <p:ext uri="{BB962C8B-B14F-4D97-AF65-F5344CB8AC3E}">
        <p14:creationId xmlns:p14="http://schemas.microsoft.com/office/powerpoint/2010/main" val="392091422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4235" y="193963"/>
            <a:ext cx="11076710" cy="2867025"/>
          </a:xfrm>
        </p:spPr>
        <p:txBody>
          <a:bodyPr>
            <a:noAutofit/>
          </a:bodyPr>
          <a:lstStyle/>
          <a:p>
            <a:r>
              <a:rPr lang="en-IN" sz="2000" b="1" dirty="0"/>
              <a:t>Front end IP configuration </a:t>
            </a:r>
            <a:r>
              <a:rPr lang="en-IN" sz="2000" dirty="0"/>
              <a:t>- will configure the private IP address for incoming network </a:t>
            </a:r>
            <a:r>
              <a:rPr lang="en-IN" sz="2000" dirty="0" smtClean="0"/>
              <a:t>traffic</a:t>
            </a:r>
            <a:br>
              <a:rPr lang="en-IN" sz="2000" dirty="0" smtClean="0"/>
            </a:br>
            <a:r>
              <a:rPr lang="en-IN" sz="2000" dirty="0"/>
              <a:t/>
            </a:r>
            <a:br>
              <a:rPr lang="en-IN" sz="2000" dirty="0"/>
            </a:br>
            <a:r>
              <a:rPr lang="en-IN" sz="2000" b="1" dirty="0"/>
              <a:t>Backend address pool </a:t>
            </a:r>
            <a:r>
              <a:rPr lang="en-IN" sz="2000" dirty="0"/>
              <a:t>- will configure the network interfaces which will receive the load balanced traffic coming from front end IP </a:t>
            </a:r>
            <a:r>
              <a:rPr lang="en-IN" sz="2000" dirty="0" smtClean="0"/>
              <a:t>pool</a:t>
            </a:r>
            <a:br>
              <a:rPr lang="en-IN" sz="2000" dirty="0" smtClean="0"/>
            </a:br>
            <a:r>
              <a:rPr lang="en-IN" sz="2000" dirty="0"/>
              <a:t/>
            </a:r>
            <a:br>
              <a:rPr lang="en-IN" sz="2000" dirty="0"/>
            </a:br>
            <a:r>
              <a:rPr lang="en-IN" sz="2000" b="1" dirty="0"/>
              <a:t>Load balancing rules </a:t>
            </a:r>
            <a:r>
              <a:rPr lang="en-IN" sz="2000" dirty="0"/>
              <a:t>- source and local port configuration for the load balancer</a:t>
            </a:r>
            <a:r>
              <a:rPr lang="en-IN" sz="2000" dirty="0" smtClean="0"/>
              <a:t>.</a:t>
            </a:r>
            <a:br>
              <a:rPr lang="en-IN" sz="2000" dirty="0" smtClean="0"/>
            </a:br>
            <a:r>
              <a:rPr lang="en-IN" sz="2000" dirty="0"/>
              <a:t/>
            </a:r>
            <a:br>
              <a:rPr lang="en-IN" sz="2000" dirty="0"/>
            </a:br>
            <a:r>
              <a:rPr lang="en-IN" sz="2000" b="1" dirty="0"/>
              <a:t>Probes</a:t>
            </a:r>
            <a:r>
              <a:rPr lang="en-IN" sz="2000" dirty="0"/>
              <a:t> - configures the health status probe for the Virtual Machine instances</a:t>
            </a:r>
            <a:r>
              <a:rPr lang="en-IN" sz="2000" dirty="0" smtClean="0"/>
              <a:t>.</a:t>
            </a:r>
            <a:br>
              <a:rPr lang="en-IN" sz="2000" dirty="0" smtClean="0"/>
            </a:br>
            <a:r>
              <a:rPr lang="en-IN" sz="2000" dirty="0"/>
              <a:t/>
            </a:r>
            <a:br>
              <a:rPr lang="en-IN" sz="2000" dirty="0"/>
            </a:br>
            <a:r>
              <a:rPr lang="en-IN" sz="2000" b="1" dirty="0"/>
              <a:t>Inbound NAT rules </a:t>
            </a:r>
            <a:r>
              <a:rPr lang="en-IN" sz="2000" dirty="0"/>
              <a:t>- configures the port rules to directly access one of the Virtual Machine instances.</a:t>
            </a:r>
            <a:br>
              <a:rPr lang="en-IN" sz="2000" dirty="0"/>
            </a:br>
            <a:endParaRPr lang="en-IN" sz="2000" dirty="0"/>
          </a:p>
        </p:txBody>
      </p:sp>
      <p:pic>
        <p:nvPicPr>
          <p:cNvPr id="4" name="Content Placeholder 3"/>
          <p:cNvPicPr>
            <a:picLocks noGrp="1" noChangeAspect="1"/>
          </p:cNvPicPr>
          <p:nvPr>
            <p:ph idx="1"/>
          </p:nvPr>
        </p:nvPicPr>
        <p:blipFill>
          <a:blip r:embed="rId2"/>
          <a:stretch>
            <a:fillRect/>
          </a:stretch>
        </p:blipFill>
        <p:spPr>
          <a:xfrm>
            <a:off x="2954047" y="3060989"/>
            <a:ext cx="5895975" cy="3686175"/>
          </a:xfrm>
          <a:prstGeom prst="rect">
            <a:avLst/>
          </a:prstGeom>
        </p:spPr>
      </p:pic>
    </p:spTree>
    <p:extLst>
      <p:ext uri="{BB962C8B-B14F-4D97-AF65-F5344CB8AC3E}">
        <p14:creationId xmlns:p14="http://schemas.microsoft.com/office/powerpoint/2010/main" val="405925289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784802"/>
          </a:xfrm>
        </p:spPr>
        <p:txBody>
          <a:bodyPr>
            <a:noAutofit/>
          </a:bodyPr>
          <a:lstStyle/>
          <a:p>
            <a:r>
              <a:rPr lang="en-IN" sz="3600" u="sng" dirty="0">
                <a:effectLst>
                  <a:outerShdw blurRad="38100" dist="38100" dir="2700000" algn="tl">
                    <a:srgbClr val="000000">
                      <a:alpha val="43137"/>
                    </a:srgbClr>
                  </a:outerShdw>
                </a:effectLst>
              </a:rPr>
              <a:t>Traffic Manager</a:t>
            </a:r>
            <a:br>
              <a:rPr lang="en-IN" sz="3600" u="sng" dirty="0">
                <a:effectLst>
                  <a:outerShdw blurRad="38100" dist="38100" dir="2700000" algn="tl">
                    <a:srgbClr val="000000">
                      <a:alpha val="43137"/>
                    </a:srgbClr>
                  </a:outerShdw>
                </a:effectLst>
              </a:rPr>
            </a:br>
            <a:endParaRPr lang="en-IN" sz="3600" u="sng"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838200" y="1149928"/>
            <a:ext cx="10515600" cy="5027035"/>
          </a:xfrm>
        </p:spPr>
        <p:txBody>
          <a:bodyPr>
            <a:normAutofit/>
          </a:bodyPr>
          <a:lstStyle/>
          <a:p>
            <a:pPr marL="0" indent="0">
              <a:buNone/>
            </a:pPr>
            <a:r>
              <a:rPr lang="en-IN" sz="2400" dirty="0" smtClean="0"/>
              <a:t>Traffic Manager balances </a:t>
            </a:r>
            <a:r>
              <a:rPr lang="en-IN" sz="2400" dirty="0"/>
              <a:t>the traffic load of services hosted in Azure. The routing policy is defined by the client and traffic to the services hosted in Azure is redirected according to set policies. Traffic manager is a DNS-based service. Thus, it will improve the availability and performance applications </a:t>
            </a:r>
            <a:endParaRPr lang="en-IN" sz="2400" dirty="0" smtClean="0"/>
          </a:p>
          <a:p>
            <a:pPr marL="0" indent="0">
              <a:buNone/>
            </a:pPr>
            <a:r>
              <a:rPr lang="en-IN" sz="2400" dirty="0" smtClean="0"/>
              <a:t>Traffic </a:t>
            </a:r>
            <a:r>
              <a:rPr lang="en-IN" sz="2400" dirty="0"/>
              <a:t>Manager uses the Domain Name System (DNS) to direct client requests to the most appropriate endpoint based on a traffic-routing method and the health of the </a:t>
            </a:r>
            <a:r>
              <a:rPr lang="en-IN" sz="2400" dirty="0" smtClean="0"/>
              <a:t>endpoints</a:t>
            </a:r>
          </a:p>
          <a:p>
            <a:pPr marL="0" indent="0">
              <a:buNone/>
            </a:pPr>
            <a:endParaRPr lang="en-IN" sz="2400" dirty="0"/>
          </a:p>
        </p:txBody>
      </p:sp>
      <p:pic>
        <p:nvPicPr>
          <p:cNvPr id="4" name="Picture 3"/>
          <p:cNvPicPr>
            <a:picLocks noChangeAspect="1"/>
          </p:cNvPicPr>
          <p:nvPr/>
        </p:nvPicPr>
        <p:blipFill>
          <a:blip r:embed="rId3"/>
          <a:stretch>
            <a:fillRect/>
          </a:stretch>
        </p:blipFill>
        <p:spPr>
          <a:xfrm>
            <a:off x="3187064" y="3474721"/>
            <a:ext cx="6017895" cy="3383280"/>
          </a:xfrm>
          <a:prstGeom prst="rect">
            <a:avLst/>
          </a:prstGeom>
        </p:spPr>
      </p:pic>
    </p:spTree>
    <p:extLst>
      <p:ext uri="{BB962C8B-B14F-4D97-AF65-F5344CB8AC3E}">
        <p14:creationId xmlns:p14="http://schemas.microsoft.com/office/powerpoint/2010/main" val="23406867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EMEID" val="1"/>
</p:tagLst>
</file>

<file path=ppt/tags/tag10.xml><?xml version="1.0" encoding="utf-8"?>
<p:tagLst xmlns:a="http://schemas.openxmlformats.org/drawingml/2006/main" xmlns:r="http://schemas.openxmlformats.org/officeDocument/2006/relationships" xmlns:p="http://schemas.openxmlformats.org/presentationml/2006/main">
  <p:tag name="THEMEIDC" val="5"/>
</p:tagLst>
</file>

<file path=ppt/tags/tag100.xml><?xml version="1.0" encoding="utf-8"?>
<p:tagLst xmlns:a="http://schemas.openxmlformats.org/drawingml/2006/main" xmlns:r="http://schemas.openxmlformats.org/officeDocument/2006/relationships" xmlns:p="http://schemas.openxmlformats.org/presentationml/2006/main">
  <p:tag name="THEMEIDC" val="2"/>
</p:tagLst>
</file>

<file path=ppt/tags/tag101.xml><?xml version="1.0" encoding="utf-8"?>
<p:tagLst xmlns:a="http://schemas.openxmlformats.org/drawingml/2006/main" xmlns:r="http://schemas.openxmlformats.org/officeDocument/2006/relationships" xmlns:p="http://schemas.openxmlformats.org/presentationml/2006/main">
  <p:tag name="THEMEID" val="3"/>
</p:tagLst>
</file>

<file path=ppt/tags/tag102.xml><?xml version="1.0" encoding="utf-8"?>
<p:tagLst xmlns:a="http://schemas.openxmlformats.org/drawingml/2006/main" xmlns:r="http://schemas.openxmlformats.org/officeDocument/2006/relationships" xmlns:p="http://schemas.openxmlformats.org/presentationml/2006/main">
  <p:tag name="THEMEIDC" val="3"/>
</p:tagLst>
</file>

<file path=ppt/tags/tag103.xml><?xml version="1.0" encoding="utf-8"?>
<p:tagLst xmlns:a="http://schemas.openxmlformats.org/drawingml/2006/main" xmlns:r="http://schemas.openxmlformats.org/officeDocument/2006/relationships" xmlns:p="http://schemas.openxmlformats.org/presentationml/2006/main">
  <p:tag name="THEMEID" val="4"/>
</p:tagLst>
</file>

<file path=ppt/tags/tag104.xml><?xml version="1.0" encoding="utf-8"?>
<p:tagLst xmlns:a="http://schemas.openxmlformats.org/drawingml/2006/main" xmlns:r="http://schemas.openxmlformats.org/officeDocument/2006/relationships" xmlns:p="http://schemas.openxmlformats.org/presentationml/2006/main">
  <p:tag name="THEMEIDC" val="4"/>
</p:tagLst>
</file>

<file path=ppt/tags/tag105.xml><?xml version="1.0" encoding="utf-8"?>
<p:tagLst xmlns:a="http://schemas.openxmlformats.org/drawingml/2006/main" xmlns:r="http://schemas.openxmlformats.org/officeDocument/2006/relationships" xmlns:p="http://schemas.openxmlformats.org/presentationml/2006/main">
  <p:tag name="THEMEID" val="5"/>
</p:tagLst>
</file>

<file path=ppt/tags/tag106.xml><?xml version="1.0" encoding="utf-8"?>
<p:tagLst xmlns:a="http://schemas.openxmlformats.org/drawingml/2006/main" xmlns:r="http://schemas.openxmlformats.org/officeDocument/2006/relationships" xmlns:p="http://schemas.openxmlformats.org/presentationml/2006/main">
  <p:tag name="THEMEIDC" val="5"/>
</p:tagLst>
</file>

<file path=ppt/tags/tag107.xml><?xml version="1.0" encoding="utf-8"?>
<p:tagLst xmlns:a="http://schemas.openxmlformats.org/drawingml/2006/main" xmlns:r="http://schemas.openxmlformats.org/officeDocument/2006/relationships" xmlns:p="http://schemas.openxmlformats.org/presentationml/2006/main">
  <p:tag name="THEMEID" val="6"/>
</p:tagLst>
</file>

<file path=ppt/tags/tag108.xml><?xml version="1.0" encoding="utf-8"?>
<p:tagLst xmlns:a="http://schemas.openxmlformats.org/drawingml/2006/main" xmlns:r="http://schemas.openxmlformats.org/officeDocument/2006/relationships" xmlns:p="http://schemas.openxmlformats.org/presentationml/2006/main">
  <p:tag name="THEMEIDC" val="6"/>
</p:tagLst>
</file>

<file path=ppt/tags/tag109.xml><?xml version="1.0" encoding="utf-8"?>
<p:tagLst xmlns:a="http://schemas.openxmlformats.org/drawingml/2006/main" xmlns:r="http://schemas.openxmlformats.org/officeDocument/2006/relationships" xmlns:p="http://schemas.openxmlformats.org/presentationml/2006/main">
  <p:tag name="THEMEID" val="7"/>
</p:tagLst>
</file>

<file path=ppt/tags/tag11.xml><?xml version="1.0" encoding="utf-8"?>
<p:tagLst xmlns:a="http://schemas.openxmlformats.org/drawingml/2006/main" xmlns:r="http://schemas.openxmlformats.org/officeDocument/2006/relationships" xmlns:p="http://schemas.openxmlformats.org/presentationml/2006/main">
  <p:tag name="THEMEID" val="6"/>
</p:tagLst>
</file>

<file path=ppt/tags/tag110.xml><?xml version="1.0" encoding="utf-8"?>
<p:tagLst xmlns:a="http://schemas.openxmlformats.org/drawingml/2006/main" xmlns:r="http://schemas.openxmlformats.org/officeDocument/2006/relationships" xmlns:p="http://schemas.openxmlformats.org/presentationml/2006/main">
  <p:tag name="THEMEIDC" val="7"/>
</p:tagLst>
</file>

<file path=ppt/tags/tag111.xml><?xml version="1.0" encoding="utf-8"?>
<p:tagLst xmlns:a="http://schemas.openxmlformats.org/drawingml/2006/main" xmlns:r="http://schemas.openxmlformats.org/officeDocument/2006/relationships" xmlns:p="http://schemas.openxmlformats.org/presentationml/2006/main">
  <p:tag name="THEMEID" val="8"/>
</p:tagLst>
</file>

<file path=ppt/tags/tag112.xml><?xml version="1.0" encoding="utf-8"?>
<p:tagLst xmlns:a="http://schemas.openxmlformats.org/drawingml/2006/main" xmlns:r="http://schemas.openxmlformats.org/officeDocument/2006/relationships" xmlns:p="http://schemas.openxmlformats.org/presentationml/2006/main">
  <p:tag name="THEMEIDC" val="8"/>
</p:tagLst>
</file>

<file path=ppt/tags/tag113.xml><?xml version="1.0" encoding="utf-8"?>
<p:tagLst xmlns:a="http://schemas.openxmlformats.org/drawingml/2006/main" xmlns:r="http://schemas.openxmlformats.org/officeDocument/2006/relationships" xmlns:p="http://schemas.openxmlformats.org/presentationml/2006/main">
  <p:tag name="THEMEID" val="9"/>
</p:tagLst>
</file>

<file path=ppt/tags/tag114.xml><?xml version="1.0" encoding="utf-8"?>
<p:tagLst xmlns:a="http://schemas.openxmlformats.org/drawingml/2006/main" xmlns:r="http://schemas.openxmlformats.org/officeDocument/2006/relationships" xmlns:p="http://schemas.openxmlformats.org/presentationml/2006/main">
  <p:tag name="THEMEIDC" val="9"/>
</p:tagLst>
</file>

<file path=ppt/tags/tag115.xml><?xml version="1.0" encoding="utf-8"?>
<p:tagLst xmlns:a="http://schemas.openxmlformats.org/drawingml/2006/main" xmlns:r="http://schemas.openxmlformats.org/officeDocument/2006/relationships" xmlns:p="http://schemas.openxmlformats.org/presentationml/2006/main">
  <p:tag name="THEMEID" val="10"/>
</p:tagLst>
</file>

<file path=ppt/tags/tag116.xml><?xml version="1.0" encoding="utf-8"?>
<p:tagLst xmlns:a="http://schemas.openxmlformats.org/drawingml/2006/main" xmlns:r="http://schemas.openxmlformats.org/officeDocument/2006/relationships" xmlns:p="http://schemas.openxmlformats.org/presentationml/2006/main">
  <p:tag name="THEMEIDC" val="10"/>
</p:tagLst>
</file>

<file path=ppt/tags/tag117.xml><?xml version="1.0" encoding="utf-8"?>
<p:tagLst xmlns:a="http://schemas.openxmlformats.org/drawingml/2006/main" xmlns:r="http://schemas.openxmlformats.org/officeDocument/2006/relationships" xmlns:p="http://schemas.openxmlformats.org/presentationml/2006/main">
  <p:tag name="THEMEID" val="11"/>
</p:tagLst>
</file>

<file path=ppt/tags/tag118.xml><?xml version="1.0" encoding="utf-8"?>
<p:tagLst xmlns:a="http://schemas.openxmlformats.org/drawingml/2006/main" xmlns:r="http://schemas.openxmlformats.org/officeDocument/2006/relationships" xmlns:p="http://schemas.openxmlformats.org/presentationml/2006/main">
  <p:tag name="THEMEIDC" val="11"/>
</p:tagLst>
</file>

<file path=ppt/tags/tag119.xml><?xml version="1.0" encoding="utf-8"?>
<p:tagLst xmlns:a="http://schemas.openxmlformats.org/drawingml/2006/main" xmlns:r="http://schemas.openxmlformats.org/officeDocument/2006/relationships" xmlns:p="http://schemas.openxmlformats.org/presentationml/2006/main">
  <p:tag name="THEMEID" val="12"/>
</p:tagLst>
</file>

<file path=ppt/tags/tag12.xml><?xml version="1.0" encoding="utf-8"?>
<p:tagLst xmlns:a="http://schemas.openxmlformats.org/drawingml/2006/main" xmlns:r="http://schemas.openxmlformats.org/officeDocument/2006/relationships" xmlns:p="http://schemas.openxmlformats.org/presentationml/2006/main">
  <p:tag name="THEMEIDC" val="6"/>
</p:tagLst>
</file>

<file path=ppt/tags/tag120.xml><?xml version="1.0" encoding="utf-8"?>
<p:tagLst xmlns:a="http://schemas.openxmlformats.org/drawingml/2006/main" xmlns:r="http://schemas.openxmlformats.org/officeDocument/2006/relationships" xmlns:p="http://schemas.openxmlformats.org/presentationml/2006/main">
  <p:tag name="THEMEIDC" val="12"/>
</p:tagLst>
</file>

<file path=ppt/tags/tag121.xml><?xml version="1.0" encoding="utf-8"?>
<p:tagLst xmlns:a="http://schemas.openxmlformats.org/drawingml/2006/main" xmlns:r="http://schemas.openxmlformats.org/officeDocument/2006/relationships" xmlns:p="http://schemas.openxmlformats.org/presentationml/2006/main">
  <p:tag name="THEMEIDCC" val="1"/>
</p:tagLst>
</file>

<file path=ppt/tags/tag122.xml><?xml version="1.0" encoding="utf-8"?>
<p:tagLst xmlns:a="http://schemas.openxmlformats.org/drawingml/2006/main" xmlns:r="http://schemas.openxmlformats.org/officeDocument/2006/relationships" xmlns:p="http://schemas.openxmlformats.org/presentationml/2006/main">
  <p:tag name="THEMEIDCCC" val="1"/>
</p:tagLst>
</file>

<file path=ppt/tags/tag123.xml><?xml version="1.0" encoding="utf-8"?>
<p:tagLst xmlns:a="http://schemas.openxmlformats.org/drawingml/2006/main" xmlns:r="http://schemas.openxmlformats.org/officeDocument/2006/relationships" xmlns:p="http://schemas.openxmlformats.org/presentationml/2006/main">
  <p:tag name="THEMEIDCC" val="2"/>
</p:tagLst>
</file>

<file path=ppt/tags/tag124.xml><?xml version="1.0" encoding="utf-8"?>
<p:tagLst xmlns:a="http://schemas.openxmlformats.org/drawingml/2006/main" xmlns:r="http://schemas.openxmlformats.org/officeDocument/2006/relationships" xmlns:p="http://schemas.openxmlformats.org/presentationml/2006/main">
  <p:tag name="THEMEIDCCC" val="2"/>
</p:tagLst>
</file>

<file path=ppt/tags/tag125.xml><?xml version="1.0" encoding="utf-8"?>
<p:tagLst xmlns:a="http://schemas.openxmlformats.org/drawingml/2006/main" xmlns:r="http://schemas.openxmlformats.org/officeDocument/2006/relationships" xmlns:p="http://schemas.openxmlformats.org/presentationml/2006/main">
  <p:tag name="THEMEIDCC" val="3"/>
</p:tagLst>
</file>

<file path=ppt/tags/tag126.xml><?xml version="1.0" encoding="utf-8"?>
<p:tagLst xmlns:a="http://schemas.openxmlformats.org/drawingml/2006/main" xmlns:r="http://schemas.openxmlformats.org/officeDocument/2006/relationships" xmlns:p="http://schemas.openxmlformats.org/presentationml/2006/main">
  <p:tag name="THEMEIDCCC" val="3"/>
</p:tagLst>
</file>

<file path=ppt/tags/tag127.xml><?xml version="1.0" encoding="utf-8"?>
<p:tagLst xmlns:a="http://schemas.openxmlformats.org/drawingml/2006/main" xmlns:r="http://schemas.openxmlformats.org/officeDocument/2006/relationships" xmlns:p="http://schemas.openxmlformats.org/presentationml/2006/main">
  <p:tag name="THEMEIDCC" val="4"/>
</p:tagLst>
</file>

<file path=ppt/tags/tag128.xml><?xml version="1.0" encoding="utf-8"?>
<p:tagLst xmlns:a="http://schemas.openxmlformats.org/drawingml/2006/main" xmlns:r="http://schemas.openxmlformats.org/officeDocument/2006/relationships" xmlns:p="http://schemas.openxmlformats.org/presentationml/2006/main">
  <p:tag name="THEMEIDCCC" val="4"/>
</p:tagLst>
</file>

<file path=ppt/tags/tag129.xml><?xml version="1.0" encoding="utf-8"?>
<p:tagLst xmlns:a="http://schemas.openxmlformats.org/drawingml/2006/main" xmlns:r="http://schemas.openxmlformats.org/officeDocument/2006/relationships" xmlns:p="http://schemas.openxmlformats.org/presentationml/2006/main">
  <p:tag name="THEMEIDCC" val="5"/>
</p:tagLst>
</file>

<file path=ppt/tags/tag13.xml><?xml version="1.0" encoding="utf-8"?>
<p:tagLst xmlns:a="http://schemas.openxmlformats.org/drawingml/2006/main" xmlns:r="http://schemas.openxmlformats.org/officeDocument/2006/relationships" xmlns:p="http://schemas.openxmlformats.org/presentationml/2006/main">
  <p:tag name="THEMEID" val="7"/>
</p:tagLst>
</file>

<file path=ppt/tags/tag130.xml><?xml version="1.0" encoding="utf-8"?>
<p:tagLst xmlns:a="http://schemas.openxmlformats.org/drawingml/2006/main" xmlns:r="http://schemas.openxmlformats.org/officeDocument/2006/relationships" xmlns:p="http://schemas.openxmlformats.org/presentationml/2006/main">
  <p:tag name="THEMEIDCCC" val="5"/>
</p:tagLst>
</file>

<file path=ppt/tags/tag131.xml><?xml version="1.0" encoding="utf-8"?>
<p:tagLst xmlns:a="http://schemas.openxmlformats.org/drawingml/2006/main" xmlns:r="http://schemas.openxmlformats.org/officeDocument/2006/relationships" xmlns:p="http://schemas.openxmlformats.org/presentationml/2006/main">
  <p:tag name="THEMEIDCC" val="6"/>
</p:tagLst>
</file>

<file path=ppt/tags/tag132.xml><?xml version="1.0" encoding="utf-8"?>
<p:tagLst xmlns:a="http://schemas.openxmlformats.org/drawingml/2006/main" xmlns:r="http://schemas.openxmlformats.org/officeDocument/2006/relationships" xmlns:p="http://schemas.openxmlformats.org/presentationml/2006/main">
  <p:tag name="THEMEIDCCC" val="6"/>
</p:tagLst>
</file>

<file path=ppt/tags/tag133.xml><?xml version="1.0" encoding="utf-8"?>
<p:tagLst xmlns:a="http://schemas.openxmlformats.org/drawingml/2006/main" xmlns:r="http://schemas.openxmlformats.org/officeDocument/2006/relationships" xmlns:p="http://schemas.openxmlformats.org/presentationml/2006/main">
  <p:tag name="THEMEIDCC" val="7"/>
</p:tagLst>
</file>

<file path=ppt/tags/tag134.xml><?xml version="1.0" encoding="utf-8"?>
<p:tagLst xmlns:a="http://schemas.openxmlformats.org/drawingml/2006/main" xmlns:r="http://schemas.openxmlformats.org/officeDocument/2006/relationships" xmlns:p="http://schemas.openxmlformats.org/presentationml/2006/main">
  <p:tag name="THEMEIDCCC" val="7"/>
</p:tagLst>
</file>

<file path=ppt/tags/tag135.xml><?xml version="1.0" encoding="utf-8"?>
<p:tagLst xmlns:a="http://schemas.openxmlformats.org/drawingml/2006/main" xmlns:r="http://schemas.openxmlformats.org/officeDocument/2006/relationships" xmlns:p="http://schemas.openxmlformats.org/presentationml/2006/main">
  <p:tag name="THEMEIDCC" val="8"/>
</p:tagLst>
</file>

<file path=ppt/tags/tag136.xml><?xml version="1.0" encoding="utf-8"?>
<p:tagLst xmlns:a="http://schemas.openxmlformats.org/drawingml/2006/main" xmlns:r="http://schemas.openxmlformats.org/officeDocument/2006/relationships" xmlns:p="http://schemas.openxmlformats.org/presentationml/2006/main">
  <p:tag name="THEMEIDCCC" val="8"/>
</p:tagLst>
</file>

<file path=ppt/tags/tag137.xml><?xml version="1.0" encoding="utf-8"?>
<p:tagLst xmlns:a="http://schemas.openxmlformats.org/drawingml/2006/main" xmlns:r="http://schemas.openxmlformats.org/officeDocument/2006/relationships" xmlns:p="http://schemas.openxmlformats.org/presentationml/2006/main">
  <p:tag name="THEMEIDCC" val="9"/>
</p:tagLst>
</file>

<file path=ppt/tags/tag138.xml><?xml version="1.0" encoding="utf-8"?>
<p:tagLst xmlns:a="http://schemas.openxmlformats.org/drawingml/2006/main" xmlns:r="http://schemas.openxmlformats.org/officeDocument/2006/relationships" xmlns:p="http://schemas.openxmlformats.org/presentationml/2006/main">
  <p:tag name="THEMEIDCCC" val="9"/>
</p:tagLst>
</file>

<file path=ppt/tags/tag139.xml><?xml version="1.0" encoding="utf-8"?>
<p:tagLst xmlns:a="http://schemas.openxmlformats.org/drawingml/2006/main" xmlns:r="http://schemas.openxmlformats.org/officeDocument/2006/relationships" xmlns:p="http://schemas.openxmlformats.org/presentationml/2006/main">
  <p:tag name="THEMEIDCC" val="10"/>
</p:tagLst>
</file>

<file path=ppt/tags/tag14.xml><?xml version="1.0" encoding="utf-8"?>
<p:tagLst xmlns:a="http://schemas.openxmlformats.org/drawingml/2006/main" xmlns:r="http://schemas.openxmlformats.org/officeDocument/2006/relationships" xmlns:p="http://schemas.openxmlformats.org/presentationml/2006/main">
  <p:tag name="THEMEIDC" val="7"/>
</p:tagLst>
</file>

<file path=ppt/tags/tag140.xml><?xml version="1.0" encoding="utf-8"?>
<p:tagLst xmlns:a="http://schemas.openxmlformats.org/drawingml/2006/main" xmlns:r="http://schemas.openxmlformats.org/officeDocument/2006/relationships" xmlns:p="http://schemas.openxmlformats.org/presentationml/2006/main">
  <p:tag name="THEMEIDCCC" val="10"/>
</p:tagLst>
</file>

<file path=ppt/tags/tag141.xml><?xml version="1.0" encoding="utf-8"?>
<p:tagLst xmlns:a="http://schemas.openxmlformats.org/drawingml/2006/main" xmlns:r="http://schemas.openxmlformats.org/officeDocument/2006/relationships" xmlns:p="http://schemas.openxmlformats.org/presentationml/2006/main">
  <p:tag name="THEMEIDCC" val="11"/>
</p:tagLst>
</file>

<file path=ppt/tags/tag142.xml><?xml version="1.0" encoding="utf-8"?>
<p:tagLst xmlns:a="http://schemas.openxmlformats.org/drawingml/2006/main" xmlns:r="http://schemas.openxmlformats.org/officeDocument/2006/relationships" xmlns:p="http://schemas.openxmlformats.org/presentationml/2006/main">
  <p:tag name="THEMEIDCCC" val="11"/>
</p:tagLst>
</file>

<file path=ppt/tags/tag143.xml><?xml version="1.0" encoding="utf-8"?>
<p:tagLst xmlns:a="http://schemas.openxmlformats.org/drawingml/2006/main" xmlns:r="http://schemas.openxmlformats.org/officeDocument/2006/relationships" xmlns:p="http://schemas.openxmlformats.org/presentationml/2006/main">
  <p:tag name="THEMEIDCC" val="12"/>
</p:tagLst>
</file>

<file path=ppt/tags/tag144.xml><?xml version="1.0" encoding="utf-8"?>
<p:tagLst xmlns:a="http://schemas.openxmlformats.org/drawingml/2006/main" xmlns:r="http://schemas.openxmlformats.org/officeDocument/2006/relationships" xmlns:p="http://schemas.openxmlformats.org/presentationml/2006/main">
  <p:tag name="THEMEIDCCC" val="12"/>
</p:tagLst>
</file>

<file path=ppt/tags/tag1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5.xml><?xml version="1.0" encoding="utf-8"?>
<p:tagLst xmlns:a="http://schemas.openxmlformats.org/drawingml/2006/main" xmlns:r="http://schemas.openxmlformats.org/officeDocument/2006/relationships" xmlns:p="http://schemas.openxmlformats.org/presentationml/2006/main">
  <p:tag name="THEMEID" val="8"/>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EMEIDC" val="8"/>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69.xml><?xml version="1.0" encoding="utf-8"?>
<p:tagLst xmlns:a="http://schemas.openxmlformats.org/drawingml/2006/main" xmlns:r="http://schemas.openxmlformats.org/officeDocument/2006/relationships" xmlns:p="http://schemas.openxmlformats.org/presentationml/2006/main">
  <p:tag name="TIMING" val="|5.7|8.9|.5"/>
</p:tagLst>
</file>

<file path=ppt/tags/tag17.xml><?xml version="1.0" encoding="utf-8"?>
<p:tagLst xmlns:a="http://schemas.openxmlformats.org/drawingml/2006/main" xmlns:r="http://schemas.openxmlformats.org/officeDocument/2006/relationships" xmlns:p="http://schemas.openxmlformats.org/presentationml/2006/main">
  <p:tag name="THEMEID" val="9"/>
</p:tagLst>
</file>

<file path=ppt/tags/tag170.xml><?xml version="1.0" encoding="utf-8"?>
<p:tagLst xmlns:a="http://schemas.openxmlformats.org/drawingml/2006/main" xmlns:r="http://schemas.openxmlformats.org/officeDocument/2006/relationships" xmlns:p="http://schemas.openxmlformats.org/presentationml/2006/main">
  <p:tag name="TIMING" val="|.8|18.8|.5"/>
</p:tagLst>
</file>

<file path=ppt/tags/tag171.xml><?xml version="1.0" encoding="utf-8"?>
<p:tagLst xmlns:a="http://schemas.openxmlformats.org/drawingml/2006/main" xmlns:r="http://schemas.openxmlformats.org/officeDocument/2006/relationships" xmlns:p="http://schemas.openxmlformats.org/presentationml/2006/main">
  <p:tag name="TIMING" val="|.4|44.6|.5"/>
</p:tagLst>
</file>

<file path=ppt/tags/tag172.xml><?xml version="1.0" encoding="utf-8"?>
<p:tagLst xmlns:a="http://schemas.openxmlformats.org/drawingml/2006/main" xmlns:r="http://schemas.openxmlformats.org/officeDocument/2006/relationships" xmlns:p="http://schemas.openxmlformats.org/presentationml/2006/main">
  <p:tag name="MT_TILE" val="YES"/>
</p:tagLst>
</file>

<file path=ppt/tags/tag173.xml><?xml version="1.0" encoding="utf-8"?>
<p:tagLst xmlns:a="http://schemas.openxmlformats.org/drawingml/2006/main" xmlns:r="http://schemas.openxmlformats.org/officeDocument/2006/relationships" xmlns:p="http://schemas.openxmlformats.org/presentationml/2006/main">
  <p:tag name="MT_TILE" val="YES"/>
</p:tagLst>
</file>

<file path=ppt/tags/tag174.xml><?xml version="1.0" encoding="utf-8"?>
<p:tagLst xmlns:a="http://schemas.openxmlformats.org/drawingml/2006/main" xmlns:r="http://schemas.openxmlformats.org/officeDocument/2006/relationships" xmlns:p="http://schemas.openxmlformats.org/presentationml/2006/main">
  <p:tag name="MT_TILE" val="YES"/>
</p:tagLst>
</file>

<file path=ppt/tags/tag175.xml><?xml version="1.0" encoding="utf-8"?>
<p:tagLst xmlns:a="http://schemas.openxmlformats.org/drawingml/2006/main" xmlns:r="http://schemas.openxmlformats.org/officeDocument/2006/relationships" xmlns:p="http://schemas.openxmlformats.org/presentationml/2006/main">
  <p:tag name="MT_TILE" val="YES"/>
</p:tagLst>
</file>

<file path=ppt/tags/tag176.xml><?xml version="1.0" encoding="utf-8"?>
<p:tagLst xmlns:a="http://schemas.openxmlformats.org/drawingml/2006/main" xmlns:r="http://schemas.openxmlformats.org/officeDocument/2006/relationships" xmlns:p="http://schemas.openxmlformats.org/presentationml/2006/main">
  <p:tag name="MT_TILE" val="YES"/>
</p:tagLst>
</file>

<file path=ppt/tags/tag177.xml><?xml version="1.0" encoding="utf-8"?>
<p:tagLst xmlns:a="http://schemas.openxmlformats.org/drawingml/2006/main" xmlns:r="http://schemas.openxmlformats.org/officeDocument/2006/relationships" xmlns:p="http://schemas.openxmlformats.org/presentationml/2006/main">
  <p:tag name="MT_TILE" val="YES"/>
</p:tagLst>
</file>

<file path=ppt/tags/tag178.xml><?xml version="1.0" encoding="utf-8"?>
<p:tagLst xmlns:a="http://schemas.openxmlformats.org/drawingml/2006/main" xmlns:r="http://schemas.openxmlformats.org/officeDocument/2006/relationships" xmlns:p="http://schemas.openxmlformats.org/presentationml/2006/main">
  <p:tag name="MT_TILE" val="YES"/>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18.xml><?xml version="1.0" encoding="utf-8"?>
<p:tagLst xmlns:a="http://schemas.openxmlformats.org/drawingml/2006/main" xmlns:r="http://schemas.openxmlformats.org/officeDocument/2006/relationships" xmlns:p="http://schemas.openxmlformats.org/presentationml/2006/main">
  <p:tag name="THEMEIDC" val="9"/>
</p:tagLst>
</file>

<file path=ppt/tags/tag180.xml><?xml version="1.0" encoding="utf-8"?>
<p:tagLst xmlns:a="http://schemas.openxmlformats.org/drawingml/2006/main" xmlns:r="http://schemas.openxmlformats.org/officeDocument/2006/relationships" xmlns:p="http://schemas.openxmlformats.org/presentationml/2006/main">
  <p:tag name="MT_TILE" val="YES"/>
</p:tagLst>
</file>

<file path=ppt/tags/tag181.xml><?xml version="1.0" encoding="utf-8"?>
<p:tagLst xmlns:a="http://schemas.openxmlformats.org/drawingml/2006/main" xmlns:r="http://schemas.openxmlformats.org/officeDocument/2006/relationships" xmlns:p="http://schemas.openxmlformats.org/presentationml/2006/main">
  <p:tag name="MT_TILE" val="YES"/>
</p:tagLst>
</file>

<file path=ppt/tags/tag182.xml><?xml version="1.0" encoding="utf-8"?>
<p:tagLst xmlns:a="http://schemas.openxmlformats.org/drawingml/2006/main" xmlns:r="http://schemas.openxmlformats.org/officeDocument/2006/relationships" xmlns:p="http://schemas.openxmlformats.org/presentationml/2006/main">
  <p:tag name="MT_TILE" val="YES"/>
</p:tagLst>
</file>

<file path=ppt/tags/tag183.xml><?xml version="1.0" encoding="utf-8"?>
<p:tagLst xmlns:a="http://schemas.openxmlformats.org/drawingml/2006/main" xmlns:r="http://schemas.openxmlformats.org/officeDocument/2006/relationships" xmlns:p="http://schemas.openxmlformats.org/presentationml/2006/main">
  <p:tag name="MT_TILE" val="YES"/>
</p:tagLst>
</file>

<file path=ppt/tags/tag184.xml><?xml version="1.0" encoding="utf-8"?>
<p:tagLst xmlns:a="http://schemas.openxmlformats.org/drawingml/2006/main" xmlns:r="http://schemas.openxmlformats.org/officeDocument/2006/relationships" xmlns:p="http://schemas.openxmlformats.org/presentationml/2006/main">
  <p:tag name="MT_TILE" val="YES"/>
</p:tagLst>
</file>

<file path=ppt/tags/tag185.xml><?xml version="1.0" encoding="utf-8"?>
<p:tagLst xmlns:a="http://schemas.openxmlformats.org/drawingml/2006/main" xmlns:r="http://schemas.openxmlformats.org/officeDocument/2006/relationships" xmlns:p="http://schemas.openxmlformats.org/presentationml/2006/main">
  <p:tag name="MT_TILE" val="YES"/>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19.xml><?xml version="1.0" encoding="utf-8"?>
<p:tagLst xmlns:a="http://schemas.openxmlformats.org/drawingml/2006/main" xmlns:r="http://schemas.openxmlformats.org/officeDocument/2006/relationships" xmlns:p="http://schemas.openxmlformats.org/presentationml/2006/main">
  <p:tag name="THEMEID" val="10"/>
</p:tagLst>
</file>

<file path=ppt/tags/tag2.xml><?xml version="1.0" encoding="utf-8"?>
<p:tagLst xmlns:a="http://schemas.openxmlformats.org/drawingml/2006/main" xmlns:r="http://schemas.openxmlformats.org/officeDocument/2006/relationships" xmlns:p="http://schemas.openxmlformats.org/presentationml/2006/main">
  <p:tag name="THEMEIDC" val="1"/>
</p:tagLst>
</file>

<file path=ppt/tags/tag20.xml><?xml version="1.0" encoding="utf-8"?>
<p:tagLst xmlns:a="http://schemas.openxmlformats.org/drawingml/2006/main" xmlns:r="http://schemas.openxmlformats.org/officeDocument/2006/relationships" xmlns:p="http://schemas.openxmlformats.org/presentationml/2006/main">
  <p:tag name="THEMEIDC" val="10"/>
</p:tagLst>
</file>

<file path=ppt/tags/tag21.xml><?xml version="1.0" encoding="utf-8"?>
<p:tagLst xmlns:a="http://schemas.openxmlformats.org/drawingml/2006/main" xmlns:r="http://schemas.openxmlformats.org/officeDocument/2006/relationships" xmlns:p="http://schemas.openxmlformats.org/presentationml/2006/main">
  <p:tag name="THEMEID" val="11"/>
</p:tagLst>
</file>

<file path=ppt/tags/tag22.xml><?xml version="1.0" encoding="utf-8"?>
<p:tagLst xmlns:a="http://schemas.openxmlformats.org/drawingml/2006/main" xmlns:r="http://schemas.openxmlformats.org/officeDocument/2006/relationships" xmlns:p="http://schemas.openxmlformats.org/presentationml/2006/main">
  <p:tag name="THEMEIDC" val="11"/>
</p:tagLst>
</file>

<file path=ppt/tags/tag23.xml><?xml version="1.0" encoding="utf-8"?>
<p:tagLst xmlns:a="http://schemas.openxmlformats.org/drawingml/2006/main" xmlns:r="http://schemas.openxmlformats.org/officeDocument/2006/relationships" xmlns:p="http://schemas.openxmlformats.org/presentationml/2006/main">
  <p:tag name="THEMEID" val="12"/>
</p:tagLst>
</file>

<file path=ppt/tags/tag24.xml><?xml version="1.0" encoding="utf-8"?>
<p:tagLst xmlns:a="http://schemas.openxmlformats.org/drawingml/2006/main" xmlns:r="http://schemas.openxmlformats.org/officeDocument/2006/relationships" xmlns:p="http://schemas.openxmlformats.org/presentationml/2006/main">
  <p:tag name="THEMEIDC" val="12"/>
</p:tagLst>
</file>

<file path=ppt/tags/tag25.xml><?xml version="1.0" encoding="utf-8"?>
<p:tagLst xmlns:a="http://schemas.openxmlformats.org/drawingml/2006/main" xmlns:r="http://schemas.openxmlformats.org/officeDocument/2006/relationships" xmlns:p="http://schemas.openxmlformats.org/presentationml/2006/main">
  <p:tag name="THEMEIDCC" val="1"/>
</p:tagLst>
</file>

<file path=ppt/tags/tag26.xml><?xml version="1.0" encoding="utf-8"?>
<p:tagLst xmlns:a="http://schemas.openxmlformats.org/drawingml/2006/main" xmlns:r="http://schemas.openxmlformats.org/officeDocument/2006/relationships" xmlns:p="http://schemas.openxmlformats.org/presentationml/2006/main">
  <p:tag name="THEMEIDCCC" val="1"/>
</p:tagLst>
</file>

<file path=ppt/tags/tag27.xml><?xml version="1.0" encoding="utf-8"?>
<p:tagLst xmlns:a="http://schemas.openxmlformats.org/drawingml/2006/main" xmlns:r="http://schemas.openxmlformats.org/officeDocument/2006/relationships" xmlns:p="http://schemas.openxmlformats.org/presentationml/2006/main">
  <p:tag name="THEMEIDCC" val="2"/>
</p:tagLst>
</file>

<file path=ppt/tags/tag28.xml><?xml version="1.0" encoding="utf-8"?>
<p:tagLst xmlns:a="http://schemas.openxmlformats.org/drawingml/2006/main" xmlns:r="http://schemas.openxmlformats.org/officeDocument/2006/relationships" xmlns:p="http://schemas.openxmlformats.org/presentationml/2006/main">
  <p:tag name="THEMEIDCCC" val="2"/>
</p:tagLst>
</file>

<file path=ppt/tags/tag29.xml><?xml version="1.0" encoding="utf-8"?>
<p:tagLst xmlns:a="http://schemas.openxmlformats.org/drawingml/2006/main" xmlns:r="http://schemas.openxmlformats.org/officeDocument/2006/relationships" xmlns:p="http://schemas.openxmlformats.org/presentationml/2006/main">
  <p:tag name="THEMEIDCC" val="3"/>
</p:tagLst>
</file>

<file path=ppt/tags/tag3.xml><?xml version="1.0" encoding="utf-8"?>
<p:tagLst xmlns:a="http://schemas.openxmlformats.org/drawingml/2006/main" xmlns:r="http://schemas.openxmlformats.org/officeDocument/2006/relationships" xmlns:p="http://schemas.openxmlformats.org/presentationml/2006/main">
  <p:tag name="THEMEID" val="2"/>
</p:tagLst>
</file>

<file path=ppt/tags/tag30.xml><?xml version="1.0" encoding="utf-8"?>
<p:tagLst xmlns:a="http://schemas.openxmlformats.org/drawingml/2006/main" xmlns:r="http://schemas.openxmlformats.org/officeDocument/2006/relationships" xmlns:p="http://schemas.openxmlformats.org/presentationml/2006/main">
  <p:tag name="THEMEIDCCC" val="3"/>
</p:tagLst>
</file>

<file path=ppt/tags/tag31.xml><?xml version="1.0" encoding="utf-8"?>
<p:tagLst xmlns:a="http://schemas.openxmlformats.org/drawingml/2006/main" xmlns:r="http://schemas.openxmlformats.org/officeDocument/2006/relationships" xmlns:p="http://schemas.openxmlformats.org/presentationml/2006/main">
  <p:tag name="THEMEIDCC" val="4"/>
</p:tagLst>
</file>

<file path=ppt/tags/tag32.xml><?xml version="1.0" encoding="utf-8"?>
<p:tagLst xmlns:a="http://schemas.openxmlformats.org/drawingml/2006/main" xmlns:r="http://schemas.openxmlformats.org/officeDocument/2006/relationships" xmlns:p="http://schemas.openxmlformats.org/presentationml/2006/main">
  <p:tag name="THEMEIDCCC" val="4"/>
</p:tagLst>
</file>

<file path=ppt/tags/tag33.xml><?xml version="1.0" encoding="utf-8"?>
<p:tagLst xmlns:a="http://schemas.openxmlformats.org/drawingml/2006/main" xmlns:r="http://schemas.openxmlformats.org/officeDocument/2006/relationships" xmlns:p="http://schemas.openxmlformats.org/presentationml/2006/main">
  <p:tag name="THEMEIDCC" val="5"/>
</p:tagLst>
</file>

<file path=ppt/tags/tag34.xml><?xml version="1.0" encoding="utf-8"?>
<p:tagLst xmlns:a="http://schemas.openxmlformats.org/drawingml/2006/main" xmlns:r="http://schemas.openxmlformats.org/officeDocument/2006/relationships" xmlns:p="http://schemas.openxmlformats.org/presentationml/2006/main">
  <p:tag name="THEMEIDCCC" val="5"/>
</p:tagLst>
</file>

<file path=ppt/tags/tag35.xml><?xml version="1.0" encoding="utf-8"?>
<p:tagLst xmlns:a="http://schemas.openxmlformats.org/drawingml/2006/main" xmlns:r="http://schemas.openxmlformats.org/officeDocument/2006/relationships" xmlns:p="http://schemas.openxmlformats.org/presentationml/2006/main">
  <p:tag name="THEMEIDCC" val="6"/>
</p:tagLst>
</file>

<file path=ppt/tags/tag36.xml><?xml version="1.0" encoding="utf-8"?>
<p:tagLst xmlns:a="http://schemas.openxmlformats.org/drawingml/2006/main" xmlns:r="http://schemas.openxmlformats.org/officeDocument/2006/relationships" xmlns:p="http://schemas.openxmlformats.org/presentationml/2006/main">
  <p:tag name="THEMEIDCCC" val="6"/>
</p:tagLst>
</file>

<file path=ppt/tags/tag37.xml><?xml version="1.0" encoding="utf-8"?>
<p:tagLst xmlns:a="http://schemas.openxmlformats.org/drawingml/2006/main" xmlns:r="http://schemas.openxmlformats.org/officeDocument/2006/relationships" xmlns:p="http://schemas.openxmlformats.org/presentationml/2006/main">
  <p:tag name="THEMEIDCC" val="7"/>
</p:tagLst>
</file>

<file path=ppt/tags/tag38.xml><?xml version="1.0" encoding="utf-8"?>
<p:tagLst xmlns:a="http://schemas.openxmlformats.org/drawingml/2006/main" xmlns:r="http://schemas.openxmlformats.org/officeDocument/2006/relationships" xmlns:p="http://schemas.openxmlformats.org/presentationml/2006/main">
  <p:tag name="THEMEIDCCC" val="7"/>
</p:tagLst>
</file>

<file path=ppt/tags/tag39.xml><?xml version="1.0" encoding="utf-8"?>
<p:tagLst xmlns:a="http://schemas.openxmlformats.org/drawingml/2006/main" xmlns:r="http://schemas.openxmlformats.org/officeDocument/2006/relationships" xmlns:p="http://schemas.openxmlformats.org/presentationml/2006/main">
  <p:tag name="THEMEIDCC" val="8"/>
</p:tagLst>
</file>

<file path=ppt/tags/tag4.xml><?xml version="1.0" encoding="utf-8"?>
<p:tagLst xmlns:a="http://schemas.openxmlformats.org/drawingml/2006/main" xmlns:r="http://schemas.openxmlformats.org/officeDocument/2006/relationships" xmlns:p="http://schemas.openxmlformats.org/presentationml/2006/main">
  <p:tag name="THEMEIDC" val="2"/>
</p:tagLst>
</file>

<file path=ppt/tags/tag40.xml><?xml version="1.0" encoding="utf-8"?>
<p:tagLst xmlns:a="http://schemas.openxmlformats.org/drawingml/2006/main" xmlns:r="http://schemas.openxmlformats.org/officeDocument/2006/relationships" xmlns:p="http://schemas.openxmlformats.org/presentationml/2006/main">
  <p:tag name="THEMEIDCCC" val="8"/>
</p:tagLst>
</file>

<file path=ppt/tags/tag41.xml><?xml version="1.0" encoding="utf-8"?>
<p:tagLst xmlns:a="http://schemas.openxmlformats.org/drawingml/2006/main" xmlns:r="http://schemas.openxmlformats.org/officeDocument/2006/relationships" xmlns:p="http://schemas.openxmlformats.org/presentationml/2006/main">
  <p:tag name="THEMEIDCC" val="9"/>
</p:tagLst>
</file>

<file path=ppt/tags/tag42.xml><?xml version="1.0" encoding="utf-8"?>
<p:tagLst xmlns:a="http://schemas.openxmlformats.org/drawingml/2006/main" xmlns:r="http://schemas.openxmlformats.org/officeDocument/2006/relationships" xmlns:p="http://schemas.openxmlformats.org/presentationml/2006/main">
  <p:tag name="THEMEIDCCC" val="9"/>
</p:tagLst>
</file>

<file path=ppt/tags/tag43.xml><?xml version="1.0" encoding="utf-8"?>
<p:tagLst xmlns:a="http://schemas.openxmlformats.org/drawingml/2006/main" xmlns:r="http://schemas.openxmlformats.org/officeDocument/2006/relationships" xmlns:p="http://schemas.openxmlformats.org/presentationml/2006/main">
  <p:tag name="THEMEIDCC" val="10"/>
</p:tagLst>
</file>

<file path=ppt/tags/tag44.xml><?xml version="1.0" encoding="utf-8"?>
<p:tagLst xmlns:a="http://schemas.openxmlformats.org/drawingml/2006/main" xmlns:r="http://schemas.openxmlformats.org/officeDocument/2006/relationships" xmlns:p="http://schemas.openxmlformats.org/presentationml/2006/main">
  <p:tag name="THEMEIDCCC" val="10"/>
</p:tagLst>
</file>

<file path=ppt/tags/tag45.xml><?xml version="1.0" encoding="utf-8"?>
<p:tagLst xmlns:a="http://schemas.openxmlformats.org/drawingml/2006/main" xmlns:r="http://schemas.openxmlformats.org/officeDocument/2006/relationships" xmlns:p="http://schemas.openxmlformats.org/presentationml/2006/main">
  <p:tag name="THEMEIDCC" val="11"/>
</p:tagLst>
</file>

<file path=ppt/tags/tag46.xml><?xml version="1.0" encoding="utf-8"?>
<p:tagLst xmlns:a="http://schemas.openxmlformats.org/drawingml/2006/main" xmlns:r="http://schemas.openxmlformats.org/officeDocument/2006/relationships" xmlns:p="http://schemas.openxmlformats.org/presentationml/2006/main">
  <p:tag name="THEMEIDCCC" val="11"/>
</p:tagLst>
</file>

<file path=ppt/tags/tag47.xml><?xml version="1.0" encoding="utf-8"?>
<p:tagLst xmlns:a="http://schemas.openxmlformats.org/drawingml/2006/main" xmlns:r="http://schemas.openxmlformats.org/officeDocument/2006/relationships" xmlns:p="http://schemas.openxmlformats.org/presentationml/2006/main">
  <p:tag name="THEMEIDCC" val="12"/>
</p:tagLst>
</file>

<file path=ppt/tags/tag48.xml><?xml version="1.0" encoding="utf-8"?>
<p:tagLst xmlns:a="http://schemas.openxmlformats.org/drawingml/2006/main" xmlns:r="http://schemas.openxmlformats.org/officeDocument/2006/relationships" xmlns:p="http://schemas.openxmlformats.org/presentationml/2006/main">
  <p:tag name="THEMEIDCCC" val="12"/>
</p:tagLst>
</file>

<file path=ppt/tags/tag49.xml><?xml version="1.0" encoding="utf-8"?>
<p:tagLst xmlns:a="http://schemas.openxmlformats.org/drawingml/2006/main" xmlns:r="http://schemas.openxmlformats.org/officeDocument/2006/relationships" xmlns:p="http://schemas.openxmlformats.org/presentationml/2006/main">
  <p:tag name="THEMEID" val="1"/>
</p:tagLst>
</file>

<file path=ppt/tags/tag5.xml><?xml version="1.0" encoding="utf-8"?>
<p:tagLst xmlns:a="http://schemas.openxmlformats.org/drawingml/2006/main" xmlns:r="http://schemas.openxmlformats.org/officeDocument/2006/relationships" xmlns:p="http://schemas.openxmlformats.org/presentationml/2006/main">
  <p:tag name="THEMEID" val="3"/>
</p:tagLst>
</file>

<file path=ppt/tags/tag50.xml><?xml version="1.0" encoding="utf-8"?>
<p:tagLst xmlns:a="http://schemas.openxmlformats.org/drawingml/2006/main" xmlns:r="http://schemas.openxmlformats.org/officeDocument/2006/relationships" xmlns:p="http://schemas.openxmlformats.org/presentationml/2006/main">
  <p:tag name="THEMEIDC" val="1"/>
</p:tagLst>
</file>

<file path=ppt/tags/tag51.xml><?xml version="1.0" encoding="utf-8"?>
<p:tagLst xmlns:a="http://schemas.openxmlformats.org/drawingml/2006/main" xmlns:r="http://schemas.openxmlformats.org/officeDocument/2006/relationships" xmlns:p="http://schemas.openxmlformats.org/presentationml/2006/main">
  <p:tag name="THEMEID" val="2"/>
</p:tagLst>
</file>

<file path=ppt/tags/tag52.xml><?xml version="1.0" encoding="utf-8"?>
<p:tagLst xmlns:a="http://schemas.openxmlformats.org/drawingml/2006/main" xmlns:r="http://schemas.openxmlformats.org/officeDocument/2006/relationships" xmlns:p="http://schemas.openxmlformats.org/presentationml/2006/main">
  <p:tag name="THEMEIDC" val="2"/>
</p:tagLst>
</file>

<file path=ppt/tags/tag53.xml><?xml version="1.0" encoding="utf-8"?>
<p:tagLst xmlns:a="http://schemas.openxmlformats.org/drawingml/2006/main" xmlns:r="http://schemas.openxmlformats.org/officeDocument/2006/relationships" xmlns:p="http://schemas.openxmlformats.org/presentationml/2006/main">
  <p:tag name="THEMEID" val="3"/>
</p:tagLst>
</file>

<file path=ppt/tags/tag54.xml><?xml version="1.0" encoding="utf-8"?>
<p:tagLst xmlns:a="http://schemas.openxmlformats.org/drawingml/2006/main" xmlns:r="http://schemas.openxmlformats.org/officeDocument/2006/relationships" xmlns:p="http://schemas.openxmlformats.org/presentationml/2006/main">
  <p:tag name="THEMEIDC" val="3"/>
</p:tagLst>
</file>

<file path=ppt/tags/tag55.xml><?xml version="1.0" encoding="utf-8"?>
<p:tagLst xmlns:a="http://schemas.openxmlformats.org/drawingml/2006/main" xmlns:r="http://schemas.openxmlformats.org/officeDocument/2006/relationships" xmlns:p="http://schemas.openxmlformats.org/presentationml/2006/main">
  <p:tag name="THEMEID" val="4"/>
</p:tagLst>
</file>

<file path=ppt/tags/tag56.xml><?xml version="1.0" encoding="utf-8"?>
<p:tagLst xmlns:a="http://schemas.openxmlformats.org/drawingml/2006/main" xmlns:r="http://schemas.openxmlformats.org/officeDocument/2006/relationships" xmlns:p="http://schemas.openxmlformats.org/presentationml/2006/main">
  <p:tag name="THEMEIDC" val="4"/>
</p:tagLst>
</file>

<file path=ppt/tags/tag57.xml><?xml version="1.0" encoding="utf-8"?>
<p:tagLst xmlns:a="http://schemas.openxmlformats.org/drawingml/2006/main" xmlns:r="http://schemas.openxmlformats.org/officeDocument/2006/relationships" xmlns:p="http://schemas.openxmlformats.org/presentationml/2006/main">
  <p:tag name="THEMEID" val="5"/>
</p:tagLst>
</file>

<file path=ppt/tags/tag58.xml><?xml version="1.0" encoding="utf-8"?>
<p:tagLst xmlns:a="http://schemas.openxmlformats.org/drawingml/2006/main" xmlns:r="http://schemas.openxmlformats.org/officeDocument/2006/relationships" xmlns:p="http://schemas.openxmlformats.org/presentationml/2006/main">
  <p:tag name="THEMEIDC" val="5"/>
</p:tagLst>
</file>

<file path=ppt/tags/tag59.xml><?xml version="1.0" encoding="utf-8"?>
<p:tagLst xmlns:a="http://schemas.openxmlformats.org/drawingml/2006/main" xmlns:r="http://schemas.openxmlformats.org/officeDocument/2006/relationships" xmlns:p="http://schemas.openxmlformats.org/presentationml/2006/main">
  <p:tag name="THEMEID" val="6"/>
</p:tagLst>
</file>

<file path=ppt/tags/tag6.xml><?xml version="1.0" encoding="utf-8"?>
<p:tagLst xmlns:a="http://schemas.openxmlformats.org/drawingml/2006/main" xmlns:r="http://schemas.openxmlformats.org/officeDocument/2006/relationships" xmlns:p="http://schemas.openxmlformats.org/presentationml/2006/main">
  <p:tag name="THEMEIDC" val="3"/>
</p:tagLst>
</file>

<file path=ppt/tags/tag60.xml><?xml version="1.0" encoding="utf-8"?>
<p:tagLst xmlns:a="http://schemas.openxmlformats.org/drawingml/2006/main" xmlns:r="http://schemas.openxmlformats.org/officeDocument/2006/relationships" xmlns:p="http://schemas.openxmlformats.org/presentationml/2006/main">
  <p:tag name="THEMEIDC" val="6"/>
</p:tagLst>
</file>

<file path=ppt/tags/tag61.xml><?xml version="1.0" encoding="utf-8"?>
<p:tagLst xmlns:a="http://schemas.openxmlformats.org/drawingml/2006/main" xmlns:r="http://schemas.openxmlformats.org/officeDocument/2006/relationships" xmlns:p="http://schemas.openxmlformats.org/presentationml/2006/main">
  <p:tag name="THEMEID" val="7"/>
</p:tagLst>
</file>

<file path=ppt/tags/tag62.xml><?xml version="1.0" encoding="utf-8"?>
<p:tagLst xmlns:a="http://schemas.openxmlformats.org/drawingml/2006/main" xmlns:r="http://schemas.openxmlformats.org/officeDocument/2006/relationships" xmlns:p="http://schemas.openxmlformats.org/presentationml/2006/main">
  <p:tag name="THEMEIDC" val="7"/>
</p:tagLst>
</file>

<file path=ppt/tags/tag63.xml><?xml version="1.0" encoding="utf-8"?>
<p:tagLst xmlns:a="http://schemas.openxmlformats.org/drawingml/2006/main" xmlns:r="http://schemas.openxmlformats.org/officeDocument/2006/relationships" xmlns:p="http://schemas.openxmlformats.org/presentationml/2006/main">
  <p:tag name="THEMEID" val="8"/>
</p:tagLst>
</file>

<file path=ppt/tags/tag64.xml><?xml version="1.0" encoding="utf-8"?>
<p:tagLst xmlns:a="http://schemas.openxmlformats.org/drawingml/2006/main" xmlns:r="http://schemas.openxmlformats.org/officeDocument/2006/relationships" xmlns:p="http://schemas.openxmlformats.org/presentationml/2006/main">
  <p:tag name="THEMEIDC" val="8"/>
</p:tagLst>
</file>

<file path=ppt/tags/tag65.xml><?xml version="1.0" encoding="utf-8"?>
<p:tagLst xmlns:a="http://schemas.openxmlformats.org/drawingml/2006/main" xmlns:r="http://schemas.openxmlformats.org/officeDocument/2006/relationships" xmlns:p="http://schemas.openxmlformats.org/presentationml/2006/main">
  <p:tag name="THEMEID" val="9"/>
</p:tagLst>
</file>

<file path=ppt/tags/tag66.xml><?xml version="1.0" encoding="utf-8"?>
<p:tagLst xmlns:a="http://schemas.openxmlformats.org/drawingml/2006/main" xmlns:r="http://schemas.openxmlformats.org/officeDocument/2006/relationships" xmlns:p="http://schemas.openxmlformats.org/presentationml/2006/main">
  <p:tag name="THEMEIDC" val="9"/>
</p:tagLst>
</file>

<file path=ppt/tags/tag67.xml><?xml version="1.0" encoding="utf-8"?>
<p:tagLst xmlns:a="http://schemas.openxmlformats.org/drawingml/2006/main" xmlns:r="http://schemas.openxmlformats.org/officeDocument/2006/relationships" xmlns:p="http://schemas.openxmlformats.org/presentationml/2006/main">
  <p:tag name="THEMEID" val="10"/>
</p:tagLst>
</file>

<file path=ppt/tags/tag68.xml><?xml version="1.0" encoding="utf-8"?>
<p:tagLst xmlns:a="http://schemas.openxmlformats.org/drawingml/2006/main" xmlns:r="http://schemas.openxmlformats.org/officeDocument/2006/relationships" xmlns:p="http://schemas.openxmlformats.org/presentationml/2006/main">
  <p:tag name="THEMEIDC" val="10"/>
</p:tagLst>
</file>

<file path=ppt/tags/tag69.xml><?xml version="1.0" encoding="utf-8"?>
<p:tagLst xmlns:a="http://schemas.openxmlformats.org/drawingml/2006/main" xmlns:r="http://schemas.openxmlformats.org/officeDocument/2006/relationships" xmlns:p="http://schemas.openxmlformats.org/presentationml/2006/main">
  <p:tag name="THEMEID" val="11"/>
</p:tagLst>
</file>

<file path=ppt/tags/tag7.xml><?xml version="1.0" encoding="utf-8"?>
<p:tagLst xmlns:a="http://schemas.openxmlformats.org/drawingml/2006/main" xmlns:r="http://schemas.openxmlformats.org/officeDocument/2006/relationships" xmlns:p="http://schemas.openxmlformats.org/presentationml/2006/main">
  <p:tag name="THEMEID" val="4"/>
</p:tagLst>
</file>

<file path=ppt/tags/tag70.xml><?xml version="1.0" encoding="utf-8"?>
<p:tagLst xmlns:a="http://schemas.openxmlformats.org/drawingml/2006/main" xmlns:r="http://schemas.openxmlformats.org/officeDocument/2006/relationships" xmlns:p="http://schemas.openxmlformats.org/presentationml/2006/main">
  <p:tag name="THEMEIDC" val="11"/>
</p:tagLst>
</file>

<file path=ppt/tags/tag71.xml><?xml version="1.0" encoding="utf-8"?>
<p:tagLst xmlns:a="http://schemas.openxmlformats.org/drawingml/2006/main" xmlns:r="http://schemas.openxmlformats.org/officeDocument/2006/relationships" xmlns:p="http://schemas.openxmlformats.org/presentationml/2006/main">
  <p:tag name="THEMEID" val="12"/>
</p:tagLst>
</file>

<file path=ppt/tags/tag72.xml><?xml version="1.0" encoding="utf-8"?>
<p:tagLst xmlns:a="http://schemas.openxmlformats.org/drawingml/2006/main" xmlns:r="http://schemas.openxmlformats.org/officeDocument/2006/relationships" xmlns:p="http://schemas.openxmlformats.org/presentationml/2006/main">
  <p:tag name="THEMEIDC" val="12"/>
</p:tagLst>
</file>

<file path=ppt/tags/tag73.xml><?xml version="1.0" encoding="utf-8"?>
<p:tagLst xmlns:a="http://schemas.openxmlformats.org/drawingml/2006/main" xmlns:r="http://schemas.openxmlformats.org/officeDocument/2006/relationships" xmlns:p="http://schemas.openxmlformats.org/presentationml/2006/main">
  <p:tag name="THEMEIDCC" val="1"/>
</p:tagLst>
</file>

<file path=ppt/tags/tag74.xml><?xml version="1.0" encoding="utf-8"?>
<p:tagLst xmlns:a="http://schemas.openxmlformats.org/drawingml/2006/main" xmlns:r="http://schemas.openxmlformats.org/officeDocument/2006/relationships" xmlns:p="http://schemas.openxmlformats.org/presentationml/2006/main">
  <p:tag name="THEMEIDCCC" val="1"/>
</p:tagLst>
</file>

<file path=ppt/tags/tag75.xml><?xml version="1.0" encoding="utf-8"?>
<p:tagLst xmlns:a="http://schemas.openxmlformats.org/drawingml/2006/main" xmlns:r="http://schemas.openxmlformats.org/officeDocument/2006/relationships" xmlns:p="http://schemas.openxmlformats.org/presentationml/2006/main">
  <p:tag name="THEMEIDCC" val="2"/>
</p:tagLst>
</file>

<file path=ppt/tags/tag76.xml><?xml version="1.0" encoding="utf-8"?>
<p:tagLst xmlns:a="http://schemas.openxmlformats.org/drawingml/2006/main" xmlns:r="http://schemas.openxmlformats.org/officeDocument/2006/relationships" xmlns:p="http://schemas.openxmlformats.org/presentationml/2006/main">
  <p:tag name="THEMEIDCCC" val="2"/>
</p:tagLst>
</file>

<file path=ppt/tags/tag77.xml><?xml version="1.0" encoding="utf-8"?>
<p:tagLst xmlns:a="http://schemas.openxmlformats.org/drawingml/2006/main" xmlns:r="http://schemas.openxmlformats.org/officeDocument/2006/relationships" xmlns:p="http://schemas.openxmlformats.org/presentationml/2006/main">
  <p:tag name="THEMEIDCC" val="3"/>
</p:tagLst>
</file>

<file path=ppt/tags/tag78.xml><?xml version="1.0" encoding="utf-8"?>
<p:tagLst xmlns:a="http://schemas.openxmlformats.org/drawingml/2006/main" xmlns:r="http://schemas.openxmlformats.org/officeDocument/2006/relationships" xmlns:p="http://schemas.openxmlformats.org/presentationml/2006/main">
  <p:tag name="THEMEIDCCC" val="3"/>
</p:tagLst>
</file>

<file path=ppt/tags/tag79.xml><?xml version="1.0" encoding="utf-8"?>
<p:tagLst xmlns:a="http://schemas.openxmlformats.org/drawingml/2006/main" xmlns:r="http://schemas.openxmlformats.org/officeDocument/2006/relationships" xmlns:p="http://schemas.openxmlformats.org/presentationml/2006/main">
  <p:tag name="THEMEIDCC" val="4"/>
</p:tagLst>
</file>

<file path=ppt/tags/tag8.xml><?xml version="1.0" encoding="utf-8"?>
<p:tagLst xmlns:a="http://schemas.openxmlformats.org/drawingml/2006/main" xmlns:r="http://schemas.openxmlformats.org/officeDocument/2006/relationships" xmlns:p="http://schemas.openxmlformats.org/presentationml/2006/main">
  <p:tag name="THEMEIDC" val="4"/>
</p:tagLst>
</file>

<file path=ppt/tags/tag80.xml><?xml version="1.0" encoding="utf-8"?>
<p:tagLst xmlns:a="http://schemas.openxmlformats.org/drawingml/2006/main" xmlns:r="http://schemas.openxmlformats.org/officeDocument/2006/relationships" xmlns:p="http://schemas.openxmlformats.org/presentationml/2006/main">
  <p:tag name="THEMEIDCCC" val="4"/>
</p:tagLst>
</file>

<file path=ppt/tags/tag81.xml><?xml version="1.0" encoding="utf-8"?>
<p:tagLst xmlns:a="http://schemas.openxmlformats.org/drawingml/2006/main" xmlns:r="http://schemas.openxmlformats.org/officeDocument/2006/relationships" xmlns:p="http://schemas.openxmlformats.org/presentationml/2006/main">
  <p:tag name="THEMEIDCC" val="5"/>
</p:tagLst>
</file>

<file path=ppt/tags/tag82.xml><?xml version="1.0" encoding="utf-8"?>
<p:tagLst xmlns:a="http://schemas.openxmlformats.org/drawingml/2006/main" xmlns:r="http://schemas.openxmlformats.org/officeDocument/2006/relationships" xmlns:p="http://schemas.openxmlformats.org/presentationml/2006/main">
  <p:tag name="THEMEIDCCC" val="5"/>
</p:tagLst>
</file>

<file path=ppt/tags/tag83.xml><?xml version="1.0" encoding="utf-8"?>
<p:tagLst xmlns:a="http://schemas.openxmlformats.org/drawingml/2006/main" xmlns:r="http://schemas.openxmlformats.org/officeDocument/2006/relationships" xmlns:p="http://schemas.openxmlformats.org/presentationml/2006/main">
  <p:tag name="THEMEIDCC" val="6"/>
</p:tagLst>
</file>

<file path=ppt/tags/tag84.xml><?xml version="1.0" encoding="utf-8"?>
<p:tagLst xmlns:a="http://schemas.openxmlformats.org/drawingml/2006/main" xmlns:r="http://schemas.openxmlformats.org/officeDocument/2006/relationships" xmlns:p="http://schemas.openxmlformats.org/presentationml/2006/main">
  <p:tag name="THEMEIDCCC" val="6"/>
</p:tagLst>
</file>

<file path=ppt/tags/tag85.xml><?xml version="1.0" encoding="utf-8"?>
<p:tagLst xmlns:a="http://schemas.openxmlformats.org/drawingml/2006/main" xmlns:r="http://schemas.openxmlformats.org/officeDocument/2006/relationships" xmlns:p="http://schemas.openxmlformats.org/presentationml/2006/main">
  <p:tag name="THEMEIDCC" val="7"/>
</p:tagLst>
</file>

<file path=ppt/tags/tag86.xml><?xml version="1.0" encoding="utf-8"?>
<p:tagLst xmlns:a="http://schemas.openxmlformats.org/drawingml/2006/main" xmlns:r="http://schemas.openxmlformats.org/officeDocument/2006/relationships" xmlns:p="http://schemas.openxmlformats.org/presentationml/2006/main">
  <p:tag name="THEMEIDCCC" val="7"/>
</p:tagLst>
</file>

<file path=ppt/tags/tag87.xml><?xml version="1.0" encoding="utf-8"?>
<p:tagLst xmlns:a="http://schemas.openxmlformats.org/drawingml/2006/main" xmlns:r="http://schemas.openxmlformats.org/officeDocument/2006/relationships" xmlns:p="http://schemas.openxmlformats.org/presentationml/2006/main">
  <p:tag name="THEMEIDCC" val="8"/>
</p:tagLst>
</file>

<file path=ppt/tags/tag88.xml><?xml version="1.0" encoding="utf-8"?>
<p:tagLst xmlns:a="http://schemas.openxmlformats.org/drawingml/2006/main" xmlns:r="http://schemas.openxmlformats.org/officeDocument/2006/relationships" xmlns:p="http://schemas.openxmlformats.org/presentationml/2006/main">
  <p:tag name="THEMEIDCCC" val="8"/>
</p:tagLst>
</file>

<file path=ppt/tags/tag89.xml><?xml version="1.0" encoding="utf-8"?>
<p:tagLst xmlns:a="http://schemas.openxmlformats.org/drawingml/2006/main" xmlns:r="http://schemas.openxmlformats.org/officeDocument/2006/relationships" xmlns:p="http://schemas.openxmlformats.org/presentationml/2006/main">
  <p:tag name="THEMEIDCC" val="9"/>
</p:tagLst>
</file>

<file path=ppt/tags/tag9.xml><?xml version="1.0" encoding="utf-8"?>
<p:tagLst xmlns:a="http://schemas.openxmlformats.org/drawingml/2006/main" xmlns:r="http://schemas.openxmlformats.org/officeDocument/2006/relationships" xmlns:p="http://schemas.openxmlformats.org/presentationml/2006/main">
  <p:tag name="THEMEID" val="5"/>
</p:tagLst>
</file>

<file path=ppt/tags/tag90.xml><?xml version="1.0" encoding="utf-8"?>
<p:tagLst xmlns:a="http://schemas.openxmlformats.org/drawingml/2006/main" xmlns:r="http://schemas.openxmlformats.org/officeDocument/2006/relationships" xmlns:p="http://schemas.openxmlformats.org/presentationml/2006/main">
  <p:tag name="THEMEIDCCC" val="9"/>
</p:tagLst>
</file>

<file path=ppt/tags/tag91.xml><?xml version="1.0" encoding="utf-8"?>
<p:tagLst xmlns:a="http://schemas.openxmlformats.org/drawingml/2006/main" xmlns:r="http://schemas.openxmlformats.org/officeDocument/2006/relationships" xmlns:p="http://schemas.openxmlformats.org/presentationml/2006/main">
  <p:tag name="THEMEIDCC" val="10"/>
</p:tagLst>
</file>

<file path=ppt/tags/tag92.xml><?xml version="1.0" encoding="utf-8"?>
<p:tagLst xmlns:a="http://schemas.openxmlformats.org/drawingml/2006/main" xmlns:r="http://schemas.openxmlformats.org/officeDocument/2006/relationships" xmlns:p="http://schemas.openxmlformats.org/presentationml/2006/main">
  <p:tag name="THEMEIDCCC" val="10"/>
</p:tagLst>
</file>

<file path=ppt/tags/tag93.xml><?xml version="1.0" encoding="utf-8"?>
<p:tagLst xmlns:a="http://schemas.openxmlformats.org/drawingml/2006/main" xmlns:r="http://schemas.openxmlformats.org/officeDocument/2006/relationships" xmlns:p="http://schemas.openxmlformats.org/presentationml/2006/main">
  <p:tag name="THEMEIDCC" val="11"/>
</p:tagLst>
</file>

<file path=ppt/tags/tag94.xml><?xml version="1.0" encoding="utf-8"?>
<p:tagLst xmlns:a="http://schemas.openxmlformats.org/drawingml/2006/main" xmlns:r="http://schemas.openxmlformats.org/officeDocument/2006/relationships" xmlns:p="http://schemas.openxmlformats.org/presentationml/2006/main">
  <p:tag name="THEMEIDCCC" val="11"/>
</p:tagLst>
</file>

<file path=ppt/tags/tag95.xml><?xml version="1.0" encoding="utf-8"?>
<p:tagLst xmlns:a="http://schemas.openxmlformats.org/drawingml/2006/main" xmlns:r="http://schemas.openxmlformats.org/officeDocument/2006/relationships" xmlns:p="http://schemas.openxmlformats.org/presentationml/2006/main">
  <p:tag name="THEMEIDCC" val="12"/>
</p:tagLst>
</file>

<file path=ppt/tags/tag96.xml><?xml version="1.0" encoding="utf-8"?>
<p:tagLst xmlns:a="http://schemas.openxmlformats.org/drawingml/2006/main" xmlns:r="http://schemas.openxmlformats.org/officeDocument/2006/relationships" xmlns:p="http://schemas.openxmlformats.org/presentationml/2006/main">
  <p:tag name="THEMEIDCCC" val="12"/>
</p:tagLst>
</file>

<file path=ppt/tags/tag97.xml><?xml version="1.0" encoding="utf-8"?>
<p:tagLst xmlns:a="http://schemas.openxmlformats.org/drawingml/2006/main" xmlns:r="http://schemas.openxmlformats.org/officeDocument/2006/relationships" xmlns:p="http://schemas.openxmlformats.org/presentationml/2006/main">
  <p:tag name="THEMEID" val="1"/>
</p:tagLst>
</file>

<file path=ppt/tags/tag98.xml><?xml version="1.0" encoding="utf-8"?>
<p:tagLst xmlns:a="http://schemas.openxmlformats.org/drawingml/2006/main" xmlns:r="http://schemas.openxmlformats.org/officeDocument/2006/relationships" xmlns:p="http://schemas.openxmlformats.org/presentationml/2006/main">
  <p:tag name="THEMEIDC" val="1"/>
</p:tagLst>
</file>

<file path=ppt/tags/tag99.xml><?xml version="1.0" encoding="utf-8"?>
<p:tagLst xmlns:a="http://schemas.openxmlformats.org/drawingml/2006/main" xmlns:r="http://schemas.openxmlformats.org/officeDocument/2006/relationships" xmlns:p="http://schemas.openxmlformats.org/presentationml/2006/main">
  <p:tag name="THEMEID" val="2"/>
</p:tagLst>
</file>

<file path=ppt/theme/theme1.xml><?xml version="1.0" encoding="utf-8"?>
<a:theme xmlns:a="http://schemas.openxmlformats.org/drawingml/2006/main" name="Title and Conten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TCS Blue">
      <a:srgbClr val="6DCFF6"/>
    </a:custClr>
    <a:custClr name="TCS Blue 50%">
      <a:srgbClr val="B0DFF3"/>
    </a:custClr>
    <a:custClr name="TCS Blue 25%">
      <a:srgbClr val="D7EFFA"/>
    </a:custClr>
    <a:custClr name="TCS Dark Blue">
      <a:srgbClr val="0069BE"/>
    </a:custClr>
    <a:custClr name="TCS Dark Blue 50%">
      <a:srgbClr val="98B4E6"/>
    </a:custClr>
    <a:custClr name="TCS Dark Blue 25%">
      <a:srgbClr val="E1ECF8"/>
    </a:custClr>
    <a:custClr name="TCS Light Violet">
      <a:srgbClr val="83389B"/>
    </a:custClr>
    <a:custClr name="TCS Light Violet 50%">
      <a:srgbClr val="C69FDB"/>
    </a:custClr>
    <a:custClr name="TCS Light Violet 25%">
      <a:srgbClr val="E2CFED"/>
    </a:custClr>
    <a:custClr name="TCS Green">
      <a:srgbClr val="55A51C"/>
    </a:custClr>
    <a:custClr name="TCS Green 50%">
      <a:srgbClr val="ABD38C"/>
    </a:custClr>
    <a:custClr name="TCS Green 25%">
      <a:srgbClr val="D3E8C6"/>
    </a:custClr>
    <a:custClr name="TCS Orange">
      <a:srgbClr val="D6492A"/>
    </a:custClr>
    <a:custClr name="TCS Orange 50%">
      <a:srgbClr val="F7AC94"/>
    </a:custClr>
    <a:custClr name="TCS Orange 25%">
      <a:srgbClr val="FBD6C9"/>
    </a:custClr>
    <a:custClr name="TCS Warm Grey">
      <a:srgbClr val="B9AFA4"/>
    </a:custClr>
    <a:custClr name="TCS Warm Grey 50%">
      <a:srgbClr val="D7D4CF"/>
    </a:custClr>
    <a:custClr name="TCS Warm Grey 25%">
      <a:srgbClr val="E8EAE7"/>
    </a:custClr>
    <a:custClr name="TCS Brown">
      <a:srgbClr val="974B07"/>
    </a:custClr>
    <a:custClr name="TCS Brown 50%">
      <a:srgbClr val="D1A484"/>
    </a:custClr>
    <a:custClr name="TCS Brown 25%">
      <a:srgbClr val="E8D1C2"/>
    </a:custClr>
    <a:custClr name="TCS Light Green">
      <a:srgbClr val="C1BB00"/>
    </a:custClr>
    <a:custClr name="TCS Light Green 50%">
      <a:srgbClr val="E2DB92"/>
    </a:custClr>
    <a:custClr name="TCS Light Green 25%">
      <a:srgbClr val="F0EDC9"/>
    </a:custClr>
    <a:custClr name="TCS Yellow">
      <a:srgbClr val="FFDD3E"/>
    </a:custClr>
    <a:custClr name="TCS Yellow 50%">
      <a:srgbClr val="FCEFA5"/>
    </a:custClr>
    <a:custClr name="TCS Yellow 25%">
      <a:srgbClr val="FDF7D4"/>
    </a:custClr>
    <a:custClr name="TCS Dark Grey">
      <a:srgbClr val="58595B"/>
    </a:custClr>
    <a:custClr name="TCS Dark Grey 50%">
      <a:srgbClr val="A5A8AA"/>
    </a:custClr>
    <a:custClr name="TCS Dark Grey 25%">
      <a:srgbClr val="D0D3D4"/>
    </a:custClr>
    <a:custClr name="TATA Blue">
      <a:srgbClr val="4E84C4"/>
    </a:custClr>
    <a:custClr name="TATA Blue 50%">
      <a:srgbClr val="ACC3EC"/>
    </a:custClr>
    <a:custClr name="TATA Blue 25%">
      <a:srgbClr val="D4E1F7"/>
    </a:custClr>
  </a:custClrLst>
</a:theme>
</file>

<file path=ppt/theme/theme2.xml><?xml version="1.0" encoding="utf-8"?>
<a:theme xmlns:a="http://schemas.openxmlformats.org/drawingml/2006/main" name="1_Title and Conten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TCS Blue">
      <a:srgbClr val="6DCFF6"/>
    </a:custClr>
    <a:custClr name="TCS Blue 50%">
      <a:srgbClr val="B0DFF3"/>
    </a:custClr>
    <a:custClr name="TCS Blue 25%">
      <a:srgbClr val="D7EFFA"/>
    </a:custClr>
    <a:custClr name="TCS Dark Blue">
      <a:srgbClr val="0069BE"/>
    </a:custClr>
    <a:custClr name="TCS Dark Blue 50%">
      <a:srgbClr val="98B4E6"/>
    </a:custClr>
    <a:custClr name="TCS Dark Blue 25%">
      <a:srgbClr val="E1ECF8"/>
    </a:custClr>
    <a:custClr name="TCS Light Violet">
      <a:srgbClr val="83389B"/>
    </a:custClr>
    <a:custClr name="TCS Light Violet 50%">
      <a:srgbClr val="C69FDB"/>
    </a:custClr>
    <a:custClr name="TCS Light Violet 25%">
      <a:srgbClr val="E2CFED"/>
    </a:custClr>
    <a:custClr name="TCS Green">
      <a:srgbClr val="55A51C"/>
    </a:custClr>
    <a:custClr name="TCS Green 50%">
      <a:srgbClr val="ABD38C"/>
    </a:custClr>
    <a:custClr name="TCS Green 25%">
      <a:srgbClr val="D3E8C6"/>
    </a:custClr>
    <a:custClr name="TCS Orange">
      <a:srgbClr val="D6492A"/>
    </a:custClr>
    <a:custClr name="TCS Orange 50%">
      <a:srgbClr val="F7AC94"/>
    </a:custClr>
    <a:custClr name="TCS Orange 25%">
      <a:srgbClr val="FBD6C9"/>
    </a:custClr>
    <a:custClr name="TCS Warm Grey">
      <a:srgbClr val="B9AFA4"/>
    </a:custClr>
    <a:custClr name="TCS Warm Grey 50%">
      <a:srgbClr val="D7D4CF"/>
    </a:custClr>
    <a:custClr name="TCS Warm Grey 25%">
      <a:srgbClr val="E8EAE7"/>
    </a:custClr>
    <a:custClr name="TCS Brown">
      <a:srgbClr val="974B07"/>
    </a:custClr>
    <a:custClr name="TCS Brown 50%">
      <a:srgbClr val="D1A484"/>
    </a:custClr>
    <a:custClr name="TCS Brown 25%">
      <a:srgbClr val="E8D1C2"/>
    </a:custClr>
    <a:custClr name="TCS Light Green">
      <a:srgbClr val="C1BB00"/>
    </a:custClr>
    <a:custClr name="TCS Light Green 50%">
      <a:srgbClr val="E2DB92"/>
    </a:custClr>
    <a:custClr name="TCS Light Green 25%">
      <a:srgbClr val="F0EDC9"/>
    </a:custClr>
    <a:custClr name="TCS Yellow">
      <a:srgbClr val="FFDD3E"/>
    </a:custClr>
    <a:custClr name="TCS Yellow 50%">
      <a:srgbClr val="FCEFA5"/>
    </a:custClr>
    <a:custClr name="TCS Yellow 25%">
      <a:srgbClr val="FDF7D4"/>
    </a:custClr>
    <a:custClr name="TCS Dark Grey">
      <a:srgbClr val="58595B"/>
    </a:custClr>
    <a:custClr name="TCS Dark Grey 50%">
      <a:srgbClr val="A5A8AA"/>
    </a:custClr>
    <a:custClr name="TCS Dark Grey 25%">
      <a:srgbClr val="D0D3D4"/>
    </a:custClr>
    <a:custClr name="TATA Blue">
      <a:srgbClr val="4E84C4"/>
    </a:custClr>
    <a:custClr name="TATA Blue 50%">
      <a:srgbClr val="ACC3EC"/>
    </a:custClr>
    <a:custClr name="TATA Blue 25%">
      <a:srgbClr val="D4E1F7"/>
    </a:custClr>
  </a:custClrLst>
</a:theme>
</file>

<file path=ppt/theme/theme3.xml><?xml version="1.0" encoding="utf-8"?>
<a:theme xmlns:a="http://schemas.openxmlformats.org/drawingml/2006/main" name="2_Title and Conten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TCS Blue">
      <a:srgbClr val="6DCFF6"/>
    </a:custClr>
    <a:custClr name="TCS Blue 50%">
      <a:srgbClr val="B0DFF3"/>
    </a:custClr>
    <a:custClr name="TCS Blue 25%">
      <a:srgbClr val="D7EFFA"/>
    </a:custClr>
    <a:custClr name="TCS Dark Blue">
      <a:srgbClr val="0069BE"/>
    </a:custClr>
    <a:custClr name="TCS Dark Blue 50%">
      <a:srgbClr val="98B4E6"/>
    </a:custClr>
    <a:custClr name="TCS Dark Blue 25%">
      <a:srgbClr val="E1ECF8"/>
    </a:custClr>
    <a:custClr name="TCS Light Violet">
      <a:srgbClr val="83389B"/>
    </a:custClr>
    <a:custClr name="TCS Light Violet 50%">
      <a:srgbClr val="C69FDB"/>
    </a:custClr>
    <a:custClr name="TCS Light Violet 25%">
      <a:srgbClr val="E2CFED"/>
    </a:custClr>
    <a:custClr name="TCS Green">
      <a:srgbClr val="55A51C"/>
    </a:custClr>
    <a:custClr name="TCS Green 50%">
      <a:srgbClr val="ABD38C"/>
    </a:custClr>
    <a:custClr name="TCS Green 25%">
      <a:srgbClr val="D3E8C6"/>
    </a:custClr>
    <a:custClr name="TCS Orange">
      <a:srgbClr val="D6492A"/>
    </a:custClr>
    <a:custClr name="TCS Orange 50%">
      <a:srgbClr val="F7AC94"/>
    </a:custClr>
    <a:custClr name="TCS Orange 25%">
      <a:srgbClr val="FBD6C9"/>
    </a:custClr>
    <a:custClr name="TCS Warm Grey">
      <a:srgbClr val="B9AFA4"/>
    </a:custClr>
    <a:custClr name="TCS Warm Grey 50%">
      <a:srgbClr val="D7D4CF"/>
    </a:custClr>
    <a:custClr name="TCS Warm Grey 25%">
      <a:srgbClr val="E8EAE7"/>
    </a:custClr>
    <a:custClr name="TCS Brown">
      <a:srgbClr val="974B07"/>
    </a:custClr>
    <a:custClr name="TCS Brown 50%">
      <a:srgbClr val="D1A484"/>
    </a:custClr>
    <a:custClr name="TCS Brown 25%">
      <a:srgbClr val="E8D1C2"/>
    </a:custClr>
    <a:custClr name="TCS Light Green">
      <a:srgbClr val="C1BB00"/>
    </a:custClr>
    <a:custClr name="TCS Light Green 50%">
      <a:srgbClr val="E2DB92"/>
    </a:custClr>
    <a:custClr name="TCS Light Green 25%">
      <a:srgbClr val="F0EDC9"/>
    </a:custClr>
    <a:custClr name="TCS Yellow">
      <a:srgbClr val="FFDD3E"/>
    </a:custClr>
    <a:custClr name="TCS Yellow 50%">
      <a:srgbClr val="FCEFA5"/>
    </a:custClr>
    <a:custClr name="TCS Yellow 25%">
      <a:srgbClr val="FDF7D4"/>
    </a:custClr>
    <a:custClr name="TCS Dark Grey">
      <a:srgbClr val="58595B"/>
    </a:custClr>
    <a:custClr name="TCS Dark Grey 50%">
      <a:srgbClr val="A5A8AA"/>
    </a:custClr>
    <a:custClr name="TCS Dark Grey 25%">
      <a:srgbClr val="D0D3D4"/>
    </a:custClr>
    <a:custClr name="TATA Blue">
      <a:srgbClr val="4E84C4"/>
    </a:custClr>
    <a:custClr name="TATA Blue 50%">
      <a:srgbClr val="ACC3EC"/>
    </a:custClr>
    <a:custClr name="TATA Blue 25%">
      <a:srgbClr val="D4E1F7"/>
    </a:custClr>
  </a:custClrLst>
</a:theme>
</file>

<file path=ppt/theme/theme4.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ppt/theme/themeOverride2.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ppt/theme/themeOverride3.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3D3DE19503C954388E16169DAE4E2BB" ma:contentTypeVersion="0" ma:contentTypeDescription="Create a new document." ma:contentTypeScope="" ma:versionID="066ebbb8869251433e14fc78a8b6dd10">
  <xsd:schema xmlns:xsd="http://www.w3.org/2001/XMLSchema" xmlns:xs="http://www.w3.org/2001/XMLSchema" xmlns:p="http://schemas.microsoft.com/office/2006/metadata/properties" targetNamespace="http://schemas.microsoft.com/office/2006/metadata/properties" ma:root="true" ma:fieldsID="933109b9974763cd198f57aa8467505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45772F4-F2A9-42AF-A50D-D3FD29D492AB}">
  <ds:schemaRefs>
    <ds:schemaRef ds:uri="http://schemas.microsoft.com/sharepoint/v3/contenttype/forms"/>
  </ds:schemaRefs>
</ds:datastoreItem>
</file>

<file path=customXml/itemProps2.xml><?xml version="1.0" encoding="utf-8"?>
<ds:datastoreItem xmlns:ds="http://schemas.openxmlformats.org/officeDocument/2006/customXml" ds:itemID="{AC285AF1-F459-40FA-90D7-12C274D792D2}">
  <ds:schemaRefs>
    <ds:schemaRef ds:uri="http://purl.org/dc/terms/"/>
    <ds:schemaRef ds:uri="http://schemas.openxmlformats.org/package/2006/metadata/core-properties"/>
    <ds:schemaRef ds:uri="http://schemas.microsoft.com/office/infopath/2007/PartnerControls"/>
    <ds:schemaRef ds:uri="http://www.w3.org/XML/1998/namespace"/>
    <ds:schemaRef ds:uri="http://schemas.microsoft.com/office/2006/documentManagement/types"/>
    <ds:schemaRef ds:uri="http://purl.org/dc/elements/1.1/"/>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5E540838-F07D-4E9B-9FA0-C4B2658112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6303</TotalTime>
  <Words>18710</Words>
  <Application>Microsoft Office PowerPoint</Application>
  <PresentationFormat>Custom</PresentationFormat>
  <Paragraphs>2615</Paragraphs>
  <Slides>198</Slides>
  <Notes>129</Notes>
  <HiddenSlides>1</HiddenSlides>
  <MMClips>2</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98</vt:i4>
      </vt:variant>
    </vt:vector>
  </HeadingPairs>
  <TitlesOfParts>
    <vt:vector size="203" baseType="lpstr">
      <vt:lpstr>Title and Content</vt:lpstr>
      <vt:lpstr>1_Title and Content</vt:lpstr>
      <vt:lpstr>2_Title and Content</vt:lpstr>
      <vt:lpstr>Office Theme</vt:lpstr>
      <vt:lpstr>think-cell Slide</vt:lpstr>
      <vt:lpstr>PowerPoint Presentation</vt:lpstr>
      <vt:lpstr>PowerPoint Presentation</vt:lpstr>
      <vt:lpstr>PowerPoint Presentation</vt:lpstr>
      <vt:lpstr>PowerPoint Presentation</vt:lpstr>
      <vt:lpstr>PowerPoint Presentation</vt:lpstr>
      <vt:lpstr>Module 1 Azure Fundamentals  </vt:lpstr>
      <vt:lpstr>Lesson 1: What is cloud computing </vt:lpstr>
      <vt:lpstr>Cloud Computing Patterns</vt:lpstr>
      <vt:lpstr>PowerPoint Presentation</vt:lpstr>
      <vt:lpstr>Definition</vt:lpstr>
      <vt:lpstr>Overview of cloud computing</vt:lpstr>
      <vt:lpstr>Definition</vt:lpstr>
      <vt:lpstr>Service Models</vt:lpstr>
      <vt:lpstr>Cloud Computing Models </vt:lpstr>
      <vt:lpstr>PowerPoint Presentation</vt:lpstr>
      <vt:lpstr>Introduction to the Azure cloud</vt:lpstr>
      <vt:lpstr>Hyper scale Infrastructure is the enabler</vt:lpstr>
      <vt:lpstr>Overview of Azure services</vt:lpstr>
      <vt:lpstr>Azure billing and support options</vt:lpstr>
      <vt:lpstr>PowerPoint Presentation</vt:lpstr>
      <vt:lpstr>Account ‘s in Azure</vt:lpstr>
      <vt:lpstr>Account ‘s in Azure( contd…)</vt:lpstr>
      <vt:lpstr>Account ‘s in Azure( contd…)</vt:lpstr>
      <vt:lpstr>Account ‘s in Azure( contd…)</vt:lpstr>
      <vt:lpstr>Account ‘s in Azure( contd…)</vt:lpstr>
      <vt:lpstr>Subscription Limitations</vt:lpstr>
      <vt:lpstr>Subscription Limitations</vt:lpstr>
      <vt:lpstr>How to create a free trail account in Azure </vt:lpstr>
      <vt:lpstr>Module 2: Azure Virtual Machine</vt:lpstr>
      <vt:lpstr>Lesson1: Azure Deployment Models</vt:lpstr>
      <vt:lpstr> Azure deployments models</vt:lpstr>
      <vt:lpstr>JSON templates</vt:lpstr>
      <vt:lpstr>Azure Resource Manager’s architecture and functionalities</vt:lpstr>
      <vt:lpstr>Resource Provider v2</vt:lpstr>
      <vt:lpstr>Differences between ASM and ARM</vt:lpstr>
      <vt:lpstr>The benefits of using Resource Manager  ·              You can deploy, manage, and monitor all the resources for your solution as a group, rather than  handling these resources individually.  ·               You can repeatedly deploy your solution throughout the development lifecycle and have  confidence your resources are deployed in a consistent state.  ·               You can manage your infrastructure through declarative templates rather than scripts.  ·               You can define the dependencies between resources so they are deployed in the correct order.  ·               You can apply access control to all services in your resource group because Role-Based Access  Control (RBAC) is natively integrated into the management platform.  ·               You can apply tags to resources to logically organize all the resources in your subscription.  ·               You can clarify your organization's billing by viewing costs for a group of resources sharing the  same tag. </vt:lpstr>
      <vt:lpstr>Resource - A manageable item that is available through Azure. Some common resources are a virtual machine, storage account, web app, database, and virtual network, but there are many more.  Resource Group - A container that holds related resources for an Azure solution. The resource group can include all the resources for the solution, or only those resources that you want to manage as a group. You decide how you want to allocate resources to resource groups based on what makes the most sense for your organization.   Resource provider - A service that supplies the resources you can deploy and manage through Resource Manager. Each resource provider offers operations for working with the resources that are deployed. Some common resource providers are Microsoft Compute, which supplies the virtual machine resource, Microsoft Storage, which supplies the storage account resource, and Microsoft Web, which supplies resources related to web apps. {resource-provider}/{resource-type}  Resource Manager template - A JavaScript Object Notation (JSON) file that defines one or more resources to deploy to a resource group. It also defines the dependencies between the deployed resources. The template can be used to deploy the resources consistently and repeatedly.   Declarative syntax - Syntax that lets you state "Here is what I intend to create" without having to write the sequence of programming commands to create it. The Resource Manager template is an example of declarative syntax. In the file, you define the properties for the infrastructure to deploy to Azure. </vt:lpstr>
      <vt:lpstr>Resource Groups</vt:lpstr>
      <vt:lpstr>Coupling for resources</vt:lpstr>
      <vt:lpstr>Resource Group: management container </vt:lpstr>
      <vt:lpstr>Resource Group lifecycle</vt:lpstr>
      <vt:lpstr>Resource characteristics</vt:lpstr>
      <vt:lpstr>Resource Group characteristics </vt:lpstr>
      <vt:lpstr>Azure resources manager portal</vt:lpstr>
      <vt:lpstr>PowerPoint Presentation</vt:lpstr>
      <vt:lpstr>Azure PowerShell</vt:lpstr>
      <vt:lpstr>Managing Azure subscriptions by using Azure PowerShell</vt:lpstr>
      <vt:lpstr>Azure CLI</vt:lpstr>
      <vt:lpstr>Lesson 2 Azure VM </vt:lpstr>
      <vt:lpstr>What are Azure VMs?</vt:lpstr>
      <vt:lpstr>Azure VM sizes</vt:lpstr>
      <vt:lpstr>PowerPoint Presentation</vt:lpstr>
      <vt:lpstr>Create a VM by using the Azure Portal</vt:lpstr>
      <vt:lpstr>Provisioning to the Cloud</vt:lpstr>
      <vt:lpstr>Supported Windows Server Applications</vt:lpstr>
      <vt:lpstr>Linux on Microsoft Azure</vt:lpstr>
      <vt:lpstr>Windows Server Roles that are Not Supported</vt:lpstr>
      <vt:lpstr>Windows Server Features that are not Supported</vt:lpstr>
      <vt:lpstr>Azure VM Agent and Extensions</vt:lpstr>
      <vt:lpstr>PowerPoint Presentation</vt:lpstr>
      <vt:lpstr>PowerPoint Presentation</vt:lpstr>
      <vt:lpstr>Service Level Agreements (SLA)</vt:lpstr>
      <vt:lpstr>VM Availability </vt:lpstr>
      <vt:lpstr>VM Availability - Fault Domain: A fault domain is a set of hardware components (rack of resources like servers, power, etc.) that share a single point of failure. Web, worker and Virtual Machines are arranged in this hardware. Azure deploys an application or service across multiple fault domains  </vt:lpstr>
      <vt:lpstr>PowerPoint Presentation</vt:lpstr>
      <vt:lpstr>PowerPoint Presentation</vt:lpstr>
      <vt:lpstr>PowerPoint Presentation</vt:lpstr>
      <vt:lpstr>Fault and Update Domains</vt:lpstr>
      <vt:lpstr>VM Availability Sets</vt:lpstr>
      <vt:lpstr>How Does this Relate to the SLA?</vt:lpstr>
      <vt:lpstr>End-to-End Highly Available Solution</vt:lpstr>
      <vt:lpstr>Deploying Azure VM using Scale Sets &amp; Templates</vt:lpstr>
      <vt:lpstr>Understanding Disks </vt:lpstr>
      <vt:lpstr>VM Disk Layout – Windows OS</vt:lpstr>
      <vt:lpstr>VM Disk Layout – Windows OS (continued)</vt:lpstr>
      <vt:lpstr>VM Disk Layout – Windows OS(continued)</vt:lpstr>
      <vt:lpstr>Persistent Disk Management – Windows OS</vt:lpstr>
      <vt:lpstr>Disk Caching – Windows OS</vt:lpstr>
      <vt:lpstr>Azure VMs disk mobility</vt:lpstr>
      <vt:lpstr>Configuring storage in Windows VMs</vt:lpstr>
      <vt:lpstr>Module 3  Azure virtual network  </vt:lpstr>
      <vt:lpstr>Azure Virtual Network </vt:lpstr>
      <vt:lpstr>PowerPoint Presentation</vt:lpstr>
      <vt:lpstr>PowerPoint Presentation</vt:lpstr>
      <vt:lpstr>Virtual networks</vt:lpstr>
      <vt:lpstr>Components of a virtual network</vt:lpstr>
      <vt:lpstr>Azure virtual networks and subnets</vt:lpstr>
      <vt:lpstr>PowerPoint Presentation</vt:lpstr>
      <vt:lpstr>Internet IP addresses and load balancing</vt:lpstr>
      <vt:lpstr>Reserved IPs</vt:lpstr>
      <vt:lpstr>DNS names for public IP</vt:lpstr>
      <vt:lpstr>DNS Services</vt:lpstr>
      <vt:lpstr>Virtual networks and services</vt:lpstr>
      <vt:lpstr>Multiple NICs in Azure VMs</vt:lpstr>
      <vt:lpstr>PowerPoint Presentation</vt:lpstr>
      <vt:lpstr>Azure Load Balancer  </vt:lpstr>
      <vt:lpstr>PowerPoint Presentation</vt:lpstr>
      <vt:lpstr>Front end IP configuration - will configure the private IP address for incoming network traffic  Backend address pool - will configure the network interfaces which will receive the load balanced traffic coming from front end IP pool  Load balancing rules - source and local port configuration for the load balancer.  Probes - configures the health status probe for the Virtual Machine instances.  Inbound NAT rules - configures the port rules to directly access one of the Virtual Machine instances. </vt:lpstr>
      <vt:lpstr>Traffic Manager </vt:lpstr>
      <vt:lpstr>Traffic Manager Rules</vt:lpstr>
      <vt:lpstr>Weighted: Select Weighted when you want to distribute traffic across a set of endpoints, either evenly or according to weights, which you define. </vt:lpstr>
      <vt:lpstr>Performance: Select Performance when you have endpoints in different geographic locations and you want end users to use the "closest" endpoint in terms of the lowest network latency. </vt:lpstr>
      <vt:lpstr>Geographic: Select Geographic so that users are directed to specific endpoints (Azure, External, or Nested) based on which geographic location their DNS query originates from. This empowers Traffic Manager customers to enable scenarios where knowing a user’s geographic region and routing them based on that is important. Examples include complying with data sovereignty mandates, localization of content &amp; user experience and measuring traffic from different regions. </vt:lpstr>
      <vt:lpstr>Site to Site VPN Connectivity</vt:lpstr>
      <vt:lpstr>Site-to-Site VPN creation steps: </vt:lpstr>
      <vt:lpstr>PowerPoint Presentation</vt:lpstr>
      <vt:lpstr>Express Route</vt:lpstr>
      <vt:lpstr>PowerPoint Presentation</vt:lpstr>
      <vt:lpstr>PowerPoint Presentation</vt:lpstr>
      <vt:lpstr>Point To Site Connection</vt:lpstr>
      <vt:lpstr>Point to Site Connection Steps:</vt:lpstr>
      <vt:lpstr>PowerPoint Presentation</vt:lpstr>
      <vt:lpstr>Create Self Signed Certificate: From powershell </vt:lpstr>
      <vt:lpstr>VNET Peering</vt:lpstr>
      <vt:lpstr>Module 4 Azure storage </vt:lpstr>
      <vt:lpstr>Microsoft Azure Storage</vt:lpstr>
      <vt:lpstr>Microsoft Azure Storage: Redundancy </vt:lpstr>
      <vt:lpstr>PowerPoint Presentation</vt:lpstr>
      <vt:lpstr>PowerPoint Presentation</vt:lpstr>
      <vt:lpstr>PowerPoint Presentation</vt:lpstr>
      <vt:lpstr>Microsoft Azure Storage: Types</vt:lpstr>
      <vt:lpstr>Abstractions – blobs and disks</vt:lpstr>
      <vt:lpstr>PowerPoint Presentation</vt:lpstr>
      <vt:lpstr>Abstractions – tables and queues</vt:lpstr>
      <vt:lpstr>PowerPoint Presentation</vt:lpstr>
      <vt:lpstr>Abstractions – files </vt:lpstr>
      <vt:lpstr>File sharing the old way in Azure</vt:lpstr>
      <vt:lpstr>Azure files</vt:lpstr>
      <vt:lpstr>Additional services, tools and libraries</vt:lpstr>
      <vt:lpstr>Content Delivery Network (CDN) </vt:lpstr>
      <vt:lpstr>PowerPoint Presentation</vt:lpstr>
      <vt:lpstr>Azure CDN POP Locations </vt:lpstr>
      <vt:lpstr>Premium Storage</vt:lpstr>
      <vt:lpstr>Premium Storage Scalability and Performance</vt:lpstr>
      <vt:lpstr>Module 5 Identity  in Microsoft Azure </vt:lpstr>
      <vt:lpstr>PowerPoint Presentation</vt:lpstr>
      <vt:lpstr>PowerPoint Presentation</vt:lpstr>
      <vt:lpstr>PowerPoint Presentation</vt:lpstr>
      <vt:lpstr>Microsoft Azure Active Directory Editions</vt:lpstr>
      <vt:lpstr>Azure AD Lab- Azure AD Users and Group</vt:lpstr>
      <vt:lpstr>Azure AD – Custom Domains</vt:lpstr>
      <vt:lpstr>Azure AD Lab-Custom Domain</vt:lpstr>
      <vt:lpstr>PowerPoint Presentation</vt:lpstr>
      <vt:lpstr>Azure AD Lab-Custom Directory</vt:lpstr>
      <vt:lpstr>Azure AD Lab-Custom Directory</vt:lpstr>
      <vt:lpstr>Azure AD Enterprise application integration </vt:lpstr>
      <vt:lpstr>Azure AD Enterprise application integration </vt:lpstr>
      <vt:lpstr>Identity in the past</vt:lpstr>
      <vt:lpstr>Identity today</vt:lpstr>
      <vt:lpstr>AD in Microsoft Azure IAAS </vt:lpstr>
      <vt:lpstr>Windows Server Active Directory in the Cloud</vt:lpstr>
      <vt:lpstr>Considerations for Virtualized DCs Running in Microsoft Azure IAAS </vt:lpstr>
      <vt:lpstr>Possible Scenarios for AD in Microsoft Azure IAAS</vt:lpstr>
      <vt:lpstr>Design Considerations for Traffic and Costs</vt:lpstr>
      <vt:lpstr>Design Considerations for Traffic and Costs (continued)</vt:lpstr>
      <vt:lpstr>Introduction Azure Active Directory </vt:lpstr>
      <vt:lpstr>Azure Active Directory</vt:lpstr>
      <vt:lpstr>Problem Statement</vt:lpstr>
      <vt:lpstr>What is Microsoft Azure AD?</vt:lpstr>
      <vt:lpstr>Why Use Microsoft Azure AD?</vt:lpstr>
      <vt:lpstr>Azure Active Directory Editions - Free</vt:lpstr>
      <vt:lpstr>Azure Active Directory Editions - Basic</vt:lpstr>
      <vt:lpstr>Azure Active Directory Editions - Premium</vt:lpstr>
      <vt:lpstr>Microsoft Azure AD Design Principle</vt:lpstr>
      <vt:lpstr>Azure AD Usage </vt:lpstr>
      <vt:lpstr>Microsoft Azure AD Protocol</vt:lpstr>
      <vt:lpstr>Module 6: Microsoft Azure SQ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veloping with .Net on Microsoft Azure</vt:lpstr>
      <vt:lpstr>Features:   We can create multiple Web App using same App service Plan.  We can scale up/down.  Single Plan can run on multiple instances</vt:lpstr>
      <vt:lpstr>PowerPoint Presentation</vt:lpstr>
      <vt:lpstr>PowerPoint Presentation</vt:lpstr>
      <vt:lpstr>PowerPoint Presentation</vt:lpstr>
      <vt:lpstr>PowerPoint Presentation</vt:lpstr>
      <vt:lpstr>Lab 2:  Update  Application setting  1. When we want to publish the app using visual studio, visual studio will create publish profi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akash Waikar</dc:creator>
  <cp:lastModifiedBy>Devata</cp:lastModifiedBy>
  <cp:revision>270</cp:revision>
  <dcterms:created xsi:type="dcterms:W3CDTF">2017-06-28T04:36:58Z</dcterms:created>
  <dcterms:modified xsi:type="dcterms:W3CDTF">2019-01-20T10:23: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D3DE19503C954388E16169DAE4E2BB</vt:lpwstr>
  </property>
</Properties>
</file>